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notesSlides/notesSlide15.xml" ContentType="application/vnd.openxmlformats-officedocument.presentationml.notesSlide+xml"/>
  <Override PartName="/ppt/charts/chart1.xml" ContentType="application/vnd.openxmlformats-officedocument.drawingml.chart+xml"/>
  <Override PartName="/ppt/tags/tag30.xml" ContentType="application/vnd.openxmlformats-officedocument.presentationml.tags+xml"/>
  <Override PartName="/ppt/notesSlides/notesSlide16.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7.xml" ContentType="application/vnd.openxmlformats-officedocument.presentationml.notesSlide+xml"/>
  <Override PartName="/ppt/charts/chart3.xml" ContentType="application/vnd.openxmlformats-officedocument.drawingml.chart+xml"/>
  <Override PartName="/ppt/tags/tag31.xml" ContentType="application/vnd.openxmlformats-officedocument.presentationml.tags+xml"/>
  <Override PartName="/ppt/tags/tag32.xml" ContentType="application/vnd.openxmlformats-officedocument.presentationml.tags+xml"/>
  <Override PartName="/ppt/notesSlides/notesSlide18.xml" ContentType="application/vnd.openxmlformats-officedocument.presentationml.notesSlide+xml"/>
  <Override PartName="/ppt/tags/tag33.xml" ContentType="application/vnd.openxmlformats-officedocument.presentationml.tags+xml"/>
  <Override PartName="/ppt/notesSlides/notesSlide19.xml" ContentType="application/vnd.openxmlformats-officedocument.presentationml.notesSlide+xml"/>
  <Override PartName="/ppt/tags/tag34.xml" ContentType="application/vnd.openxmlformats-officedocument.presentationml.tags+xml"/>
  <Override PartName="/ppt/notesSlides/notesSlide20.xml" ContentType="application/vnd.openxmlformats-officedocument.presentationml.notesSlide+xml"/>
  <Override PartName="/ppt/tags/tag35.xml" ContentType="application/vnd.openxmlformats-officedocument.presentationml.tags+xml"/>
  <Override PartName="/ppt/notesSlides/notesSlide21.xml" ContentType="application/vnd.openxmlformats-officedocument.presentationml.notesSlide+xml"/>
  <Override PartName="/ppt/tags/tag36.xml" ContentType="application/vnd.openxmlformats-officedocument.presentationml.tags+xml"/>
  <Override PartName="/ppt/notesSlides/notesSlide22.xml" ContentType="application/vnd.openxmlformats-officedocument.presentationml.notesSlide+xml"/>
  <Override PartName="/ppt/tags/tag37.xml" ContentType="application/vnd.openxmlformats-officedocument.presentationml.tags+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8.xml" ContentType="application/vnd.openxmlformats-officedocument.presentationml.tags+xml"/>
  <Override PartName="/ppt/notesSlides/notesSlide2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5.xml" ContentType="application/vnd.openxmlformats-officedocument.presentationml.notesSlide+xml"/>
  <Override PartName="/ppt/tags/tag41.xml" ContentType="application/vnd.openxmlformats-officedocument.presentationml.tags+xml"/>
  <Override PartName="/ppt/notesSlides/notesSlide2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42.xml" ContentType="application/vnd.openxmlformats-officedocument.presentationml.tags+xml"/>
  <Override PartName="/ppt/notesSlides/notesSlide27.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tags/tag43.xml" ContentType="application/vnd.openxmlformats-officedocument.presentationml.tags+xml"/>
  <Override PartName="/ppt/notesSlides/notesSlide28.xml" ContentType="application/vnd.openxmlformats-officedocument.presentationml.notesSlide+xml"/>
  <Override PartName="/ppt/tags/tag44.xml" ContentType="application/vnd.openxmlformats-officedocument.presentationml.tags+xml"/>
  <Override PartName="/ppt/notesSlides/notesSlide29.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30.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3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3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33.xml" ContentType="application/vnd.openxmlformats-officedocument.presentationml.notesSlide+xml"/>
  <Override PartName="/ppt/tags/tag54.xml" ContentType="application/vnd.openxmlformats-officedocument.presentationml.tags+xml"/>
  <Override PartName="/ppt/notesSlides/notesSlide34.xml" ContentType="application/vnd.openxmlformats-officedocument.presentationml.notesSlide+xml"/>
  <Override PartName="/ppt/tags/tag55.xml" ContentType="application/vnd.openxmlformats-officedocument.presentationml.tags+xml"/>
  <Override PartName="/ppt/notesSlides/notesSlide35.xml" ContentType="application/vnd.openxmlformats-officedocument.presentationml.notesSlide+xml"/>
  <Override PartName="/ppt/tags/tag56.xml" ContentType="application/vnd.openxmlformats-officedocument.presentationml.tags+xml"/>
  <Override PartName="/ppt/notesSlides/notesSlide36.xml" ContentType="application/vnd.openxmlformats-officedocument.presentationml.notesSlide+xml"/>
  <Override PartName="/ppt/tags/tag57.xml" ContentType="application/vnd.openxmlformats-officedocument.presentationml.tags+xml"/>
  <Override PartName="/ppt/notesSlides/notesSlide37.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tags/tag58.xml" ContentType="application/vnd.openxmlformats-officedocument.presentationml.tags+xml"/>
  <Override PartName="/ppt/notesSlides/notesSlide38.xml" ContentType="application/vnd.openxmlformats-officedocument.presentationml.notesSlid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tags/tag59.xml" ContentType="application/vnd.openxmlformats-officedocument.presentationml.tags+xml"/>
  <Override PartName="/ppt/notesSlides/notesSlide39.xml" ContentType="application/vnd.openxmlformats-officedocument.presentationml.notesSlide+xml"/>
  <Override PartName="/ppt/tags/tag60.xml" ContentType="application/vnd.openxmlformats-officedocument.presentationml.tags+xml"/>
  <Override PartName="/ppt/notesSlides/notesSlide40.xml" ContentType="application/vnd.openxmlformats-officedocument.presentationml.notesSlide+xml"/>
  <Override PartName="/ppt/tags/tag61.xml" ContentType="application/vnd.openxmlformats-officedocument.presentationml.tags+xml"/>
  <Override PartName="/ppt/notesSlides/notesSlide41.xml" ContentType="application/vnd.openxmlformats-officedocument.presentationml.notesSlide+xml"/>
  <Override PartName="/ppt/tags/tag62.xml" ContentType="application/vnd.openxmlformats-officedocument.presentationml.tags+xml"/>
  <Override PartName="/ppt/notesSlides/notesSlide42.xml" ContentType="application/vnd.openxmlformats-officedocument.presentationml.notesSl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tags/tag63.xml" ContentType="application/vnd.openxmlformats-officedocument.presentationml.tags+xml"/>
  <Override PartName="/ppt/notesSlides/notesSlide43.xml" ContentType="application/vnd.openxmlformats-officedocument.presentationml.notesSlide+xml"/>
  <Override PartName="/ppt/tags/tag64.xml" ContentType="application/vnd.openxmlformats-officedocument.presentationml.tags+xml"/>
  <Override PartName="/ppt/notesSlides/notesSlide44.xml" ContentType="application/vnd.openxmlformats-officedocument.presentationml.notesSlide+xml"/>
  <Override PartName="/ppt/tags/tag65.xml" ContentType="application/vnd.openxmlformats-officedocument.presentationml.tags+xml"/>
  <Override PartName="/ppt/notesSlides/notesSlide45.xml" ContentType="application/vnd.openxmlformats-officedocument.presentationml.notesSlid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4.xml" ContentType="application/vnd.openxmlformats-officedocument.themeOverride+xml"/>
  <Override PartName="/ppt/tags/tag66.xml" ContentType="application/vnd.openxmlformats-officedocument.presentationml.tags+xml"/>
  <Override PartName="/ppt/notesSlides/notesSlide46.xml" ContentType="application/vnd.openxmlformats-officedocument.presentationml.notesSlid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5.xml" ContentType="application/vnd.openxmlformats-officedocument.themeOverride+xml"/>
  <Override PartName="/ppt/tags/tag67.xml" ContentType="application/vnd.openxmlformats-officedocument.presentationml.tags+xml"/>
  <Override PartName="/ppt/notesSlides/notesSlide47.xml" ContentType="application/vnd.openxmlformats-officedocument.presentationml.notesSlide+xml"/>
  <Override PartName="/ppt/tags/tag68.xml" ContentType="application/vnd.openxmlformats-officedocument.presentationml.tags+xml"/>
  <Override PartName="/ppt/notesSlides/notesSlide48.xml" ContentType="application/vnd.openxmlformats-officedocument.presentationml.notesSlid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6.xml" ContentType="application/vnd.openxmlformats-officedocument.themeOverride+xml"/>
  <Override PartName="/ppt/tags/tag69.xml" ContentType="application/vnd.openxmlformats-officedocument.presentationml.tags+xml"/>
  <Override PartName="/ppt/notesSlides/notesSlide49.xml" ContentType="application/vnd.openxmlformats-officedocument.presentationml.notesSlide+xml"/>
  <Override PartName="/ppt/tags/tag70.xml" ContentType="application/vnd.openxmlformats-officedocument.presentationml.tags+xml"/>
  <Override PartName="/ppt/notesSlides/notesSlide50.xml" ContentType="application/vnd.openxmlformats-officedocument.presentationml.notesSlide+xml"/>
  <Override PartName="/ppt/tags/tag71.xml" ContentType="application/vnd.openxmlformats-officedocument.presentationml.tags+xml"/>
  <Override PartName="/ppt/notesSlides/notesSlide51.xml" ContentType="application/vnd.openxmlformats-officedocument.presentationml.notesSlid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7.xml" ContentType="application/vnd.openxmlformats-officedocument.themeOverride+xml"/>
  <Override PartName="/ppt/tags/tag72.xml" ContentType="application/vnd.openxmlformats-officedocument.presentationml.tags+xml"/>
  <Override PartName="/ppt/notesSlides/notesSlide52.xml" ContentType="application/vnd.openxmlformats-officedocument.presentationml.notesSlid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8.xml" ContentType="application/vnd.openxmlformats-officedocument.themeOverride+xml"/>
  <Override PartName="/ppt/tags/tag73.xml" ContentType="application/vnd.openxmlformats-officedocument.presentationml.tags+xml"/>
  <Override PartName="/ppt/notesSlides/notesSlide53.xml" ContentType="application/vnd.openxmlformats-officedocument.presentationml.notesSlid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9.xml" ContentType="application/vnd.openxmlformats-officedocument.themeOverride+xml"/>
  <Override PartName="/ppt/tags/tag74.xml" ContentType="application/vnd.openxmlformats-officedocument.presentationml.tags+xml"/>
  <Override PartName="/ppt/notesSlides/notesSlide54.xml" ContentType="application/vnd.openxmlformats-officedocument.presentationml.notesSlide+xml"/>
  <Override PartName="/ppt/tags/tag75.xml" ContentType="application/vnd.openxmlformats-officedocument.presentationml.tags+xml"/>
  <Override PartName="/ppt/notesSlides/notesSlide55.xml" ContentType="application/vnd.openxmlformats-officedocument.presentationml.notesSlide+xml"/>
  <Override PartName="/ppt/tags/tag76.xml" ContentType="application/vnd.openxmlformats-officedocument.presentationml.tags+xml"/>
  <Override PartName="/ppt/notesSlides/notesSlide56.xml" ContentType="application/vnd.openxmlformats-officedocument.presentationml.notesSlide+xml"/>
  <Override PartName="/ppt/tags/tag77.xml" ContentType="application/vnd.openxmlformats-officedocument.presentationml.tags+xml"/>
  <Override PartName="/ppt/notesSlides/notesSlide57.xml" ContentType="application/vnd.openxmlformats-officedocument.presentationml.notesSlide+xml"/>
  <Override PartName="/ppt/tags/tag78.xml" ContentType="application/vnd.openxmlformats-officedocument.presentationml.tags+xml"/>
  <Override PartName="/ppt/notesSlides/notesSlide58.xml" ContentType="application/vnd.openxmlformats-officedocument.presentationml.notesSlid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0.xml" ContentType="application/vnd.openxmlformats-officedocument.themeOverride+xml"/>
  <Override PartName="/ppt/tags/tag79.xml" ContentType="application/vnd.openxmlformats-officedocument.presentationml.tags+xml"/>
  <Override PartName="/ppt/notesSlides/notesSlide59.xml" ContentType="application/vnd.openxmlformats-officedocument.presentationml.notesSlid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1.xml" ContentType="application/vnd.openxmlformats-officedocument.themeOverride+xml"/>
  <Override PartName="/ppt/drawings/drawing2.xml" ContentType="application/vnd.openxmlformats-officedocument.drawingml.chartshapes+xml"/>
  <Override PartName="/ppt/tags/tag80.xml" ContentType="application/vnd.openxmlformats-officedocument.presentationml.tags+xml"/>
  <Override PartName="/ppt/notesSlides/notesSlide60.xml" ContentType="application/vnd.openxmlformats-officedocument.presentationml.notesSlid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2.xml" ContentType="application/vnd.openxmlformats-officedocument.themeOverride+xml"/>
  <Override PartName="/ppt/tags/tag81.xml" ContentType="application/vnd.openxmlformats-officedocument.presentationml.tags+xml"/>
  <Override PartName="/ppt/notesSlides/notesSlide61.xml" ContentType="application/vnd.openxmlformats-officedocument.presentationml.notesSlid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3.xml" ContentType="application/vnd.openxmlformats-officedocument.themeOverride+xml"/>
  <Override PartName="/ppt/drawings/drawing3.xml" ContentType="application/vnd.openxmlformats-officedocument.drawingml.chartshapes+xml"/>
  <Override PartName="/ppt/tags/tag82.xml" ContentType="application/vnd.openxmlformats-officedocument.presentationml.tags+xml"/>
  <Override PartName="/ppt/notesSlides/notesSlide62.xml" ContentType="application/vnd.openxmlformats-officedocument.presentationml.notesSlid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4.xml" ContentType="application/vnd.openxmlformats-officedocument.themeOverrid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5.xml" ContentType="application/vnd.openxmlformats-officedocument.themeOverride+xml"/>
  <Override PartName="/ppt/tags/tag83.xml" ContentType="application/vnd.openxmlformats-officedocument.presentationml.tags+xml"/>
  <Override PartName="/ppt/notesSlides/notesSlide63.xml" ContentType="application/vnd.openxmlformats-officedocument.presentationml.notesSlide+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6.xml" ContentType="application/vnd.openxmlformats-officedocument.themeOverride+xml"/>
  <Override PartName="/ppt/drawings/drawing4.xml" ContentType="application/vnd.openxmlformats-officedocument.drawingml.chartshapes+xml"/>
  <Override PartName="/ppt/tags/tag84.xml" ContentType="application/vnd.openxmlformats-officedocument.presentationml.tags+xml"/>
  <Override PartName="/ppt/notesSlides/notesSlide64.xml" ContentType="application/vnd.openxmlformats-officedocument.presentationml.notesSlide+xml"/>
  <Override PartName="/ppt/tags/tag85.xml" ContentType="application/vnd.openxmlformats-officedocument.presentationml.tags+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tags/tag86.xml" ContentType="application/vnd.openxmlformats-officedocument.presentationml.tags+xml"/>
  <Override PartName="/ppt/notesSlides/notesSlide67.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68.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69.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tags/tag93.xml" ContentType="application/vnd.openxmlformats-officedocument.presentationml.tags+xml"/>
  <Override PartName="/ppt/notesSlides/notesSlide72.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73.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74.xml" ContentType="application/vnd.openxmlformats-officedocument.presentationml.notesSlide+xml"/>
  <Override PartName="/ppt/tags/tag98.xml" ContentType="application/vnd.openxmlformats-officedocument.presentationml.tags+xml"/>
  <Override PartName="/ppt/notesSlides/notesSlide75.xml" ContentType="application/vnd.openxmlformats-officedocument.presentationml.notesSlide+xml"/>
  <Override PartName="/ppt/tags/tag99.xml" ContentType="application/vnd.openxmlformats-officedocument.presentationml.tags+xml"/>
  <Override PartName="/ppt/notesSlides/notesSlide76.xml" ContentType="application/vnd.openxmlformats-officedocument.presentationml.notesSlide+xml"/>
  <Override PartName="/ppt/charts/chart21.xml" ContentType="application/vnd.openxmlformats-officedocument.drawingml.chart+xml"/>
  <Override PartName="/ppt/theme/themeOverride17.xml" ContentType="application/vnd.openxmlformats-officedocument.themeOverride+xml"/>
  <Override PartName="/ppt/tags/tag100.xml" ContentType="application/vnd.openxmlformats-officedocument.presentationml.tags+xml"/>
  <Override PartName="/ppt/tags/tag101.xml" ContentType="application/vnd.openxmlformats-officedocument.presentationml.tags+xml"/>
  <Override PartName="/ppt/notesSlides/notesSlide77.xml" ContentType="application/vnd.openxmlformats-officedocument.presentationml.notesSlide+xml"/>
  <Override PartName="/ppt/charts/chart22.xml" ContentType="application/vnd.openxmlformats-officedocument.drawingml.chart+xml"/>
  <Override PartName="/ppt/charts/style19.xml" ContentType="application/vnd.ms-office.chartstyle+xml"/>
  <Override PartName="/ppt/charts/colors19.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82.xml" ContentType="application/vnd.openxmlformats-officedocument.presentationml.notesSlide+xml"/>
  <Override PartName="/ppt/tags/tag106.xml" ContentType="application/vnd.openxmlformats-officedocument.presentationml.tags+xml"/>
  <Override PartName="/ppt/notesSlides/notesSlide83.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84.xml" ContentType="application/vnd.openxmlformats-officedocument.presentationml.notesSlide+xml"/>
  <Override PartName="/ppt/tags/tag116.xml" ContentType="application/vnd.openxmlformats-officedocument.presentationml.tags+xml"/>
  <Override PartName="/ppt/notesSlides/notesSlide85.xml" ContentType="application/vnd.openxmlformats-officedocument.presentationml.notesSlide+xml"/>
  <Override PartName="/ppt/tags/tag117.xml" ContentType="application/vnd.openxmlformats-officedocument.presentationml.tags+xml"/>
  <Override PartName="/ppt/notesSlides/notesSlide86.xml" ContentType="application/vnd.openxmlformats-officedocument.presentationml.notesSlide+xml"/>
  <Override PartName="/ppt/tags/tag118.xml" ContentType="application/vnd.openxmlformats-officedocument.presentationml.tags+xml"/>
  <Override PartName="/ppt/notesSlides/notesSlide87.xml" ContentType="application/vnd.openxmlformats-officedocument.presentationml.notesSlide+xml"/>
  <Override PartName="/ppt/charts/chart23.xml" ContentType="application/vnd.openxmlformats-officedocument.drawingml.chart+xml"/>
  <Override PartName="/ppt/theme/themeOverride18.xml" ContentType="application/vnd.openxmlformats-officedocument.themeOverride+xml"/>
  <Override PartName="/ppt/tags/tag119.xml" ContentType="application/vnd.openxmlformats-officedocument.presentationml.tags+xml"/>
  <Override PartName="/ppt/notesSlides/notesSlide88.xml" ContentType="application/vnd.openxmlformats-officedocument.presentationml.notesSlide+xml"/>
  <Override PartName="/ppt/charts/chart24.xml" ContentType="application/vnd.openxmlformats-officedocument.drawingml.chart+xml"/>
  <Override PartName="/ppt/drawings/drawing5.xml" ContentType="application/vnd.openxmlformats-officedocument.drawingml.chartshapes+xml"/>
  <Override PartName="/ppt/tags/tag120.xml" ContentType="application/vnd.openxmlformats-officedocument.presentationml.tags+xml"/>
  <Override PartName="/ppt/notesSlides/notesSlide89.xml" ContentType="application/vnd.openxmlformats-officedocument.presentationml.notesSlide+xml"/>
  <Override PartName="/ppt/tags/tag121.xml" ContentType="application/vnd.openxmlformats-officedocument.presentationml.tags+xml"/>
  <Override PartName="/ppt/notesSlides/notesSlide90.xml" ContentType="application/vnd.openxmlformats-officedocument.presentationml.notesSlide+xml"/>
  <Override PartName="/ppt/tags/tag122.xml" ContentType="application/vnd.openxmlformats-officedocument.presentationml.tags+xml"/>
  <Override PartName="/ppt/notesSlides/notesSlide91.xml" ContentType="application/vnd.openxmlformats-officedocument.presentationml.notesSlide+xml"/>
  <Override PartName="/ppt/tags/tag123.xml" ContentType="application/vnd.openxmlformats-officedocument.presentationml.tags+xml"/>
  <Override PartName="/ppt/notesSlides/notesSlide92.xml" ContentType="application/vnd.openxmlformats-officedocument.presentationml.notesSlide+xml"/>
  <Override PartName="/ppt/tags/tag124.xml" ContentType="application/vnd.openxmlformats-officedocument.presentationml.tags+xml"/>
  <Override PartName="/ppt/notesSlides/notesSlide93.xml" ContentType="application/vnd.openxmlformats-officedocument.presentationml.notesSlide+xml"/>
  <Override PartName="/ppt/tags/tag125.xml" ContentType="application/vnd.openxmlformats-officedocument.presentationml.tags+xml"/>
  <Override PartName="/ppt/notesSlides/notesSlide94.xml" ContentType="application/vnd.openxmlformats-officedocument.presentationml.notesSlide+xml"/>
  <Override PartName="/ppt/tags/tag126.xml" ContentType="application/vnd.openxmlformats-officedocument.presentationml.tags+xml"/>
  <Override PartName="/ppt/notesSlides/notesSlide95.xml" ContentType="application/vnd.openxmlformats-officedocument.presentationml.notesSlide+xml"/>
  <Override PartName="/ppt/tags/tag127.xml" ContentType="application/vnd.openxmlformats-officedocument.presentationml.tags+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4"/>
    <p:sldMasterId id="2147483735" r:id="rId5"/>
    <p:sldMasterId id="2147483759" r:id="rId6"/>
    <p:sldMasterId id="2147483768" r:id="rId7"/>
  </p:sldMasterIdLst>
  <p:notesMasterIdLst>
    <p:notesMasterId r:id="rId105"/>
  </p:notesMasterIdLst>
  <p:handoutMasterIdLst>
    <p:handoutMasterId r:id="rId106"/>
  </p:handoutMasterIdLst>
  <p:sldIdLst>
    <p:sldId id="11542" r:id="rId8"/>
    <p:sldId id="256" r:id="rId9"/>
    <p:sldId id="11453" r:id="rId10"/>
    <p:sldId id="916" r:id="rId11"/>
    <p:sldId id="917" r:id="rId12"/>
    <p:sldId id="11513" r:id="rId13"/>
    <p:sldId id="11512" r:id="rId14"/>
    <p:sldId id="11406" r:id="rId15"/>
    <p:sldId id="359" r:id="rId16"/>
    <p:sldId id="921" r:id="rId17"/>
    <p:sldId id="11470" r:id="rId18"/>
    <p:sldId id="11545" r:id="rId19"/>
    <p:sldId id="11493" r:id="rId20"/>
    <p:sldId id="11428" r:id="rId21"/>
    <p:sldId id="11477" r:id="rId22"/>
    <p:sldId id="11514" r:id="rId23"/>
    <p:sldId id="327" r:id="rId24"/>
    <p:sldId id="11488" r:id="rId25"/>
    <p:sldId id="679" r:id="rId26"/>
    <p:sldId id="11487" r:id="rId27"/>
    <p:sldId id="11454" r:id="rId28"/>
    <p:sldId id="11489" r:id="rId29"/>
    <p:sldId id="11546" r:id="rId30"/>
    <p:sldId id="11490" r:id="rId31"/>
    <p:sldId id="11491" r:id="rId32"/>
    <p:sldId id="11547" r:id="rId33"/>
    <p:sldId id="11498" r:id="rId34"/>
    <p:sldId id="11506" r:id="rId35"/>
    <p:sldId id="396" r:id="rId36"/>
    <p:sldId id="11549" r:id="rId37"/>
    <p:sldId id="930" r:id="rId38"/>
    <p:sldId id="692" r:id="rId39"/>
    <p:sldId id="11515" r:id="rId40"/>
    <p:sldId id="1036" r:id="rId41"/>
    <p:sldId id="999" r:id="rId42"/>
    <p:sldId id="1000" r:id="rId43"/>
    <p:sldId id="1040" r:id="rId44"/>
    <p:sldId id="1008" r:id="rId45"/>
    <p:sldId id="1037" r:id="rId46"/>
    <p:sldId id="11538" r:id="rId47"/>
    <p:sldId id="1002" r:id="rId48"/>
    <p:sldId id="1009" r:id="rId49"/>
    <p:sldId id="11539" r:id="rId50"/>
    <p:sldId id="1003" r:id="rId51"/>
    <p:sldId id="1039" r:id="rId52"/>
    <p:sldId id="1016" r:id="rId53"/>
    <p:sldId id="1011" r:id="rId54"/>
    <p:sldId id="1041" r:id="rId55"/>
    <p:sldId id="1014" r:id="rId56"/>
    <p:sldId id="1020" r:id="rId57"/>
    <p:sldId id="1025" r:id="rId58"/>
    <p:sldId id="1021" r:id="rId59"/>
    <p:sldId id="1015" r:id="rId60"/>
    <p:sldId id="1032" r:id="rId61"/>
    <p:sldId id="1022" r:id="rId62"/>
    <p:sldId id="11521" r:id="rId63"/>
    <p:sldId id="11522" r:id="rId64"/>
    <p:sldId id="11551" r:id="rId65"/>
    <p:sldId id="11552" r:id="rId66"/>
    <p:sldId id="11516" r:id="rId67"/>
    <p:sldId id="11519" r:id="rId68"/>
    <p:sldId id="11541" r:id="rId69"/>
    <p:sldId id="11540" r:id="rId70"/>
    <p:sldId id="11553" r:id="rId71"/>
    <p:sldId id="11554" r:id="rId72"/>
    <p:sldId id="11523" r:id="rId73"/>
    <p:sldId id="11537" r:id="rId74"/>
    <p:sldId id="743" r:id="rId75"/>
    <p:sldId id="744" r:id="rId76"/>
    <p:sldId id="11528" r:id="rId77"/>
    <p:sldId id="11526" r:id="rId78"/>
    <p:sldId id="11536" r:id="rId79"/>
    <p:sldId id="391" r:id="rId80"/>
    <p:sldId id="696" r:id="rId81"/>
    <p:sldId id="725" r:id="rId82"/>
    <p:sldId id="740" r:id="rId83"/>
    <p:sldId id="697" r:id="rId84"/>
    <p:sldId id="721" r:id="rId85"/>
    <p:sldId id="11525" r:id="rId86"/>
    <p:sldId id="11530" r:id="rId87"/>
    <p:sldId id="11531" r:id="rId88"/>
    <p:sldId id="597" r:id="rId89"/>
    <p:sldId id="11444" r:id="rId90"/>
    <p:sldId id="420" r:id="rId91"/>
    <p:sldId id="11532" r:id="rId92"/>
    <p:sldId id="11478" r:id="rId93"/>
    <p:sldId id="11479" r:id="rId94"/>
    <p:sldId id="11480" r:id="rId95"/>
    <p:sldId id="11533" r:id="rId96"/>
    <p:sldId id="11464" r:id="rId97"/>
    <p:sldId id="11465" r:id="rId98"/>
    <p:sldId id="11468" r:id="rId99"/>
    <p:sldId id="11471" r:id="rId100"/>
    <p:sldId id="11534" r:id="rId101"/>
    <p:sldId id="703" r:id="rId102"/>
    <p:sldId id="11535" r:id="rId103"/>
    <p:sldId id="691" r:id="rId104"/>
  </p:sldIdLst>
  <p:sldSz cx="12192000" cy="6858000"/>
  <p:notesSz cx="6985000" cy="9283700"/>
  <p:custDataLst>
    <p:tags r:id="rId107"/>
  </p:custDataLst>
  <p:defaultTex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3B9D235-B3A4-A9B6-9631-759F9028048C}" name="karina-lilla.a.trzeciakiewicz@basf.com" initials="KT" userId="karina-lilla.a.trzeciakiewicz@basf.com" providerId="None"/>
  <p188:author id="{18639D60-A706-BF6B-FF49-314BC77AA0E5}" name="joaos.assis@basf.com" initials="JMCA" userId="joaos.assis@basf.com" providerId="None"/>
  <p188:author id="{9BBA5FF8-0E8F-C8C8-1DD9-73A14F826500}" name="deborah.oliveri@basf.com" initials="DO" userId="deborah.oliveri@basf.com" providerId="None"/>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3196" autoAdjust="0"/>
  </p:normalViewPr>
  <p:slideViewPr>
    <p:cSldViewPr snapToGrid="0">
      <p:cViewPr varScale="1">
        <p:scale>
          <a:sx n="91" d="100"/>
          <a:sy n="91" d="100"/>
        </p:scale>
        <p:origin x="1272" y="84"/>
      </p:cViewPr>
      <p:guideLst>
        <p:guide orient="horz" pos="2160"/>
        <p:guide pos="3840"/>
      </p:guideLst>
    </p:cSldViewPr>
  </p:slideViewPr>
  <p:notesTextViewPr>
    <p:cViewPr>
      <p:scale>
        <a:sx n="75" d="100"/>
        <a:sy n="75"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07" Type="http://schemas.openxmlformats.org/officeDocument/2006/relationships/tags" Target="tags/tag1.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slide" Target="slides/slide80.xml"/><Relationship Id="rId102" Type="http://schemas.openxmlformats.org/officeDocument/2006/relationships/slide" Target="slides/slide95.xml"/><Relationship Id="rId110"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4.xml"/><Relationship Id="rId82" Type="http://schemas.openxmlformats.org/officeDocument/2006/relationships/slide" Target="slides/slide75.xml"/><Relationship Id="rId90" Type="http://schemas.openxmlformats.org/officeDocument/2006/relationships/slide" Target="slides/slide83.xml"/><Relationship Id="rId95" Type="http://schemas.openxmlformats.org/officeDocument/2006/relationships/slide" Target="slides/slide88.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notesMaster" Target="notesMasters/notesMaster1.xml"/><Relationship Id="rId113" Type="http://schemas.microsoft.com/office/2018/10/relationships/authors" Target="author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93" Type="http://schemas.openxmlformats.org/officeDocument/2006/relationships/slide" Target="slides/slide86.xml"/><Relationship Id="rId98" Type="http://schemas.openxmlformats.org/officeDocument/2006/relationships/slide" Target="slides/slide9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103" Type="http://schemas.openxmlformats.org/officeDocument/2006/relationships/slide" Target="slides/slide96.xml"/><Relationship Id="rId108" Type="http://schemas.openxmlformats.org/officeDocument/2006/relationships/presProps" Target="pres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slide" Target="slides/slide84.xml"/><Relationship Id="rId96" Type="http://schemas.openxmlformats.org/officeDocument/2006/relationships/slide" Target="slides/slide89.xml"/><Relationship Id="rId11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handoutMaster" Target="handoutMasters/handoutMaster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viewProps" Target="viewProps.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ao Cabral de Assis" userId="2e28f1b2-599c-43fa-9c22-5b7536e3b37b" providerId="ADAL" clId="{A41F6C44-1940-4D2D-B97D-59FD6FADD12A}"/>
    <pc:docChg chg="undo custSel addSld delSld modSld">
      <pc:chgData name="Joao Cabral de Assis" userId="2e28f1b2-599c-43fa-9c22-5b7536e3b37b" providerId="ADAL" clId="{A41F6C44-1940-4D2D-B97D-59FD6FADD12A}" dt="2023-08-02T18:35:26.193" v="217" actId="14100"/>
      <pc:docMkLst>
        <pc:docMk/>
      </pc:docMkLst>
      <pc:sldChg chg="modSp mod">
        <pc:chgData name="Joao Cabral de Assis" userId="2e28f1b2-599c-43fa-9c22-5b7536e3b37b" providerId="ADAL" clId="{A41F6C44-1940-4D2D-B97D-59FD6FADD12A}" dt="2023-08-02T18:21:44.378" v="40" actId="20577"/>
        <pc:sldMkLst>
          <pc:docMk/>
          <pc:sldMk cId="1862083490" sldId="396"/>
        </pc:sldMkLst>
        <pc:graphicFrameChg chg="modGraphic">
          <ac:chgData name="Joao Cabral de Assis" userId="2e28f1b2-599c-43fa-9c22-5b7536e3b37b" providerId="ADAL" clId="{A41F6C44-1940-4D2D-B97D-59FD6FADD12A}" dt="2023-08-02T18:21:44.378" v="40" actId="20577"/>
          <ac:graphicFrameMkLst>
            <pc:docMk/>
            <pc:sldMk cId="1862083490" sldId="396"/>
            <ac:graphicFrameMk id="28" creationId="{0E75EB14-E547-413C-A775-CF0DAB415A10}"/>
          </ac:graphicFrameMkLst>
        </pc:graphicFrameChg>
      </pc:sldChg>
      <pc:sldChg chg="modSp mod">
        <pc:chgData name="Joao Cabral de Assis" userId="2e28f1b2-599c-43fa-9c22-5b7536e3b37b" providerId="ADAL" clId="{A41F6C44-1940-4D2D-B97D-59FD6FADD12A}" dt="2023-08-02T18:21:05.993" v="36" actId="20577"/>
        <pc:sldMkLst>
          <pc:docMk/>
          <pc:sldMk cId="793864158" sldId="692"/>
        </pc:sldMkLst>
        <pc:spChg chg="mod">
          <ac:chgData name="Joao Cabral de Assis" userId="2e28f1b2-599c-43fa-9c22-5b7536e3b37b" providerId="ADAL" clId="{A41F6C44-1940-4D2D-B97D-59FD6FADD12A}" dt="2023-08-02T18:21:05.993" v="36" actId="20577"/>
          <ac:spMkLst>
            <pc:docMk/>
            <pc:sldMk cId="793864158" sldId="692"/>
            <ac:spMk id="30" creationId="{D23C72FB-F9CD-4149-ABB9-0304AAB1E673}"/>
          </ac:spMkLst>
        </pc:spChg>
      </pc:sldChg>
      <pc:sldChg chg="del">
        <pc:chgData name="Joao Cabral de Assis" userId="2e28f1b2-599c-43fa-9c22-5b7536e3b37b" providerId="ADAL" clId="{A41F6C44-1940-4D2D-B97D-59FD6FADD12A}" dt="2023-08-02T18:20:56.169" v="33" actId="47"/>
        <pc:sldMkLst>
          <pc:docMk/>
          <pc:sldMk cId="2233048115" sldId="698"/>
        </pc:sldMkLst>
      </pc:sldChg>
      <pc:sldChg chg="addSp modSp mod">
        <pc:chgData name="Joao Cabral de Assis" userId="2e28f1b2-599c-43fa-9c22-5b7536e3b37b" providerId="ADAL" clId="{A41F6C44-1940-4D2D-B97D-59FD6FADD12A}" dt="2023-08-02T18:19:22.265" v="29" actId="207"/>
        <pc:sldMkLst>
          <pc:docMk/>
          <pc:sldMk cId="721420307" sldId="725"/>
        </pc:sldMkLst>
        <pc:spChg chg="add mod">
          <ac:chgData name="Joao Cabral de Assis" userId="2e28f1b2-599c-43fa-9c22-5b7536e3b37b" providerId="ADAL" clId="{A41F6C44-1940-4D2D-B97D-59FD6FADD12A}" dt="2023-08-02T18:18:39.266" v="24" actId="1076"/>
          <ac:spMkLst>
            <pc:docMk/>
            <pc:sldMk cId="721420307" sldId="725"/>
            <ac:spMk id="3" creationId="{9A6F00B8-2894-D27F-9C69-8CBBCEA3359D}"/>
          </ac:spMkLst>
        </pc:spChg>
        <pc:spChg chg="add mod">
          <ac:chgData name="Joao Cabral de Assis" userId="2e28f1b2-599c-43fa-9c22-5b7536e3b37b" providerId="ADAL" clId="{A41F6C44-1940-4D2D-B97D-59FD6FADD12A}" dt="2023-08-02T18:18:32.296" v="23" actId="1076"/>
          <ac:spMkLst>
            <pc:docMk/>
            <pc:sldMk cId="721420307" sldId="725"/>
            <ac:spMk id="4" creationId="{E9CA3668-EF3E-74B8-8233-7B215CDC1985}"/>
          </ac:spMkLst>
        </pc:spChg>
        <pc:spChg chg="mod">
          <ac:chgData name="Joao Cabral de Assis" userId="2e28f1b2-599c-43fa-9c22-5b7536e3b37b" providerId="ADAL" clId="{A41F6C44-1940-4D2D-B97D-59FD6FADD12A}" dt="2023-08-02T18:19:22.265" v="29" actId="207"/>
          <ac:spMkLst>
            <pc:docMk/>
            <pc:sldMk cId="721420307" sldId="725"/>
            <ac:spMk id="9" creationId="{572745BF-F682-4A71-8324-0CF5C6B38119}"/>
          </ac:spMkLst>
        </pc:spChg>
        <pc:spChg chg="mod">
          <ac:chgData name="Joao Cabral de Assis" userId="2e28f1b2-599c-43fa-9c22-5b7536e3b37b" providerId="ADAL" clId="{A41F6C44-1940-4D2D-B97D-59FD6FADD12A}" dt="2023-08-02T18:18:54.662" v="28" actId="207"/>
          <ac:spMkLst>
            <pc:docMk/>
            <pc:sldMk cId="721420307" sldId="725"/>
            <ac:spMk id="10" creationId="{4A2F5979-EC63-4F3C-9E22-B2075EEC298B}"/>
          </ac:spMkLst>
        </pc:spChg>
        <pc:spChg chg="mod">
          <ac:chgData name="Joao Cabral de Assis" userId="2e28f1b2-599c-43fa-9c22-5b7536e3b37b" providerId="ADAL" clId="{A41F6C44-1940-4D2D-B97D-59FD6FADD12A}" dt="2023-08-02T18:15:38.752" v="1" actId="1076"/>
          <ac:spMkLst>
            <pc:docMk/>
            <pc:sldMk cId="721420307" sldId="725"/>
            <ac:spMk id="15" creationId="{7AFD4839-17AE-41C8-BF8D-F765EDE6C8E9}"/>
          </ac:spMkLst>
        </pc:spChg>
        <pc:spChg chg="add mod">
          <ac:chgData name="Joao Cabral de Assis" userId="2e28f1b2-599c-43fa-9c22-5b7536e3b37b" providerId="ADAL" clId="{A41F6C44-1940-4D2D-B97D-59FD6FADD12A}" dt="2023-08-02T18:17:00.426" v="12" actId="1076"/>
          <ac:spMkLst>
            <pc:docMk/>
            <pc:sldMk cId="721420307" sldId="725"/>
            <ac:spMk id="19" creationId="{AA2F343D-B9B2-BA19-F8CB-301E6EDE5546}"/>
          </ac:spMkLst>
        </pc:spChg>
      </pc:sldChg>
      <pc:sldChg chg="modSp mod modNotesTx">
        <pc:chgData name="Joao Cabral de Assis" userId="2e28f1b2-599c-43fa-9c22-5b7536e3b37b" providerId="ADAL" clId="{A41F6C44-1940-4D2D-B97D-59FD6FADD12A}" dt="2023-08-02T18:25:00.009" v="60" actId="1076"/>
        <pc:sldMkLst>
          <pc:docMk/>
          <pc:sldMk cId="2936560935" sldId="1008"/>
        </pc:sldMkLst>
        <pc:spChg chg="mod">
          <ac:chgData name="Joao Cabral de Assis" userId="2e28f1b2-599c-43fa-9c22-5b7536e3b37b" providerId="ADAL" clId="{A41F6C44-1940-4D2D-B97D-59FD6FADD12A}" dt="2023-08-02T18:25:00.009" v="60" actId="1076"/>
          <ac:spMkLst>
            <pc:docMk/>
            <pc:sldMk cId="2936560935" sldId="1008"/>
            <ac:spMk id="7" creationId="{FB3FC7A9-D74B-8015-BA17-0018BAEEBF8E}"/>
          </ac:spMkLst>
        </pc:spChg>
      </pc:sldChg>
      <pc:sldChg chg="modSp mod modNotesTx">
        <pc:chgData name="Joao Cabral de Assis" userId="2e28f1b2-599c-43fa-9c22-5b7536e3b37b" providerId="ADAL" clId="{A41F6C44-1940-4D2D-B97D-59FD6FADD12A}" dt="2023-08-02T18:26:30.498" v="70" actId="1076"/>
        <pc:sldMkLst>
          <pc:docMk/>
          <pc:sldMk cId="357297978" sldId="1009"/>
        </pc:sldMkLst>
        <pc:spChg chg="mod">
          <ac:chgData name="Joao Cabral de Assis" userId="2e28f1b2-599c-43fa-9c22-5b7536e3b37b" providerId="ADAL" clId="{A41F6C44-1940-4D2D-B97D-59FD6FADD12A}" dt="2023-08-02T18:26:30.498" v="70" actId="1076"/>
          <ac:spMkLst>
            <pc:docMk/>
            <pc:sldMk cId="357297978" sldId="1009"/>
            <ac:spMk id="3" creationId="{500715CF-13DF-04ED-2F85-EC4A998B1CE0}"/>
          </ac:spMkLst>
        </pc:spChg>
      </pc:sldChg>
      <pc:sldChg chg="modSp mod modNotesTx">
        <pc:chgData name="Joao Cabral de Assis" userId="2e28f1b2-599c-43fa-9c22-5b7536e3b37b" providerId="ADAL" clId="{A41F6C44-1940-4D2D-B97D-59FD6FADD12A}" dt="2023-08-02T18:33:18.863" v="199" actId="1076"/>
        <pc:sldMkLst>
          <pc:docMk/>
          <pc:sldMk cId="2789702345" sldId="1015"/>
        </pc:sldMkLst>
        <pc:spChg chg="mod">
          <ac:chgData name="Joao Cabral de Assis" userId="2e28f1b2-599c-43fa-9c22-5b7536e3b37b" providerId="ADAL" clId="{A41F6C44-1940-4D2D-B97D-59FD6FADD12A}" dt="2023-08-02T18:33:18.863" v="199" actId="1076"/>
          <ac:spMkLst>
            <pc:docMk/>
            <pc:sldMk cId="2789702345" sldId="1015"/>
            <ac:spMk id="7" creationId="{1DDDC718-FF80-C2D7-E9C9-7DB78F910991}"/>
          </ac:spMkLst>
        </pc:spChg>
      </pc:sldChg>
      <pc:sldChg chg="modSp mod modNotesTx">
        <pc:chgData name="Joao Cabral de Assis" userId="2e28f1b2-599c-43fa-9c22-5b7536e3b37b" providerId="ADAL" clId="{A41F6C44-1940-4D2D-B97D-59FD6FADD12A}" dt="2023-08-02T18:29:50.784" v="176" actId="20577"/>
        <pc:sldMkLst>
          <pc:docMk/>
          <pc:sldMk cId="3313977852" sldId="1016"/>
        </pc:sldMkLst>
        <pc:spChg chg="mod">
          <ac:chgData name="Joao Cabral de Assis" userId="2e28f1b2-599c-43fa-9c22-5b7536e3b37b" providerId="ADAL" clId="{A41F6C44-1940-4D2D-B97D-59FD6FADD12A}" dt="2023-08-02T18:29:50.784" v="176" actId="20577"/>
          <ac:spMkLst>
            <pc:docMk/>
            <pc:sldMk cId="3313977852" sldId="1016"/>
            <ac:spMk id="7" creationId="{943C0BAF-1506-9733-06A9-2E13B9249F4A}"/>
          </ac:spMkLst>
        </pc:spChg>
      </pc:sldChg>
      <pc:sldChg chg="modNotesTx">
        <pc:chgData name="Joao Cabral de Assis" userId="2e28f1b2-599c-43fa-9c22-5b7536e3b37b" providerId="ADAL" clId="{A41F6C44-1940-4D2D-B97D-59FD6FADD12A}" dt="2023-08-02T18:32:20.374" v="193"/>
        <pc:sldMkLst>
          <pc:docMk/>
          <pc:sldMk cId="2042292227" sldId="1021"/>
        </pc:sldMkLst>
      </pc:sldChg>
      <pc:sldChg chg="addSp modSp mod modNotesTx">
        <pc:chgData name="Joao Cabral de Assis" userId="2e28f1b2-599c-43fa-9c22-5b7536e3b37b" providerId="ADAL" clId="{A41F6C44-1940-4D2D-B97D-59FD6FADD12A}" dt="2023-08-02T18:32:06.276" v="191"/>
        <pc:sldMkLst>
          <pc:docMk/>
          <pc:sldMk cId="267455280" sldId="1025"/>
        </pc:sldMkLst>
        <pc:spChg chg="mod">
          <ac:chgData name="Joao Cabral de Assis" userId="2e28f1b2-599c-43fa-9c22-5b7536e3b37b" providerId="ADAL" clId="{A41F6C44-1940-4D2D-B97D-59FD6FADD12A}" dt="2023-08-02T18:31:54.800" v="190" actId="1076"/>
          <ac:spMkLst>
            <pc:docMk/>
            <pc:sldMk cId="267455280" sldId="1025"/>
            <ac:spMk id="7" creationId="{13FB9EAC-B59B-2A47-0BBE-C3D767B0B0F4}"/>
          </ac:spMkLst>
        </pc:spChg>
        <pc:spChg chg="add mod">
          <ac:chgData name="Joao Cabral de Assis" userId="2e28f1b2-599c-43fa-9c22-5b7536e3b37b" providerId="ADAL" clId="{A41F6C44-1940-4D2D-B97D-59FD6FADD12A}" dt="2023-08-02T18:32:06.276" v="191"/>
          <ac:spMkLst>
            <pc:docMk/>
            <pc:sldMk cId="267455280" sldId="1025"/>
            <ac:spMk id="9" creationId="{E04B6C6A-F142-9A5E-A4EE-3B4276065FE8}"/>
          </ac:spMkLst>
        </pc:spChg>
      </pc:sldChg>
      <pc:sldChg chg="modSp mod modNotesTx">
        <pc:chgData name="Joao Cabral de Assis" userId="2e28f1b2-599c-43fa-9c22-5b7536e3b37b" providerId="ADAL" clId="{A41F6C44-1940-4D2D-B97D-59FD6FADD12A}" dt="2023-08-02T18:27:34.929" v="80" actId="1076"/>
        <pc:sldMkLst>
          <pc:docMk/>
          <pc:sldMk cId="1078412664" sldId="1039"/>
        </pc:sldMkLst>
        <pc:spChg chg="mod">
          <ac:chgData name="Joao Cabral de Assis" userId="2e28f1b2-599c-43fa-9c22-5b7536e3b37b" providerId="ADAL" clId="{A41F6C44-1940-4D2D-B97D-59FD6FADD12A}" dt="2023-08-02T18:27:30.163" v="79" actId="1076"/>
          <ac:spMkLst>
            <pc:docMk/>
            <pc:sldMk cId="1078412664" sldId="1039"/>
            <ac:spMk id="3" creationId="{500715CF-13DF-04ED-2F85-EC4A998B1CE0}"/>
          </ac:spMkLst>
        </pc:spChg>
        <pc:spChg chg="mod">
          <ac:chgData name="Joao Cabral de Assis" userId="2e28f1b2-599c-43fa-9c22-5b7536e3b37b" providerId="ADAL" clId="{A41F6C44-1940-4D2D-B97D-59FD6FADD12A}" dt="2023-08-02T18:27:34.929" v="80" actId="1076"/>
          <ac:spMkLst>
            <pc:docMk/>
            <pc:sldMk cId="1078412664" sldId="1039"/>
            <ac:spMk id="7" creationId="{6D58E467-B506-5F27-F2C5-10E7C9853DC4}"/>
          </ac:spMkLst>
        </pc:spChg>
        <pc:graphicFrameChg chg="mod">
          <ac:chgData name="Joao Cabral de Assis" userId="2e28f1b2-599c-43fa-9c22-5b7536e3b37b" providerId="ADAL" clId="{A41F6C44-1940-4D2D-B97D-59FD6FADD12A}" dt="2023-08-02T18:27:30.027" v="78" actId="1076"/>
          <ac:graphicFrameMkLst>
            <pc:docMk/>
            <pc:sldMk cId="1078412664" sldId="1039"/>
            <ac:graphicFrameMk id="6" creationId="{FA09122B-4564-430C-A247-4B2576229BA0}"/>
          </ac:graphicFrameMkLst>
        </pc:graphicFrameChg>
      </pc:sldChg>
      <pc:sldChg chg="modSp mod modNotesTx">
        <pc:chgData name="Joao Cabral de Assis" userId="2e28f1b2-599c-43fa-9c22-5b7536e3b37b" providerId="ADAL" clId="{A41F6C44-1940-4D2D-B97D-59FD6FADD12A}" dt="2023-08-02T18:24:08.752" v="50"/>
        <pc:sldMkLst>
          <pc:docMk/>
          <pc:sldMk cId="3552555709" sldId="1040"/>
        </pc:sldMkLst>
        <pc:spChg chg="mod">
          <ac:chgData name="Joao Cabral de Assis" userId="2e28f1b2-599c-43fa-9c22-5b7536e3b37b" providerId="ADAL" clId="{A41F6C44-1940-4D2D-B97D-59FD6FADD12A}" dt="2023-08-02T18:24:03.560" v="47" actId="6549"/>
          <ac:spMkLst>
            <pc:docMk/>
            <pc:sldMk cId="3552555709" sldId="1040"/>
            <ac:spMk id="3" creationId="{87F4C6B9-E05D-545C-5A46-83C73BCF275F}"/>
          </ac:spMkLst>
        </pc:spChg>
      </pc:sldChg>
      <pc:sldChg chg="modSp mod modNotesTx">
        <pc:chgData name="Joao Cabral de Assis" userId="2e28f1b2-599c-43fa-9c22-5b7536e3b37b" providerId="ADAL" clId="{A41F6C44-1940-4D2D-B97D-59FD6FADD12A}" dt="2023-08-02T18:30:58.261" v="186" actId="20577"/>
        <pc:sldMkLst>
          <pc:docMk/>
          <pc:sldMk cId="947605920" sldId="1041"/>
        </pc:sldMkLst>
        <pc:spChg chg="mod">
          <ac:chgData name="Joao Cabral de Assis" userId="2e28f1b2-599c-43fa-9c22-5b7536e3b37b" providerId="ADAL" clId="{A41F6C44-1940-4D2D-B97D-59FD6FADD12A}" dt="2023-08-02T18:30:58.261" v="186" actId="20577"/>
          <ac:spMkLst>
            <pc:docMk/>
            <pc:sldMk cId="947605920" sldId="1041"/>
            <ac:spMk id="11" creationId="{CB96F30B-83D1-BDF1-8FA8-BA7ACFC70858}"/>
          </ac:spMkLst>
        </pc:spChg>
      </pc:sldChg>
      <pc:sldChg chg="modSp mod modNotesTx">
        <pc:chgData name="Joao Cabral de Assis" userId="2e28f1b2-599c-43fa-9c22-5b7536e3b37b" providerId="ADAL" clId="{A41F6C44-1940-4D2D-B97D-59FD6FADD12A}" dt="2023-08-02T18:34:55.859" v="213" actId="14100"/>
        <pc:sldMkLst>
          <pc:docMk/>
          <pc:sldMk cId="2648243926" sldId="11516"/>
        </pc:sldMkLst>
        <pc:spChg chg="mod">
          <ac:chgData name="Joao Cabral de Assis" userId="2e28f1b2-599c-43fa-9c22-5b7536e3b37b" providerId="ADAL" clId="{A41F6C44-1940-4D2D-B97D-59FD6FADD12A}" dt="2023-08-02T18:34:55.859" v="213" actId="14100"/>
          <ac:spMkLst>
            <pc:docMk/>
            <pc:sldMk cId="2648243926" sldId="11516"/>
            <ac:spMk id="15" creationId="{B96FDC7E-1F71-9747-58CE-F7845CFBE252}"/>
          </ac:spMkLst>
        </pc:spChg>
      </pc:sldChg>
      <pc:sldChg chg="modSp mod modNotesTx">
        <pc:chgData name="Joao Cabral de Assis" userId="2e28f1b2-599c-43fa-9c22-5b7536e3b37b" providerId="ADAL" clId="{A41F6C44-1940-4D2D-B97D-59FD6FADD12A}" dt="2023-08-02T18:35:26.193" v="217" actId="14100"/>
        <pc:sldMkLst>
          <pc:docMk/>
          <pc:sldMk cId="1509743954" sldId="11519"/>
        </pc:sldMkLst>
        <pc:spChg chg="mod">
          <ac:chgData name="Joao Cabral de Assis" userId="2e28f1b2-599c-43fa-9c22-5b7536e3b37b" providerId="ADAL" clId="{A41F6C44-1940-4D2D-B97D-59FD6FADD12A}" dt="2023-08-02T18:35:26.193" v="217" actId="14100"/>
          <ac:spMkLst>
            <pc:docMk/>
            <pc:sldMk cId="1509743954" sldId="11519"/>
            <ac:spMk id="15" creationId="{B96FDC7E-1F71-9747-58CE-F7845CFBE252}"/>
          </ac:spMkLst>
        </pc:spChg>
      </pc:sldChg>
      <pc:sldChg chg="del">
        <pc:chgData name="Joao Cabral de Assis" userId="2e28f1b2-599c-43fa-9c22-5b7536e3b37b" providerId="ADAL" clId="{A41F6C44-1940-4D2D-B97D-59FD6FADD12A}" dt="2023-08-02T18:20:42.929" v="31" actId="47"/>
        <pc:sldMkLst>
          <pc:docMk/>
          <pc:sldMk cId="408117804" sldId="11524"/>
        </pc:sldMkLst>
      </pc:sldChg>
      <pc:sldChg chg="del">
        <pc:chgData name="Joao Cabral de Assis" userId="2e28f1b2-599c-43fa-9c22-5b7536e3b37b" providerId="ADAL" clId="{A41F6C44-1940-4D2D-B97D-59FD6FADD12A}" dt="2023-08-02T18:20:44.544" v="32" actId="47"/>
        <pc:sldMkLst>
          <pc:docMk/>
          <pc:sldMk cId="1068429091" sldId="11527"/>
        </pc:sldMkLst>
      </pc:sldChg>
      <pc:sldChg chg="modSp mod modNotesTx">
        <pc:chgData name="Joao Cabral de Assis" userId="2e28f1b2-599c-43fa-9c22-5b7536e3b37b" providerId="ADAL" clId="{A41F6C44-1940-4D2D-B97D-59FD6FADD12A}" dt="2023-08-02T18:33:57.487" v="207" actId="14100"/>
        <pc:sldMkLst>
          <pc:docMk/>
          <pc:sldMk cId="129504810" sldId="11551"/>
        </pc:sldMkLst>
        <pc:spChg chg="mod">
          <ac:chgData name="Joao Cabral de Assis" userId="2e28f1b2-599c-43fa-9c22-5b7536e3b37b" providerId="ADAL" clId="{A41F6C44-1940-4D2D-B97D-59FD6FADD12A}" dt="2023-08-02T18:33:57.487" v="207" actId="14100"/>
          <ac:spMkLst>
            <pc:docMk/>
            <pc:sldMk cId="129504810" sldId="11551"/>
            <ac:spMk id="15" creationId="{B96FDC7E-1F71-9747-58CE-F7845CFBE252}"/>
          </ac:spMkLst>
        </pc:spChg>
      </pc:sldChg>
      <pc:sldChg chg="modSp mod modNotesTx">
        <pc:chgData name="Joao Cabral de Assis" userId="2e28f1b2-599c-43fa-9c22-5b7536e3b37b" providerId="ADAL" clId="{A41F6C44-1940-4D2D-B97D-59FD6FADD12A}" dt="2023-08-02T18:34:28.231" v="210" actId="14100"/>
        <pc:sldMkLst>
          <pc:docMk/>
          <pc:sldMk cId="4271509132" sldId="11552"/>
        </pc:sldMkLst>
        <pc:spChg chg="mod">
          <ac:chgData name="Joao Cabral de Assis" userId="2e28f1b2-599c-43fa-9c22-5b7536e3b37b" providerId="ADAL" clId="{A41F6C44-1940-4D2D-B97D-59FD6FADD12A}" dt="2023-08-02T18:34:28.231" v="210" actId="14100"/>
          <ac:spMkLst>
            <pc:docMk/>
            <pc:sldMk cId="4271509132" sldId="11552"/>
            <ac:spMk id="15" creationId="{B96FDC7E-1F71-9747-58CE-F7845CFBE252}"/>
          </ac:spMkLst>
        </pc:spChg>
      </pc:sldChg>
      <pc:sldChg chg="add">
        <pc:chgData name="Joao Cabral de Assis" userId="2e28f1b2-599c-43fa-9c22-5b7536e3b37b" providerId="ADAL" clId="{A41F6C44-1940-4D2D-B97D-59FD6FADD12A}" dt="2023-08-02T18:20:33.045" v="30"/>
        <pc:sldMkLst>
          <pc:docMk/>
          <pc:sldMk cId="1235340982" sldId="11553"/>
        </pc:sldMkLst>
      </pc:sldChg>
      <pc:sldChg chg="add">
        <pc:chgData name="Joao Cabral de Assis" userId="2e28f1b2-599c-43fa-9c22-5b7536e3b37b" providerId="ADAL" clId="{A41F6C44-1940-4D2D-B97D-59FD6FADD12A}" dt="2023-08-02T18:20:33.045" v="30"/>
        <pc:sldMkLst>
          <pc:docMk/>
          <pc:sldMk cId="138173095" sldId="11554"/>
        </pc:sldMkLst>
      </pc:sldChg>
    </pc:docChg>
  </pc:docChgLst>
  <pc:docChgLst>
    <pc:chgData name="Joao Cabral de Assis" userId="2e28f1b2-599c-43fa-9c22-5b7536e3b37b" providerId="ADAL" clId="{903218E2-C22B-4CC8-9AB6-343CA3DF934D}"/>
    <pc:docChg chg="undo custSel addSld delSld modSld sldOrd modMainMaster replTag">
      <pc:chgData name="Joao Cabral de Assis" userId="2e28f1b2-599c-43fa-9c22-5b7536e3b37b" providerId="ADAL" clId="{903218E2-C22B-4CC8-9AB6-343CA3DF934D}" dt="2023-06-21T13:49:20.324" v="12555" actId="6549"/>
      <pc:docMkLst>
        <pc:docMk/>
      </pc:docMkLst>
      <pc:sldChg chg="modSp mod modNotes">
        <pc:chgData name="Joao Cabral de Assis" userId="2e28f1b2-599c-43fa-9c22-5b7536e3b37b" providerId="ADAL" clId="{903218E2-C22B-4CC8-9AB6-343CA3DF934D}" dt="2023-06-19T01:36:43.691" v="10839" actId="790"/>
        <pc:sldMkLst>
          <pc:docMk/>
          <pc:sldMk cId="2905921952" sldId="256"/>
        </pc:sldMkLst>
        <pc:spChg chg="mod">
          <ac:chgData name="Joao Cabral de Assis" userId="2e28f1b2-599c-43fa-9c22-5b7536e3b37b" providerId="ADAL" clId="{903218E2-C22B-4CC8-9AB6-343CA3DF934D}" dt="2023-06-19T01:36:43.685" v="10837" actId="790"/>
          <ac:spMkLst>
            <pc:docMk/>
            <pc:sldMk cId="2905921952" sldId="256"/>
            <ac:spMk id="4" creationId="{0D5AFC5B-6544-23EB-4A65-6F4553BDC8C3}"/>
          </ac:spMkLst>
        </pc:spChg>
        <pc:spChg chg="mod">
          <ac:chgData name="Joao Cabral de Assis" userId="2e28f1b2-599c-43fa-9c22-5b7536e3b37b" providerId="ADAL" clId="{903218E2-C22B-4CC8-9AB6-343CA3DF934D}" dt="2023-06-19T01:36:43.684" v="10836" actId="790"/>
          <ac:spMkLst>
            <pc:docMk/>
            <pc:sldMk cId="2905921952" sldId="256"/>
            <ac:spMk id="16" creationId="{70504074-E145-4B4E-B7E8-1208178905FF}"/>
          </ac:spMkLst>
        </pc:spChg>
      </pc:sldChg>
      <pc:sldChg chg="modSp mod modNotes">
        <pc:chgData name="Joao Cabral de Assis" userId="2e28f1b2-599c-43fa-9c22-5b7536e3b37b" providerId="ADAL" clId="{903218E2-C22B-4CC8-9AB6-343CA3DF934D}" dt="2023-06-19T01:36:44.457" v="11014" actId="790"/>
        <pc:sldMkLst>
          <pc:docMk/>
          <pc:sldMk cId="1376214492" sldId="327"/>
        </pc:sldMkLst>
        <pc:spChg chg="mod">
          <ac:chgData name="Joao Cabral de Assis" userId="2e28f1b2-599c-43fa-9c22-5b7536e3b37b" providerId="ADAL" clId="{903218E2-C22B-4CC8-9AB6-343CA3DF934D}" dt="2023-06-19T01:36:44.450" v="11010" actId="790"/>
          <ac:spMkLst>
            <pc:docMk/>
            <pc:sldMk cId="1376214492" sldId="327"/>
            <ac:spMk id="2" creationId="{E2D343AF-B17C-492C-6348-E37BA86A296C}"/>
          </ac:spMkLst>
        </pc:spChg>
        <pc:spChg chg="mod">
          <ac:chgData name="Joao Cabral de Assis" userId="2e28f1b2-599c-43fa-9c22-5b7536e3b37b" providerId="ADAL" clId="{903218E2-C22B-4CC8-9AB6-343CA3DF934D}" dt="2023-06-19T01:36:44.451" v="11011" actId="790"/>
          <ac:spMkLst>
            <pc:docMk/>
            <pc:sldMk cId="1376214492" sldId="327"/>
            <ac:spMk id="5" creationId="{565C2941-6CD0-1221-BF80-419E3BBC75C0}"/>
          </ac:spMkLst>
        </pc:spChg>
        <pc:spChg chg="mod">
          <ac:chgData name="Joao Cabral de Assis" userId="2e28f1b2-599c-43fa-9c22-5b7536e3b37b" providerId="ADAL" clId="{903218E2-C22B-4CC8-9AB6-343CA3DF934D}" dt="2023-06-19T01:36:44.436" v="11007" actId="790"/>
          <ac:spMkLst>
            <pc:docMk/>
            <pc:sldMk cId="1376214492" sldId="327"/>
            <ac:spMk id="7" creationId="{D9ACFC00-9D93-41E2-90C4-898E9C202D65}"/>
          </ac:spMkLst>
        </pc:spChg>
        <pc:spChg chg="mod">
          <ac:chgData name="Joao Cabral de Assis" userId="2e28f1b2-599c-43fa-9c22-5b7536e3b37b" providerId="ADAL" clId="{903218E2-C22B-4CC8-9AB6-343CA3DF934D}" dt="2023-06-19T01:36:44.444" v="11008" actId="790"/>
          <ac:spMkLst>
            <pc:docMk/>
            <pc:sldMk cId="1376214492" sldId="327"/>
            <ac:spMk id="8" creationId="{D84E55FB-8D0C-42A4-9929-E311C0FA3E5C}"/>
          </ac:spMkLst>
        </pc:spChg>
        <pc:spChg chg="mod">
          <ac:chgData name="Joao Cabral de Assis" userId="2e28f1b2-599c-43fa-9c22-5b7536e3b37b" providerId="ADAL" clId="{903218E2-C22B-4CC8-9AB6-343CA3DF934D}" dt="2023-06-19T01:36:44.453" v="11012" actId="790"/>
          <ac:spMkLst>
            <pc:docMk/>
            <pc:sldMk cId="1376214492" sldId="327"/>
            <ac:spMk id="9" creationId="{38C1D7EE-6D71-8092-BB11-EB15D79B41E3}"/>
          </ac:spMkLst>
        </pc:spChg>
        <pc:spChg chg="mod">
          <ac:chgData name="Joao Cabral de Assis" userId="2e28f1b2-599c-43fa-9c22-5b7536e3b37b" providerId="ADAL" clId="{903218E2-C22B-4CC8-9AB6-343CA3DF934D}" dt="2023-06-19T01:36:44.448" v="11009" actId="790"/>
          <ac:spMkLst>
            <pc:docMk/>
            <pc:sldMk cId="1376214492" sldId="327"/>
            <ac:spMk id="12" creationId="{7E52DC43-DC08-40D0-8F84-75AD2AE4D140}"/>
          </ac:spMkLst>
        </pc:spChg>
      </pc:sldChg>
      <pc:sldChg chg="addSp delSp modSp mod modNotes">
        <pc:chgData name="Joao Cabral de Assis" userId="2e28f1b2-599c-43fa-9c22-5b7536e3b37b" providerId="ADAL" clId="{903218E2-C22B-4CC8-9AB6-343CA3DF934D}" dt="2023-06-19T01:36:44.033" v="10920" actId="790"/>
        <pc:sldMkLst>
          <pc:docMk/>
          <pc:sldMk cId="857344757" sldId="359"/>
        </pc:sldMkLst>
        <pc:spChg chg="mod">
          <ac:chgData name="Joao Cabral de Assis" userId="2e28f1b2-599c-43fa-9c22-5b7536e3b37b" providerId="ADAL" clId="{903218E2-C22B-4CC8-9AB6-343CA3DF934D}" dt="2023-06-19T01:36:44.007" v="10907" actId="790"/>
          <ac:spMkLst>
            <pc:docMk/>
            <pc:sldMk cId="857344757" sldId="359"/>
            <ac:spMk id="2" creationId="{00000000-0000-0000-0000-000000000000}"/>
          </ac:spMkLst>
        </pc:spChg>
        <pc:spChg chg="mod">
          <ac:chgData name="Joao Cabral de Assis" userId="2e28f1b2-599c-43fa-9c22-5b7536e3b37b" providerId="ADAL" clId="{903218E2-C22B-4CC8-9AB6-343CA3DF934D}" dt="2023-06-19T01:36:44.010" v="10908" actId="790"/>
          <ac:spMkLst>
            <pc:docMk/>
            <pc:sldMk cId="857344757" sldId="359"/>
            <ac:spMk id="3" creationId="{78F0DD7B-EA80-DBF9-31C3-1CFF228F1B66}"/>
          </ac:spMkLst>
        </pc:spChg>
        <pc:spChg chg="mod">
          <ac:chgData name="Joao Cabral de Assis" userId="2e28f1b2-599c-43fa-9c22-5b7536e3b37b" providerId="ADAL" clId="{903218E2-C22B-4CC8-9AB6-343CA3DF934D}" dt="2023-06-19T01:36:44.012" v="10909" actId="790"/>
          <ac:spMkLst>
            <pc:docMk/>
            <pc:sldMk cId="857344757" sldId="359"/>
            <ac:spMk id="5" creationId="{98E4CF62-60F4-DB8A-0168-C54639DF8A41}"/>
          </ac:spMkLst>
        </pc:spChg>
        <pc:spChg chg="add del mod modVis">
          <ac:chgData name="Joao Cabral de Assis" userId="2e28f1b2-599c-43fa-9c22-5b7536e3b37b" providerId="ADAL" clId="{903218E2-C22B-4CC8-9AB6-343CA3DF934D}" dt="2023-06-12T14:59:01.352" v="268"/>
          <ac:spMkLst>
            <pc:docMk/>
            <pc:sldMk cId="857344757" sldId="359"/>
            <ac:spMk id="6" creationId="{40EBB4B0-34DD-1362-9C19-DBEDA6AA8E68}"/>
          </ac:spMkLst>
        </pc:spChg>
        <pc:spChg chg="mod">
          <ac:chgData name="Joao Cabral de Assis" userId="2e28f1b2-599c-43fa-9c22-5b7536e3b37b" providerId="ADAL" clId="{903218E2-C22B-4CC8-9AB6-343CA3DF934D}" dt="2023-06-19T01:36:44.025" v="10915" actId="790"/>
          <ac:spMkLst>
            <pc:docMk/>
            <pc:sldMk cId="857344757" sldId="359"/>
            <ac:spMk id="7" creationId="{EF9331D0-C9C3-25B5-0B68-97C8935CC187}"/>
          </ac:spMkLst>
        </pc:spChg>
        <pc:spChg chg="mod">
          <ac:chgData name="Joao Cabral de Assis" userId="2e28f1b2-599c-43fa-9c22-5b7536e3b37b" providerId="ADAL" clId="{903218E2-C22B-4CC8-9AB6-343CA3DF934D}" dt="2023-06-19T01:36:44.027" v="10916" actId="790"/>
          <ac:spMkLst>
            <pc:docMk/>
            <pc:sldMk cId="857344757" sldId="359"/>
            <ac:spMk id="10" creationId="{D0FF58C5-D49E-FCB9-83C5-FA0EC192E460}"/>
          </ac:spMkLst>
        </pc:spChg>
        <pc:spChg chg="add del mod modVis">
          <ac:chgData name="Joao Cabral de Assis" userId="2e28f1b2-599c-43fa-9c22-5b7536e3b37b" providerId="ADAL" clId="{903218E2-C22B-4CC8-9AB6-343CA3DF934D}" dt="2023-06-12T14:59:12.001" v="302"/>
          <ac:spMkLst>
            <pc:docMk/>
            <pc:sldMk cId="857344757" sldId="359"/>
            <ac:spMk id="13" creationId="{AFFCBD06-B7E6-8B4A-2DC8-DCF114B15F45}"/>
          </ac:spMkLst>
        </pc:spChg>
        <pc:spChg chg="mod">
          <ac:chgData name="Joao Cabral de Assis" userId="2e28f1b2-599c-43fa-9c22-5b7536e3b37b" providerId="ADAL" clId="{903218E2-C22B-4CC8-9AB6-343CA3DF934D}" dt="2023-06-19T01:36:44.014" v="10910" actId="790"/>
          <ac:spMkLst>
            <pc:docMk/>
            <pc:sldMk cId="857344757" sldId="359"/>
            <ac:spMk id="14" creationId="{00000000-0000-0000-0000-000000000000}"/>
          </ac:spMkLst>
        </pc:spChg>
        <pc:spChg chg="mod">
          <ac:chgData name="Joao Cabral de Assis" userId="2e28f1b2-599c-43fa-9c22-5b7536e3b37b" providerId="ADAL" clId="{903218E2-C22B-4CC8-9AB6-343CA3DF934D}" dt="2023-06-19T01:36:44.016" v="10911" actId="790"/>
          <ac:spMkLst>
            <pc:docMk/>
            <pc:sldMk cId="857344757" sldId="359"/>
            <ac:spMk id="15" creationId="{00000000-0000-0000-0000-000000000000}"/>
          </ac:spMkLst>
        </pc:spChg>
        <pc:spChg chg="mod">
          <ac:chgData name="Joao Cabral de Assis" userId="2e28f1b2-599c-43fa-9c22-5b7536e3b37b" providerId="ADAL" clId="{903218E2-C22B-4CC8-9AB6-343CA3DF934D}" dt="2023-06-19T01:36:44.019" v="10912" actId="790"/>
          <ac:spMkLst>
            <pc:docMk/>
            <pc:sldMk cId="857344757" sldId="359"/>
            <ac:spMk id="16" creationId="{00000000-0000-0000-0000-000000000000}"/>
          </ac:spMkLst>
        </pc:spChg>
        <pc:spChg chg="mod">
          <ac:chgData name="Joao Cabral de Assis" userId="2e28f1b2-599c-43fa-9c22-5b7536e3b37b" providerId="ADAL" clId="{903218E2-C22B-4CC8-9AB6-343CA3DF934D}" dt="2023-06-19T01:36:44.021" v="10913" actId="790"/>
          <ac:spMkLst>
            <pc:docMk/>
            <pc:sldMk cId="857344757" sldId="359"/>
            <ac:spMk id="17" creationId="{00000000-0000-0000-0000-000000000000}"/>
          </ac:spMkLst>
        </pc:spChg>
        <pc:spChg chg="add del mod modVis">
          <ac:chgData name="Joao Cabral de Assis" userId="2e28f1b2-599c-43fa-9c22-5b7536e3b37b" providerId="ADAL" clId="{903218E2-C22B-4CC8-9AB6-343CA3DF934D}" dt="2023-06-12T14:59:13.287" v="336"/>
          <ac:spMkLst>
            <pc:docMk/>
            <pc:sldMk cId="857344757" sldId="359"/>
            <ac:spMk id="18" creationId="{8374A393-A75C-15F4-A50E-6139320401A4}"/>
          </ac:spMkLst>
        </pc:spChg>
        <pc:spChg chg="mod">
          <ac:chgData name="Joao Cabral de Assis" userId="2e28f1b2-599c-43fa-9c22-5b7536e3b37b" providerId="ADAL" clId="{903218E2-C22B-4CC8-9AB6-343CA3DF934D}" dt="2023-06-19T01:36:44.023" v="10914" actId="790"/>
          <ac:spMkLst>
            <pc:docMk/>
            <pc:sldMk cId="857344757" sldId="359"/>
            <ac:spMk id="19" creationId="{00000000-0000-0000-0000-000000000000}"/>
          </ac:spMkLst>
        </pc:spChg>
        <pc:spChg chg="add del mod modVis">
          <ac:chgData name="Joao Cabral de Assis" userId="2e28f1b2-599c-43fa-9c22-5b7536e3b37b" providerId="ADAL" clId="{903218E2-C22B-4CC8-9AB6-343CA3DF934D}" dt="2023-06-12T14:59:15.801" v="379"/>
          <ac:spMkLst>
            <pc:docMk/>
            <pc:sldMk cId="857344757" sldId="359"/>
            <ac:spMk id="20" creationId="{94EEA66E-561A-B069-0DB4-D7854A4F8F20}"/>
          </ac:spMkLst>
        </pc:spChg>
        <pc:spChg chg="add del mod modVis">
          <ac:chgData name="Joao Cabral de Assis" userId="2e28f1b2-599c-43fa-9c22-5b7536e3b37b" providerId="ADAL" clId="{903218E2-C22B-4CC8-9AB6-343CA3DF934D}" dt="2023-06-12T14:59:17.256" v="414"/>
          <ac:spMkLst>
            <pc:docMk/>
            <pc:sldMk cId="857344757" sldId="359"/>
            <ac:spMk id="21" creationId="{529E94A6-1264-A88F-B7FA-536C89AD149B}"/>
          </ac:spMkLst>
        </pc:spChg>
        <pc:spChg chg="add del mod modVis">
          <ac:chgData name="Joao Cabral de Assis" userId="2e28f1b2-599c-43fa-9c22-5b7536e3b37b" providerId="ADAL" clId="{903218E2-C22B-4CC8-9AB6-343CA3DF934D}" dt="2023-06-12T14:59:30.960" v="620" actId="962"/>
          <ac:spMkLst>
            <pc:docMk/>
            <pc:sldMk cId="857344757" sldId="359"/>
            <ac:spMk id="22" creationId="{0B82BD9E-FB8E-C2BC-E51E-1AE99C6A7A6C}"/>
          </ac:spMkLst>
        </pc:spChg>
        <pc:spChg chg="add del mod modVis">
          <ac:chgData name="Joao Cabral de Assis" userId="2e28f1b2-599c-43fa-9c22-5b7536e3b37b" providerId="ADAL" clId="{903218E2-C22B-4CC8-9AB6-343CA3DF934D}" dt="2023-06-12T14:59:30.217" v="593" actId="962"/>
          <ac:spMkLst>
            <pc:docMk/>
            <pc:sldMk cId="857344757" sldId="359"/>
            <ac:spMk id="23" creationId="{08B07602-4921-DBC6-249B-46FE8B272F2C}"/>
          </ac:spMkLst>
        </pc:spChg>
        <pc:spChg chg="mod">
          <ac:chgData name="Joao Cabral de Assis" userId="2e28f1b2-599c-43fa-9c22-5b7536e3b37b" providerId="ADAL" clId="{903218E2-C22B-4CC8-9AB6-343CA3DF934D}" dt="2023-06-19T01:36:44.029" v="10917" actId="790"/>
          <ac:spMkLst>
            <pc:docMk/>
            <pc:sldMk cId="857344757" sldId="359"/>
            <ac:spMk id="24" creationId="{161E2F72-717C-2868-D714-F225345F946F}"/>
          </ac:spMkLst>
        </pc:spChg>
        <pc:spChg chg="add del mod modVis">
          <ac:chgData name="Joao Cabral de Assis" userId="2e28f1b2-599c-43fa-9c22-5b7536e3b37b" providerId="ADAL" clId="{903218E2-C22B-4CC8-9AB6-343CA3DF934D}" dt="2023-06-12T14:59:29.333" v="558" actId="962"/>
          <ac:spMkLst>
            <pc:docMk/>
            <pc:sldMk cId="857344757" sldId="359"/>
            <ac:spMk id="25" creationId="{689E8F6F-864B-3CED-582D-F82A685CB473}"/>
          </ac:spMkLst>
        </pc:spChg>
        <pc:spChg chg="add del mod modVis">
          <ac:chgData name="Joao Cabral de Assis" userId="2e28f1b2-599c-43fa-9c22-5b7536e3b37b" providerId="ADAL" clId="{903218E2-C22B-4CC8-9AB6-343CA3DF934D}" dt="2023-06-12T14:59:35.783" v="656"/>
          <ac:spMkLst>
            <pc:docMk/>
            <pc:sldMk cId="857344757" sldId="359"/>
            <ac:spMk id="26" creationId="{2F4D1314-2408-9816-2F9C-D5230485C55B}"/>
          </ac:spMkLst>
        </pc:spChg>
        <pc:spChg chg="add del mod modVis">
          <ac:chgData name="Joao Cabral de Assis" userId="2e28f1b2-599c-43fa-9c22-5b7536e3b37b" providerId="ADAL" clId="{903218E2-C22B-4CC8-9AB6-343CA3DF934D}" dt="2023-06-12T14:59:39.026" v="691"/>
          <ac:spMkLst>
            <pc:docMk/>
            <pc:sldMk cId="857344757" sldId="359"/>
            <ac:spMk id="27" creationId="{4D6FE8D2-D6A2-99E0-8775-9138C4CF4618}"/>
          </ac:spMkLst>
        </pc:spChg>
        <pc:spChg chg="add del mod modVis">
          <ac:chgData name="Joao Cabral de Assis" userId="2e28f1b2-599c-43fa-9c22-5b7536e3b37b" providerId="ADAL" clId="{903218E2-C22B-4CC8-9AB6-343CA3DF934D}" dt="2023-06-12T14:59:39.809" v="725"/>
          <ac:spMkLst>
            <pc:docMk/>
            <pc:sldMk cId="857344757" sldId="359"/>
            <ac:spMk id="28" creationId="{801E1115-A786-8E9E-1310-4DAD73BC02E8}"/>
          </ac:spMkLst>
        </pc:spChg>
        <pc:spChg chg="add del mod modVis">
          <ac:chgData name="Joao Cabral de Assis" userId="2e28f1b2-599c-43fa-9c22-5b7536e3b37b" providerId="ADAL" clId="{903218E2-C22B-4CC8-9AB6-343CA3DF934D}" dt="2023-06-12T14:59:43.365" v="760"/>
          <ac:spMkLst>
            <pc:docMk/>
            <pc:sldMk cId="857344757" sldId="359"/>
            <ac:spMk id="29" creationId="{4BD8C2F4-B2DF-4B5B-966C-CABD9502B26A}"/>
          </ac:spMkLst>
        </pc:spChg>
        <pc:spChg chg="add del mod modVis">
          <ac:chgData name="Joao Cabral de Assis" userId="2e28f1b2-599c-43fa-9c22-5b7536e3b37b" providerId="ADAL" clId="{903218E2-C22B-4CC8-9AB6-343CA3DF934D}" dt="2023-06-12T14:59:43.926" v="794"/>
          <ac:spMkLst>
            <pc:docMk/>
            <pc:sldMk cId="857344757" sldId="359"/>
            <ac:spMk id="30" creationId="{1B264627-D6A6-4AAD-05F3-DEA779790D01}"/>
          </ac:spMkLst>
        </pc:spChg>
        <pc:spChg chg="add del mod modVis">
          <ac:chgData name="Joao Cabral de Assis" userId="2e28f1b2-599c-43fa-9c22-5b7536e3b37b" providerId="ADAL" clId="{903218E2-C22B-4CC8-9AB6-343CA3DF934D}" dt="2023-06-12T14:59:45.582" v="832"/>
          <ac:spMkLst>
            <pc:docMk/>
            <pc:sldMk cId="857344757" sldId="359"/>
            <ac:spMk id="31" creationId="{5909BD98-8551-50FE-A38B-E56A52A7F807}"/>
          </ac:spMkLst>
        </pc:spChg>
        <pc:spChg chg="add del mod modVis">
          <ac:chgData name="Joao Cabral de Assis" userId="2e28f1b2-599c-43fa-9c22-5b7536e3b37b" providerId="ADAL" clId="{903218E2-C22B-4CC8-9AB6-343CA3DF934D}" dt="2023-06-12T14:59:53.384" v="872"/>
          <ac:spMkLst>
            <pc:docMk/>
            <pc:sldMk cId="857344757" sldId="359"/>
            <ac:spMk id="32" creationId="{5D05B305-9E47-805C-8D0D-88301D1FCBEE}"/>
          </ac:spMkLst>
        </pc:spChg>
        <pc:spChg chg="add del mod modVis">
          <ac:chgData name="Joao Cabral de Assis" userId="2e28f1b2-599c-43fa-9c22-5b7536e3b37b" providerId="ADAL" clId="{903218E2-C22B-4CC8-9AB6-343CA3DF934D}" dt="2023-06-12T15:00:02.861" v="906"/>
          <ac:spMkLst>
            <pc:docMk/>
            <pc:sldMk cId="857344757" sldId="359"/>
            <ac:spMk id="33" creationId="{48E000BF-F6ED-3A8A-991D-78D5FF22D3CA}"/>
          </ac:spMkLst>
        </pc:spChg>
        <pc:spChg chg="add del mod modVis">
          <ac:chgData name="Joao Cabral de Assis" userId="2e28f1b2-599c-43fa-9c22-5b7536e3b37b" providerId="ADAL" clId="{903218E2-C22B-4CC8-9AB6-343CA3DF934D}" dt="2023-06-12T15:00:04.637" v="940"/>
          <ac:spMkLst>
            <pc:docMk/>
            <pc:sldMk cId="857344757" sldId="359"/>
            <ac:spMk id="34" creationId="{D426B90C-E22F-15B4-BD7B-C29A214FDB29}"/>
          </ac:spMkLst>
        </pc:spChg>
        <pc:spChg chg="add del mod modVis">
          <ac:chgData name="Joao Cabral de Assis" userId="2e28f1b2-599c-43fa-9c22-5b7536e3b37b" providerId="ADAL" clId="{903218E2-C22B-4CC8-9AB6-343CA3DF934D}" dt="2023-06-12T15:00:06.845" v="974"/>
          <ac:spMkLst>
            <pc:docMk/>
            <pc:sldMk cId="857344757" sldId="359"/>
            <ac:spMk id="35" creationId="{9360243D-069D-D5ED-32D3-443799DF154A}"/>
          </ac:spMkLst>
        </pc:spChg>
        <pc:spChg chg="add del mod modVis">
          <ac:chgData name="Joao Cabral de Assis" userId="2e28f1b2-599c-43fa-9c22-5b7536e3b37b" providerId="ADAL" clId="{903218E2-C22B-4CC8-9AB6-343CA3DF934D}" dt="2023-06-12T15:00:07.887" v="1008"/>
          <ac:spMkLst>
            <pc:docMk/>
            <pc:sldMk cId="857344757" sldId="359"/>
            <ac:spMk id="36" creationId="{DFEE7EF8-E3F4-1F06-3667-6862B50FDB90}"/>
          </ac:spMkLst>
        </pc:spChg>
        <pc:spChg chg="add del mod modVis">
          <ac:chgData name="Joao Cabral de Assis" userId="2e28f1b2-599c-43fa-9c22-5b7536e3b37b" providerId="ADAL" clId="{903218E2-C22B-4CC8-9AB6-343CA3DF934D}" dt="2023-06-12T15:00:10.439" v="1042"/>
          <ac:spMkLst>
            <pc:docMk/>
            <pc:sldMk cId="857344757" sldId="359"/>
            <ac:spMk id="37" creationId="{62EB3FC9-63EB-1BEC-3122-97FA87745C0C}"/>
          </ac:spMkLst>
        </pc:spChg>
        <pc:graphicFrameChg chg="mod">
          <ac:chgData name="Joao Cabral de Assis" userId="2e28f1b2-599c-43fa-9c22-5b7536e3b37b" providerId="ADAL" clId="{903218E2-C22B-4CC8-9AB6-343CA3DF934D}" dt="2023-06-12T15:00:10.442" v="1044"/>
          <ac:graphicFrameMkLst>
            <pc:docMk/>
            <pc:sldMk cId="857344757" sldId="359"/>
            <ac:graphicFrameMk id="4" creationId="{CFC3E388-BC3B-46A2-8D1B-4107F7F5C0E2}"/>
          </ac:graphicFrameMkLst>
        </pc:graphicFrameChg>
      </pc:sldChg>
      <pc:sldChg chg="addSp delSp modSp mod modNotes">
        <pc:chgData name="Joao Cabral de Assis" userId="2e28f1b2-599c-43fa-9c22-5b7536e3b37b" providerId="ADAL" clId="{903218E2-C22B-4CC8-9AB6-343CA3DF934D}" dt="2023-06-19T01:36:49.564" v="11929" actId="790"/>
        <pc:sldMkLst>
          <pc:docMk/>
          <pc:sldMk cId="1650166803" sldId="391"/>
        </pc:sldMkLst>
        <pc:spChg chg="mod">
          <ac:chgData name="Joao Cabral de Assis" userId="2e28f1b2-599c-43fa-9c22-5b7536e3b37b" providerId="ADAL" clId="{903218E2-C22B-4CC8-9AB6-343CA3DF934D}" dt="2023-06-19T01:36:49.550" v="11923" actId="790"/>
          <ac:spMkLst>
            <pc:docMk/>
            <pc:sldMk cId="1650166803" sldId="391"/>
            <ac:spMk id="2" creationId="{0F040EAD-8CCC-4A87-91CA-E550CFF41CA0}"/>
          </ac:spMkLst>
        </pc:spChg>
        <pc:spChg chg="add del mod modVis">
          <ac:chgData name="Joao Cabral de Assis" userId="2e28f1b2-599c-43fa-9c22-5b7536e3b37b" providerId="ADAL" clId="{903218E2-C22B-4CC8-9AB6-343CA3DF934D}" dt="2023-06-19T00:54:16.666" v="8463"/>
          <ac:spMkLst>
            <pc:docMk/>
            <pc:sldMk cId="1650166803" sldId="391"/>
            <ac:spMk id="3" creationId="{EFB064EA-7669-4EF3-DB10-E0EE8E511817}"/>
          </ac:spMkLst>
        </pc:spChg>
        <pc:spChg chg="mod">
          <ac:chgData name="Joao Cabral de Assis" userId="2e28f1b2-599c-43fa-9c22-5b7536e3b37b" providerId="ADAL" clId="{903218E2-C22B-4CC8-9AB6-343CA3DF934D}" dt="2023-06-19T01:36:49.558" v="11925" actId="790"/>
          <ac:spMkLst>
            <pc:docMk/>
            <pc:sldMk cId="1650166803" sldId="391"/>
            <ac:spMk id="4" creationId="{5157EB43-873F-045F-55C8-293F3560970F}"/>
          </ac:spMkLst>
        </pc:spChg>
        <pc:spChg chg="add del mod modVis">
          <ac:chgData name="Joao Cabral de Assis" userId="2e28f1b2-599c-43fa-9c22-5b7536e3b37b" providerId="ADAL" clId="{903218E2-C22B-4CC8-9AB6-343CA3DF934D}" dt="2023-06-19T00:55:14.476" v="8537"/>
          <ac:spMkLst>
            <pc:docMk/>
            <pc:sldMk cId="1650166803" sldId="391"/>
            <ac:spMk id="5" creationId="{2F4FD231-6947-012B-A573-4E47AACC5C6C}"/>
          </ac:spMkLst>
        </pc:spChg>
        <pc:spChg chg="add del mod modVis">
          <ac:chgData name="Joao Cabral de Assis" userId="2e28f1b2-599c-43fa-9c22-5b7536e3b37b" providerId="ADAL" clId="{903218E2-C22B-4CC8-9AB6-343CA3DF934D}" dt="2023-06-19T00:55:16.982" v="8573"/>
          <ac:spMkLst>
            <pc:docMk/>
            <pc:sldMk cId="1650166803" sldId="391"/>
            <ac:spMk id="6" creationId="{370A63B9-2B4F-ED87-F7C2-2409BEA844C7}"/>
          </ac:spMkLst>
        </pc:spChg>
        <pc:spChg chg="mod">
          <ac:chgData name="Joao Cabral de Assis" userId="2e28f1b2-599c-43fa-9c22-5b7536e3b37b" providerId="ADAL" clId="{903218E2-C22B-4CC8-9AB6-343CA3DF934D}" dt="2023-06-19T01:36:49.549" v="11922" actId="790"/>
          <ac:spMkLst>
            <pc:docMk/>
            <pc:sldMk cId="1650166803" sldId="391"/>
            <ac:spMk id="8" creationId="{47A54A0C-C011-4ABD-977A-54C5CB994EA5}"/>
          </ac:spMkLst>
        </pc:spChg>
        <pc:spChg chg="mod">
          <ac:chgData name="Joao Cabral de Assis" userId="2e28f1b2-599c-43fa-9c22-5b7536e3b37b" providerId="ADAL" clId="{903218E2-C22B-4CC8-9AB6-343CA3DF934D}" dt="2023-06-19T01:36:49.559" v="11926" actId="790"/>
          <ac:spMkLst>
            <pc:docMk/>
            <pc:sldMk cId="1650166803" sldId="391"/>
            <ac:spMk id="9" creationId="{17793A3C-2BD2-D0B9-1C1E-48B12D3ADE99}"/>
          </ac:spMkLst>
        </pc:spChg>
        <pc:spChg chg="add del mod modVis">
          <ac:chgData name="Joao Cabral de Assis" userId="2e28f1b2-599c-43fa-9c22-5b7536e3b37b" providerId="ADAL" clId="{903218E2-C22B-4CC8-9AB6-343CA3DF934D}" dt="2023-06-19T00:55:20.127" v="8621"/>
          <ac:spMkLst>
            <pc:docMk/>
            <pc:sldMk cId="1650166803" sldId="391"/>
            <ac:spMk id="10" creationId="{59A87955-1FC4-6C39-9873-093CCD2DF679}"/>
          </ac:spMkLst>
        </pc:spChg>
        <pc:spChg chg="mod">
          <ac:chgData name="Joao Cabral de Assis" userId="2e28f1b2-599c-43fa-9c22-5b7536e3b37b" providerId="ADAL" clId="{903218E2-C22B-4CC8-9AB6-343CA3DF934D}" dt="2023-06-19T01:36:49.556" v="11924" actId="790"/>
          <ac:spMkLst>
            <pc:docMk/>
            <pc:sldMk cId="1650166803" sldId="391"/>
            <ac:spMk id="29" creationId="{7ED9DCE2-E4D0-45EF-AEAC-A92950945EEE}"/>
          </ac:spMkLst>
        </pc:spChg>
        <pc:graphicFrameChg chg="mod">
          <ac:chgData name="Joao Cabral de Assis" userId="2e28f1b2-599c-43fa-9c22-5b7536e3b37b" providerId="ADAL" clId="{903218E2-C22B-4CC8-9AB6-343CA3DF934D}" dt="2023-06-19T00:55:20.130" v="8623"/>
          <ac:graphicFrameMkLst>
            <pc:docMk/>
            <pc:sldMk cId="1650166803" sldId="391"/>
            <ac:graphicFrameMk id="7" creationId="{E8C47B66-A2CE-4771-B924-4C45A2443FD1}"/>
          </ac:graphicFrameMkLst>
        </pc:graphicFrameChg>
      </pc:sldChg>
      <pc:sldChg chg="addSp delSp modSp mod modNotes">
        <pc:chgData name="Joao Cabral de Assis" userId="2e28f1b2-599c-43fa-9c22-5b7536e3b37b" providerId="ADAL" clId="{903218E2-C22B-4CC8-9AB6-343CA3DF934D}" dt="2023-06-19T01:36:45.637" v="11312" actId="790"/>
        <pc:sldMkLst>
          <pc:docMk/>
          <pc:sldMk cId="1862083490" sldId="396"/>
        </pc:sldMkLst>
        <pc:spChg chg="add del mod modVis">
          <ac:chgData name="Joao Cabral de Assis" userId="2e28f1b2-599c-43fa-9c22-5b7536e3b37b" providerId="ADAL" clId="{903218E2-C22B-4CC8-9AB6-343CA3DF934D}" dt="2023-06-12T17:34:57.801" v="4679"/>
          <ac:spMkLst>
            <pc:docMk/>
            <pc:sldMk cId="1862083490" sldId="396"/>
            <ac:spMk id="2" creationId="{8856F630-B848-E503-B53A-FCDF35EB4612}"/>
          </ac:spMkLst>
        </pc:spChg>
        <pc:spChg chg="mod">
          <ac:chgData name="Joao Cabral de Assis" userId="2e28f1b2-599c-43fa-9c22-5b7536e3b37b" providerId="ADAL" clId="{903218E2-C22B-4CC8-9AB6-343CA3DF934D}" dt="2023-06-19T01:36:45.231" v="11269" actId="790"/>
          <ac:spMkLst>
            <pc:docMk/>
            <pc:sldMk cId="1862083490" sldId="396"/>
            <ac:spMk id="3" creationId="{DADBC550-C32C-44CF-98CF-86E220087C06}"/>
          </ac:spMkLst>
        </pc:spChg>
        <pc:spChg chg="add del mod modVis">
          <ac:chgData name="Joao Cabral de Assis" userId="2e28f1b2-599c-43fa-9c22-5b7536e3b37b" providerId="ADAL" clId="{903218E2-C22B-4CC8-9AB6-343CA3DF934D}" dt="2023-06-12T17:34:59.323" v="4710"/>
          <ac:spMkLst>
            <pc:docMk/>
            <pc:sldMk cId="1862083490" sldId="396"/>
            <ac:spMk id="4" creationId="{5CF154DE-6504-3685-D180-C50E264F96D8}"/>
          </ac:spMkLst>
        </pc:spChg>
        <pc:spChg chg="add del mod modVis">
          <ac:chgData name="Joao Cabral de Assis" userId="2e28f1b2-599c-43fa-9c22-5b7536e3b37b" providerId="ADAL" clId="{903218E2-C22B-4CC8-9AB6-343CA3DF934D}" dt="2023-06-12T17:35:02.275" v="4740"/>
          <ac:spMkLst>
            <pc:docMk/>
            <pc:sldMk cId="1862083490" sldId="396"/>
            <ac:spMk id="5" creationId="{7693B495-2EE9-B1CB-B866-7B662653DBBD}"/>
          </ac:spMkLst>
        </pc:spChg>
        <pc:spChg chg="mod">
          <ac:chgData name="Joao Cabral de Assis" userId="2e28f1b2-599c-43fa-9c22-5b7536e3b37b" providerId="ADAL" clId="{903218E2-C22B-4CC8-9AB6-343CA3DF934D}" dt="2023-06-19T01:36:45.427" v="11289" actId="790"/>
          <ac:spMkLst>
            <pc:docMk/>
            <pc:sldMk cId="1862083490" sldId="396"/>
            <ac:spMk id="6" creationId="{1A56B3C8-D428-7142-B335-E1A0F7B0C59B}"/>
          </ac:spMkLst>
        </pc:spChg>
        <pc:spChg chg="mod">
          <ac:chgData name="Joao Cabral de Assis" userId="2e28f1b2-599c-43fa-9c22-5b7536e3b37b" providerId="ADAL" clId="{903218E2-C22B-4CC8-9AB6-343CA3DF934D}" dt="2023-06-19T01:36:45.425" v="11288" actId="790"/>
          <ac:spMkLst>
            <pc:docMk/>
            <pc:sldMk cId="1862083490" sldId="396"/>
            <ac:spMk id="7" creationId="{86C97257-6E6C-0368-49B4-486BFFAE90D7}"/>
          </ac:spMkLst>
        </pc:spChg>
        <pc:spChg chg="mod">
          <ac:chgData name="Joao Cabral de Assis" userId="2e28f1b2-599c-43fa-9c22-5b7536e3b37b" providerId="ADAL" clId="{903218E2-C22B-4CC8-9AB6-343CA3DF934D}" dt="2023-06-19T01:36:45.428" v="11290" actId="790"/>
          <ac:spMkLst>
            <pc:docMk/>
            <pc:sldMk cId="1862083490" sldId="396"/>
            <ac:spMk id="8" creationId="{B2539F16-41F5-53A6-C027-D57EAE9DFC9F}"/>
          </ac:spMkLst>
        </pc:spChg>
        <pc:spChg chg="add del mod modVis">
          <ac:chgData name="Joao Cabral de Assis" userId="2e28f1b2-599c-43fa-9c22-5b7536e3b37b" providerId="ADAL" clId="{903218E2-C22B-4CC8-9AB6-343CA3DF934D}" dt="2023-06-12T17:35:04.810" v="4779"/>
          <ac:spMkLst>
            <pc:docMk/>
            <pc:sldMk cId="1862083490" sldId="396"/>
            <ac:spMk id="9" creationId="{C4F1C84C-49D0-2029-4921-8135EB0B4921}"/>
          </ac:spMkLst>
        </pc:spChg>
        <pc:spChg chg="add del mod modVis">
          <ac:chgData name="Joao Cabral de Assis" userId="2e28f1b2-599c-43fa-9c22-5b7536e3b37b" providerId="ADAL" clId="{903218E2-C22B-4CC8-9AB6-343CA3DF934D}" dt="2023-06-12T17:35:09.675" v="4807"/>
          <ac:spMkLst>
            <pc:docMk/>
            <pc:sldMk cId="1862083490" sldId="396"/>
            <ac:spMk id="10" creationId="{A7ACF8FF-CCBA-562C-A5C4-30299BCBAC4D}"/>
          </ac:spMkLst>
        </pc:spChg>
        <pc:spChg chg="add del mod modVis">
          <ac:chgData name="Joao Cabral de Assis" userId="2e28f1b2-599c-43fa-9c22-5b7536e3b37b" providerId="ADAL" clId="{903218E2-C22B-4CC8-9AB6-343CA3DF934D}" dt="2023-06-12T17:35:16.842" v="4842"/>
          <ac:spMkLst>
            <pc:docMk/>
            <pc:sldMk cId="1862083490" sldId="396"/>
            <ac:spMk id="11" creationId="{1A158A8F-0273-C9A6-04E1-B5221F3976DE}"/>
          </ac:spMkLst>
        </pc:spChg>
        <pc:spChg chg="add del mod modVis">
          <ac:chgData name="Joao Cabral de Assis" userId="2e28f1b2-599c-43fa-9c22-5b7536e3b37b" providerId="ADAL" clId="{903218E2-C22B-4CC8-9AB6-343CA3DF934D}" dt="2023-06-12T17:35:19.107" v="4871"/>
          <ac:spMkLst>
            <pc:docMk/>
            <pc:sldMk cId="1862083490" sldId="396"/>
            <ac:spMk id="12" creationId="{41EE514A-329A-9AE3-98C5-03969BACAE76}"/>
          </ac:spMkLst>
        </pc:spChg>
        <pc:spChg chg="del">
          <ac:chgData name="Joao Cabral de Assis" userId="2e28f1b2-599c-43fa-9c22-5b7536e3b37b" providerId="ADAL" clId="{903218E2-C22B-4CC8-9AB6-343CA3DF934D}" dt="2023-06-12T17:34:48.299" v="4650" actId="478"/>
          <ac:spMkLst>
            <pc:docMk/>
            <pc:sldMk cId="1862083490" sldId="396"/>
            <ac:spMk id="18" creationId="{A2C9A37F-3EBF-4462-ACAA-55F242EB6599}"/>
          </ac:spMkLst>
        </pc:spChg>
        <pc:spChg chg="mod">
          <ac:chgData name="Joao Cabral de Assis" userId="2e28f1b2-599c-43fa-9c22-5b7536e3b37b" providerId="ADAL" clId="{903218E2-C22B-4CC8-9AB6-343CA3DF934D}" dt="2023-06-12T16:29:58.891" v="3296"/>
          <ac:spMkLst>
            <pc:docMk/>
            <pc:sldMk cId="1862083490" sldId="396"/>
            <ac:spMk id="19" creationId="{BF47794C-BD82-09AC-429F-BD7E6903FDC7}"/>
          </ac:spMkLst>
        </pc:spChg>
        <pc:spChg chg="mod">
          <ac:chgData name="Joao Cabral de Assis" userId="2e28f1b2-599c-43fa-9c22-5b7536e3b37b" providerId="ADAL" clId="{903218E2-C22B-4CC8-9AB6-343CA3DF934D}" dt="2023-06-12T16:29:58.891" v="3296"/>
          <ac:spMkLst>
            <pc:docMk/>
            <pc:sldMk cId="1862083490" sldId="396"/>
            <ac:spMk id="21" creationId="{184364FF-1C24-4414-A391-87ACE7BF6AF5}"/>
          </ac:spMkLst>
        </pc:spChg>
        <pc:spChg chg="mod">
          <ac:chgData name="Joao Cabral de Assis" userId="2e28f1b2-599c-43fa-9c22-5b7536e3b37b" providerId="ADAL" clId="{903218E2-C22B-4CC8-9AB6-343CA3DF934D}" dt="2023-06-12T16:29:58.891" v="3296"/>
          <ac:spMkLst>
            <pc:docMk/>
            <pc:sldMk cId="1862083490" sldId="396"/>
            <ac:spMk id="22" creationId="{3DA25C50-C357-753D-A06C-D56C24C303E3}"/>
          </ac:spMkLst>
        </pc:spChg>
        <pc:spChg chg="mod">
          <ac:chgData name="Joao Cabral de Assis" userId="2e28f1b2-599c-43fa-9c22-5b7536e3b37b" providerId="ADAL" clId="{903218E2-C22B-4CC8-9AB6-343CA3DF934D}" dt="2023-06-12T16:29:58.891" v="3296"/>
          <ac:spMkLst>
            <pc:docMk/>
            <pc:sldMk cId="1862083490" sldId="396"/>
            <ac:spMk id="23" creationId="{346A5DE6-9859-21FE-CB7C-2C873D21C315}"/>
          </ac:spMkLst>
        </pc:spChg>
        <pc:spChg chg="mod">
          <ac:chgData name="Joao Cabral de Assis" userId="2e28f1b2-599c-43fa-9c22-5b7536e3b37b" providerId="ADAL" clId="{903218E2-C22B-4CC8-9AB6-343CA3DF934D}" dt="2023-06-12T16:29:58.891" v="3296"/>
          <ac:spMkLst>
            <pc:docMk/>
            <pc:sldMk cId="1862083490" sldId="396"/>
            <ac:spMk id="24" creationId="{B17CA40B-BBF3-226D-8F59-219BAD0357C2}"/>
          </ac:spMkLst>
        </pc:spChg>
        <pc:spChg chg="mod">
          <ac:chgData name="Joao Cabral de Assis" userId="2e28f1b2-599c-43fa-9c22-5b7536e3b37b" providerId="ADAL" clId="{903218E2-C22B-4CC8-9AB6-343CA3DF934D}" dt="2023-06-12T16:29:58.891" v="3296"/>
          <ac:spMkLst>
            <pc:docMk/>
            <pc:sldMk cId="1862083490" sldId="396"/>
            <ac:spMk id="25" creationId="{33848974-629D-376C-30BC-6669DE7917F1}"/>
          </ac:spMkLst>
        </pc:spChg>
        <pc:spChg chg="del">
          <ac:chgData name="Joao Cabral de Assis" userId="2e28f1b2-599c-43fa-9c22-5b7536e3b37b" providerId="ADAL" clId="{903218E2-C22B-4CC8-9AB6-343CA3DF934D}" dt="2023-06-12T17:34:36.631" v="4647" actId="478"/>
          <ac:spMkLst>
            <pc:docMk/>
            <pc:sldMk cId="1862083490" sldId="396"/>
            <ac:spMk id="27" creationId="{651409A8-A6CA-4C37-A61E-4DCFD0D507D9}"/>
          </ac:spMkLst>
        </pc:spChg>
        <pc:spChg chg="del">
          <ac:chgData name="Joao Cabral de Assis" userId="2e28f1b2-599c-43fa-9c22-5b7536e3b37b" providerId="ADAL" clId="{903218E2-C22B-4CC8-9AB6-343CA3DF934D}" dt="2023-06-12T17:34:48.299" v="4650" actId="478"/>
          <ac:spMkLst>
            <pc:docMk/>
            <pc:sldMk cId="1862083490" sldId="396"/>
            <ac:spMk id="29" creationId="{AD0F84D1-EDB2-4EC3-A8BF-EA48C1544207}"/>
          </ac:spMkLst>
        </pc:spChg>
        <pc:spChg chg="add del mod modVis">
          <ac:chgData name="Joao Cabral de Assis" userId="2e28f1b2-599c-43fa-9c22-5b7536e3b37b" providerId="ADAL" clId="{903218E2-C22B-4CC8-9AB6-343CA3DF934D}" dt="2023-06-12T17:40:57.992" v="5075"/>
          <ac:spMkLst>
            <pc:docMk/>
            <pc:sldMk cId="1862083490" sldId="396"/>
            <ac:spMk id="30" creationId="{03F7FEA6-9372-81C0-A10E-06E22DA7BEDB}"/>
          </ac:spMkLst>
        </pc:spChg>
        <pc:spChg chg="add mod">
          <ac:chgData name="Joao Cabral de Assis" userId="2e28f1b2-599c-43fa-9c22-5b7536e3b37b" providerId="ADAL" clId="{903218E2-C22B-4CC8-9AB6-343CA3DF934D}" dt="2023-06-19T01:36:45.630" v="11309"/>
          <ac:spMkLst>
            <pc:docMk/>
            <pc:sldMk cId="1862083490" sldId="396"/>
            <ac:spMk id="31" creationId="{78B8E9E5-E74B-EEBC-E64D-89F9B37A1178}"/>
          </ac:spMkLst>
        </pc:spChg>
        <pc:spChg chg="add mod">
          <ac:chgData name="Joao Cabral de Assis" userId="2e28f1b2-599c-43fa-9c22-5b7536e3b37b" providerId="ADAL" clId="{903218E2-C22B-4CC8-9AB6-343CA3DF934D}" dt="2023-06-19T01:36:45.633" v="11310"/>
          <ac:spMkLst>
            <pc:docMk/>
            <pc:sldMk cId="1862083490" sldId="396"/>
            <ac:spMk id="32" creationId="{BBB48382-286B-70C8-8CC2-A0ED3013A934}"/>
          </ac:spMkLst>
        </pc:spChg>
        <pc:spChg chg="del">
          <ac:chgData name="Joao Cabral de Assis" userId="2e28f1b2-599c-43fa-9c22-5b7536e3b37b" providerId="ADAL" clId="{903218E2-C22B-4CC8-9AB6-343CA3DF934D}" dt="2023-06-12T17:34:48.299" v="4650" actId="478"/>
          <ac:spMkLst>
            <pc:docMk/>
            <pc:sldMk cId="1862083490" sldId="396"/>
            <ac:spMk id="33" creationId="{184E6744-7FEA-46FD-85F3-38DB59B217BF}"/>
          </ac:spMkLst>
        </pc:spChg>
        <pc:spChg chg="add del mod modVis">
          <ac:chgData name="Joao Cabral de Assis" userId="2e28f1b2-599c-43fa-9c22-5b7536e3b37b" providerId="ADAL" clId="{903218E2-C22B-4CC8-9AB6-343CA3DF934D}" dt="2023-06-12T17:47:33.157" v="5362"/>
          <ac:spMkLst>
            <pc:docMk/>
            <pc:sldMk cId="1862083490" sldId="396"/>
            <ac:spMk id="34" creationId="{D988027C-2E48-D6C5-68C3-213E9444D37E}"/>
          </ac:spMkLst>
        </pc:spChg>
        <pc:spChg chg="mod">
          <ac:chgData name="Joao Cabral de Assis" userId="2e28f1b2-599c-43fa-9c22-5b7536e3b37b" providerId="ADAL" clId="{903218E2-C22B-4CC8-9AB6-343CA3DF934D}" dt="2023-06-19T01:36:45.228" v="11268" actId="790"/>
          <ac:spMkLst>
            <pc:docMk/>
            <pc:sldMk cId="1862083490" sldId="396"/>
            <ac:spMk id="35" creationId="{C89C215A-FC70-4C12-BFBE-99C4A52954BD}"/>
          </ac:spMkLst>
        </pc:spChg>
        <pc:spChg chg="del">
          <ac:chgData name="Joao Cabral de Assis" userId="2e28f1b2-599c-43fa-9c22-5b7536e3b37b" providerId="ADAL" clId="{903218E2-C22B-4CC8-9AB6-343CA3DF934D}" dt="2023-06-12T17:34:48.299" v="4650" actId="478"/>
          <ac:spMkLst>
            <pc:docMk/>
            <pc:sldMk cId="1862083490" sldId="396"/>
            <ac:spMk id="36" creationId="{8567E00E-E46A-4687-8AAD-C63D88E1124E}"/>
          </ac:spMkLst>
        </pc:spChg>
        <pc:spChg chg="del">
          <ac:chgData name="Joao Cabral de Assis" userId="2e28f1b2-599c-43fa-9c22-5b7536e3b37b" providerId="ADAL" clId="{903218E2-C22B-4CC8-9AB6-343CA3DF934D}" dt="2023-06-12T17:34:43.893" v="4649" actId="478"/>
          <ac:spMkLst>
            <pc:docMk/>
            <pc:sldMk cId="1862083490" sldId="396"/>
            <ac:spMk id="37" creationId="{C8F13FF2-83D1-4DD1-9D1F-6746AA52A571}"/>
          </ac:spMkLst>
        </pc:spChg>
        <pc:spChg chg="mod">
          <ac:chgData name="Joao Cabral de Assis" userId="2e28f1b2-599c-43fa-9c22-5b7536e3b37b" providerId="ADAL" clId="{903218E2-C22B-4CC8-9AB6-343CA3DF934D}" dt="2023-06-12T16:29:58.891" v="3296"/>
          <ac:spMkLst>
            <pc:docMk/>
            <pc:sldMk cId="1862083490" sldId="396"/>
            <ac:spMk id="40" creationId="{FA45AD98-42E6-67A4-1851-62D400A0A045}"/>
          </ac:spMkLst>
        </pc:spChg>
        <pc:spChg chg="mod">
          <ac:chgData name="Joao Cabral de Assis" userId="2e28f1b2-599c-43fa-9c22-5b7536e3b37b" providerId="ADAL" clId="{903218E2-C22B-4CC8-9AB6-343CA3DF934D}" dt="2023-06-12T16:29:58.891" v="3296"/>
          <ac:spMkLst>
            <pc:docMk/>
            <pc:sldMk cId="1862083490" sldId="396"/>
            <ac:spMk id="42" creationId="{AB8A7103-C37C-3142-AA49-2A7FE04124CA}"/>
          </ac:spMkLst>
        </pc:spChg>
        <pc:spChg chg="mod">
          <ac:chgData name="Joao Cabral de Assis" userId="2e28f1b2-599c-43fa-9c22-5b7536e3b37b" providerId="ADAL" clId="{903218E2-C22B-4CC8-9AB6-343CA3DF934D}" dt="2023-06-12T16:29:58.891" v="3296"/>
          <ac:spMkLst>
            <pc:docMk/>
            <pc:sldMk cId="1862083490" sldId="396"/>
            <ac:spMk id="44" creationId="{B75164B0-9C9E-D038-D2D7-FB7A9AEA7CAB}"/>
          </ac:spMkLst>
        </pc:spChg>
        <pc:spChg chg="mod">
          <ac:chgData name="Joao Cabral de Assis" userId="2e28f1b2-599c-43fa-9c22-5b7536e3b37b" providerId="ADAL" clId="{903218E2-C22B-4CC8-9AB6-343CA3DF934D}" dt="2023-06-12T16:29:58.891" v="3296"/>
          <ac:spMkLst>
            <pc:docMk/>
            <pc:sldMk cId="1862083490" sldId="396"/>
            <ac:spMk id="45" creationId="{745DBA99-7192-8C1A-9154-3659E9FB7754}"/>
          </ac:spMkLst>
        </pc:spChg>
        <pc:spChg chg="mod">
          <ac:chgData name="Joao Cabral de Assis" userId="2e28f1b2-599c-43fa-9c22-5b7536e3b37b" providerId="ADAL" clId="{903218E2-C22B-4CC8-9AB6-343CA3DF934D}" dt="2023-06-12T16:29:58.891" v="3296"/>
          <ac:spMkLst>
            <pc:docMk/>
            <pc:sldMk cId="1862083490" sldId="396"/>
            <ac:spMk id="46" creationId="{69A0BF4D-3D83-5B8E-5187-199A0AD3A8DB}"/>
          </ac:spMkLst>
        </pc:spChg>
        <pc:spChg chg="mod">
          <ac:chgData name="Joao Cabral de Assis" userId="2e28f1b2-599c-43fa-9c22-5b7536e3b37b" providerId="ADAL" clId="{903218E2-C22B-4CC8-9AB6-343CA3DF934D}" dt="2023-06-12T16:29:58.891" v="3296"/>
          <ac:spMkLst>
            <pc:docMk/>
            <pc:sldMk cId="1862083490" sldId="396"/>
            <ac:spMk id="47" creationId="{8C749975-FE33-8BD1-AEAD-D83BBEC9C076}"/>
          </ac:spMkLst>
        </pc:spChg>
        <pc:spChg chg="mod">
          <ac:chgData name="Joao Cabral de Assis" userId="2e28f1b2-599c-43fa-9c22-5b7536e3b37b" providerId="ADAL" clId="{903218E2-C22B-4CC8-9AB6-343CA3DF934D}" dt="2023-06-12T16:29:58.891" v="3296"/>
          <ac:spMkLst>
            <pc:docMk/>
            <pc:sldMk cId="1862083490" sldId="396"/>
            <ac:spMk id="48" creationId="{15462EE6-6F3C-483C-DDD4-91328C36B8BD}"/>
          </ac:spMkLst>
        </pc:spChg>
        <pc:spChg chg="mod">
          <ac:chgData name="Joao Cabral de Assis" userId="2e28f1b2-599c-43fa-9c22-5b7536e3b37b" providerId="ADAL" clId="{903218E2-C22B-4CC8-9AB6-343CA3DF934D}" dt="2023-06-12T16:29:58.891" v="3296"/>
          <ac:spMkLst>
            <pc:docMk/>
            <pc:sldMk cId="1862083490" sldId="396"/>
            <ac:spMk id="50" creationId="{B207D516-A554-97D3-598A-C820F27BB36D}"/>
          </ac:spMkLst>
        </pc:spChg>
        <pc:spChg chg="mod">
          <ac:chgData name="Joao Cabral de Assis" userId="2e28f1b2-599c-43fa-9c22-5b7536e3b37b" providerId="ADAL" clId="{903218E2-C22B-4CC8-9AB6-343CA3DF934D}" dt="2023-06-12T16:29:58.891" v="3296"/>
          <ac:spMkLst>
            <pc:docMk/>
            <pc:sldMk cId="1862083490" sldId="396"/>
            <ac:spMk id="51" creationId="{48FA7643-0CD8-0531-DAA8-CA81BC797941}"/>
          </ac:spMkLst>
        </pc:spChg>
        <pc:spChg chg="mod">
          <ac:chgData name="Joao Cabral de Assis" userId="2e28f1b2-599c-43fa-9c22-5b7536e3b37b" providerId="ADAL" clId="{903218E2-C22B-4CC8-9AB6-343CA3DF934D}" dt="2023-06-12T16:29:58.891" v="3296"/>
          <ac:spMkLst>
            <pc:docMk/>
            <pc:sldMk cId="1862083490" sldId="396"/>
            <ac:spMk id="52" creationId="{236D81B0-0F7F-A77F-2450-25915B77FE38}"/>
          </ac:spMkLst>
        </pc:spChg>
        <pc:spChg chg="mod">
          <ac:chgData name="Joao Cabral de Assis" userId="2e28f1b2-599c-43fa-9c22-5b7536e3b37b" providerId="ADAL" clId="{903218E2-C22B-4CC8-9AB6-343CA3DF934D}" dt="2023-06-12T16:29:58.891" v="3296"/>
          <ac:spMkLst>
            <pc:docMk/>
            <pc:sldMk cId="1862083490" sldId="396"/>
            <ac:spMk id="53" creationId="{5547B75E-1955-AB87-773C-3B16004043E1}"/>
          </ac:spMkLst>
        </pc:spChg>
        <pc:spChg chg="mod">
          <ac:chgData name="Joao Cabral de Assis" userId="2e28f1b2-599c-43fa-9c22-5b7536e3b37b" providerId="ADAL" clId="{903218E2-C22B-4CC8-9AB6-343CA3DF934D}" dt="2023-06-12T16:29:58.891" v="3296"/>
          <ac:spMkLst>
            <pc:docMk/>
            <pc:sldMk cId="1862083490" sldId="396"/>
            <ac:spMk id="54" creationId="{68F0CB5B-C43D-F048-A25D-FBBDD494CA51}"/>
          </ac:spMkLst>
        </pc:spChg>
        <pc:spChg chg="mod">
          <ac:chgData name="Joao Cabral de Assis" userId="2e28f1b2-599c-43fa-9c22-5b7536e3b37b" providerId="ADAL" clId="{903218E2-C22B-4CC8-9AB6-343CA3DF934D}" dt="2023-06-12T16:29:58.891" v="3296"/>
          <ac:spMkLst>
            <pc:docMk/>
            <pc:sldMk cId="1862083490" sldId="396"/>
            <ac:spMk id="55" creationId="{0BEAC57D-34A6-8610-6777-DEE695234165}"/>
          </ac:spMkLst>
        </pc:spChg>
        <pc:spChg chg="mod">
          <ac:chgData name="Joao Cabral de Assis" userId="2e28f1b2-599c-43fa-9c22-5b7536e3b37b" providerId="ADAL" clId="{903218E2-C22B-4CC8-9AB6-343CA3DF934D}" dt="2023-06-12T16:29:58.891" v="3296"/>
          <ac:spMkLst>
            <pc:docMk/>
            <pc:sldMk cId="1862083490" sldId="396"/>
            <ac:spMk id="56" creationId="{6F9E5BC2-EF7E-2A0A-168A-FA625F6ABFEE}"/>
          </ac:spMkLst>
        </pc:spChg>
        <pc:spChg chg="del mod">
          <ac:chgData name="Joao Cabral de Assis" userId="2e28f1b2-599c-43fa-9c22-5b7536e3b37b" providerId="ADAL" clId="{903218E2-C22B-4CC8-9AB6-343CA3DF934D}" dt="2023-06-12T17:34:40.221" v="4648" actId="478"/>
          <ac:spMkLst>
            <pc:docMk/>
            <pc:sldMk cId="1862083490" sldId="396"/>
            <ac:spMk id="57" creationId="{63FA6EAC-D623-E5C6-41B8-83898E9D6668}"/>
          </ac:spMkLst>
        </pc:spChg>
        <pc:grpChg chg="del mod">
          <ac:chgData name="Joao Cabral de Assis" userId="2e28f1b2-599c-43fa-9c22-5b7536e3b37b" providerId="ADAL" clId="{903218E2-C22B-4CC8-9AB6-343CA3DF934D}" dt="2023-06-12T17:34:29.774" v="4646" actId="478"/>
          <ac:grpSpMkLst>
            <pc:docMk/>
            <pc:sldMk cId="1862083490" sldId="396"/>
            <ac:grpSpMk id="15" creationId="{B47EA664-96EB-F868-DC40-8AC3CD1CF03A}"/>
          </ac:grpSpMkLst>
        </pc:grpChg>
        <pc:grpChg chg="mod">
          <ac:chgData name="Joao Cabral de Assis" userId="2e28f1b2-599c-43fa-9c22-5b7536e3b37b" providerId="ADAL" clId="{903218E2-C22B-4CC8-9AB6-343CA3DF934D}" dt="2023-06-12T16:29:58.891" v="3296"/>
          <ac:grpSpMkLst>
            <pc:docMk/>
            <pc:sldMk cId="1862083490" sldId="396"/>
            <ac:grpSpMk id="26" creationId="{2BCE0D65-7E0D-45BF-3EB3-769E57C8FAC0}"/>
          </ac:grpSpMkLst>
        </pc:grpChg>
        <pc:grpChg chg="mod">
          <ac:chgData name="Joao Cabral de Assis" userId="2e28f1b2-599c-43fa-9c22-5b7536e3b37b" providerId="ADAL" clId="{903218E2-C22B-4CC8-9AB6-343CA3DF934D}" dt="2023-06-12T16:29:58.891" v="3296"/>
          <ac:grpSpMkLst>
            <pc:docMk/>
            <pc:sldMk cId="1862083490" sldId="396"/>
            <ac:grpSpMk id="38" creationId="{AF455990-185B-506D-DA55-CE25A7425B61}"/>
          </ac:grpSpMkLst>
        </pc:grpChg>
        <pc:grpChg chg="mod">
          <ac:chgData name="Joao Cabral de Assis" userId="2e28f1b2-599c-43fa-9c22-5b7536e3b37b" providerId="ADAL" clId="{903218E2-C22B-4CC8-9AB6-343CA3DF934D}" dt="2023-06-12T16:29:58.891" v="3296"/>
          <ac:grpSpMkLst>
            <pc:docMk/>
            <pc:sldMk cId="1862083490" sldId="396"/>
            <ac:grpSpMk id="39" creationId="{6E0722CC-EBD0-CC94-0B42-C82DF21C9141}"/>
          </ac:grpSpMkLst>
        </pc:grpChg>
        <pc:graphicFrameChg chg="add del mod">
          <ac:chgData name="Joao Cabral de Assis" userId="2e28f1b2-599c-43fa-9c22-5b7536e3b37b" providerId="ADAL" clId="{903218E2-C22B-4CC8-9AB6-343CA3DF934D}" dt="2023-06-12T17:38:44.099" v="4959" actId="478"/>
          <ac:graphicFrameMkLst>
            <pc:docMk/>
            <pc:sldMk cId="1862083490" sldId="396"/>
            <ac:graphicFrameMk id="13" creationId="{4432551F-CCD5-F114-99A6-273383C3713A}"/>
          </ac:graphicFrameMkLst>
        </pc:graphicFrameChg>
        <pc:graphicFrameChg chg="add mod modGraphic">
          <ac:chgData name="Joao Cabral de Assis" userId="2e28f1b2-599c-43fa-9c22-5b7536e3b37b" providerId="ADAL" clId="{903218E2-C22B-4CC8-9AB6-343CA3DF934D}" dt="2023-06-19T01:36:45.616" v="11308" actId="790"/>
          <ac:graphicFrameMkLst>
            <pc:docMk/>
            <pc:sldMk cId="1862083490" sldId="396"/>
            <ac:graphicFrameMk id="14" creationId="{D8C927FF-DD99-8802-EB12-6AFCA087AFF5}"/>
          </ac:graphicFrameMkLst>
        </pc:graphicFrameChg>
        <pc:graphicFrameChg chg="mod">
          <ac:chgData name="Joao Cabral de Assis" userId="2e28f1b2-599c-43fa-9c22-5b7536e3b37b" providerId="ADAL" clId="{903218E2-C22B-4CC8-9AB6-343CA3DF934D}" dt="2023-06-12T17:47:33.161" v="5364"/>
          <ac:graphicFrameMkLst>
            <pc:docMk/>
            <pc:sldMk cId="1862083490" sldId="396"/>
            <ac:graphicFrameMk id="17" creationId="{96C0E511-F38F-457D-A27F-C08777AE8356}"/>
          </ac:graphicFrameMkLst>
        </pc:graphicFrameChg>
        <pc:graphicFrameChg chg="mod modGraphic">
          <ac:chgData name="Joao Cabral de Assis" userId="2e28f1b2-599c-43fa-9c22-5b7536e3b37b" providerId="ADAL" clId="{903218E2-C22B-4CC8-9AB6-343CA3DF934D}" dt="2023-06-19T01:36:45.414" v="11287" actId="790"/>
          <ac:graphicFrameMkLst>
            <pc:docMk/>
            <pc:sldMk cId="1862083490" sldId="396"/>
            <ac:graphicFrameMk id="28" creationId="{0E75EB14-E547-413C-A775-CF0DAB415A10}"/>
          </ac:graphicFrameMkLst>
        </pc:graphicFrameChg>
        <pc:picChg chg="del">
          <ac:chgData name="Joao Cabral de Assis" userId="2e28f1b2-599c-43fa-9c22-5b7536e3b37b" providerId="ADAL" clId="{903218E2-C22B-4CC8-9AB6-343CA3DF934D}" dt="2023-06-12T17:34:48.299" v="4650" actId="478"/>
          <ac:picMkLst>
            <pc:docMk/>
            <pc:sldMk cId="1862083490" sldId="396"/>
            <ac:picMk id="16" creationId="{B97859D4-1912-4D71-B2EE-766BBF40E99C}"/>
          </ac:picMkLst>
        </pc:picChg>
        <pc:picChg chg="mod">
          <ac:chgData name="Joao Cabral de Assis" userId="2e28f1b2-599c-43fa-9c22-5b7536e3b37b" providerId="ADAL" clId="{903218E2-C22B-4CC8-9AB6-343CA3DF934D}" dt="2023-06-12T16:29:58.891" v="3296"/>
          <ac:picMkLst>
            <pc:docMk/>
            <pc:sldMk cId="1862083490" sldId="396"/>
            <ac:picMk id="20" creationId="{6B61F0AB-D6F5-BC90-95BE-A6F7B63FD35B}"/>
          </ac:picMkLst>
        </pc:picChg>
        <pc:picChg chg="mod">
          <ac:chgData name="Joao Cabral de Assis" userId="2e28f1b2-599c-43fa-9c22-5b7536e3b37b" providerId="ADAL" clId="{903218E2-C22B-4CC8-9AB6-343CA3DF934D}" dt="2023-06-12T16:29:58.903" v="3297"/>
          <ac:picMkLst>
            <pc:docMk/>
            <pc:sldMk cId="1862083490" sldId="396"/>
            <ac:picMk id="43" creationId="{4DDF3522-68A3-ED3D-6FCE-EF3BC553D56C}"/>
          </ac:picMkLst>
        </pc:picChg>
        <pc:picChg chg="mod">
          <ac:chgData name="Joao Cabral de Assis" userId="2e28f1b2-599c-43fa-9c22-5b7536e3b37b" providerId="ADAL" clId="{903218E2-C22B-4CC8-9AB6-343CA3DF934D}" dt="2023-06-12T16:29:58.891" v="3296"/>
          <ac:picMkLst>
            <pc:docMk/>
            <pc:sldMk cId="1862083490" sldId="396"/>
            <ac:picMk id="49" creationId="{F047A321-0000-4C81-3798-B398372A0F33}"/>
          </ac:picMkLst>
        </pc:picChg>
      </pc:sldChg>
      <pc:sldChg chg="modSp mod modNotes">
        <pc:chgData name="Joao Cabral de Assis" userId="2e28f1b2-599c-43fa-9c22-5b7536e3b37b" providerId="ADAL" clId="{903218E2-C22B-4CC8-9AB6-343CA3DF934D}" dt="2023-06-19T01:36:49.914" v="12071" actId="790"/>
        <pc:sldMkLst>
          <pc:docMk/>
          <pc:sldMk cId="2926410764" sldId="420"/>
        </pc:sldMkLst>
        <pc:spChg chg="mod">
          <ac:chgData name="Joao Cabral de Assis" userId="2e28f1b2-599c-43fa-9c22-5b7536e3b37b" providerId="ADAL" clId="{903218E2-C22B-4CC8-9AB6-343CA3DF934D}" dt="2023-06-19T01:36:49.874" v="12054" actId="790"/>
          <ac:spMkLst>
            <pc:docMk/>
            <pc:sldMk cId="2926410764" sldId="420"/>
            <ac:spMk id="3" creationId="{EE9C8251-16B4-466D-8EE5-9F9E6F14E3FD}"/>
          </ac:spMkLst>
        </pc:spChg>
        <pc:spChg chg="mod">
          <ac:chgData name="Joao Cabral de Assis" userId="2e28f1b2-599c-43fa-9c22-5b7536e3b37b" providerId="ADAL" clId="{903218E2-C22B-4CC8-9AB6-343CA3DF934D}" dt="2023-06-19T01:36:49.886" v="12058" actId="790"/>
          <ac:spMkLst>
            <pc:docMk/>
            <pc:sldMk cId="2926410764" sldId="420"/>
            <ac:spMk id="4" creationId="{861BB057-0117-B53D-FF10-8AC2B3700A62}"/>
          </ac:spMkLst>
        </pc:spChg>
        <pc:spChg chg="mod">
          <ac:chgData name="Joao Cabral de Assis" userId="2e28f1b2-599c-43fa-9c22-5b7536e3b37b" providerId="ADAL" clId="{903218E2-C22B-4CC8-9AB6-343CA3DF934D}" dt="2023-06-19T01:36:49.896" v="12062"/>
          <ac:spMkLst>
            <pc:docMk/>
            <pc:sldMk cId="2926410764" sldId="420"/>
            <ac:spMk id="5" creationId="{926584B2-B8EC-CC1F-E7D3-2CF6580591FF}"/>
          </ac:spMkLst>
        </pc:spChg>
        <pc:spChg chg="mod">
          <ac:chgData name="Joao Cabral de Assis" userId="2e28f1b2-599c-43fa-9c22-5b7536e3b37b" providerId="ADAL" clId="{903218E2-C22B-4CC8-9AB6-343CA3DF934D}" dt="2023-06-19T01:36:49.898" v="12063"/>
          <ac:spMkLst>
            <pc:docMk/>
            <pc:sldMk cId="2926410764" sldId="420"/>
            <ac:spMk id="6" creationId="{5E70E817-8388-2C06-8039-ED93DB907DB1}"/>
          </ac:spMkLst>
        </pc:spChg>
        <pc:spChg chg="mod">
          <ac:chgData name="Joao Cabral de Assis" userId="2e28f1b2-599c-43fa-9c22-5b7536e3b37b" providerId="ADAL" clId="{903218E2-C22B-4CC8-9AB6-343CA3DF934D}" dt="2023-06-19T01:36:49.878" v="12055" actId="790"/>
          <ac:spMkLst>
            <pc:docMk/>
            <pc:sldMk cId="2926410764" sldId="420"/>
            <ac:spMk id="7" creationId="{0F8C0466-327A-49DB-9157-25B8CE7E7CEC}"/>
          </ac:spMkLst>
        </pc:spChg>
        <pc:spChg chg="mod">
          <ac:chgData name="Joao Cabral de Assis" userId="2e28f1b2-599c-43fa-9c22-5b7536e3b37b" providerId="ADAL" clId="{903218E2-C22B-4CC8-9AB6-343CA3DF934D}" dt="2023-06-19T01:36:49.888" v="12059" actId="790"/>
          <ac:spMkLst>
            <pc:docMk/>
            <pc:sldMk cId="2926410764" sldId="420"/>
            <ac:spMk id="8" creationId="{3801409B-3CC9-C23C-2B61-9E068288FD21}"/>
          </ac:spMkLst>
        </pc:spChg>
        <pc:spChg chg="mod">
          <ac:chgData name="Joao Cabral de Assis" userId="2e28f1b2-599c-43fa-9c22-5b7536e3b37b" providerId="ADAL" clId="{903218E2-C22B-4CC8-9AB6-343CA3DF934D}" dt="2023-06-19T01:36:49.891" v="12060" actId="790"/>
          <ac:spMkLst>
            <pc:docMk/>
            <pc:sldMk cId="2926410764" sldId="420"/>
            <ac:spMk id="9" creationId="{4D884EAB-DFBC-258C-A210-0B5AA604C1A2}"/>
          </ac:spMkLst>
        </pc:spChg>
        <pc:spChg chg="mod">
          <ac:chgData name="Joao Cabral de Assis" userId="2e28f1b2-599c-43fa-9c22-5b7536e3b37b" providerId="ADAL" clId="{903218E2-C22B-4CC8-9AB6-343CA3DF934D}" dt="2023-06-19T01:36:49.881" v="12056" actId="790"/>
          <ac:spMkLst>
            <pc:docMk/>
            <pc:sldMk cId="2926410764" sldId="420"/>
            <ac:spMk id="13" creationId="{E6A5B64A-65BA-7631-181C-D6B6C7A968C4}"/>
          </ac:spMkLst>
        </pc:spChg>
        <pc:spChg chg="mod">
          <ac:chgData name="Joao Cabral de Assis" userId="2e28f1b2-599c-43fa-9c22-5b7536e3b37b" providerId="ADAL" clId="{903218E2-C22B-4CC8-9AB6-343CA3DF934D}" dt="2023-06-19T01:36:49.883" v="12057" actId="790"/>
          <ac:spMkLst>
            <pc:docMk/>
            <pc:sldMk cId="2926410764" sldId="420"/>
            <ac:spMk id="20" creationId="{9ADBAEAF-0526-CA96-807D-D77546C91B50}"/>
          </ac:spMkLst>
        </pc:spChg>
        <pc:spChg chg="mod">
          <ac:chgData name="Joao Cabral de Assis" userId="2e28f1b2-599c-43fa-9c22-5b7536e3b37b" providerId="ADAL" clId="{903218E2-C22B-4CC8-9AB6-343CA3DF934D}" dt="2023-06-19T01:36:49.894" v="12061" actId="790"/>
          <ac:spMkLst>
            <pc:docMk/>
            <pc:sldMk cId="2926410764" sldId="420"/>
            <ac:spMk id="21" creationId="{3390D27B-A98E-9EC2-5275-3BD30F244B4F}"/>
          </ac:spMkLst>
        </pc:spChg>
        <pc:spChg chg="mod">
          <ac:chgData name="Joao Cabral de Assis" userId="2e28f1b2-599c-43fa-9c22-5b7536e3b37b" providerId="ADAL" clId="{903218E2-C22B-4CC8-9AB6-343CA3DF934D}" dt="2023-06-19T01:36:49.900" v="12064"/>
          <ac:spMkLst>
            <pc:docMk/>
            <pc:sldMk cId="2926410764" sldId="420"/>
            <ac:spMk id="197" creationId="{84A57B0B-5BA6-3087-2FEB-A95871C83726}"/>
          </ac:spMkLst>
        </pc:spChg>
        <pc:spChg chg="mod">
          <ac:chgData name="Joao Cabral de Assis" userId="2e28f1b2-599c-43fa-9c22-5b7536e3b37b" providerId="ADAL" clId="{903218E2-C22B-4CC8-9AB6-343CA3DF934D}" dt="2023-06-19T01:36:49.901" v="12065"/>
          <ac:spMkLst>
            <pc:docMk/>
            <pc:sldMk cId="2926410764" sldId="420"/>
            <ac:spMk id="199" creationId="{768641F5-7C24-3B2F-0763-2352E90776EA}"/>
          </ac:spMkLst>
        </pc:spChg>
        <pc:spChg chg="mod">
          <ac:chgData name="Joao Cabral de Assis" userId="2e28f1b2-599c-43fa-9c22-5b7536e3b37b" providerId="ADAL" clId="{903218E2-C22B-4CC8-9AB6-343CA3DF934D}" dt="2023-06-19T01:36:49.901" v="12066"/>
          <ac:spMkLst>
            <pc:docMk/>
            <pc:sldMk cId="2926410764" sldId="420"/>
            <ac:spMk id="201" creationId="{B35C9264-EE92-3EE0-8DE6-3A48FA50CD55}"/>
          </ac:spMkLst>
        </pc:spChg>
        <pc:spChg chg="mod">
          <ac:chgData name="Joao Cabral de Assis" userId="2e28f1b2-599c-43fa-9c22-5b7536e3b37b" providerId="ADAL" clId="{903218E2-C22B-4CC8-9AB6-343CA3DF934D}" dt="2023-06-19T01:36:49.903" v="12067"/>
          <ac:spMkLst>
            <pc:docMk/>
            <pc:sldMk cId="2926410764" sldId="420"/>
            <ac:spMk id="202" creationId="{7F106869-1CF9-4972-4210-53A4BCDCFCD5}"/>
          </ac:spMkLst>
        </pc:spChg>
        <pc:spChg chg="mod">
          <ac:chgData name="Joao Cabral de Assis" userId="2e28f1b2-599c-43fa-9c22-5b7536e3b37b" providerId="ADAL" clId="{903218E2-C22B-4CC8-9AB6-343CA3DF934D}" dt="2023-06-19T01:36:49.905" v="12068"/>
          <ac:spMkLst>
            <pc:docMk/>
            <pc:sldMk cId="2926410764" sldId="420"/>
            <ac:spMk id="217" creationId="{48A4949C-E9D6-BAB4-A1F5-CB4A88E444B1}"/>
          </ac:spMkLst>
        </pc:spChg>
        <pc:spChg chg="mod">
          <ac:chgData name="Joao Cabral de Assis" userId="2e28f1b2-599c-43fa-9c22-5b7536e3b37b" providerId="ADAL" clId="{903218E2-C22B-4CC8-9AB6-343CA3DF934D}" dt="2023-06-19T01:36:49.908" v="12069" actId="790"/>
          <ac:spMkLst>
            <pc:docMk/>
            <pc:sldMk cId="2926410764" sldId="420"/>
            <ac:spMk id="225" creationId="{72706BB2-1A3F-348D-23D2-F306C29634C3}"/>
          </ac:spMkLst>
        </pc:spChg>
      </pc:sldChg>
      <pc:sldChg chg="modSp mod modNotes">
        <pc:chgData name="Joao Cabral de Assis" userId="2e28f1b2-599c-43fa-9c22-5b7536e3b37b" providerId="ADAL" clId="{903218E2-C22B-4CC8-9AB6-343CA3DF934D}" dt="2023-06-19T01:36:49.855" v="12047" actId="790"/>
        <pc:sldMkLst>
          <pc:docMk/>
          <pc:sldMk cId="2235905970" sldId="597"/>
        </pc:sldMkLst>
        <pc:spChg chg="mod">
          <ac:chgData name="Joao Cabral de Assis" userId="2e28f1b2-599c-43fa-9c22-5b7536e3b37b" providerId="ADAL" clId="{903218E2-C22B-4CC8-9AB6-343CA3DF934D}" dt="2023-06-19T01:36:49.776" v="12016" actId="790"/>
          <ac:spMkLst>
            <pc:docMk/>
            <pc:sldMk cId="2235905970" sldId="597"/>
            <ac:spMk id="3" creationId="{EE9C8251-16B4-466D-8EE5-9F9E6F14E3FD}"/>
          </ac:spMkLst>
        </pc:spChg>
        <pc:spChg chg="mod">
          <ac:chgData name="Joao Cabral de Assis" userId="2e28f1b2-599c-43fa-9c22-5b7536e3b37b" providerId="ADAL" clId="{903218E2-C22B-4CC8-9AB6-343CA3DF934D}" dt="2023-06-19T01:36:49.848" v="12044" actId="790"/>
          <ac:spMkLst>
            <pc:docMk/>
            <pc:sldMk cId="2235905970" sldId="597"/>
            <ac:spMk id="5" creationId="{A20CD395-FF5C-6EE8-F0C6-1086AFCE476E}"/>
          </ac:spMkLst>
        </pc:spChg>
        <pc:spChg chg="mod">
          <ac:chgData name="Joao Cabral de Assis" userId="2e28f1b2-599c-43fa-9c22-5b7536e3b37b" providerId="ADAL" clId="{903218E2-C22B-4CC8-9AB6-343CA3DF934D}" dt="2023-06-19T01:36:49.786" v="12017" actId="790"/>
          <ac:spMkLst>
            <pc:docMk/>
            <pc:sldMk cId="2235905970" sldId="597"/>
            <ac:spMk id="7" creationId="{0F8C0466-327A-49DB-9157-25B8CE7E7CEC}"/>
          </ac:spMkLst>
        </pc:spChg>
        <pc:spChg chg="mod">
          <ac:chgData name="Joao Cabral de Assis" userId="2e28f1b2-599c-43fa-9c22-5b7536e3b37b" providerId="ADAL" clId="{903218E2-C22B-4CC8-9AB6-343CA3DF934D}" dt="2023-06-19T01:36:49.851" v="12045" actId="790"/>
          <ac:spMkLst>
            <pc:docMk/>
            <pc:sldMk cId="2235905970" sldId="597"/>
            <ac:spMk id="10" creationId="{A5CD988D-8CAC-39BF-7378-55B6FB5F199E}"/>
          </ac:spMkLst>
        </pc:spChg>
        <pc:spChg chg="mod">
          <ac:chgData name="Joao Cabral de Assis" userId="2e28f1b2-599c-43fa-9c22-5b7536e3b37b" providerId="ADAL" clId="{903218E2-C22B-4CC8-9AB6-343CA3DF934D}" dt="2023-06-19T01:36:49.788" v="12018" actId="790"/>
          <ac:spMkLst>
            <pc:docMk/>
            <pc:sldMk cId="2235905970" sldId="597"/>
            <ac:spMk id="41" creationId="{EC1214EB-4F08-438E-9790-221F543BEDFC}"/>
          </ac:spMkLst>
        </pc:spChg>
        <pc:spChg chg="mod">
          <ac:chgData name="Joao Cabral de Assis" userId="2e28f1b2-599c-43fa-9c22-5b7536e3b37b" providerId="ADAL" clId="{903218E2-C22B-4CC8-9AB6-343CA3DF934D}" dt="2023-06-19T01:36:49.790" v="12019" actId="790"/>
          <ac:spMkLst>
            <pc:docMk/>
            <pc:sldMk cId="2235905970" sldId="597"/>
            <ac:spMk id="59" creationId="{622E5164-8B04-4753-BC49-663F623DF908}"/>
          </ac:spMkLst>
        </pc:spChg>
        <pc:spChg chg="mod">
          <ac:chgData name="Joao Cabral de Assis" userId="2e28f1b2-599c-43fa-9c22-5b7536e3b37b" providerId="ADAL" clId="{903218E2-C22B-4CC8-9AB6-343CA3DF934D}" dt="2023-06-19T01:36:49.791" v="12020" actId="790"/>
          <ac:spMkLst>
            <pc:docMk/>
            <pc:sldMk cId="2235905970" sldId="597"/>
            <ac:spMk id="60" creationId="{28DDE884-5333-44A7-88CC-94F0CA577D9A}"/>
          </ac:spMkLst>
        </pc:spChg>
        <pc:spChg chg="mod">
          <ac:chgData name="Joao Cabral de Assis" userId="2e28f1b2-599c-43fa-9c22-5b7536e3b37b" providerId="ADAL" clId="{903218E2-C22B-4CC8-9AB6-343CA3DF934D}" dt="2023-06-19T01:36:49.792" v="12021" actId="790"/>
          <ac:spMkLst>
            <pc:docMk/>
            <pc:sldMk cId="2235905970" sldId="597"/>
            <ac:spMk id="86" creationId="{88DADE68-2915-475D-94C6-01749051E4D7}"/>
          </ac:spMkLst>
        </pc:spChg>
        <pc:spChg chg="mod">
          <ac:chgData name="Joao Cabral de Assis" userId="2e28f1b2-599c-43fa-9c22-5b7536e3b37b" providerId="ADAL" clId="{903218E2-C22B-4CC8-9AB6-343CA3DF934D}" dt="2023-06-19T01:36:49.794" v="12022" actId="790"/>
          <ac:spMkLst>
            <pc:docMk/>
            <pc:sldMk cId="2235905970" sldId="597"/>
            <ac:spMk id="87" creationId="{645E1D3E-1619-46DC-8D8D-466C318A4D34}"/>
          </ac:spMkLst>
        </pc:spChg>
        <pc:spChg chg="mod">
          <ac:chgData name="Joao Cabral de Assis" userId="2e28f1b2-599c-43fa-9c22-5b7536e3b37b" providerId="ADAL" clId="{903218E2-C22B-4CC8-9AB6-343CA3DF934D}" dt="2023-06-19T01:36:49.797" v="12023" actId="790"/>
          <ac:spMkLst>
            <pc:docMk/>
            <pc:sldMk cId="2235905970" sldId="597"/>
            <ac:spMk id="89" creationId="{557F3C6C-422B-4C5E-864B-73460F4FCBED}"/>
          </ac:spMkLst>
        </pc:spChg>
        <pc:spChg chg="mod">
          <ac:chgData name="Joao Cabral de Assis" userId="2e28f1b2-599c-43fa-9c22-5b7536e3b37b" providerId="ADAL" clId="{903218E2-C22B-4CC8-9AB6-343CA3DF934D}" dt="2023-06-19T01:36:49.800" v="12024" actId="790"/>
          <ac:spMkLst>
            <pc:docMk/>
            <pc:sldMk cId="2235905970" sldId="597"/>
            <ac:spMk id="90" creationId="{70BEBE44-F957-4965-B064-185162B2CA52}"/>
          </ac:spMkLst>
        </pc:spChg>
        <pc:spChg chg="mod">
          <ac:chgData name="Joao Cabral de Assis" userId="2e28f1b2-599c-43fa-9c22-5b7536e3b37b" providerId="ADAL" clId="{903218E2-C22B-4CC8-9AB6-343CA3DF934D}" dt="2023-06-19T01:36:49.802" v="12025" actId="790"/>
          <ac:spMkLst>
            <pc:docMk/>
            <pc:sldMk cId="2235905970" sldId="597"/>
            <ac:spMk id="91" creationId="{F958AEA7-FB1F-4AB7-BA7C-6FCCD68048B5}"/>
          </ac:spMkLst>
        </pc:spChg>
        <pc:spChg chg="mod">
          <ac:chgData name="Joao Cabral de Assis" userId="2e28f1b2-599c-43fa-9c22-5b7536e3b37b" providerId="ADAL" clId="{903218E2-C22B-4CC8-9AB6-343CA3DF934D}" dt="2023-06-19T01:36:49.804" v="12026" actId="790"/>
          <ac:spMkLst>
            <pc:docMk/>
            <pc:sldMk cId="2235905970" sldId="597"/>
            <ac:spMk id="92" creationId="{D3B598DA-1A8F-4DF4-9B02-7486CC7BFCFA}"/>
          </ac:spMkLst>
        </pc:spChg>
        <pc:spChg chg="mod">
          <ac:chgData name="Joao Cabral de Assis" userId="2e28f1b2-599c-43fa-9c22-5b7536e3b37b" providerId="ADAL" clId="{903218E2-C22B-4CC8-9AB6-343CA3DF934D}" dt="2023-06-19T01:36:49.807" v="12027" actId="790"/>
          <ac:spMkLst>
            <pc:docMk/>
            <pc:sldMk cId="2235905970" sldId="597"/>
            <ac:spMk id="93" creationId="{513DCB68-940F-45F3-87D1-EA6A4E144D4E}"/>
          </ac:spMkLst>
        </pc:spChg>
        <pc:spChg chg="mod">
          <ac:chgData name="Joao Cabral de Assis" userId="2e28f1b2-599c-43fa-9c22-5b7536e3b37b" providerId="ADAL" clId="{903218E2-C22B-4CC8-9AB6-343CA3DF934D}" dt="2023-06-19T01:36:49.807" v="12028" actId="790"/>
          <ac:spMkLst>
            <pc:docMk/>
            <pc:sldMk cId="2235905970" sldId="597"/>
            <ac:spMk id="94" creationId="{9CE90A3C-5DD3-4AAD-AB78-D11A39EEC01E}"/>
          </ac:spMkLst>
        </pc:spChg>
        <pc:spChg chg="mod">
          <ac:chgData name="Joao Cabral de Assis" userId="2e28f1b2-599c-43fa-9c22-5b7536e3b37b" providerId="ADAL" clId="{903218E2-C22B-4CC8-9AB6-343CA3DF934D}" dt="2023-06-19T01:36:49.809" v="12029" actId="790"/>
          <ac:spMkLst>
            <pc:docMk/>
            <pc:sldMk cId="2235905970" sldId="597"/>
            <ac:spMk id="95" creationId="{7F2885E3-948E-4B8C-8255-3B8959F8A1E9}"/>
          </ac:spMkLst>
        </pc:spChg>
        <pc:spChg chg="mod">
          <ac:chgData name="Joao Cabral de Assis" userId="2e28f1b2-599c-43fa-9c22-5b7536e3b37b" providerId="ADAL" clId="{903218E2-C22B-4CC8-9AB6-343CA3DF934D}" dt="2023-06-19T01:36:49.813" v="12030" actId="790"/>
          <ac:spMkLst>
            <pc:docMk/>
            <pc:sldMk cId="2235905970" sldId="597"/>
            <ac:spMk id="96" creationId="{CF4C5A1D-A30C-4CA4-BE81-47670A01ADF1}"/>
          </ac:spMkLst>
        </pc:spChg>
        <pc:spChg chg="mod">
          <ac:chgData name="Joao Cabral de Assis" userId="2e28f1b2-599c-43fa-9c22-5b7536e3b37b" providerId="ADAL" clId="{903218E2-C22B-4CC8-9AB6-343CA3DF934D}" dt="2023-06-19T01:36:49.815" v="12031" actId="790"/>
          <ac:spMkLst>
            <pc:docMk/>
            <pc:sldMk cId="2235905970" sldId="597"/>
            <ac:spMk id="98" creationId="{D417206D-8B78-4A36-AD3A-5D4C54C4C765}"/>
          </ac:spMkLst>
        </pc:spChg>
        <pc:spChg chg="mod">
          <ac:chgData name="Joao Cabral de Assis" userId="2e28f1b2-599c-43fa-9c22-5b7536e3b37b" providerId="ADAL" clId="{903218E2-C22B-4CC8-9AB6-343CA3DF934D}" dt="2023-06-19T01:36:49.830" v="12038" actId="790"/>
          <ac:spMkLst>
            <pc:docMk/>
            <pc:sldMk cId="2235905970" sldId="597"/>
            <ac:spMk id="102" creationId="{F3BFFE91-DD76-4D3B-81C9-8B7A038FC133}"/>
          </ac:spMkLst>
        </pc:spChg>
        <pc:spChg chg="mod">
          <ac:chgData name="Joao Cabral de Assis" userId="2e28f1b2-599c-43fa-9c22-5b7536e3b37b" providerId="ADAL" clId="{903218E2-C22B-4CC8-9AB6-343CA3DF934D}" dt="2023-06-19T01:36:49.833" v="12039" actId="790"/>
          <ac:spMkLst>
            <pc:docMk/>
            <pc:sldMk cId="2235905970" sldId="597"/>
            <ac:spMk id="103" creationId="{476860AA-E0D3-4E8D-A7C6-7423D1A7343D}"/>
          </ac:spMkLst>
        </pc:spChg>
        <pc:spChg chg="mod">
          <ac:chgData name="Joao Cabral de Assis" userId="2e28f1b2-599c-43fa-9c22-5b7536e3b37b" providerId="ADAL" clId="{903218E2-C22B-4CC8-9AB6-343CA3DF934D}" dt="2023-06-19T01:36:49.836" v="12040" actId="790"/>
          <ac:spMkLst>
            <pc:docMk/>
            <pc:sldMk cId="2235905970" sldId="597"/>
            <ac:spMk id="104" creationId="{8044D50B-3D3C-46CD-8140-109A4685C1CC}"/>
          </ac:spMkLst>
        </pc:spChg>
        <pc:spChg chg="mod">
          <ac:chgData name="Joao Cabral de Assis" userId="2e28f1b2-599c-43fa-9c22-5b7536e3b37b" providerId="ADAL" clId="{903218E2-C22B-4CC8-9AB6-343CA3DF934D}" dt="2023-06-19T01:36:49.839" v="12041" actId="790"/>
          <ac:spMkLst>
            <pc:docMk/>
            <pc:sldMk cId="2235905970" sldId="597"/>
            <ac:spMk id="105" creationId="{7ACA2FC7-C7DD-412F-8499-B2E97E11D5D3}"/>
          </ac:spMkLst>
        </pc:spChg>
        <pc:spChg chg="mod">
          <ac:chgData name="Joao Cabral de Assis" userId="2e28f1b2-599c-43fa-9c22-5b7536e3b37b" providerId="ADAL" clId="{903218E2-C22B-4CC8-9AB6-343CA3DF934D}" dt="2023-06-19T01:36:49.842" v="12042" actId="790"/>
          <ac:spMkLst>
            <pc:docMk/>
            <pc:sldMk cId="2235905970" sldId="597"/>
            <ac:spMk id="106" creationId="{58B6CAA4-17E2-4A63-9322-A29F101566E9}"/>
          </ac:spMkLst>
        </pc:spChg>
        <pc:spChg chg="mod">
          <ac:chgData name="Joao Cabral de Assis" userId="2e28f1b2-599c-43fa-9c22-5b7536e3b37b" providerId="ADAL" clId="{903218E2-C22B-4CC8-9AB6-343CA3DF934D}" dt="2023-06-19T01:36:49.845" v="12043" actId="790"/>
          <ac:spMkLst>
            <pc:docMk/>
            <pc:sldMk cId="2235905970" sldId="597"/>
            <ac:spMk id="107" creationId="{CAD12A1D-EF15-4726-9154-1F6CC334ED8C}"/>
          </ac:spMkLst>
        </pc:spChg>
        <pc:spChg chg="mod">
          <ac:chgData name="Joao Cabral de Assis" userId="2e28f1b2-599c-43fa-9c22-5b7536e3b37b" providerId="ADAL" clId="{903218E2-C22B-4CC8-9AB6-343CA3DF934D}" dt="2023-06-19T01:36:49.824" v="12036" actId="790"/>
          <ac:spMkLst>
            <pc:docMk/>
            <pc:sldMk cId="2235905970" sldId="597"/>
            <ac:spMk id="108" creationId="{480047E5-C223-426F-89A2-B505EAC2EB8B}"/>
          </ac:spMkLst>
        </pc:spChg>
        <pc:spChg chg="mod">
          <ac:chgData name="Joao Cabral de Assis" userId="2e28f1b2-599c-43fa-9c22-5b7536e3b37b" providerId="ADAL" clId="{903218E2-C22B-4CC8-9AB6-343CA3DF934D}" dt="2023-06-19T01:36:49.827" v="12037" actId="790"/>
          <ac:spMkLst>
            <pc:docMk/>
            <pc:sldMk cId="2235905970" sldId="597"/>
            <ac:spMk id="109" creationId="{C8403AB1-6D3E-4B5A-A8D3-0E5FC2E465B1}"/>
          </ac:spMkLst>
        </pc:spChg>
        <pc:spChg chg="mod">
          <ac:chgData name="Joao Cabral de Assis" userId="2e28f1b2-599c-43fa-9c22-5b7536e3b37b" providerId="ADAL" clId="{903218E2-C22B-4CC8-9AB6-343CA3DF934D}" dt="2023-06-19T01:36:49.821" v="12034" actId="790"/>
          <ac:spMkLst>
            <pc:docMk/>
            <pc:sldMk cId="2235905970" sldId="597"/>
            <ac:spMk id="110" creationId="{CDEE1627-548D-4AC5-9D10-AF344D785BAC}"/>
          </ac:spMkLst>
        </pc:spChg>
        <pc:spChg chg="mod">
          <ac:chgData name="Joao Cabral de Assis" userId="2e28f1b2-599c-43fa-9c22-5b7536e3b37b" providerId="ADAL" clId="{903218E2-C22B-4CC8-9AB6-343CA3DF934D}" dt="2023-06-19T01:36:49.823" v="12035" actId="790"/>
          <ac:spMkLst>
            <pc:docMk/>
            <pc:sldMk cId="2235905970" sldId="597"/>
            <ac:spMk id="111" creationId="{9A665B71-2C13-4841-8564-EFCEE611026C}"/>
          </ac:spMkLst>
        </pc:spChg>
        <pc:spChg chg="mod">
          <ac:chgData name="Joao Cabral de Assis" userId="2e28f1b2-599c-43fa-9c22-5b7536e3b37b" providerId="ADAL" clId="{903218E2-C22B-4CC8-9AB6-343CA3DF934D}" dt="2023-06-19T01:36:49.817" v="12032" actId="790"/>
          <ac:spMkLst>
            <pc:docMk/>
            <pc:sldMk cId="2235905970" sldId="597"/>
            <ac:spMk id="112" creationId="{6EBBB834-A63A-414C-BD3D-90F649F5466C}"/>
          </ac:spMkLst>
        </pc:spChg>
        <pc:spChg chg="mod">
          <ac:chgData name="Joao Cabral de Assis" userId="2e28f1b2-599c-43fa-9c22-5b7536e3b37b" providerId="ADAL" clId="{903218E2-C22B-4CC8-9AB6-343CA3DF934D}" dt="2023-06-19T01:36:49.819" v="12033" actId="790"/>
          <ac:spMkLst>
            <pc:docMk/>
            <pc:sldMk cId="2235905970" sldId="597"/>
            <ac:spMk id="113" creationId="{54E2B7B6-F4F0-4670-8128-EC4E1585C6A8}"/>
          </ac:spMkLst>
        </pc:spChg>
      </pc:sldChg>
      <pc:sldChg chg="del">
        <pc:chgData name="Joao Cabral de Assis" userId="2e28f1b2-599c-43fa-9c22-5b7536e3b37b" providerId="ADAL" clId="{903218E2-C22B-4CC8-9AB6-343CA3DF934D}" dt="2023-06-12T14:57:58.373" v="235" actId="47"/>
        <pc:sldMkLst>
          <pc:docMk/>
          <pc:sldMk cId="0" sldId="636"/>
        </pc:sldMkLst>
      </pc:sldChg>
      <pc:sldChg chg="modSp mod modNotes">
        <pc:chgData name="Joao Cabral de Assis" userId="2e28f1b2-599c-43fa-9c22-5b7536e3b37b" providerId="ADAL" clId="{903218E2-C22B-4CC8-9AB6-343CA3DF934D}" dt="2023-06-19T01:36:44.606" v="11076" actId="790"/>
        <pc:sldMkLst>
          <pc:docMk/>
          <pc:sldMk cId="3075826951" sldId="679"/>
        </pc:sldMkLst>
        <pc:spChg chg="mod">
          <ac:chgData name="Joao Cabral de Assis" userId="2e28f1b2-599c-43fa-9c22-5b7536e3b37b" providerId="ADAL" clId="{903218E2-C22B-4CC8-9AB6-343CA3DF934D}" dt="2023-06-19T01:36:44.575" v="11062" actId="790"/>
          <ac:spMkLst>
            <pc:docMk/>
            <pc:sldMk cId="3075826951" sldId="679"/>
            <ac:spMk id="3" creationId="{1AD16EEE-0F51-4833-B0F1-10C2F6708EE5}"/>
          </ac:spMkLst>
        </pc:spChg>
        <pc:spChg chg="mod">
          <ac:chgData name="Joao Cabral de Assis" userId="2e28f1b2-599c-43fa-9c22-5b7536e3b37b" providerId="ADAL" clId="{903218E2-C22B-4CC8-9AB6-343CA3DF934D}" dt="2023-06-19T01:36:44.592" v="11068" actId="790"/>
          <ac:spMkLst>
            <pc:docMk/>
            <pc:sldMk cId="3075826951" sldId="679"/>
            <ac:spMk id="5" creationId="{2DCA6937-99ED-CB7B-509B-807305758F8A}"/>
          </ac:spMkLst>
        </pc:spChg>
        <pc:spChg chg="mod">
          <ac:chgData name="Joao Cabral de Assis" userId="2e28f1b2-599c-43fa-9c22-5b7536e3b37b" providerId="ADAL" clId="{903218E2-C22B-4CC8-9AB6-343CA3DF934D}" dt="2023-06-19T01:36:44.594" v="11070" actId="790"/>
          <ac:spMkLst>
            <pc:docMk/>
            <pc:sldMk cId="3075826951" sldId="679"/>
            <ac:spMk id="10" creationId="{4CD20600-8055-8847-B38E-7E49EEF43487}"/>
          </ac:spMkLst>
        </pc:spChg>
        <pc:spChg chg="mod">
          <ac:chgData name="Joao Cabral de Assis" userId="2e28f1b2-599c-43fa-9c22-5b7536e3b37b" providerId="ADAL" clId="{903218E2-C22B-4CC8-9AB6-343CA3DF934D}" dt="2023-06-19T01:36:44.587" v="11066" actId="790"/>
          <ac:spMkLst>
            <pc:docMk/>
            <pc:sldMk cId="3075826951" sldId="679"/>
            <ac:spMk id="11" creationId="{24D3E25E-8117-4D94-69E4-11FD2C1C95E0}"/>
          </ac:spMkLst>
        </pc:spChg>
        <pc:spChg chg="mod">
          <ac:chgData name="Joao Cabral de Assis" userId="2e28f1b2-599c-43fa-9c22-5b7536e3b37b" providerId="ADAL" clId="{903218E2-C22B-4CC8-9AB6-343CA3DF934D}" dt="2023-06-19T01:36:44.581" v="11064" actId="790"/>
          <ac:spMkLst>
            <pc:docMk/>
            <pc:sldMk cId="3075826951" sldId="679"/>
            <ac:spMk id="13" creationId="{BA6CCAAF-7438-4301-8979-5EA95FC6EA10}"/>
          </ac:spMkLst>
        </pc:spChg>
        <pc:spChg chg="mod">
          <ac:chgData name="Joao Cabral de Assis" userId="2e28f1b2-599c-43fa-9c22-5b7536e3b37b" providerId="ADAL" clId="{903218E2-C22B-4CC8-9AB6-343CA3DF934D}" dt="2023-06-19T01:36:44.578" v="11063" actId="790"/>
          <ac:spMkLst>
            <pc:docMk/>
            <pc:sldMk cId="3075826951" sldId="679"/>
            <ac:spMk id="14" creationId="{22091FD2-BBAE-44C9-B6A8-B942707DF3E5}"/>
          </ac:spMkLst>
        </pc:spChg>
        <pc:spChg chg="mod">
          <ac:chgData name="Joao Cabral de Assis" userId="2e28f1b2-599c-43fa-9c22-5b7536e3b37b" providerId="ADAL" clId="{903218E2-C22B-4CC8-9AB6-343CA3DF934D}" dt="2023-06-19T01:36:44.590" v="11067" actId="790"/>
          <ac:spMkLst>
            <pc:docMk/>
            <pc:sldMk cId="3075826951" sldId="679"/>
            <ac:spMk id="16" creationId="{1F1C8226-E6A9-D40D-313A-23E10491835E}"/>
          </ac:spMkLst>
        </pc:spChg>
        <pc:spChg chg="mod">
          <ac:chgData name="Joao Cabral de Assis" userId="2e28f1b2-599c-43fa-9c22-5b7536e3b37b" providerId="ADAL" clId="{903218E2-C22B-4CC8-9AB6-343CA3DF934D}" dt="2023-06-19T01:36:44.601" v="11074" actId="790"/>
          <ac:spMkLst>
            <pc:docMk/>
            <pc:sldMk cId="3075826951" sldId="679"/>
            <ac:spMk id="17" creationId="{49B02B07-B223-9B50-E699-085CEAC2688D}"/>
          </ac:spMkLst>
        </pc:spChg>
        <pc:spChg chg="mod">
          <ac:chgData name="Joao Cabral de Assis" userId="2e28f1b2-599c-43fa-9c22-5b7536e3b37b" providerId="ADAL" clId="{903218E2-C22B-4CC8-9AB6-343CA3DF934D}" dt="2023-06-19T01:36:44.594" v="11069" actId="790"/>
          <ac:spMkLst>
            <pc:docMk/>
            <pc:sldMk cId="3075826951" sldId="679"/>
            <ac:spMk id="18" creationId="{907E8C7D-4A11-A38D-A353-01D0680F243D}"/>
          </ac:spMkLst>
        </pc:spChg>
        <pc:spChg chg="mod">
          <ac:chgData name="Joao Cabral de Assis" userId="2e28f1b2-599c-43fa-9c22-5b7536e3b37b" providerId="ADAL" clId="{903218E2-C22B-4CC8-9AB6-343CA3DF934D}" dt="2023-06-19T01:36:44.585" v="11065" actId="790"/>
          <ac:spMkLst>
            <pc:docMk/>
            <pc:sldMk cId="3075826951" sldId="679"/>
            <ac:spMk id="20" creationId="{6E6B8D84-CC52-49D3-AC26-5CA1E8C704CE}"/>
          </ac:spMkLst>
        </pc:spChg>
        <pc:spChg chg="mod">
          <ac:chgData name="Joao Cabral de Assis" userId="2e28f1b2-599c-43fa-9c22-5b7536e3b37b" providerId="ADAL" clId="{903218E2-C22B-4CC8-9AB6-343CA3DF934D}" dt="2023-06-19T01:36:44.596" v="11071" actId="790"/>
          <ac:spMkLst>
            <pc:docMk/>
            <pc:sldMk cId="3075826951" sldId="679"/>
            <ac:spMk id="21" creationId="{E5120476-ACC8-D5AF-2BA8-A05C87A9E878}"/>
          </ac:spMkLst>
        </pc:spChg>
        <pc:spChg chg="mod">
          <ac:chgData name="Joao Cabral de Assis" userId="2e28f1b2-599c-43fa-9c22-5b7536e3b37b" providerId="ADAL" clId="{903218E2-C22B-4CC8-9AB6-343CA3DF934D}" dt="2023-06-19T01:36:44.598" v="11072" actId="790"/>
          <ac:spMkLst>
            <pc:docMk/>
            <pc:sldMk cId="3075826951" sldId="679"/>
            <ac:spMk id="22" creationId="{9F5D7899-A1B7-A6FF-B971-7BB31D8AF63F}"/>
          </ac:spMkLst>
        </pc:spChg>
        <pc:spChg chg="mod">
          <ac:chgData name="Joao Cabral de Assis" userId="2e28f1b2-599c-43fa-9c22-5b7536e3b37b" providerId="ADAL" clId="{903218E2-C22B-4CC8-9AB6-343CA3DF934D}" dt="2023-06-19T01:36:44.599" v="11073" actId="790"/>
          <ac:spMkLst>
            <pc:docMk/>
            <pc:sldMk cId="3075826951" sldId="679"/>
            <ac:spMk id="25" creationId="{71ED0CC7-1D79-EAAA-698F-9497AE73D34F}"/>
          </ac:spMkLst>
        </pc:spChg>
      </pc:sldChg>
      <pc:sldChg chg="modSp mod delCm modNotes">
        <pc:chgData name="Joao Cabral de Assis" userId="2e28f1b2-599c-43fa-9c22-5b7536e3b37b" providerId="ADAL" clId="{903218E2-C22B-4CC8-9AB6-343CA3DF934D}" dt="2023-06-19T01:36:51.681" v="12306" actId="790"/>
        <pc:sldMkLst>
          <pc:docMk/>
          <pc:sldMk cId="3065482795" sldId="691"/>
        </pc:sldMkLst>
        <pc:spChg chg="mod">
          <ac:chgData name="Joao Cabral de Assis" userId="2e28f1b2-599c-43fa-9c22-5b7536e3b37b" providerId="ADAL" clId="{903218E2-C22B-4CC8-9AB6-343CA3DF934D}" dt="2023-06-19T01:36:51.631" v="12296" actId="790"/>
          <ac:spMkLst>
            <pc:docMk/>
            <pc:sldMk cId="3065482795" sldId="691"/>
            <ac:spMk id="2" creationId="{1FC79E6B-1BEB-4408-BA93-ACB31F7DA5E5}"/>
          </ac:spMkLst>
        </pc:spChg>
        <pc:spChg chg="mod">
          <ac:chgData name="Joao Cabral de Assis" userId="2e28f1b2-599c-43fa-9c22-5b7536e3b37b" providerId="ADAL" clId="{903218E2-C22B-4CC8-9AB6-343CA3DF934D}" dt="2023-06-19T01:36:51.623" v="12294" actId="790"/>
          <ac:spMkLst>
            <pc:docMk/>
            <pc:sldMk cId="3065482795" sldId="691"/>
            <ac:spMk id="3" creationId="{7BA3C23E-8828-41BC-88BC-997FA59AA7A1}"/>
          </ac:spMkLst>
        </pc:spChg>
        <pc:spChg chg="mod">
          <ac:chgData name="Joao Cabral de Assis" userId="2e28f1b2-599c-43fa-9c22-5b7536e3b37b" providerId="ADAL" clId="{903218E2-C22B-4CC8-9AB6-343CA3DF934D}" dt="2023-06-19T01:36:51.676" v="12303" actId="790"/>
          <ac:spMkLst>
            <pc:docMk/>
            <pc:sldMk cId="3065482795" sldId="691"/>
            <ac:spMk id="4" creationId="{5FBF603B-8CB4-8605-AD9A-5AC619FA9A15}"/>
          </ac:spMkLst>
        </pc:spChg>
        <pc:spChg chg="mod">
          <ac:chgData name="Joao Cabral de Assis" userId="2e28f1b2-599c-43fa-9c22-5b7536e3b37b" providerId="ADAL" clId="{903218E2-C22B-4CC8-9AB6-343CA3DF934D}" dt="2023-06-19T01:36:51.627" v="12295" actId="790"/>
          <ac:spMkLst>
            <pc:docMk/>
            <pc:sldMk cId="3065482795" sldId="691"/>
            <ac:spMk id="5" creationId="{57F29F57-E890-4669-96F2-D0C3118D3A07}"/>
          </ac:spMkLst>
        </pc:spChg>
        <pc:spChg chg="mod">
          <ac:chgData name="Joao Cabral de Assis" userId="2e28f1b2-599c-43fa-9c22-5b7536e3b37b" providerId="ADAL" clId="{903218E2-C22B-4CC8-9AB6-343CA3DF934D}" dt="2023-06-19T01:36:51.672" v="12301" actId="790"/>
          <ac:spMkLst>
            <pc:docMk/>
            <pc:sldMk cId="3065482795" sldId="691"/>
            <ac:spMk id="6" creationId="{E104B3E0-8C88-4BBE-A010-762BC3D73AEC}"/>
          </ac:spMkLst>
        </pc:spChg>
        <pc:spChg chg="mod">
          <ac:chgData name="Joao Cabral de Assis" userId="2e28f1b2-599c-43fa-9c22-5b7536e3b37b" providerId="ADAL" clId="{903218E2-C22B-4CC8-9AB6-343CA3DF934D}" dt="2023-06-19T01:36:51.674" v="12302" actId="790"/>
          <ac:spMkLst>
            <pc:docMk/>
            <pc:sldMk cId="3065482795" sldId="691"/>
            <ac:spMk id="7" creationId="{2D391880-9343-4ACD-A4BB-F4F3624AC5D5}"/>
          </ac:spMkLst>
        </pc:spChg>
        <pc:graphicFrameChg chg="modGraphic">
          <ac:chgData name="Joao Cabral de Assis" userId="2e28f1b2-599c-43fa-9c22-5b7536e3b37b" providerId="ADAL" clId="{903218E2-C22B-4CC8-9AB6-343CA3DF934D}" dt="2023-06-19T01:36:51.663" v="12300" actId="790"/>
          <ac:graphicFrameMkLst>
            <pc:docMk/>
            <pc:sldMk cId="3065482795" sldId="691"/>
            <ac:graphicFrameMk id="8" creationId="{7813E6B7-22B3-48A0-8C06-05234D29E99B}"/>
          </ac:graphicFrameMkLst>
        </pc:graphicFrameChg>
      </pc:sldChg>
      <pc:sldChg chg="addSp delSp modSp mod ord modNotes">
        <pc:chgData name="Joao Cabral de Assis" userId="2e28f1b2-599c-43fa-9c22-5b7536e3b37b" providerId="ADAL" clId="{903218E2-C22B-4CC8-9AB6-343CA3DF934D}" dt="2023-06-19T01:36:45.709" v="11347" actId="790"/>
        <pc:sldMkLst>
          <pc:docMk/>
          <pc:sldMk cId="793864158" sldId="692"/>
        </pc:sldMkLst>
        <pc:spChg chg="mod">
          <ac:chgData name="Joao Cabral de Assis" userId="2e28f1b2-599c-43fa-9c22-5b7536e3b37b" providerId="ADAL" clId="{903218E2-C22B-4CC8-9AB6-343CA3DF934D}" dt="2023-06-19T01:36:45.688" v="11337" actId="790"/>
          <ac:spMkLst>
            <pc:docMk/>
            <pc:sldMk cId="793864158" sldId="692"/>
            <ac:spMk id="2" creationId="{F0874468-05BE-48FC-910B-4C4BC7D0C101}"/>
          </ac:spMkLst>
        </pc:spChg>
        <pc:spChg chg="mod">
          <ac:chgData name="Joao Cabral de Assis" userId="2e28f1b2-599c-43fa-9c22-5b7536e3b37b" providerId="ADAL" clId="{903218E2-C22B-4CC8-9AB6-343CA3DF934D}" dt="2023-06-19T01:36:45.691" v="11338" actId="790"/>
          <ac:spMkLst>
            <pc:docMk/>
            <pc:sldMk cId="793864158" sldId="692"/>
            <ac:spMk id="3" creationId="{DADBC550-C32C-44CF-98CF-86E220087C06}"/>
          </ac:spMkLst>
        </pc:spChg>
        <pc:spChg chg="add del mod modVis">
          <ac:chgData name="Joao Cabral de Assis" userId="2e28f1b2-599c-43fa-9c22-5b7536e3b37b" providerId="ADAL" clId="{903218E2-C22B-4CC8-9AB6-343CA3DF934D}" dt="2023-06-12T16:18:57.573" v="3006"/>
          <ac:spMkLst>
            <pc:docMk/>
            <pc:sldMk cId="793864158" sldId="692"/>
            <ac:spMk id="4" creationId="{32574EE4-8B2D-650B-C94D-59D47A8E92E4}"/>
          </ac:spMkLst>
        </pc:spChg>
        <pc:spChg chg="add del mod modVis">
          <ac:chgData name="Joao Cabral de Assis" userId="2e28f1b2-599c-43fa-9c22-5b7536e3b37b" providerId="ADAL" clId="{903218E2-C22B-4CC8-9AB6-343CA3DF934D}" dt="2023-06-12T16:19:00.425" v="3035"/>
          <ac:spMkLst>
            <pc:docMk/>
            <pc:sldMk cId="793864158" sldId="692"/>
            <ac:spMk id="5" creationId="{E1DE0AC8-13E5-BD19-26F6-5CBD6513625F}"/>
          </ac:spMkLst>
        </pc:spChg>
        <pc:spChg chg="mod">
          <ac:chgData name="Joao Cabral de Assis" userId="2e28f1b2-599c-43fa-9c22-5b7536e3b37b" providerId="ADAL" clId="{903218E2-C22B-4CC8-9AB6-343CA3DF934D}" dt="2023-06-19T01:36:45.702" v="11344" actId="790"/>
          <ac:spMkLst>
            <pc:docMk/>
            <pc:sldMk cId="793864158" sldId="692"/>
            <ac:spMk id="6" creationId="{92B84896-680F-0E57-FE63-D54ABCD8B991}"/>
          </ac:spMkLst>
        </pc:spChg>
        <pc:spChg chg="mod">
          <ac:chgData name="Joao Cabral de Assis" userId="2e28f1b2-599c-43fa-9c22-5b7536e3b37b" providerId="ADAL" clId="{903218E2-C22B-4CC8-9AB6-343CA3DF934D}" dt="2023-06-19T01:36:45.705" v="11345" actId="790"/>
          <ac:spMkLst>
            <pc:docMk/>
            <pc:sldMk cId="793864158" sldId="692"/>
            <ac:spMk id="8" creationId="{B083C733-D952-3E5A-53AA-2CB335DBC57C}"/>
          </ac:spMkLst>
        </pc:spChg>
        <pc:spChg chg="mod">
          <ac:chgData name="Joao Cabral de Assis" userId="2e28f1b2-599c-43fa-9c22-5b7536e3b37b" providerId="ADAL" clId="{903218E2-C22B-4CC8-9AB6-343CA3DF934D}" dt="2023-06-19T01:36:45.693" v="11339"/>
          <ac:spMkLst>
            <pc:docMk/>
            <pc:sldMk cId="793864158" sldId="692"/>
            <ac:spMk id="30" creationId="{D23C72FB-F9CD-4149-ABB9-0304AAB1E673}"/>
          </ac:spMkLst>
        </pc:spChg>
        <pc:spChg chg="mod">
          <ac:chgData name="Joao Cabral de Assis" userId="2e28f1b2-599c-43fa-9c22-5b7536e3b37b" providerId="ADAL" clId="{903218E2-C22B-4CC8-9AB6-343CA3DF934D}" dt="2023-06-19T01:36:45.694" v="11340"/>
          <ac:spMkLst>
            <pc:docMk/>
            <pc:sldMk cId="793864158" sldId="692"/>
            <ac:spMk id="143" creationId="{5E221886-AF1A-42B9-A5A8-721D3AAFB439}"/>
          </ac:spMkLst>
        </pc:spChg>
        <pc:spChg chg="mod">
          <ac:chgData name="Joao Cabral de Assis" userId="2e28f1b2-599c-43fa-9c22-5b7536e3b37b" providerId="ADAL" clId="{903218E2-C22B-4CC8-9AB6-343CA3DF934D}" dt="2023-06-19T01:36:45.696" v="11341"/>
          <ac:spMkLst>
            <pc:docMk/>
            <pc:sldMk cId="793864158" sldId="692"/>
            <ac:spMk id="144" creationId="{8E3ED14C-AD5B-4CB2-898C-46898EA0D078}"/>
          </ac:spMkLst>
        </pc:spChg>
        <pc:spChg chg="mod">
          <ac:chgData name="Joao Cabral de Assis" userId="2e28f1b2-599c-43fa-9c22-5b7536e3b37b" providerId="ADAL" clId="{903218E2-C22B-4CC8-9AB6-343CA3DF934D}" dt="2023-06-19T01:36:45.698" v="11342"/>
          <ac:spMkLst>
            <pc:docMk/>
            <pc:sldMk cId="793864158" sldId="692"/>
            <ac:spMk id="145" creationId="{24796A63-E1B9-47A9-8823-3F017E973290}"/>
          </ac:spMkLst>
        </pc:spChg>
        <pc:spChg chg="mod">
          <ac:chgData name="Joao Cabral de Assis" userId="2e28f1b2-599c-43fa-9c22-5b7536e3b37b" providerId="ADAL" clId="{903218E2-C22B-4CC8-9AB6-343CA3DF934D}" dt="2023-06-19T01:36:45.700" v="11343"/>
          <ac:spMkLst>
            <pc:docMk/>
            <pc:sldMk cId="793864158" sldId="692"/>
            <ac:spMk id="146" creationId="{4386BEA4-B9DC-4181-8A0A-79FE439BB27F}"/>
          </ac:spMkLst>
        </pc:spChg>
        <pc:graphicFrameChg chg="mod">
          <ac:chgData name="Joao Cabral de Assis" userId="2e28f1b2-599c-43fa-9c22-5b7536e3b37b" providerId="ADAL" clId="{903218E2-C22B-4CC8-9AB6-343CA3DF934D}" dt="2023-06-12T16:19:00.428" v="3037"/>
          <ac:graphicFrameMkLst>
            <pc:docMk/>
            <pc:sldMk cId="793864158" sldId="692"/>
            <ac:graphicFrameMk id="17" creationId="{96C0E511-F38F-457D-A27F-C08777AE8356}"/>
          </ac:graphicFrameMkLst>
        </pc:graphicFrameChg>
        <pc:picChg chg="mod">
          <ac:chgData name="Joao Cabral de Assis" userId="2e28f1b2-599c-43fa-9c22-5b7536e3b37b" providerId="ADAL" clId="{903218E2-C22B-4CC8-9AB6-343CA3DF934D}" dt="2023-06-12T17:51:15.046" v="5381" actId="1076"/>
          <ac:picMkLst>
            <pc:docMk/>
            <pc:sldMk cId="793864158" sldId="692"/>
            <ac:picMk id="10" creationId="{90FECAA6-80B5-A7E5-DA87-88AB8CF39ECB}"/>
          </ac:picMkLst>
        </pc:picChg>
      </pc:sldChg>
      <pc:sldChg chg="addSp delSp modSp mod modNotes">
        <pc:chgData name="Joao Cabral de Assis" userId="2e28f1b2-599c-43fa-9c22-5b7536e3b37b" providerId="ADAL" clId="{903218E2-C22B-4CC8-9AB6-343CA3DF934D}" dt="2023-06-19T01:36:49.583" v="11941" actId="790"/>
        <pc:sldMkLst>
          <pc:docMk/>
          <pc:sldMk cId="2391066035" sldId="696"/>
        </pc:sldMkLst>
        <pc:spChg chg="mod">
          <ac:chgData name="Joao Cabral de Assis" userId="2e28f1b2-599c-43fa-9c22-5b7536e3b37b" providerId="ADAL" clId="{903218E2-C22B-4CC8-9AB6-343CA3DF934D}" dt="2023-06-19T01:36:49.575" v="11936" actId="790"/>
          <ac:spMkLst>
            <pc:docMk/>
            <pc:sldMk cId="2391066035" sldId="696"/>
            <ac:spMk id="2" creationId="{4CCEBFC7-42C3-42F8-9E24-6983B31F48BE}"/>
          </ac:spMkLst>
        </pc:spChg>
        <pc:spChg chg="mod">
          <ac:chgData name="Joao Cabral de Assis" userId="2e28f1b2-599c-43fa-9c22-5b7536e3b37b" providerId="ADAL" clId="{903218E2-C22B-4CC8-9AB6-343CA3DF934D}" dt="2023-06-19T01:36:49.567" v="11931" actId="790"/>
          <ac:spMkLst>
            <pc:docMk/>
            <pc:sldMk cId="2391066035" sldId="696"/>
            <ac:spMk id="3" creationId="{DADBC550-C32C-44CF-98CF-86E220087C06}"/>
          </ac:spMkLst>
        </pc:spChg>
        <pc:spChg chg="mod">
          <ac:chgData name="Joao Cabral de Assis" userId="2e28f1b2-599c-43fa-9c22-5b7536e3b37b" providerId="ADAL" clId="{903218E2-C22B-4CC8-9AB6-343CA3DF934D}" dt="2023-06-19T01:36:49.565" v="11930" actId="790"/>
          <ac:spMkLst>
            <pc:docMk/>
            <pc:sldMk cId="2391066035" sldId="696"/>
            <ac:spMk id="4" creationId="{704C5668-4AAE-493E-AB4B-E26C6DEF2C85}"/>
          </ac:spMkLst>
        </pc:spChg>
        <pc:spChg chg="mod">
          <ac:chgData name="Joao Cabral de Assis" userId="2e28f1b2-599c-43fa-9c22-5b7536e3b37b" providerId="ADAL" clId="{903218E2-C22B-4CC8-9AB6-343CA3DF934D}" dt="2023-06-19T01:36:49.568" v="11932" actId="790"/>
          <ac:spMkLst>
            <pc:docMk/>
            <pc:sldMk cId="2391066035" sldId="696"/>
            <ac:spMk id="5" creationId="{C47EB140-9C1F-4787-9F51-97269CA38C68}"/>
          </ac:spMkLst>
        </pc:spChg>
        <pc:spChg chg="mod">
          <ac:chgData name="Joao Cabral de Assis" userId="2e28f1b2-599c-43fa-9c22-5b7536e3b37b" providerId="ADAL" clId="{903218E2-C22B-4CC8-9AB6-343CA3DF934D}" dt="2023-06-19T01:36:49.576" v="11937" actId="790"/>
          <ac:spMkLst>
            <pc:docMk/>
            <pc:sldMk cId="2391066035" sldId="696"/>
            <ac:spMk id="6" creationId="{2CF5BA2C-4AE6-4693-BCED-526DEEE0FC4A}"/>
          </ac:spMkLst>
        </pc:spChg>
        <pc:spChg chg="mod">
          <ac:chgData name="Joao Cabral de Assis" userId="2e28f1b2-599c-43fa-9c22-5b7536e3b37b" providerId="ADAL" clId="{903218E2-C22B-4CC8-9AB6-343CA3DF934D}" dt="2023-06-19T01:36:49.580" v="11939" actId="790"/>
          <ac:spMkLst>
            <pc:docMk/>
            <pc:sldMk cId="2391066035" sldId="696"/>
            <ac:spMk id="7" creationId="{5F5912E8-FB4B-89B8-5641-BDDA7BB269B3}"/>
          </ac:spMkLst>
        </pc:spChg>
        <pc:spChg chg="mod">
          <ac:chgData name="Joao Cabral de Assis" userId="2e28f1b2-599c-43fa-9c22-5b7536e3b37b" providerId="ADAL" clId="{903218E2-C22B-4CC8-9AB6-343CA3DF934D}" dt="2023-06-19T01:36:49.578" v="11938" actId="790"/>
          <ac:spMkLst>
            <pc:docMk/>
            <pc:sldMk cId="2391066035" sldId="696"/>
            <ac:spMk id="8" creationId="{E0A90649-3A8F-4489-8ABD-3AC523A72E90}"/>
          </ac:spMkLst>
        </pc:spChg>
        <pc:spChg chg="add del mod modVis">
          <ac:chgData name="Joao Cabral de Assis" userId="2e28f1b2-599c-43fa-9c22-5b7536e3b37b" providerId="ADAL" clId="{903218E2-C22B-4CC8-9AB6-343CA3DF934D}" dt="2023-06-19T00:56:14.198" v="8652"/>
          <ac:spMkLst>
            <pc:docMk/>
            <pc:sldMk cId="2391066035" sldId="696"/>
            <ac:spMk id="9" creationId="{B2624E54-BE71-2C75-C3FE-581AF60FE9D7}"/>
          </ac:spMkLst>
        </pc:spChg>
        <pc:spChg chg="add del mod modVis">
          <ac:chgData name="Joao Cabral de Assis" userId="2e28f1b2-599c-43fa-9c22-5b7536e3b37b" providerId="ADAL" clId="{903218E2-C22B-4CC8-9AB6-343CA3DF934D}" dt="2023-06-19T00:56:17.947" v="8681"/>
          <ac:spMkLst>
            <pc:docMk/>
            <pc:sldMk cId="2391066035" sldId="696"/>
            <ac:spMk id="10" creationId="{61640160-E8CC-E1BC-FF7D-0D44247D3F35}"/>
          </ac:spMkLst>
        </pc:spChg>
        <pc:spChg chg="add del mod modVis">
          <ac:chgData name="Joao Cabral de Assis" userId="2e28f1b2-599c-43fa-9c22-5b7536e3b37b" providerId="ADAL" clId="{903218E2-C22B-4CC8-9AB6-343CA3DF934D}" dt="2023-06-19T00:56:19.442" v="8710"/>
          <ac:spMkLst>
            <pc:docMk/>
            <pc:sldMk cId="2391066035" sldId="696"/>
            <ac:spMk id="11" creationId="{D9EDE942-B15D-2784-3D20-253F15B666E1}"/>
          </ac:spMkLst>
        </pc:spChg>
        <pc:spChg chg="add del mod modVis">
          <ac:chgData name="Joao Cabral de Assis" userId="2e28f1b2-599c-43fa-9c22-5b7536e3b37b" providerId="ADAL" clId="{903218E2-C22B-4CC8-9AB6-343CA3DF934D}" dt="2023-06-19T00:56:22.063" v="8739"/>
          <ac:spMkLst>
            <pc:docMk/>
            <pc:sldMk cId="2391066035" sldId="696"/>
            <ac:spMk id="12" creationId="{50CD2CE2-AEF5-C177-1484-682BD1D80563}"/>
          </ac:spMkLst>
        </pc:spChg>
        <pc:spChg chg="add del mod modVis">
          <ac:chgData name="Joao Cabral de Assis" userId="2e28f1b2-599c-43fa-9c22-5b7536e3b37b" providerId="ADAL" clId="{903218E2-C22B-4CC8-9AB6-343CA3DF934D}" dt="2023-06-19T00:56:25.084" v="8767"/>
          <ac:spMkLst>
            <pc:docMk/>
            <pc:sldMk cId="2391066035" sldId="696"/>
            <ac:spMk id="13" creationId="{B5D74DB9-755A-A030-12E8-FC518B642CF3}"/>
          </ac:spMkLst>
        </pc:spChg>
        <pc:spChg chg="add del mod modVis">
          <ac:chgData name="Joao Cabral de Assis" userId="2e28f1b2-599c-43fa-9c22-5b7536e3b37b" providerId="ADAL" clId="{903218E2-C22B-4CC8-9AB6-343CA3DF934D}" dt="2023-06-19T00:56:26.230" v="8795"/>
          <ac:spMkLst>
            <pc:docMk/>
            <pc:sldMk cId="2391066035" sldId="696"/>
            <ac:spMk id="14" creationId="{1DB96B98-1328-1B57-0977-EE7EF42D1843}"/>
          </ac:spMkLst>
        </pc:spChg>
        <pc:spChg chg="mod">
          <ac:chgData name="Joao Cabral de Assis" userId="2e28f1b2-599c-43fa-9c22-5b7536e3b37b" providerId="ADAL" clId="{903218E2-C22B-4CC8-9AB6-343CA3DF934D}" dt="2023-06-19T01:36:49.569" v="11933" actId="790"/>
          <ac:spMkLst>
            <pc:docMk/>
            <pc:sldMk cId="2391066035" sldId="696"/>
            <ac:spMk id="19" creationId="{7C368BDB-5C24-4550-8975-AF4BC5D167EC}"/>
          </ac:spMkLst>
        </pc:spChg>
        <pc:spChg chg="mod">
          <ac:chgData name="Joao Cabral de Assis" userId="2e28f1b2-599c-43fa-9c22-5b7536e3b37b" providerId="ADAL" clId="{903218E2-C22B-4CC8-9AB6-343CA3DF934D}" dt="2023-06-19T01:36:49.572" v="11934" actId="790"/>
          <ac:spMkLst>
            <pc:docMk/>
            <pc:sldMk cId="2391066035" sldId="696"/>
            <ac:spMk id="38" creationId="{7A187D76-5283-4A03-89B5-3877B8673AB6}"/>
          </ac:spMkLst>
        </pc:spChg>
        <pc:spChg chg="mod">
          <ac:chgData name="Joao Cabral de Assis" userId="2e28f1b2-599c-43fa-9c22-5b7536e3b37b" providerId="ADAL" clId="{903218E2-C22B-4CC8-9AB6-343CA3DF934D}" dt="2023-06-19T01:36:49.573" v="11935" actId="790"/>
          <ac:spMkLst>
            <pc:docMk/>
            <pc:sldMk cId="2391066035" sldId="696"/>
            <ac:spMk id="39" creationId="{1BF04AA0-B670-4A6C-BD7E-F3ABA87C0D74}"/>
          </ac:spMkLst>
        </pc:spChg>
        <pc:graphicFrameChg chg="mod">
          <ac:chgData name="Joao Cabral de Assis" userId="2e28f1b2-599c-43fa-9c22-5b7536e3b37b" providerId="ADAL" clId="{903218E2-C22B-4CC8-9AB6-343CA3DF934D}" dt="2023-06-19T00:56:26.235" v="8797"/>
          <ac:graphicFrameMkLst>
            <pc:docMk/>
            <pc:sldMk cId="2391066035" sldId="696"/>
            <ac:graphicFrameMk id="17" creationId="{96C0E511-F38F-457D-A27F-C08777AE8356}"/>
          </ac:graphicFrameMkLst>
        </pc:graphicFrameChg>
      </pc:sldChg>
      <pc:sldChg chg="modSp mod modNotes">
        <pc:chgData name="Joao Cabral de Assis" userId="2e28f1b2-599c-43fa-9c22-5b7536e3b37b" providerId="ADAL" clId="{903218E2-C22B-4CC8-9AB6-343CA3DF934D}" dt="2023-06-19T01:36:49.675" v="11985" actId="790"/>
        <pc:sldMkLst>
          <pc:docMk/>
          <pc:sldMk cId="735178354" sldId="697"/>
        </pc:sldMkLst>
        <pc:spChg chg="mod">
          <ac:chgData name="Joao Cabral de Assis" userId="2e28f1b2-599c-43fa-9c22-5b7536e3b37b" providerId="ADAL" clId="{903218E2-C22B-4CC8-9AB6-343CA3DF934D}" dt="2023-06-19T01:36:49.641" v="11966" actId="790"/>
          <ac:spMkLst>
            <pc:docMk/>
            <pc:sldMk cId="735178354" sldId="697"/>
            <ac:spMk id="2" creationId="{01CA7707-21D3-47FB-8CD4-AE1A805061BF}"/>
          </ac:spMkLst>
        </pc:spChg>
        <pc:spChg chg="mod">
          <ac:chgData name="Joao Cabral de Assis" userId="2e28f1b2-599c-43fa-9c22-5b7536e3b37b" providerId="ADAL" clId="{903218E2-C22B-4CC8-9AB6-343CA3DF934D}" dt="2023-06-19T01:36:49.643" v="11967" actId="790"/>
          <ac:spMkLst>
            <pc:docMk/>
            <pc:sldMk cId="735178354" sldId="697"/>
            <ac:spMk id="3" creationId="{DADBC550-C32C-44CF-98CF-86E220087C06}"/>
          </ac:spMkLst>
        </pc:spChg>
        <pc:spChg chg="mod">
          <ac:chgData name="Joao Cabral de Assis" userId="2e28f1b2-599c-43fa-9c22-5b7536e3b37b" providerId="ADAL" clId="{903218E2-C22B-4CC8-9AB6-343CA3DF934D}" dt="2023-06-19T01:36:49.646" v="11968" actId="790"/>
          <ac:spMkLst>
            <pc:docMk/>
            <pc:sldMk cId="735178354" sldId="697"/>
            <ac:spMk id="5" creationId="{C47EB140-9C1F-4787-9F51-97269CA38C68}"/>
          </ac:spMkLst>
        </pc:spChg>
        <pc:spChg chg="mod">
          <ac:chgData name="Joao Cabral de Assis" userId="2e28f1b2-599c-43fa-9c22-5b7536e3b37b" providerId="ADAL" clId="{903218E2-C22B-4CC8-9AB6-343CA3DF934D}" dt="2023-06-19T01:36:49.669" v="11982" actId="790"/>
          <ac:spMkLst>
            <pc:docMk/>
            <pc:sldMk cId="735178354" sldId="697"/>
            <ac:spMk id="6" creationId="{0C653994-D21C-D7E6-FD26-EFB5F98E2E4D}"/>
          </ac:spMkLst>
        </pc:spChg>
        <pc:spChg chg="mod">
          <ac:chgData name="Joao Cabral de Assis" userId="2e28f1b2-599c-43fa-9c22-5b7536e3b37b" providerId="ADAL" clId="{903218E2-C22B-4CC8-9AB6-343CA3DF934D}" dt="2023-06-19T01:36:49.667" v="11980" actId="790"/>
          <ac:spMkLst>
            <pc:docMk/>
            <pc:sldMk cId="735178354" sldId="697"/>
            <ac:spMk id="10" creationId="{E8A02CBD-CDFE-E2AF-12B6-267DB4784822}"/>
          </ac:spMkLst>
        </pc:spChg>
        <pc:spChg chg="mod">
          <ac:chgData name="Joao Cabral de Assis" userId="2e28f1b2-599c-43fa-9c22-5b7536e3b37b" providerId="ADAL" clId="{903218E2-C22B-4CC8-9AB6-343CA3DF934D}" dt="2023-06-19T01:36:49.668" v="11981" actId="790"/>
          <ac:spMkLst>
            <pc:docMk/>
            <pc:sldMk cId="735178354" sldId="697"/>
            <ac:spMk id="11" creationId="{F52F484F-8339-046C-FB38-1E4E4AD751B3}"/>
          </ac:spMkLst>
        </pc:spChg>
        <pc:spChg chg="mod">
          <ac:chgData name="Joao Cabral de Assis" userId="2e28f1b2-599c-43fa-9c22-5b7536e3b37b" providerId="ADAL" clId="{903218E2-C22B-4CC8-9AB6-343CA3DF934D}" dt="2023-06-19T01:36:49.647" v="11969" actId="790"/>
          <ac:spMkLst>
            <pc:docMk/>
            <pc:sldMk cId="735178354" sldId="697"/>
            <ac:spMk id="20" creationId="{6ED1B9BC-DDFD-43D1-869B-C4522489FDA6}"/>
          </ac:spMkLst>
        </pc:spChg>
        <pc:spChg chg="mod">
          <ac:chgData name="Joao Cabral de Assis" userId="2e28f1b2-599c-43fa-9c22-5b7536e3b37b" providerId="ADAL" clId="{903218E2-C22B-4CC8-9AB6-343CA3DF934D}" dt="2023-06-19T01:36:49.649" v="11970" actId="790"/>
          <ac:spMkLst>
            <pc:docMk/>
            <pc:sldMk cId="735178354" sldId="697"/>
            <ac:spMk id="21" creationId="{C84BB9CE-0330-455B-9A53-50BD2B7D85A6}"/>
          </ac:spMkLst>
        </pc:spChg>
        <pc:spChg chg="mod">
          <ac:chgData name="Joao Cabral de Assis" userId="2e28f1b2-599c-43fa-9c22-5b7536e3b37b" providerId="ADAL" clId="{903218E2-C22B-4CC8-9AB6-343CA3DF934D}" dt="2023-06-19T01:36:49.651" v="11971"/>
          <ac:spMkLst>
            <pc:docMk/>
            <pc:sldMk cId="735178354" sldId="697"/>
            <ac:spMk id="22" creationId="{0685B14E-A23C-46A2-84E9-D3455EC48A43}"/>
          </ac:spMkLst>
        </pc:spChg>
        <pc:spChg chg="mod">
          <ac:chgData name="Joao Cabral de Assis" userId="2e28f1b2-599c-43fa-9c22-5b7536e3b37b" providerId="ADAL" clId="{903218E2-C22B-4CC8-9AB6-343CA3DF934D}" dt="2023-06-19T01:36:49.653" v="11972" actId="790"/>
          <ac:spMkLst>
            <pc:docMk/>
            <pc:sldMk cId="735178354" sldId="697"/>
            <ac:spMk id="23" creationId="{63789E0E-83DE-467D-9651-97624E869989}"/>
          </ac:spMkLst>
        </pc:spChg>
        <pc:spChg chg="mod">
          <ac:chgData name="Joao Cabral de Assis" userId="2e28f1b2-599c-43fa-9c22-5b7536e3b37b" providerId="ADAL" clId="{903218E2-C22B-4CC8-9AB6-343CA3DF934D}" dt="2023-06-19T01:36:49.655" v="11973"/>
          <ac:spMkLst>
            <pc:docMk/>
            <pc:sldMk cId="735178354" sldId="697"/>
            <ac:spMk id="24" creationId="{212A7206-BF44-4111-B5BC-B46BC00EF659}"/>
          </ac:spMkLst>
        </pc:spChg>
        <pc:spChg chg="mod">
          <ac:chgData name="Joao Cabral de Assis" userId="2e28f1b2-599c-43fa-9c22-5b7536e3b37b" providerId="ADAL" clId="{903218E2-C22B-4CC8-9AB6-343CA3DF934D}" dt="2023-06-19T01:36:49.657" v="11974" actId="790"/>
          <ac:spMkLst>
            <pc:docMk/>
            <pc:sldMk cId="735178354" sldId="697"/>
            <ac:spMk id="25" creationId="{9B4EDA02-81A7-4C67-8501-0A365D33B255}"/>
          </ac:spMkLst>
        </pc:spChg>
        <pc:spChg chg="mod">
          <ac:chgData name="Joao Cabral de Assis" userId="2e28f1b2-599c-43fa-9c22-5b7536e3b37b" providerId="ADAL" clId="{903218E2-C22B-4CC8-9AB6-343CA3DF934D}" dt="2023-06-19T01:36:49.659" v="11975"/>
          <ac:spMkLst>
            <pc:docMk/>
            <pc:sldMk cId="735178354" sldId="697"/>
            <ac:spMk id="26" creationId="{E25F7830-25D5-4C20-A813-9A105255AF83}"/>
          </ac:spMkLst>
        </pc:spChg>
        <pc:spChg chg="mod">
          <ac:chgData name="Joao Cabral de Assis" userId="2e28f1b2-599c-43fa-9c22-5b7536e3b37b" providerId="ADAL" clId="{903218E2-C22B-4CC8-9AB6-343CA3DF934D}" dt="2023-06-19T01:36:49.660" v="11976"/>
          <ac:spMkLst>
            <pc:docMk/>
            <pc:sldMk cId="735178354" sldId="697"/>
            <ac:spMk id="38" creationId="{F44F0AAD-72DB-46BE-A85E-D9E34D1E3572}"/>
          </ac:spMkLst>
        </pc:spChg>
        <pc:spChg chg="mod">
          <ac:chgData name="Joao Cabral de Assis" userId="2e28f1b2-599c-43fa-9c22-5b7536e3b37b" providerId="ADAL" clId="{903218E2-C22B-4CC8-9AB6-343CA3DF934D}" dt="2023-06-19T01:36:49.662" v="11977"/>
          <ac:spMkLst>
            <pc:docMk/>
            <pc:sldMk cId="735178354" sldId="697"/>
            <ac:spMk id="39" creationId="{EEBD9E4E-8204-4395-8C0E-A1FDEEAC8486}"/>
          </ac:spMkLst>
        </pc:spChg>
        <pc:spChg chg="mod">
          <ac:chgData name="Joao Cabral de Assis" userId="2e28f1b2-599c-43fa-9c22-5b7536e3b37b" providerId="ADAL" clId="{903218E2-C22B-4CC8-9AB6-343CA3DF934D}" dt="2023-06-19T01:36:49.663" v="11978"/>
          <ac:spMkLst>
            <pc:docMk/>
            <pc:sldMk cId="735178354" sldId="697"/>
            <ac:spMk id="40" creationId="{492E0437-B47D-4827-84F8-2BDDDD987FA2}"/>
          </ac:spMkLst>
        </pc:spChg>
        <pc:spChg chg="mod">
          <ac:chgData name="Joao Cabral de Assis" userId="2e28f1b2-599c-43fa-9c22-5b7536e3b37b" providerId="ADAL" clId="{903218E2-C22B-4CC8-9AB6-343CA3DF934D}" dt="2023-06-19T01:36:49.664" v="11979" actId="790"/>
          <ac:spMkLst>
            <pc:docMk/>
            <pc:sldMk cId="735178354" sldId="697"/>
            <ac:spMk id="42" creationId="{FCF38A3D-8ACC-482E-8FE2-B0BD2F585BF9}"/>
          </ac:spMkLst>
        </pc:spChg>
      </pc:sldChg>
      <pc:sldChg chg="modSp mod modNotes">
        <pc:chgData name="Joao Cabral de Assis" userId="2e28f1b2-599c-43fa-9c22-5b7536e3b37b" providerId="ADAL" clId="{903218E2-C22B-4CC8-9AB6-343CA3DF934D}" dt="2023-06-19T01:36:45.726" v="11353" actId="790"/>
        <pc:sldMkLst>
          <pc:docMk/>
          <pc:sldMk cId="2233048115" sldId="698"/>
        </pc:sldMkLst>
        <pc:spChg chg="mod">
          <ac:chgData name="Joao Cabral de Assis" userId="2e28f1b2-599c-43fa-9c22-5b7536e3b37b" providerId="ADAL" clId="{903218E2-C22B-4CC8-9AB6-343CA3DF934D}" dt="2023-06-19T01:36:45.722" v="11351" actId="790"/>
          <ac:spMkLst>
            <pc:docMk/>
            <pc:sldMk cId="2233048115" sldId="698"/>
            <ac:spMk id="2" creationId="{1973A7FC-EF38-EBEC-A369-A635BF094BE0}"/>
          </ac:spMkLst>
        </pc:spChg>
        <pc:spChg chg="mod">
          <ac:chgData name="Joao Cabral de Assis" userId="2e28f1b2-599c-43fa-9c22-5b7536e3b37b" providerId="ADAL" clId="{903218E2-C22B-4CC8-9AB6-343CA3DF934D}" dt="2023-06-19T01:36:45.712" v="11348" actId="790"/>
          <ac:spMkLst>
            <pc:docMk/>
            <pc:sldMk cId="2233048115" sldId="698"/>
            <ac:spMk id="3" creationId="{DADBC550-C32C-44CF-98CF-86E220087C06}"/>
          </ac:spMkLst>
        </pc:spChg>
        <pc:spChg chg="mod">
          <ac:chgData name="Joao Cabral de Assis" userId="2e28f1b2-599c-43fa-9c22-5b7536e3b37b" providerId="ADAL" clId="{903218E2-C22B-4CC8-9AB6-343CA3DF934D}" dt="2023-06-19T01:36:45.714" v="11349" actId="790"/>
          <ac:spMkLst>
            <pc:docMk/>
            <pc:sldMk cId="2233048115" sldId="698"/>
            <ac:spMk id="5" creationId="{C47EB140-9C1F-4787-9F51-97269CA38C68}"/>
          </ac:spMkLst>
        </pc:spChg>
        <pc:spChg chg="mod">
          <ac:chgData name="Joao Cabral de Assis" userId="2e28f1b2-599c-43fa-9c22-5b7536e3b37b" providerId="ADAL" clId="{903218E2-C22B-4CC8-9AB6-343CA3DF934D}" dt="2023-06-19T01:36:45.720" v="11350" actId="790"/>
          <ac:spMkLst>
            <pc:docMk/>
            <pc:sldMk cId="2233048115" sldId="698"/>
            <ac:spMk id="19" creationId="{F08891BA-D3CA-4A41-A3F1-14A203048E52}"/>
          </ac:spMkLst>
        </pc:spChg>
      </pc:sldChg>
      <pc:sldChg chg="modSp mod modNotes">
        <pc:chgData name="Joao Cabral de Assis" userId="2e28f1b2-599c-43fa-9c22-5b7536e3b37b" providerId="ADAL" clId="{903218E2-C22B-4CC8-9AB6-343CA3DF934D}" dt="2023-06-19T01:36:51.614" v="12289" actId="790"/>
        <pc:sldMkLst>
          <pc:docMk/>
          <pc:sldMk cId="328168420" sldId="703"/>
        </pc:sldMkLst>
        <pc:spChg chg="mod">
          <ac:chgData name="Joao Cabral de Assis" userId="2e28f1b2-599c-43fa-9c22-5b7536e3b37b" providerId="ADAL" clId="{903218E2-C22B-4CC8-9AB6-343CA3DF934D}" dt="2023-06-19T01:36:51.609" v="12286" actId="790"/>
          <ac:spMkLst>
            <pc:docMk/>
            <pc:sldMk cId="328168420" sldId="703"/>
            <ac:spMk id="2" creationId="{4FF8518A-9C44-14B4-79F2-75C3CDA3D992}"/>
          </ac:spMkLst>
        </pc:spChg>
        <pc:spChg chg="mod">
          <ac:chgData name="Joao Cabral de Assis" userId="2e28f1b2-599c-43fa-9c22-5b7536e3b37b" providerId="ADAL" clId="{903218E2-C22B-4CC8-9AB6-343CA3DF934D}" dt="2023-06-19T01:36:51.197" v="12244" actId="790"/>
          <ac:spMkLst>
            <pc:docMk/>
            <pc:sldMk cId="328168420" sldId="703"/>
            <ac:spMk id="6" creationId="{933369D1-873D-4EA1-9FF6-8B03586965D5}"/>
          </ac:spMkLst>
        </pc:spChg>
        <pc:spChg chg="mod">
          <ac:chgData name="Joao Cabral de Assis" userId="2e28f1b2-599c-43fa-9c22-5b7536e3b37b" providerId="ADAL" clId="{903218E2-C22B-4CC8-9AB6-343CA3DF934D}" dt="2023-06-19T01:36:51.606" v="12285" actId="790"/>
          <ac:spMkLst>
            <pc:docMk/>
            <pc:sldMk cId="328168420" sldId="703"/>
            <ac:spMk id="12" creationId="{5D12586D-8FC1-468A-A262-CAA8B8086CF3}"/>
          </ac:spMkLst>
        </pc:spChg>
        <pc:graphicFrameChg chg="modGraphic">
          <ac:chgData name="Joao Cabral de Assis" userId="2e28f1b2-599c-43fa-9c22-5b7536e3b37b" providerId="ADAL" clId="{903218E2-C22B-4CC8-9AB6-343CA3DF934D}" dt="2023-06-19T01:36:51.596" v="12284" actId="790"/>
          <ac:graphicFrameMkLst>
            <pc:docMk/>
            <pc:sldMk cId="328168420" sldId="703"/>
            <ac:graphicFrameMk id="7" creationId="{21A4DBF7-0A88-4708-87CA-A898CACB1A48}"/>
          </ac:graphicFrameMkLst>
        </pc:graphicFrameChg>
      </pc:sldChg>
      <pc:sldChg chg="modSp mod modNotes">
        <pc:chgData name="Joao Cabral de Assis" userId="2e28f1b2-599c-43fa-9c22-5b7536e3b37b" providerId="ADAL" clId="{903218E2-C22B-4CC8-9AB6-343CA3DF934D}" dt="2023-06-19T01:36:49.750" v="12005" actId="790"/>
        <pc:sldMkLst>
          <pc:docMk/>
          <pc:sldMk cId="846264927" sldId="721"/>
        </pc:sldMkLst>
        <pc:spChg chg="mod">
          <ac:chgData name="Joao Cabral de Assis" userId="2e28f1b2-599c-43fa-9c22-5b7536e3b37b" providerId="ADAL" clId="{903218E2-C22B-4CC8-9AB6-343CA3DF934D}" dt="2023-06-19T01:36:49.715" v="11990" actId="790"/>
          <ac:spMkLst>
            <pc:docMk/>
            <pc:sldMk cId="846264927" sldId="721"/>
            <ac:spMk id="2" creationId="{055416DD-D4A2-4D5E-9EAB-68F19D70C6AE}"/>
          </ac:spMkLst>
        </pc:spChg>
        <pc:spChg chg="mod">
          <ac:chgData name="Joao Cabral de Assis" userId="2e28f1b2-599c-43fa-9c22-5b7536e3b37b" providerId="ADAL" clId="{903218E2-C22B-4CC8-9AB6-343CA3DF934D}" dt="2023-06-19T01:36:49.742" v="12001" actId="790"/>
          <ac:spMkLst>
            <pc:docMk/>
            <pc:sldMk cId="846264927" sldId="721"/>
            <ac:spMk id="7" creationId="{25673273-38D0-C26E-3BEB-9B324545615E}"/>
          </ac:spMkLst>
        </pc:spChg>
        <pc:spChg chg="mod">
          <ac:chgData name="Joao Cabral de Assis" userId="2e28f1b2-599c-43fa-9c22-5b7536e3b37b" providerId="ADAL" clId="{903218E2-C22B-4CC8-9AB6-343CA3DF934D}" dt="2023-06-19T01:36:49.719" v="11991" actId="790"/>
          <ac:spMkLst>
            <pc:docMk/>
            <pc:sldMk cId="846264927" sldId="721"/>
            <ac:spMk id="9" creationId="{C8CF9EC6-5372-4BDD-9E38-978BD4CA803A}"/>
          </ac:spMkLst>
        </pc:spChg>
        <pc:spChg chg="mod">
          <ac:chgData name="Joao Cabral de Assis" userId="2e28f1b2-599c-43fa-9c22-5b7536e3b37b" providerId="ADAL" clId="{903218E2-C22B-4CC8-9AB6-343CA3DF934D}" dt="2023-06-19T01:36:49.744" v="12002" actId="790"/>
          <ac:spMkLst>
            <pc:docMk/>
            <pc:sldMk cId="846264927" sldId="721"/>
            <ac:spMk id="11" creationId="{EE067A75-8FDA-C085-2C15-40B70DA46320}"/>
          </ac:spMkLst>
        </pc:spChg>
        <pc:spChg chg="mod">
          <ac:chgData name="Joao Cabral de Assis" userId="2e28f1b2-599c-43fa-9c22-5b7536e3b37b" providerId="ADAL" clId="{903218E2-C22B-4CC8-9AB6-343CA3DF934D}" dt="2023-06-19T01:36:49.722" v="11992"/>
          <ac:spMkLst>
            <pc:docMk/>
            <pc:sldMk cId="846264927" sldId="721"/>
            <ac:spMk id="15" creationId="{B972DA9E-04C1-4659-8C1B-6B1B8FB447FA}"/>
          </ac:spMkLst>
        </pc:spChg>
        <pc:spChg chg="mod">
          <ac:chgData name="Joao Cabral de Assis" userId="2e28f1b2-599c-43fa-9c22-5b7536e3b37b" providerId="ADAL" clId="{903218E2-C22B-4CC8-9AB6-343CA3DF934D}" dt="2023-06-19T01:36:49.738" v="11999" actId="790"/>
          <ac:spMkLst>
            <pc:docMk/>
            <pc:sldMk cId="846264927" sldId="721"/>
            <ac:spMk id="24" creationId="{6FEDFFE6-45B7-0411-D3DD-6D16E185D8DC}"/>
          </ac:spMkLst>
        </pc:spChg>
        <pc:spChg chg="mod">
          <ac:chgData name="Joao Cabral de Assis" userId="2e28f1b2-599c-43fa-9c22-5b7536e3b37b" providerId="ADAL" clId="{903218E2-C22B-4CC8-9AB6-343CA3DF934D}" dt="2023-06-19T01:36:49.725" v="11993" actId="790"/>
          <ac:spMkLst>
            <pc:docMk/>
            <pc:sldMk cId="846264927" sldId="721"/>
            <ac:spMk id="25" creationId="{1786F977-86BC-40D0-82E1-666B8084CE61}"/>
          </ac:spMkLst>
        </pc:spChg>
        <pc:spChg chg="mod">
          <ac:chgData name="Joao Cabral de Assis" userId="2e28f1b2-599c-43fa-9c22-5b7536e3b37b" providerId="ADAL" clId="{903218E2-C22B-4CC8-9AB6-343CA3DF934D}" dt="2023-06-19T01:36:49.727" v="11994"/>
          <ac:spMkLst>
            <pc:docMk/>
            <pc:sldMk cId="846264927" sldId="721"/>
            <ac:spMk id="29" creationId="{95465E25-6A1C-46D8-9D21-014357FF15D0}"/>
          </ac:spMkLst>
        </pc:spChg>
        <pc:spChg chg="mod">
          <ac:chgData name="Joao Cabral de Assis" userId="2e28f1b2-599c-43fa-9c22-5b7536e3b37b" providerId="ADAL" clId="{903218E2-C22B-4CC8-9AB6-343CA3DF934D}" dt="2023-06-19T01:36:49.729" v="11995" actId="790"/>
          <ac:spMkLst>
            <pc:docMk/>
            <pc:sldMk cId="846264927" sldId="721"/>
            <ac:spMk id="32" creationId="{E22FE8E0-1DEC-4DC9-8F0D-206EA0979BA4}"/>
          </ac:spMkLst>
        </pc:spChg>
        <pc:spChg chg="mod">
          <ac:chgData name="Joao Cabral de Assis" userId="2e28f1b2-599c-43fa-9c22-5b7536e3b37b" providerId="ADAL" clId="{903218E2-C22B-4CC8-9AB6-343CA3DF934D}" dt="2023-06-19T01:36:49.731" v="11996" actId="790"/>
          <ac:spMkLst>
            <pc:docMk/>
            <pc:sldMk cId="846264927" sldId="721"/>
            <ac:spMk id="33" creationId="{73F49BBD-B7C1-42DB-8536-4A3D426F26C9}"/>
          </ac:spMkLst>
        </pc:spChg>
        <pc:spChg chg="mod">
          <ac:chgData name="Joao Cabral de Assis" userId="2e28f1b2-599c-43fa-9c22-5b7536e3b37b" providerId="ADAL" clId="{903218E2-C22B-4CC8-9AB6-343CA3DF934D}" dt="2023-06-19T01:36:49.740" v="12000" actId="790"/>
          <ac:spMkLst>
            <pc:docMk/>
            <pc:sldMk cId="846264927" sldId="721"/>
            <ac:spMk id="34" creationId="{AA690D84-0989-71E5-D529-EE0FCC6D6A8B}"/>
          </ac:spMkLst>
        </pc:spChg>
        <pc:spChg chg="mod">
          <ac:chgData name="Joao Cabral de Assis" userId="2e28f1b2-599c-43fa-9c22-5b7536e3b37b" providerId="ADAL" clId="{903218E2-C22B-4CC8-9AB6-343CA3DF934D}" dt="2023-06-19T01:36:49.733" v="11997"/>
          <ac:spMkLst>
            <pc:docMk/>
            <pc:sldMk cId="846264927" sldId="721"/>
            <ac:spMk id="37" creationId="{DF5C419C-EFFB-4D74-9D12-21C9F78F53BE}"/>
          </ac:spMkLst>
        </pc:spChg>
        <pc:spChg chg="mod">
          <ac:chgData name="Joao Cabral de Assis" userId="2e28f1b2-599c-43fa-9c22-5b7536e3b37b" providerId="ADAL" clId="{903218E2-C22B-4CC8-9AB6-343CA3DF934D}" dt="2023-06-19T01:36:49.735" v="11998"/>
          <ac:spMkLst>
            <pc:docMk/>
            <pc:sldMk cId="846264927" sldId="721"/>
            <ac:spMk id="44" creationId="{2185237A-F7A8-425F-AC67-A75B954DDA1B}"/>
          </ac:spMkLst>
        </pc:spChg>
        <pc:graphicFrameChg chg="modGraphic">
          <ac:chgData name="Joao Cabral de Assis" userId="2e28f1b2-599c-43fa-9c22-5b7536e3b37b" providerId="ADAL" clId="{903218E2-C22B-4CC8-9AB6-343CA3DF934D}" dt="2023-06-19T01:36:49.706" v="11989" actId="790"/>
          <ac:graphicFrameMkLst>
            <pc:docMk/>
            <pc:sldMk cId="846264927" sldId="721"/>
            <ac:graphicFrameMk id="50" creationId="{D04BA9E7-0349-4985-9AA6-9755ABB455C2}"/>
          </ac:graphicFrameMkLst>
        </pc:graphicFrameChg>
      </pc:sldChg>
      <pc:sldChg chg="modSp mod modNotes">
        <pc:chgData name="Joao Cabral de Assis" userId="2e28f1b2-599c-43fa-9c22-5b7536e3b37b" providerId="ADAL" clId="{903218E2-C22B-4CC8-9AB6-343CA3DF934D}" dt="2023-06-19T01:36:49.623" v="11958" actId="790"/>
        <pc:sldMkLst>
          <pc:docMk/>
          <pc:sldMk cId="721420307" sldId="725"/>
        </pc:sldMkLst>
        <pc:spChg chg="mod">
          <ac:chgData name="Joao Cabral de Assis" userId="2e28f1b2-599c-43fa-9c22-5b7536e3b37b" providerId="ADAL" clId="{903218E2-C22B-4CC8-9AB6-343CA3DF934D}" dt="2023-06-19T01:36:49.585" v="11942" actId="790"/>
          <ac:spMkLst>
            <pc:docMk/>
            <pc:sldMk cId="721420307" sldId="725"/>
            <ac:spMk id="2" creationId="{EC5DC6CE-837D-4C76-B953-3136EDC989F3}"/>
          </ac:spMkLst>
        </pc:spChg>
        <pc:spChg chg="mod">
          <ac:chgData name="Joao Cabral de Assis" userId="2e28f1b2-599c-43fa-9c22-5b7536e3b37b" providerId="ADAL" clId="{903218E2-C22B-4CC8-9AB6-343CA3DF934D}" dt="2023-06-19T01:36:49.587" v="11943"/>
          <ac:spMkLst>
            <pc:docMk/>
            <pc:sldMk cId="721420307" sldId="725"/>
            <ac:spMk id="7" creationId="{7B7768BA-3224-4EE9-A670-203C5322C5A6}"/>
          </ac:spMkLst>
        </pc:spChg>
        <pc:spChg chg="mod">
          <ac:chgData name="Joao Cabral de Assis" userId="2e28f1b2-599c-43fa-9c22-5b7536e3b37b" providerId="ADAL" clId="{903218E2-C22B-4CC8-9AB6-343CA3DF934D}" dt="2023-06-19T01:36:49.589" v="11944"/>
          <ac:spMkLst>
            <pc:docMk/>
            <pc:sldMk cId="721420307" sldId="725"/>
            <ac:spMk id="8" creationId="{B816E12E-6AEA-4058-B8E9-4CA4CE39D5BC}"/>
          </ac:spMkLst>
        </pc:spChg>
        <pc:spChg chg="mod">
          <ac:chgData name="Joao Cabral de Assis" userId="2e28f1b2-599c-43fa-9c22-5b7536e3b37b" providerId="ADAL" clId="{903218E2-C22B-4CC8-9AB6-343CA3DF934D}" dt="2023-06-19T01:36:49.595" v="11947"/>
          <ac:spMkLst>
            <pc:docMk/>
            <pc:sldMk cId="721420307" sldId="725"/>
            <ac:spMk id="9" creationId="{572745BF-F682-4A71-8324-0CF5C6B38119}"/>
          </ac:spMkLst>
        </pc:spChg>
        <pc:spChg chg="mod">
          <ac:chgData name="Joao Cabral de Assis" userId="2e28f1b2-599c-43fa-9c22-5b7536e3b37b" providerId="ADAL" clId="{903218E2-C22B-4CC8-9AB6-343CA3DF934D}" dt="2023-06-19T01:36:49.597" v="11948"/>
          <ac:spMkLst>
            <pc:docMk/>
            <pc:sldMk cId="721420307" sldId="725"/>
            <ac:spMk id="10" creationId="{4A2F5979-EC63-4F3C-9E22-B2075EEC298B}"/>
          </ac:spMkLst>
        </pc:spChg>
        <pc:spChg chg="mod">
          <ac:chgData name="Joao Cabral de Assis" userId="2e28f1b2-599c-43fa-9c22-5b7536e3b37b" providerId="ADAL" clId="{903218E2-C22B-4CC8-9AB6-343CA3DF934D}" dt="2023-06-19T01:36:49.591" v="11945"/>
          <ac:spMkLst>
            <pc:docMk/>
            <pc:sldMk cId="721420307" sldId="725"/>
            <ac:spMk id="11" creationId="{922A9692-8F91-4DF2-8E7A-F566F0E1E4D8}"/>
          </ac:spMkLst>
        </pc:spChg>
        <pc:spChg chg="mod">
          <ac:chgData name="Joao Cabral de Assis" userId="2e28f1b2-599c-43fa-9c22-5b7536e3b37b" providerId="ADAL" clId="{903218E2-C22B-4CC8-9AB6-343CA3DF934D}" dt="2023-06-19T01:36:49.593" v="11946" actId="790"/>
          <ac:spMkLst>
            <pc:docMk/>
            <pc:sldMk cId="721420307" sldId="725"/>
            <ac:spMk id="12" creationId="{0B2A223E-0675-497C-95DB-CF020E0FBBF2}"/>
          </ac:spMkLst>
        </pc:spChg>
        <pc:spChg chg="mod">
          <ac:chgData name="Joao Cabral de Assis" userId="2e28f1b2-599c-43fa-9c22-5b7536e3b37b" providerId="ADAL" clId="{903218E2-C22B-4CC8-9AB6-343CA3DF934D}" dt="2023-06-19T01:36:49.599" v="11949"/>
          <ac:spMkLst>
            <pc:docMk/>
            <pc:sldMk cId="721420307" sldId="725"/>
            <ac:spMk id="13" creationId="{D87192A1-C6A1-49D6-BF28-A94456ACD9A3}"/>
          </ac:spMkLst>
        </pc:spChg>
        <pc:spChg chg="mod">
          <ac:chgData name="Joao Cabral de Assis" userId="2e28f1b2-599c-43fa-9c22-5b7536e3b37b" providerId="ADAL" clId="{903218E2-C22B-4CC8-9AB6-343CA3DF934D}" dt="2023-06-19T01:36:49.601" v="11950"/>
          <ac:spMkLst>
            <pc:docMk/>
            <pc:sldMk cId="721420307" sldId="725"/>
            <ac:spMk id="14" creationId="{50B9642C-91BD-4CC0-91A3-30DBD448BB5B}"/>
          </ac:spMkLst>
        </pc:spChg>
        <pc:spChg chg="mod">
          <ac:chgData name="Joao Cabral de Assis" userId="2e28f1b2-599c-43fa-9c22-5b7536e3b37b" providerId="ADAL" clId="{903218E2-C22B-4CC8-9AB6-343CA3DF934D}" dt="2023-06-19T01:36:49.603" v="11951" actId="790"/>
          <ac:spMkLst>
            <pc:docMk/>
            <pc:sldMk cId="721420307" sldId="725"/>
            <ac:spMk id="15" creationId="{7AFD4839-17AE-41C8-BF8D-F765EDE6C8E9}"/>
          </ac:spMkLst>
        </pc:spChg>
        <pc:spChg chg="mod">
          <ac:chgData name="Joao Cabral de Assis" userId="2e28f1b2-599c-43fa-9c22-5b7536e3b37b" providerId="ADAL" clId="{903218E2-C22B-4CC8-9AB6-343CA3DF934D}" dt="2023-06-19T01:36:49.606" v="11952" actId="790"/>
          <ac:spMkLst>
            <pc:docMk/>
            <pc:sldMk cId="721420307" sldId="725"/>
            <ac:spMk id="17" creationId="{0E9B3765-DD8C-4ECD-0229-C7E2ADA4BA60}"/>
          </ac:spMkLst>
        </pc:spChg>
        <pc:spChg chg="mod">
          <ac:chgData name="Joao Cabral de Assis" userId="2e28f1b2-599c-43fa-9c22-5b7536e3b37b" providerId="ADAL" clId="{903218E2-C22B-4CC8-9AB6-343CA3DF934D}" dt="2023-06-19T01:36:49.615" v="11955" actId="790"/>
          <ac:spMkLst>
            <pc:docMk/>
            <pc:sldMk cId="721420307" sldId="725"/>
            <ac:spMk id="20" creationId="{55AB7C02-C183-8022-795B-67FEC670DFA7}"/>
          </ac:spMkLst>
        </pc:spChg>
        <pc:spChg chg="mod">
          <ac:chgData name="Joao Cabral de Assis" userId="2e28f1b2-599c-43fa-9c22-5b7536e3b37b" providerId="ADAL" clId="{903218E2-C22B-4CC8-9AB6-343CA3DF934D}" dt="2023-06-19T01:36:49.609" v="11953" actId="790"/>
          <ac:spMkLst>
            <pc:docMk/>
            <pc:sldMk cId="721420307" sldId="725"/>
            <ac:spMk id="22" creationId="{EFC8062F-33FD-6EEB-5993-360C1099021A}"/>
          </ac:spMkLst>
        </pc:spChg>
        <pc:spChg chg="mod">
          <ac:chgData name="Joao Cabral de Assis" userId="2e28f1b2-599c-43fa-9c22-5b7536e3b37b" providerId="ADAL" clId="{903218E2-C22B-4CC8-9AB6-343CA3DF934D}" dt="2023-06-19T01:36:49.612" v="11954" actId="790"/>
          <ac:spMkLst>
            <pc:docMk/>
            <pc:sldMk cId="721420307" sldId="725"/>
            <ac:spMk id="23" creationId="{671EE562-5F4D-3591-8E29-85B1922C0943}"/>
          </ac:spMkLst>
        </pc:spChg>
      </pc:sldChg>
      <pc:sldChg chg="modSp mod modNotes">
        <pc:chgData name="Joao Cabral de Assis" userId="2e28f1b2-599c-43fa-9c22-5b7536e3b37b" providerId="ADAL" clId="{903218E2-C22B-4CC8-9AB6-343CA3DF934D}" dt="2023-06-19T01:36:49.638" v="11965" actId="790"/>
        <pc:sldMkLst>
          <pc:docMk/>
          <pc:sldMk cId="2461858851" sldId="740"/>
        </pc:sldMkLst>
        <pc:spChg chg="mod">
          <ac:chgData name="Joao Cabral de Assis" userId="2e28f1b2-599c-43fa-9c22-5b7536e3b37b" providerId="ADAL" clId="{903218E2-C22B-4CC8-9AB6-343CA3DF934D}" dt="2023-06-19T01:36:49.626" v="11959" actId="790"/>
          <ac:spMkLst>
            <pc:docMk/>
            <pc:sldMk cId="2461858851" sldId="740"/>
            <ac:spMk id="2" creationId="{68A817B8-502D-4C8A-869D-581E9F905A1C}"/>
          </ac:spMkLst>
        </pc:spChg>
        <pc:spChg chg="mod">
          <ac:chgData name="Joao Cabral de Assis" userId="2e28f1b2-599c-43fa-9c22-5b7536e3b37b" providerId="ADAL" clId="{903218E2-C22B-4CC8-9AB6-343CA3DF934D}" dt="2023-06-19T01:36:49.634" v="11963" actId="790"/>
          <ac:spMkLst>
            <pc:docMk/>
            <pc:sldMk cId="2461858851" sldId="740"/>
            <ac:spMk id="3" creationId="{63619551-BE8A-ACA7-FF85-B6D9112F4BD0}"/>
          </ac:spMkLst>
        </pc:spChg>
        <pc:spChg chg="mod">
          <ac:chgData name="Joao Cabral de Assis" userId="2e28f1b2-599c-43fa-9c22-5b7536e3b37b" providerId="ADAL" clId="{903218E2-C22B-4CC8-9AB6-343CA3DF934D}" dt="2023-06-19T01:36:49.629" v="11960" actId="790"/>
          <ac:spMkLst>
            <pc:docMk/>
            <pc:sldMk cId="2461858851" sldId="740"/>
            <ac:spMk id="4" creationId="{6C22CD09-1B9C-4C22-863C-FDC3FA9CDDF7}"/>
          </ac:spMkLst>
        </pc:spChg>
        <pc:spChg chg="mod">
          <ac:chgData name="Joao Cabral de Assis" userId="2e28f1b2-599c-43fa-9c22-5b7536e3b37b" providerId="ADAL" clId="{903218E2-C22B-4CC8-9AB6-343CA3DF934D}" dt="2023-06-19T01:36:49.631" v="11961"/>
          <ac:spMkLst>
            <pc:docMk/>
            <pc:sldMk cId="2461858851" sldId="740"/>
            <ac:spMk id="7" creationId="{14B694AB-2032-472F-8E71-547D794F4191}"/>
          </ac:spMkLst>
        </pc:spChg>
        <pc:spChg chg="mod">
          <ac:chgData name="Joao Cabral de Assis" userId="2e28f1b2-599c-43fa-9c22-5b7536e3b37b" providerId="ADAL" clId="{903218E2-C22B-4CC8-9AB6-343CA3DF934D}" dt="2023-06-19T01:36:49.633" v="11962"/>
          <ac:spMkLst>
            <pc:docMk/>
            <pc:sldMk cId="2461858851" sldId="740"/>
            <ac:spMk id="8" creationId="{EC19F88D-921E-4C34-B138-AFE7692F63E7}"/>
          </ac:spMkLst>
        </pc:spChg>
      </pc:sldChg>
      <pc:sldChg chg="modSp mod modNotes">
        <pc:chgData name="Joao Cabral de Assis" userId="2e28f1b2-599c-43fa-9c22-5b7536e3b37b" providerId="ADAL" clId="{903218E2-C22B-4CC8-9AB6-343CA3DF934D}" dt="2023-06-19T01:36:49.503" v="11901" actId="790"/>
        <pc:sldMkLst>
          <pc:docMk/>
          <pc:sldMk cId="227512554" sldId="743"/>
        </pc:sldMkLst>
        <pc:spChg chg="mod">
          <ac:chgData name="Joao Cabral de Assis" userId="2e28f1b2-599c-43fa-9c22-5b7536e3b37b" providerId="ADAL" clId="{903218E2-C22B-4CC8-9AB6-343CA3DF934D}" dt="2023-06-19T01:36:49.494" v="11897" actId="790"/>
          <ac:spMkLst>
            <pc:docMk/>
            <pc:sldMk cId="227512554" sldId="743"/>
            <ac:spMk id="2" creationId="{0B2AC4D7-D9CC-47C0-A863-A287E985BCF7}"/>
          </ac:spMkLst>
        </pc:spChg>
        <pc:spChg chg="mod">
          <ac:chgData name="Joao Cabral de Assis" userId="2e28f1b2-599c-43fa-9c22-5b7536e3b37b" providerId="ADAL" clId="{903218E2-C22B-4CC8-9AB6-343CA3DF934D}" dt="2023-06-19T01:36:49.499" v="11899" actId="790"/>
          <ac:spMkLst>
            <pc:docMk/>
            <pc:sldMk cId="227512554" sldId="743"/>
            <ac:spMk id="3" creationId="{7F38FA73-EF4B-BDB4-BC39-23B73A125E1F}"/>
          </ac:spMkLst>
        </pc:spChg>
        <pc:spChg chg="mod">
          <ac:chgData name="Joao Cabral de Assis" userId="2e28f1b2-599c-43fa-9c22-5b7536e3b37b" providerId="ADAL" clId="{903218E2-C22B-4CC8-9AB6-343CA3DF934D}" dt="2023-06-19T01:36:49.496" v="11898" actId="790"/>
          <ac:spMkLst>
            <pc:docMk/>
            <pc:sldMk cId="227512554" sldId="743"/>
            <ac:spMk id="4" creationId="{DE38F229-63B1-433E-BA01-8452C1EBABB1}"/>
          </ac:spMkLst>
        </pc:spChg>
        <pc:spChg chg="mod">
          <ac:chgData name="Joao Cabral de Assis" userId="2e28f1b2-599c-43fa-9c22-5b7536e3b37b" providerId="ADAL" clId="{903218E2-C22B-4CC8-9AB6-343CA3DF934D}" dt="2023-06-19T01:36:49.493" v="11896" actId="790"/>
          <ac:spMkLst>
            <pc:docMk/>
            <pc:sldMk cId="227512554" sldId="743"/>
            <ac:spMk id="7" creationId="{02512DF6-5475-4909-8C56-6C8627D8C46F}"/>
          </ac:spMkLst>
        </pc:spChg>
      </pc:sldChg>
      <pc:sldChg chg="modSp mod modNotes">
        <pc:chgData name="Joao Cabral de Assis" userId="2e28f1b2-599c-43fa-9c22-5b7536e3b37b" providerId="ADAL" clId="{903218E2-C22B-4CC8-9AB6-343CA3DF934D}" dt="2023-06-19T01:36:49.527" v="11909" actId="790"/>
        <pc:sldMkLst>
          <pc:docMk/>
          <pc:sldMk cId="2131317740" sldId="744"/>
        </pc:sldMkLst>
        <pc:spChg chg="mod">
          <ac:chgData name="Joao Cabral de Assis" userId="2e28f1b2-599c-43fa-9c22-5b7536e3b37b" providerId="ADAL" clId="{903218E2-C22B-4CC8-9AB6-343CA3DF934D}" dt="2023-06-19T01:36:49.507" v="11903" actId="790"/>
          <ac:spMkLst>
            <pc:docMk/>
            <pc:sldMk cId="2131317740" sldId="744"/>
            <ac:spMk id="2" creationId="{AC7CCB6B-A37A-403F-B8FD-F44FB773CFBF}"/>
          </ac:spMkLst>
        </pc:spChg>
        <pc:spChg chg="mod">
          <ac:chgData name="Joao Cabral de Assis" userId="2e28f1b2-599c-43fa-9c22-5b7536e3b37b" providerId="ADAL" clId="{903218E2-C22B-4CC8-9AB6-343CA3DF934D}" dt="2023-06-19T01:36:49.509" v="11904" actId="790"/>
          <ac:spMkLst>
            <pc:docMk/>
            <pc:sldMk cId="2131317740" sldId="744"/>
            <ac:spMk id="4" creationId="{1D298CAF-A33E-4618-84D1-644C2BA84710}"/>
          </ac:spMkLst>
        </pc:spChg>
        <pc:spChg chg="mod">
          <ac:chgData name="Joao Cabral de Assis" userId="2e28f1b2-599c-43fa-9c22-5b7536e3b37b" providerId="ADAL" clId="{903218E2-C22B-4CC8-9AB6-343CA3DF934D}" dt="2023-06-19T01:36:49.523" v="11907" actId="790"/>
          <ac:spMkLst>
            <pc:docMk/>
            <pc:sldMk cId="2131317740" sldId="744"/>
            <ac:spMk id="5" creationId="{5D579FDF-3C58-B91C-975B-B9AC4731EE56}"/>
          </ac:spMkLst>
        </pc:spChg>
        <pc:spChg chg="mod">
          <ac:chgData name="Joao Cabral de Assis" userId="2e28f1b2-599c-43fa-9c22-5b7536e3b37b" providerId="ADAL" clId="{903218E2-C22B-4CC8-9AB6-343CA3DF934D}" dt="2023-06-19T01:36:49.505" v="11902" actId="790"/>
          <ac:spMkLst>
            <pc:docMk/>
            <pc:sldMk cId="2131317740" sldId="744"/>
            <ac:spMk id="8" creationId="{FC26DCAC-D49D-448D-9068-D6DD1D12D9D5}"/>
          </ac:spMkLst>
        </pc:spChg>
        <pc:spChg chg="mod">
          <ac:chgData name="Joao Cabral de Assis" userId="2e28f1b2-599c-43fa-9c22-5b7536e3b37b" providerId="ADAL" clId="{903218E2-C22B-4CC8-9AB6-343CA3DF934D}" dt="2023-06-19T01:36:49.517" v="11905" actId="790"/>
          <ac:spMkLst>
            <pc:docMk/>
            <pc:sldMk cId="2131317740" sldId="744"/>
            <ac:spMk id="12" creationId="{DD609955-9933-42AF-1C8E-984391D428E0}"/>
          </ac:spMkLst>
        </pc:spChg>
        <pc:spChg chg="mod">
          <ac:chgData name="Joao Cabral de Assis" userId="2e28f1b2-599c-43fa-9c22-5b7536e3b37b" providerId="ADAL" clId="{903218E2-C22B-4CC8-9AB6-343CA3DF934D}" dt="2023-06-19T01:36:49.520" v="11906" actId="790"/>
          <ac:spMkLst>
            <pc:docMk/>
            <pc:sldMk cId="2131317740" sldId="744"/>
            <ac:spMk id="14" creationId="{9443533A-E878-B9ED-5629-42E586A49493}"/>
          </ac:spMkLst>
        </pc:spChg>
      </pc:sldChg>
      <pc:sldChg chg="modSp mod modNotes">
        <pc:chgData name="Joao Cabral de Assis" userId="2e28f1b2-599c-43fa-9c22-5b7536e3b37b" providerId="ADAL" clId="{903218E2-C22B-4CC8-9AB6-343CA3DF934D}" dt="2023-06-19T01:36:43.751" v="10862" actId="790"/>
        <pc:sldMkLst>
          <pc:docMk/>
          <pc:sldMk cId="3497082857" sldId="916"/>
        </pc:sldMkLst>
        <pc:spChg chg="mod">
          <ac:chgData name="Joao Cabral de Assis" userId="2e28f1b2-599c-43fa-9c22-5b7536e3b37b" providerId="ADAL" clId="{903218E2-C22B-4CC8-9AB6-343CA3DF934D}" dt="2023-06-19T01:36:43.709" v="10846" actId="790"/>
          <ac:spMkLst>
            <pc:docMk/>
            <pc:sldMk cId="3497082857" sldId="916"/>
            <ac:spMk id="2" creationId="{3E138685-F1A3-4906-BB96-1E19CB34E7B7}"/>
          </ac:spMkLst>
        </pc:spChg>
        <pc:spChg chg="mod">
          <ac:chgData name="Joao Cabral de Assis" userId="2e28f1b2-599c-43fa-9c22-5b7536e3b37b" providerId="ADAL" clId="{903218E2-C22B-4CC8-9AB6-343CA3DF934D}" dt="2023-06-19T01:36:43.713" v="10848" actId="790"/>
          <ac:spMkLst>
            <pc:docMk/>
            <pc:sldMk cId="3497082857" sldId="916"/>
            <ac:spMk id="7" creationId="{00000000-0000-0000-0000-000000000000}"/>
          </ac:spMkLst>
        </pc:spChg>
        <pc:spChg chg="mod">
          <ac:chgData name="Joao Cabral de Assis" userId="2e28f1b2-599c-43fa-9c22-5b7536e3b37b" providerId="ADAL" clId="{903218E2-C22B-4CC8-9AB6-343CA3DF934D}" dt="2023-06-19T01:36:43.714" v="10849" actId="790"/>
          <ac:spMkLst>
            <pc:docMk/>
            <pc:sldMk cId="3497082857" sldId="916"/>
            <ac:spMk id="12" creationId="{BFFAB9A2-35A8-4EE1-8B04-45F2717FCE71}"/>
          </ac:spMkLst>
        </pc:spChg>
        <pc:spChg chg="mod">
          <ac:chgData name="Joao Cabral de Assis" userId="2e28f1b2-599c-43fa-9c22-5b7536e3b37b" providerId="ADAL" clId="{903218E2-C22B-4CC8-9AB6-343CA3DF934D}" dt="2023-06-19T01:36:43.716" v="10850" actId="790"/>
          <ac:spMkLst>
            <pc:docMk/>
            <pc:sldMk cId="3497082857" sldId="916"/>
            <ac:spMk id="14" creationId="{C8A8D6AF-C8B7-498B-8DDD-72DD2760CD7D}"/>
          </ac:spMkLst>
        </pc:spChg>
        <pc:spChg chg="mod">
          <ac:chgData name="Joao Cabral de Assis" userId="2e28f1b2-599c-43fa-9c22-5b7536e3b37b" providerId="ADAL" clId="{903218E2-C22B-4CC8-9AB6-343CA3DF934D}" dt="2023-06-19T01:36:43.734" v="10859" actId="790"/>
          <ac:spMkLst>
            <pc:docMk/>
            <pc:sldMk cId="3497082857" sldId="916"/>
            <ac:spMk id="15" creationId="{F069F9B1-9369-D75F-7F7C-CC92E9616012}"/>
          </ac:spMkLst>
        </pc:spChg>
        <pc:spChg chg="mod">
          <ac:chgData name="Joao Cabral de Assis" userId="2e28f1b2-599c-43fa-9c22-5b7536e3b37b" providerId="ADAL" clId="{903218E2-C22B-4CC8-9AB6-343CA3DF934D}" dt="2023-06-19T01:36:43.718" v="10851" actId="790"/>
          <ac:spMkLst>
            <pc:docMk/>
            <pc:sldMk cId="3497082857" sldId="916"/>
            <ac:spMk id="16" creationId="{D6EE95CB-CF97-4974-B6FD-C0A9AD64B250}"/>
          </ac:spMkLst>
        </pc:spChg>
        <pc:spChg chg="mod">
          <ac:chgData name="Joao Cabral de Assis" userId="2e28f1b2-599c-43fa-9c22-5b7536e3b37b" providerId="ADAL" clId="{903218E2-C22B-4CC8-9AB6-343CA3DF934D}" dt="2023-06-19T01:36:43.721" v="10852" actId="790"/>
          <ac:spMkLst>
            <pc:docMk/>
            <pc:sldMk cId="3497082857" sldId="916"/>
            <ac:spMk id="17" creationId="{80B4604C-46C5-41AB-BD3C-4E86567CCB0F}"/>
          </ac:spMkLst>
        </pc:spChg>
        <pc:spChg chg="mod">
          <ac:chgData name="Joao Cabral de Assis" userId="2e28f1b2-599c-43fa-9c22-5b7536e3b37b" providerId="ADAL" clId="{903218E2-C22B-4CC8-9AB6-343CA3DF934D}" dt="2023-06-19T01:36:43.724" v="10853" actId="790"/>
          <ac:spMkLst>
            <pc:docMk/>
            <pc:sldMk cId="3497082857" sldId="916"/>
            <ac:spMk id="20" creationId="{608D074A-82DB-40A7-AE80-18C2F814D042}"/>
          </ac:spMkLst>
        </pc:spChg>
        <pc:spChg chg="mod">
          <ac:chgData name="Joao Cabral de Assis" userId="2e28f1b2-599c-43fa-9c22-5b7536e3b37b" providerId="ADAL" clId="{903218E2-C22B-4CC8-9AB6-343CA3DF934D}" dt="2023-06-19T01:36:43.726" v="10854" actId="790"/>
          <ac:spMkLst>
            <pc:docMk/>
            <pc:sldMk cId="3497082857" sldId="916"/>
            <ac:spMk id="21" creationId="{C38142F6-B3E8-4408-B0A9-476B04759C46}"/>
          </ac:spMkLst>
        </pc:spChg>
        <pc:spChg chg="mod">
          <ac:chgData name="Joao Cabral de Assis" userId="2e28f1b2-599c-43fa-9c22-5b7536e3b37b" providerId="ADAL" clId="{903218E2-C22B-4CC8-9AB6-343CA3DF934D}" dt="2023-06-19T01:36:43.728" v="10855" actId="790"/>
          <ac:spMkLst>
            <pc:docMk/>
            <pc:sldMk cId="3497082857" sldId="916"/>
            <ac:spMk id="22" creationId="{5007050A-B03C-4693-A058-113ECDAAF07C}"/>
          </ac:spMkLst>
        </pc:spChg>
        <pc:spChg chg="mod">
          <ac:chgData name="Joao Cabral de Assis" userId="2e28f1b2-599c-43fa-9c22-5b7536e3b37b" providerId="ADAL" clId="{903218E2-C22B-4CC8-9AB6-343CA3DF934D}" dt="2023-06-19T01:36:43.711" v="10847" actId="790"/>
          <ac:spMkLst>
            <pc:docMk/>
            <pc:sldMk cId="3497082857" sldId="916"/>
            <ac:spMk id="24" creationId="{00000000-0000-0000-0000-000000000000}"/>
          </ac:spMkLst>
        </pc:spChg>
        <pc:spChg chg="mod">
          <ac:chgData name="Joao Cabral de Assis" userId="2e28f1b2-599c-43fa-9c22-5b7536e3b37b" providerId="ADAL" clId="{903218E2-C22B-4CC8-9AB6-343CA3DF934D}" dt="2023-06-19T01:36:43.729" v="10856" actId="790"/>
          <ac:spMkLst>
            <pc:docMk/>
            <pc:sldMk cId="3497082857" sldId="916"/>
            <ac:spMk id="25" creationId="{9E786802-E3BD-433E-A4A4-2555D45EC5C2}"/>
          </ac:spMkLst>
        </pc:spChg>
        <pc:spChg chg="mod">
          <ac:chgData name="Joao Cabral de Assis" userId="2e28f1b2-599c-43fa-9c22-5b7536e3b37b" providerId="ADAL" clId="{903218E2-C22B-4CC8-9AB6-343CA3DF934D}" dt="2023-06-19T01:36:43.731" v="10857" actId="790"/>
          <ac:spMkLst>
            <pc:docMk/>
            <pc:sldMk cId="3497082857" sldId="916"/>
            <ac:spMk id="26" creationId="{397B1BEA-1285-49F8-9D2A-B0DBACFAE7AE}"/>
          </ac:spMkLst>
        </pc:spChg>
        <pc:spChg chg="mod">
          <ac:chgData name="Joao Cabral de Assis" userId="2e28f1b2-599c-43fa-9c22-5b7536e3b37b" providerId="ADAL" clId="{903218E2-C22B-4CC8-9AB6-343CA3DF934D}" dt="2023-06-19T01:36:43.732" v="10858" actId="790"/>
          <ac:spMkLst>
            <pc:docMk/>
            <pc:sldMk cId="3497082857" sldId="916"/>
            <ac:spMk id="27" creationId="{0E4A48DD-3E16-4844-BCB6-097629DF8B7B}"/>
          </ac:spMkLst>
        </pc:spChg>
      </pc:sldChg>
      <pc:sldChg chg="modSp mod delCm modNotes">
        <pc:chgData name="Joao Cabral de Assis" userId="2e28f1b2-599c-43fa-9c22-5b7536e3b37b" providerId="ADAL" clId="{903218E2-C22B-4CC8-9AB6-343CA3DF934D}" dt="2023-06-19T01:36:43.765" v="10869" actId="790"/>
        <pc:sldMkLst>
          <pc:docMk/>
          <pc:sldMk cId="2127423491" sldId="917"/>
        </pc:sldMkLst>
        <pc:spChg chg="mod">
          <ac:chgData name="Joao Cabral de Assis" userId="2e28f1b2-599c-43fa-9c22-5b7536e3b37b" providerId="ADAL" clId="{903218E2-C22B-4CC8-9AB6-343CA3DF934D}" dt="2023-06-19T01:36:43.754" v="10864" actId="790"/>
          <ac:spMkLst>
            <pc:docMk/>
            <pc:sldMk cId="2127423491" sldId="917"/>
            <ac:spMk id="4" creationId="{3A546257-E20E-4C7B-8B68-D23055CA6636}"/>
          </ac:spMkLst>
        </pc:spChg>
        <pc:spChg chg="mod">
          <ac:chgData name="Joao Cabral de Assis" userId="2e28f1b2-599c-43fa-9c22-5b7536e3b37b" providerId="ADAL" clId="{903218E2-C22B-4CC8-9AB6-343CA3DF934D}" dt="2023-06-19T01:36:43.756" v="10865" actId="790"/>
          <ac:spMkLst>
            <pc:docMk/>
            <pc:sldMk cId="2127423491" sldId="917"/>
            <ac:spMk id="5" creationId="{8FC01437-AB19-46D8-9E77-89EEC63F40EC}"/>
          </ac:spMkLst>
        </pc:spChg>
        <pc:spChg chg="mod">
          <ac:chgData name="Joao Cabral de Assis" userId="2e28f1b2-599c-43fa-9c22-5b7536e3b37b" providerId="ADAL" clId="{903218E2-C22B-4CC8-9AB6-343CA3DF934D}" dt="2023-06-19T01:36:43.753" v="10863" actId="790"/>
          <ac:spMkLst>
            <pc:docMk/>
            <pc:sldMk cId="2127423491" sldId="917"/>
            <ac:spMk id="6" creationId="{C4F81242-8F01-4562-BC92-1AFF16A83521}"/>
          </ac:spMkLst>
        </pc:spChg>
        <pc:spChg chg="mod">
          <ac:chgData name="Joao Cabral de Assis" userId="2e28f1b2-599c-43fa-9c22-5b7536e3b37b" providerId="ADAL" clId="{903218E2-C22B-4CC8-9AB6-343CA3DF934D}" dt="2023-06-19T01:36:43.759" v="10866" actId="790"/>
          <ac:spMkLst>
            <pc:docMk/>
            <pc:sldMk cId="2127423491" sldId="917"/>
            <ac:spMk id="10" creationId="{6490520D-6644-BB7C-3F66-04F81D21BF06}"/>
          </ac:spMkLst>
        </pc:spChg>
        <pc:spChg chg="mod">
          <ac:chgData name="Joao Cabral de Assis" userId="2e28f1b2-599c-43fa-9c22-5b7536e3b37b" providerId="ADAL" clId="{903218E2-C22B-4CC8-9AB6-343CA3DF934D}" dt="2023-06-19T01:36:43.760" v="10867" actId="790"/>
          <ac:spMkLst>
            <pc:docMk/>
            <pc:sldMk cId="2127423491" sldId="917"/>
            <ac:spMk id="22" creationId="{E335CCAF-CEAA-31EA-2404-A1DF86846CA0}"/>
          </ac:spMkLst>
        </pc:spChg>
        <pc:graphicFrameChg chg="mod">
          <ac:chgData name="Joao Cabral de Assis" userId="2e28f1b2-599c-43fa-9c22-5b7536e3b37b" providerId="ADAL" clId="{903218E2-C22B-4CC8-9AB6-343CA3DF934D}" dt="2023-06-12T14:41:01.953" v="21" actId="14100"/>
          <ac:graphicFrameMkLst>
            <pc:docMk/>
            <pc:sldMk cId="2127423491" sldId="917"/>
            <ac:graphicFrameMk id="11" creationId="{4617C181-2D32-4604-9D75-24F50EFFCEDE}"/>
          </ac:graphicFrameMkLst>
        </pc:graphicFrameChg>
      </pc:sldChg>
      <pc:sldChg chg="delSp modSp mod modNotes">
        <pc:chgData name="Joao Cabral de Assis" userId="2e28f1b2-599c-43fa-9c22-5b7536e3b37b" providerId="ADAL" clId="{903218E2-C22B-4CC8-9AB6-343CA3DF934D}" dt="2023-06-19T01:36:44.169" v="10941" actId="790"/>
        <pc:sldMkLst>
          <pc:docMk/>
          <pc:sldMk cId="2059145529" sldId="921"/>
        </pc:sldMkLst>
        <pc:spChg chg="del">
          <ac:chgData name="Joao Cabral de Assis" userId="2e28f1b2-599c-43fa-9c22-5b7536e3b37b" providerId="ADAL" clId="{903218E2-C22B-4CC8-9AB6-343CA3DF934D}" dt="2023-06-12T15:01:03.633" v="1045" actId="478"/>
          <ac:spMkLst>
            <pc:docMk/>
            <pc:sldMk cId="2059145529" sldId="921"/>
            <ac:spMk id="2" creationId="{AD874F31-FC12-41D6-A7A8-AF3C7C089DD1}"/>
          </ac:spMkLst>
        </pc:spChg>
        <pc:spChg chg="mod">
          <ac:chgData name="Joao Cabral de Assis" userId="2e28f1b2-599c-43fa-9c22-5b7536e3b37b" providerId="ADAL" clId="{903218E2-C22B-4CC8-9AB6-343CA3DF934D}" dt="2023-06-19T01:36:44.037" v="10922" actId="790"/>
          <ac:spMkLst>
            <pc:docMk/>
            <pc:sldMk cId="2059145529" sldId="921"/>
            <ac:spMk id="5" creationId="{8FC01437-AB19-46D8-9E77-89EEC63F40EC}"/>
          </ac:spMkLst>
        </pc:spChg>
        <pc:spChg chg="mod">
          <ac:chgData name="Joao Cabral de Assis" userId="2e28f1b2-599c-43fa-9c22-5b7536e3b37b" providerId="ADAL" clId="{903218E2-C22B-4CC8-9AB6-343CA3DF934D}" dt="2023-06-19T01:36:44.035" v="10921" actId="790"/>
          <ac:spMkLst>
            <pc:docMk/>
            <pc:sldMk cId="2059145529" sldId="921"/>
            <ac:spMk id="6" creationId="{C4F81242-8F01-4562-BC92-1AFF16A83521}"/>
          </ac:spMkLst>
        </pc:spChg>
        <pc:spChg chg="mod">
          <ac:chgData name="Joao Cabral de Assis" userId="2e28f1b2-599c-43fa-9c22-5b7536e3b37b" providerId="ADAL" clId="{903218E2-C22B-4CC8-9AB6-343CA3DF934D}" dt="2023-06-19T01:36:44.058" v="10935" actId="790"/>
          <ac:spMkLst>
            <pc:docMk/>
            <pc:sldMk cId="2059145529" sldId="921"/>
            <ac:spMk id="8" creationId="{539D0343-2B70-FB3F-7301-432C61161A03}"/>
          </ac:spMkLst>
        </pc:spChg>
        <pc:spChg chg="mod">
          <ac:chgData name="Joao Cabral de Assis" userId="2e28f1b2-599c-43fa-9c22-5b7536e3b37b" providerId="ADAL" clId="{903218E2-C22B-4CC8-9AB6-343CA3DF934D}" dt="2023-06-19T01:36:44.064" v="10939" actId="790"/>
          <ac:spMkLst>
            <pc:docMk/>
            <pc:sldMk cId="2059145529" sldId="921"/>
            <ac:spMk id="10" creationId="{B79780F0-7F06-83AA-273D-8F315B57FA59}"/>
          </ac:spMkLst>
        </pc:spChg>
        <pc:spChg chg="mod">
          <ac:chgData name="Joao Cabral de Assis" userId="2e28f1b2-599c-43fa-9c22-5b7536e3b37b" providerId="ADAL" clId="{903218E2-C22B-4CC8-9AB6-343CA3DF934D}" dt="2023-06-19T01:36:44.039" v="10923" actId="790"/>
          <ac:spMkLst>
            <pc:docMk/>
            <pc:sldMk cId="2059145529" sldId="921"/>
            <ac:spMk id="11" creationId="{DC6A176E-0B07-4AC1-A295-45B13399C2FF}"/>
          </ac:spMkLst>
        </pc:spChg>
        <pc:spChg chg="mod">
          <ac:chgData name="Joao Cabral de Assis" userId="2e28f1b2-599c-43fa-9c22-5b7536e3b37b" providerId="ADAL" clId="{903218E2-C22B-4CC8-9AB6-343CA3DF934D}" dt="2023-06-19T01:36:44.041" v="10924"/>
          <ac:spMkLst>
            <pc:docMk/>
            <pc:sldMk cId="2059145529" sldId="921"/>
            <ac:spMk id="13" creationId="{5EB4BF16-938F-41AC-BDCF-2D8839E85030}"/>
          </ac:spMkLst>
        </pc:spChg>
        <pc:spChg chg="mod">
          <ac:chgData name="Joao Cabral de Assis" userId="2e28f1b2-599c-43fa-9c22-5b7536e3b37b" providerId="ADAL" clId="{903218E2-C22B-4CC8-9AB6-343CA3DF934D}" dt="2023-06-19T01:36:44.043" v="10925"/>
          <ac:spMkLst>
            <pc:docMk/>
            <pc:sldMk cId="2059145529" sldId="921"/>
            <ac:spMk id="14" creationId="{6BD80A55-3FC2-451E-88BD-8266EB4685F4}"/>
          </ac:spMkLst>
        </pc:spChg>
        <pc:spChg chg="mod">
          <ac:chgData name="Joao Cabral de Assis" userId="2e28f1b2-599c-43fa-9c22-5b7536e3b37b" providerId="ADAL" clId="{903218E2-C22B-4CC8-9AB6-343CA3DF934D}" dt="2023-06-19T01:36:44.044" v="10926"/>
          <ac:spMkLst>
            <pc:docMk/>
            <pc:sldMk cId="2059145529" sldId="921"/>
            <ac:spMk id="16" creationId="{C2F639B4-8489-445F-BEED-B0631D85D08B}"/>
          </ac:spMkLst>
        </pc:spChg>
        <pc:spChg chg="mod">
          <ac:chgData name="Joao Cabral de Assis" userId="2e28f1b2-599c-43fa-9c22-5b7536e3b37b" providerId="ADAL" clId="{903218E2-C22B-4CC8-9AB6-343CA3DF934D}" dt="2023-06-19T01:36:44.045" v="10927"/>
          <ac:spMkLst>
            <pc:docMk/>
            <pc:sldMk cId="2059145529" sldId="921"/>
            <ac:spMk id="17" creationId="{7D7D2BC4-ACB1-4134-80E7-1E69CA962E75}"/>
          </ac:spMkLst>
        </pc:spChg>
        <pc:spChg chg="mod">
          <ac:chgData name="Joao Cabral de Assis" userId="2e28f1b2-599c-43fa-9c22-5b7536e3b37b" providerId="ADAL" clId="{903218E2-C22B-4CC8-9AB6-343CA3DF934D}" dt="2023-06-19T01:36:44.046" v="10928"/>
          <ac:spMkLst>
            <pc:docMk/>
            <pc:sldMk cId="2059145529" sldId="921"/>
            <ac:spMk id="19" creationId="{DAFA507E-9553-46C8-87BB-0A3CF1EE6098}"/>
          </ac:spMkLst>
        </pc:spChg>
        <pc:spChg chg="mod">
          <ac:chgData name="Joao Cabral de Assis" userId="2e28f1b2-599c-43fa-9c22-5b7536e3b37b" providerId="ADAL" clId="{903218E2-C22B-4CC8-9AB6-343CA3DF934D}" dt="2023-06-19T01:36:44.047" v="10929"/>
          <ac:spMkLst>
            <pc:docMk/>
            <pc:sldMk cId="2059145529" sldId="921"/>
            <ac:spMk id="20" creationId="{1FA098B6-5D7A-4AD1-8303-2B81372D84EA}"/>
          </ac:spMkLst>
        </pc:spChg>
        <pc:spChg chg="mod">
          <ac:chgData name="Joao Cabral de Assis" userId="2e28f1b2-599c-43fa-9c22-5b7536e3b37b" providerId="ADAL" clId="{903218E2-C22B-4CC8-9AB6-343CA3DF934D}" dt="2023-06-19T01:36:44.048" v="10930"/>
          <ac:spMkLst>
            <pc:docMk/>
            <pc:sldMk cId="2059145529" sldId="921"/>
            <ac:spMk id="21" creationId="{2316B960-8B9F-4555-B880-7D87C5E85B49}"/>
          </ac:spMkLst>
        </pc:spChg>
        <pc:spChg chg="mod">
          <ac:chgData name="Joao Cabral de Assis" userId="2e28f1b2-599c-43fa-9c22-5b7536e3b37b" providerId="ADAL" clId="{903218E2-C22B-4CC8-9AB6-343CA3DF934D}" dt="2023-06-19T01:36:44.051" v="10931"/>
          <ac:spMkLst>
            <pc:docMk/>
            <pc:sldMk cId="2059145529" sldId="921"/>
            <ac:spMk id="22" creationId="{18BF766D-D204-4278-95C2-9B884FE8AC6E}"/>
          </ac:spMkLst>
        </pc:spChg>
        <pc:spChg chg="mod">
          <ac:chgData name="Joao Cabral de Assis" userId="2e28f1b2-599c-43fa-9c22-5b7536e3b37b" providerId="ADAL" clId="{903218E2-C22B-4CC8-9AB6-343CA3DF934D}" dt="2023-06-19T01:36:44.053" v="10932" actId="790"/>
          <ac:spMkLst>
            <pc:docMk/>
            <pc:sldMk cId="2059145529" sldId="921"/>
            <ac:spMk id="25" creationId="{CC2CE4A5-509A-4C93-8687-4DBAEFAFD335}"/>
          </ac:spMkLst>
        </pc:spChg>
        <pc:spChg chg="mod">
          <ac:chgData name="Joao Cabral de Assis" userId="2e28f1b2-599c-43fa-9c22-5b7536e3b37b" providerId="ADAL" clId="{903218E2-C22B-4CC8-9AB6-343CA3DF934D}" dt="2023-06-19T01:36:44.054" v="10933" actId="790"/>
          <ac:spMkLst>
            <pc:docMk/>
            <pc:sldMk cId="2059145529" sldId="921"/>
            <ac:spMk id="28" creationId="{155D6774-62A4-4064-83C9-86A2DA6A4514}"/>
          </ac:spMkLst>
        </pc:spChg>
        <pc:spChg chg="mod">
          <ac:chgData name="Joao Cabral de Assis" userId="2e28f1b2-599c-43fa-9c22-5b7536e3b37b" providerId="ADAL" clId="{903218E2-C22B-4CC8-9AB6-343CA3DF934D}" dt="2023-06-19T01:36:44.057" v="10934" actId="790"/>
          <ac:spMkLst>
            <pc:docMk/>
            <pc:sldMk cId="2059145529" sldId="921"/>
            <ac:spMk id="29" creationId="{762B1720-5276-4E15-9C45-7F3DB6E463FB}"/>
          </ac:spMkLst>
        </pc:spChg>
        <pc:spChg chg="mod">
          <ac:chgData name="Joao Cabral de Assis" userId="2e28f1b2-599c-43fa-9c22-5b7536e3b37b" providerId="ADAL" clId="{903218E2-C22B-4CC8-9AB6-343CA3DF934D}" dt="2023-06-19T01:36:44.060" v="10936" actId="790"/>
          <ac:spMkLst>
            <pc:docMk/>
            <pc:sldMk cId="2059145529" sldId="921"/>
            <ac:spMk id="31" creationId="{9C17FF76-ACEE-7371-B78B-5C3B9225E04C}"/>
          </ac:spMkLst>
        </pc:spChg>
        <pc:spChg chg="mod">
          <ac:chgData name="Joao Cabral de Assis" userId="2e28f1b2-599c-43fa-9c22-5b7536e3b37b" providerId="ADAL" clId="{903218E2-C22B-4CC8-9AB6-343CA3DF934D}" dt="2023-06-19T01:36:44.061" v="10937" actId="790"/>
          <ac:spMkLst>
            <pc:docMk/>
            <pc:sldMk cId="2059145529" sldId="921"/>
            <ac:spMk id="33" creationId="{2C0D0285-E747-EC86-8274-10D2CEE09520}"/>
          </ac:spMkLst>
        </pc:spChg>
        <pc:spChg chg="mod">
          <ac:chgData name="Joao Cabral de Assis" userId="2e28f1b2-599c-43fa-9c22-5b7536e3b37b" providerId="ADAL" clId="{903218E2-C22B-4CC8-9AB6-343CA3DF934D}" dt="2023-06-19T01:36:44.063" v="10938" actId="790"/>
          <ac:spMkLst>
            <pc:docMk/>
            <pc:sldMk cId="2059145529" sldId="921"/>
            <ac:spMk id="56" creationId="{F7816895-11B3-6F30-5BDA-15528B5B49E1}"/>
          </ac:spMkLst>
        </pc:spChg>
      </pc:sldChg>
      <pc:sldChg chg="addSp delSp modSp mod modNotes">
        <pc:chgData name="Joao Cabral de Assis" userId="2e28f1b2-599c-43fa-9c22-5b7536e3b37b" providerId="ADAL" clId="{903218E2-C22B-4CC8-9AB6-343CA3DF934D}" dt="2023-06-19T01:36:45.685" v="11336" actId="790"/>
        <pc:sldMkLst>
          <pc:docMk/>
          <pc:sldMk cId="1194257943" sldId="930"/>
        </pc:sldMkLst>
        <pc:spChg chg="mod">
          <ac:chgData name="Joao Cabral de Assis" userId="2e28f1b2-599c-43fa-9c22-5b7536e3b37b" providerId="ADAL" clId="{903218E2-C22B-4CC8-9AB6-343CA3DF934D}" dt="2023-06-19T01:36:45.664" v="11325" actId="790"/>
          <ac:spMkLst>
            <pc:docMk/>
            <pc:sldMk cId="1194257943" sldId="930"/>
            <ac:spMk id="2" creationId="{F0874468-05BE-48FC-910B-4C4BC7D0C101}"/>
          </ac:spMkLst>
        </pc:spChg>
        <pc:spChg chg="mod">
          <ac:chgData name="Joao Cabral de Assis" userId="2e28f1b2-599c-43fa-9c22-5b7536e3b37b" providerId="ADAL" clId="{903218E2-C22B-4CC8-9AB6-343CA3DF934D}" dt="2023-06-19T01:36:45.666" v="11326" actId="790"/>
          <ac:spMkLst>
            <pc:docMk/>
            <pc:sldMk cId="1194257943" sldId="930"/>
            <ac:spMk id="3" creationId="{DADBC550-C32C-44CF-98CF-86E220087C06}"/>
          </ac:spMkLst>
        </pc:spChg>
        <pc:spChg chg="add del mod modVis">
          <ac:chgData name="Joao Cabral de Assis" userId="2e28f1b2-599c-43fa-9c22-5b7536e3b37b" providerId="ADAL" clId="{903218E2-C22B-4CC8-9AB6-343CA3DF934D}" dt="2023-06-12T16:18:36.171" v="2970"/>
          <ac:spMkLst>
            <pc:docMk/>
            <pc:sldMk cId="1194257943" sldId="930"/>
            <ac:spMk id="4" creationId="{CADDB442-81C1-8C9D-B1C7-DD0CF680D68B}"/>
          </ac:spMkLst>
        </pc:spChg>
        <pc:spChg chg="mod">
          <ac:chgData name="Joao Cabral de Assis" userId="2e28f1b2-599c-43fa-9c22-5b7536e3b37b" providerId="ADAL" clId="{903218E2-C22B-4CC8-9AB6-343CA3DF934D}" dt="2023-06-19T01:36:45.681" v="11333" actId="790"/>
          <ac:spMkLst>
            <pc:docMk/>
            <pc:sldMk cId="1194257943" sldId="930"/>
            <ac:spMk id="8" creationId="{5A6AA7CF-E012-DF8A-44A5-72E26F21C5FE}"/>
          </ac:spMkLst>
        </pc:spChg>
        <pc:spChg chg="mod">
          <ac:chgData name="Joao Cabral de Assis" userId="2e28f1b2-599c-43fa-9c22-5b7536e3b37b" providerId="ADAL" clId="{903218E2-C22B-4CC8-9AB6-343CA3DF934D}" dt="2023-06-19T01:36:45.682" v="11334" actId="790"/>
          <ac:spMkLst>
            <pc:docMk/>
            <pc:sldMk cId="1194257943" sldId="930"/>
            <ac:spMk id="9" creationId="{5BCFAAEF-B7AE-EC64-2E0B-76BE90E9E25F}"/>
          </ac:spMkLst>
        </pc:spChg>
        <pc:spChg chg="mod">
          <ac:chgData name="Joao Cabral de Assis" userId="2e28f1b2-599c-43fa-9c22-5b7536e3b37b" providerId="ADAL" clId="{903218E2-C22B-4CC8-9AB6-343CA3DF934D}" dt="2023-06-19T01:36:45.667" v="11327"/>
          <ac:spMkLst>
            <pc:docMk/>
            <pc:sldMk cId="1194257943" sldId="930"/>
            <ac:spMk id="30" creationId="{D23C72FB-F9CD-4149-ABB9-0304AAB1E673}"/>
          </ac:spMkLst>
        </pc:spChg>
        <pc:spChg chg="mod">
          <ac:chgData name="Joao Cabral de Assis" userId="2e28f1b2-599c-43fa-9c22-5b7536e3b37b" providerId="ADAL" clId="{903218E2-C22B-4CC8-9AB6-343CA3DF934D}" dt="2023-06-19T01:36:45.669" v="11328"/>
          <ac:spMkLst>
            <pc:docMk/>
            <pc:sldMk cId="1194257943" sldId="930"/>
            <ac:spMk id="256" creationId="{107A7E7D-B768-4746-B6E9-1F5C3DC1FA79}"/>
          </ac:spMkLst>
        </pc:spChg>
        <pc:spChg chg="mod">
          <ac:chgData name="Joao Cabral de Assis" userId="2e28f1b2-599c-43fa-9c22-5b7536e3b37b" providerId="ADAL" clId="{903218E2-C22B-4CC8-9AB6-343CA3DF934D}" dt="2023-06-19T01:36:45.673" v="11329"/>
          <ac:spMkLst>
            <pc:docMk/>
            <pc:sldMk cId="1194257943" sldId="930"/>
            <ac:spMk id="258" creationId="{84B59A0C-AD98-4AA0-807B-473F044F0C54}"/>
          </ac:spMkLst>
        </pc:spChg>
        <pc:spChg chg="mod">
          <ac:chgData name="Joao Cabral de Assis" userId="2e28f1b2-599c-43fa-9c22-5b7536e3b37b" providerId="ADAL" clId="{903218E2-C22B-4CC8-9AB6-343CA3DF934D}" dt="2023-06-19T01:36:45.675" v="11330"/>
          <ac:spMkLst>
            <pc:docMk/>
            <pc:sldMk cId="1194257943" sldId="930"/>
            <ac:spMk id="260" creationId="{973E6AA6-2EF5-4A6F-A12A-14036F7A3E5A}"/>
          </ac:spMkLst>
        </pc:spChg>
        <pc:spChg chg="mod">
          <ac:chgData name="Joao Cabral de Assis" userId="2e28f1b2-599c-43fa-9c22-5b7536e3b37b" providerId="ADAL" clId="{903218E2-C22B-4CC8-9AB6-343CA3DF934D}" dt="2023-06-19T01:36:45.678" v="11331"/>
          <ac:spMkLst>
            <pc:docMk/>
            <pc:sldMk cId="1194257943" sldId="930"/>
            <ac:spMk id="261" creationId="{4568B675-04E3-48FF-9F9C-B93D19A0A9FF}"/>
          </ac:spMkLst>
        </pc:spChg>
        <pc:spChg chg="mod">
          <ac:chgData name="Joao Cabral de Assis" userId="2e28f1b2-599c-43fa-9c22-5b7536e3b37b" providerId="ADAL" clId="{903218E2-C22B-4CC8-9AB6-343CA3DF934D}" dt="2023-06-19T01:36:45.679" v="11332"/>
          <ac:spMkLst>
            <pc:docMk/>
            <pc:sldMk cId="1194257943" sldId="930"/>
            <ac:spMk id="262" creationId="{D44FF6F9-B22E-4AB5-937F-727097B58E40}"/>
          </ac:spMkLst>
        </pc:spChg>
        <pc:graphicFrameChg chg="mod">
          <ac:chgData name="Joao Cabral de Assis" userId="2e28f1b2-599c-43fa-9c22-5b7536e3b37b" providerId="ADAL" clId="{903218E2-C22B-4CC8-9AB6-343CA3DF934D}" dt="2023-06-12T16:18:36.174" v="2972"/>
          <ac:graphicFrameMkLst>
            <pc:docMk/>
            <pc:sldMk cId="1194257943" sldId="930"/>
            <ac:graphicFrameMk id="17" creationId="{96C0E511-F38F-457D-A27F-C08777AE8356}"/>
          </ac:graphicFrameMkLst>
        </pc:graphicFrameChg>
      </pc:sldChg>
      <pc:sldChg chg="addSp delSp modSp mod modNotes">
        <pc:chgData name="Joao Cabral de Assis" userId="2e28f1b2-599c-43fa-9c22-5b7536e3b37b" providerId="ADAL" clId="{903218E2-C22B-4CC8-9AB6-343CA3DF934D}" dt="2023-06-19T01:36:46.123" v="11404" actId="790"/>
        <pc:sldMkLst>
          <pc:docMk/>
          <pc:sldMk cId="776147671" sldId="999"/>
        </pc:sldMkLst>
        <pc:spChg chg="mod">
          <ac:chgData name="Joao Cabral de Assis" userId="2e28f1b2-599c-43fa-9c22-5b7536e3b37b" providerId="ADAL" clId="{903218E2-C22B-4CC8-9AB6-343CA3DF934D}" dt="2023-06-19T01:36:45.758" v="11367" actId="790"/>
          <ac:spMkLst>
            <pc:docMk/>
            <pc:sldMk cId="776147671" sldId="999"/>
            <ac:spMk id="2" creationId="{621EE3CB-88A6-9846-0273-B29487B6AAC0}"/>
          </ac:spMkLst>
        </pc:spChg>
        <pc:spChg chg="mod">
          <ac:chgData name="Joao Cabral de Assis" userId="2e28f1b2-599c-43fa-9c22-5b7536e3b37b" providerId="ADAL" clId="{903218E2-C22B-4CC8-9AB6-343CA3DF934D}" dt="2023-06-19T01:36:45.762" v="11369" actId="790"/>
          <ac:spMkLst>
            <pc:docMk/>
            <pc:sldMk cId="776147671" sldId="999"/>
            <ac:spMk id="3" creationId="{DA728320-CECA-CCE2-D2DD-CC0175152F0A}"/>
          </ac:spMkLst>
        </pc:spChg>
        <pc:spChg chg="mod">
          <ac:chgData name="Joao Cabral de Assis" userId="2e28f1b2-599c-43fa-9c22-5b7536e3b37b" providerId="ADAL" clId="{903218E2-C22B-4CC8-9AB6-343CA3DF934D}" dt="2023-06-19T01:36:45.763" v="11370" actId="790"/>
          <ac:spMkLst>
            <pc:docMk/>
            <pc:sldMk cId="776147671" sldId="999"/>
            <ac:spMk id="4" creationId="{02B46B7E-F0D8-B93D-ABC1-E18A4C1A13DC}"/>
          </ac:spMkLst>
        </pc:spChg>
        <pc:spChg chg="mod">
          <ac:chgData name="Joao Cabral de Assis" userId="2e28f1b2-599c-43fa-9c22-5b7536e3b37b" providerId="ADAL" clId="{903218E2-C22B-4CC8-9AB6-343CA3DF934D}" dt="2023-06-19T01:36:45.760" v="11368" actId="790"/>
          <ac:spMkLst>
            <pc:docMk/>
            <pc:sldMk cId="776147671" sldId="999"/>
            <ac:spMk id="6" creationId="{B66EA8C9-77CE-B963-7AC6-F60B658910B8}"/>
          </ac:spMkLst>
        </pc:spChg>
        <pc:spChg chg="add del mod modVis">
          <ac:chgData name="Joao Cabral de Assis" userId="2e28f1b2-599c-43fa-9c22-5b7536e3b37b" providerId="ADAL" clId="{903218E2-C22B-4CC8-9AB6-343CA3DF934D}" dt="2023-06-12T18:34:40.428" v="5953"/>
          <ac:spMkLst>
            <pc:docMk/>
            <pc:sldMk cId="776147671" sldId="999"/>
            <ac:spMk id="8" creationId="{45168841-6ED5-DFED-C429-A4AC601F2EE7}"/>
          </ac:spMkLst>
        </pc:spChg>
        <pc:spChg chg="mod">
          <ac:chgData name="Joao Cabral de Assis" userId="2e28f1b2-599c-43fa-9c22-5b7536e3b37b" providerId="ADAL" clId="{903218E2-C22B-4CC8-9AB6-343CA3DF934D}" dt="2023-06-19T01:36:46.117" v="11401" actId="790"/>
          <ac:spMkLst>
            <pc:docMk/>
            <pc:sldMk cId="776147671" sldId="999"/>
            <ac:spMk id="10" creationId="{4A031EEC-C7E8-637A-1D5D-86DA17BB0930}"/>
          </ac:spMkLst>
        </pc:spChg>
        <pc:spChg chg="mod">
          <ac:chgData name="Joao Cabral de Assis" userId="2e28f1b2-599c-43fa-9c22-5b7536e3b37b" providerId="ADAL" clId="{903218E2-C22B-4CC8-9AB6-343CA3DF934D}" dt="2023-06-19T01:36:46.119" v="11402" actId="790"/>
          <ac:spMkLst>
            <pc:docMk/>
            <pc:sldMk cId="776147671" sldId="999"/>
            <ac:spMk id="12" creationId="{0681F231-79CA-7DCE-E630-F53271FEC96B}"/>
          </ac:spMkLst>
        </pc:spChg>
        <pc:spChg chg="add del mod modVis">
          <ac:chgData name="Joao Cabral de Assis" userId="2e28f1b2-599c-43fa-9c22-5b7536e3b37b" providerId="ADAL" clId="{903218E2-C22B-4CC8-9AB6-343CA3DF934D}" dt="2023-06-12T18:34:45.665" v="6001"/>
          <ac:spMkLst>
            <pc:docMk/>
            <pc:sldMk cId="776147671" sldId="999"/>
            <ac:spMk id="14" creationId="{949EC964-3BF0-B65A-18DC-B674166361C5}"/>
          </ac:spMkLst>
        </pc:spChg>
        <pc:graphicFrameChg chg="modGraphic">
          <ac:chgData name="Joao Cabral de Assis" userId="2e28f1b2-599c-43fa-9c22-5b7536e3b37b" providerId="ADAL" clId="{903218E2-C22B-4CC8-9AB6-343CA3DF934D}" dt="2023-06-19T01:36:45.875" v="11380" actId="790"/>
          <ac:graphicFrameMkLst>
            <pc:docMk/>
            <pc:sldMk cId="776147671" sldId="999"/>
            <ac:graphicFrameMk id="5" creationId="{D7800FDA-AB96-01A1-9790-54A750627603}"/>
          </ac:graphicFrameMkLst>
        </pc:graphicFrameChg>
        <pc:graphicFrameChg chg="modGraphic">
          <ac:chgData name="Joao Cabral de Assis" userId="2e28f1b2-599c-43fa-9c22-5b7536e3b37b" providerId="ADAL" clId="{903218E2-C22B-4CC8-9AB6-343CA3DF934D}" dt="2023-06-19T01:36:45.995" v="11390" actId="790"/>
          <ac:graphicFrameMkLst>
            <pc:docMk/>
            <pc:sldMk cId="776147671" sldId="999"/>
            <ac:graphicFrameMk id="9" creationId="{AAC827E3-943B-A577-7232-FF77B47E9278}"/>
          </ac:graphicFrameMkLst>
        </pc:graphicFrameChg>
        <pc:graphicFrameChg chg="modGraphic">
          <ac:chgData name="Joao Cabral de Assis" userId="2e28f1b2-599c-43fa-9c22-5b7536e3b37b" providerId="ADAL" clId="{903218E2-C22B-4CC8-9AB6-343CA3DF934D}" dt="2023-06-19T01:36:46.107" v="11400" actId="790"/>
          <ac:graphicFrameMkLst>
            <pc:docMk/>
            <pc:sldMk cId="776147671" sldId="999"/>
            <ac:graphicFrameMk id="11" creationId="{2471E16C-8593-B7E4-D175-E293867EE6BA}"/>
          </ac:graphicFrameMkLst>
        </pc:graphicFrameChg>
        <pc:graphicFrameChg chg="add mod ord modVis replST">
          <ac:chgData name="Joao Cabral de Assis" userId="2e28f1b2-599c-43fa-9c22-5b7536e3b37b" providerId="ADAL" clId="{903218E2-C22B-4CC8-9AB6-343CA3DF934D}" dt="2023-06-12T18:34:45.669" v="6003"/>
          <ac:graphicFrameMkLst>
            <pc:docMk/>
            <pc:sldMk cId="776147671" sldId="999"/>
            <ac:graphicFrameMk id="13" creationId="{A5A21EDE-C24A-E9E2-8487-A7B160B65DD7}"/>
          </ac:graphicFrameMkLst>
        </pc:graphicFrameChg>
      </pc:sldChg>
      <pc:sldChg chg="addSp delSp modSp mod modNotes">
        <pc:chgData name="Joao Cabral de Assis" userId="2e28f1b2-599c-43fa-9c22-5b7536e3b37b" providerId="ADAL" clId="{903218E2-C22B-4CC8-9AB6-343CA3DF934D}" dt="2023-06-19T01:36:46.550" v="11449" actId="790"/>
        <pc:sldMkLst>
          <pc:docMk/>
          <pc:sldMk cId="910772080" sldId="1000"/>
        </pc:sldMkLst>
        <pc:spChg chg="mod">
          <ac:chgData name="Joao Cabral de Assis" userId="2e28f1b2-599c-43fa-9c22-5b7536e3b37b" providerId="ADAL" clId="{903218E2-C22B-4CC8-9AB6-343CA3DF934D}" dt="2023-06-19T01:36:46.126" v="11405" actId="790"/>
          <ac:spMkLst>
            <pc:docMk/>
            <pc:sldMk cId="910772080" sldId="1000"/>
            <ac:spMk id="2" creationId="{621EE3CB-88A6-9846-0273-B29487B6AAC0}"/>
          </ac:spMkLst>
        </pc:spChg>
        <pc:spChg chg="mod">
          <ac:chgData name="Joao Cabral de Assis" userId="2e28f1b2-599c-43fa-9c22-5b7536e3b37b" providerId="ADAL" clId="{903218E2-C22B-4CC8-9AB6-343CA3DF934D}" dt="2023-06-19T01:36:46.132" v="11407" actId="790"/>
          <ac:spMkLst>
            <pc:docMk/>
            <pc:sldMk cId="910772080" sldId="1000"/>
            <ac:spMk id="3" creationId="{DA728320-CECA-CCE2-D2DD-CC0175152F0A}"/>
          </ac:spMkLst>
        </pc:spChg>
        <pc:spChg chg="mod">
          <ac:chgData name="Joao Cabral de Assis" userId="2e28f1b2-599c-43fa-9c22-5b7536e3b37b" providerId="ADAL" clId="{903218E2-C22B-4CC8-9AB6-343CA3DF934D}" dt="2023-06-19T01:36:46.134" v="11408" actId="790"/>
          <ac:spMkLst>
            <pc:docMk/>
            <pc:sldMk cId="910772080" sldId="1000"/>
            <ac:spMk id="4" creationId="{02B46B7E-F0D8-B93D-ABC1-E18A4C1A13DC}"/>
          </ac:spMkLst>
        </pc:spChg>
        <pc:spChg chg="add del mod modVis">
          <ac:chgData name="Joao Cabral de Assis" userId="2e28f1b2-599c-43fa-9c22-5b7536e3b37b" providerId="ADAL" clId="{903218E2-C22B-4CC8-9AB6-343CA3DF934D}" dt="2023-06-12T18:34:56.600" v="6030"/>
          <ac:spMkLst>
            <pc:docMk/>
            <pc:sldMk cId="910772080" sldId="1000"/>
            <ac:spMk id="5" creationId="{18975A36-8B1E-E199-9690-24C1F3CBF1B0}"/>
          </ac:spMkLst>
        </pc:spChg>
        <pc:spChg chg="mod">
          <ac:chgData name="Joao Cabral de Assis" userId="2e28f1b2-599c-43fa-9c22-5b7536e3b37b" providerId="ADAL" clId="{903218E2-C22B-4CC8-9AB6-343CA3DF934D}" dt="2023-06-19T01:36:46.129" v="11406" actId="790"/>
          <ac:spMkLst>
            <pc:docMk/>
            <pc:sldMk cId="910772080" sldId="1000"/>
            <ac:spMk id="6" creationId="{B66EA8C9-77CE-B963-7AC6-F60B658910B8}"/>
          </ac:spMkLst>
        </pc:spChg>
        <pc:spChg chg="mod">
          <ac:chgData name="Joao Cabral de Assis" userId="2e28f1b2-599c-43fa-9c22-5b7536e3b37b" providerId="ADAL" clId="{903218E2-C22B-4CC8-9AB6-343CA3DF934D}" dt="2023-06-19T01:36:46.547" v="11447" actId="790"/>
          <ac:spMkLst>
            <pc:docMk/>
            <pc:sldMk cId="910772080" sldId="1000"/>
            <ac:spMk id="8" creationId="{A4B8E7C8-06CB-3C02-5275-0BE1C0D7CAF0}"/>
          </ac:spMkLst>
        </pc:spChg>
        <pc:spChg chg="add del mod modVis">
          <ac:chgData name="Joao Cabral de Assis" userId="2e28f1b2-599c-43fa-9c22-5b7536e3b37b" providerId="ADAL" clId="{903218E2-C22B-4CC8-9AB6-343CA3DF934D}" dt="2023-06-12T18:34:58.457" v="6058"/>
          <ac:spMkLst>
            <pc:docMk/>
            <pc:sldMk cId="910772080" sldId="1000"/>
            <ac:spMk id="12" creationId="{AC3B162A-888E-A05B-DFA9-DA0C05FD788D}"/>
          </ac:spMkLst>
        </pc:spChg>
        <pc:spChg chg="add del mod modVis">
          <ac:chgData name="Joao Cabral de Assis" userId="2e28f1b2-599c-43fa-9c22-5b7536e3b37b" providerId="ADAL" clId="{903218E2-C22B-4CC8-9AB6-343CA3DF934D}" dt="2023-06-12T18:34:59.221" v="6086"/>
          <ac:spMkLst>
            <pc:docMk/>
            <pc:sldMk cId="910772080" sldId="1000"/>
            <ac:spMk id="14" creationId="{7C2D314E-F3A8-0558-FA74-E70C0D668F04}"/>
          </ac:spMkLst>
        </pc:spChg>
        <pc:spChg chg="add del mod modVis">
          <ac:chgData name="Joao Cabral de Assis" userId="2e28f1b2-599c-43fa-9c22-5b7536e3b37b" providerId="ADAL" clId="{903218E2-C22B-4CC8-9AB6-343CA3DF934D}" dt="2023-06-12T18:35:01.481" v="6115"/>
          <ac:spMkLst>
            <pc:docMk/>
            <pc:sldMk cId="910772080" sldId="1000"/>
            <ac:spMk id="15" creationId="{BCB1402F-1046-7293-EAC7-0A3FD50FA71E}"/>
          </ac:spMkLst>
        </pc:spChg>
        <pc:graphicFrameChg chg="modGraphic">
          <ac:chgData name="Joao Cabral de Assis" userId="2e28f1b2-599c-43fa-9c22-5b7536e3b37b" providerId="ADAL" clId="{903218E2-C22B-4CC8-9AB6-343CA3DF934D}" dt="2023-06-19T01:36:46.536" v="11446" actId="790"/>
          <ac:graphicFrameMkLst>
            <pc:docMk/>
            <pc:sldMk cId="910772080" sldId="1000"/>
            <ac:graphicFrameMk id="7" creationId="{E6AC1249-F529-FF7A-0A40-963FC641061B}"/>
          </ac:graphicFrameMkLst>
        </pc:graphicFrameChg>
        <pc:graphicFrameChg chg="modGraphic">
          <ac:chgData name="Joao Cabral de Assis" userId="2e28f1b2-599c-43fa-9c22-5b7536e3b37b" providerId="ADAL" clId="{903218E2-C22B-4CC8-9AB6-343CA3DF934D}" dt="2023-06-19T01:36:46.237" v="11418" actId="790"/>
          <ac:graphicFrameMkLst>
            <pc:docMk/>
            <pc:sldMk cId="910772080" sldId="1000"/>
            <ac:graphicFrameMk id="9" creationId="{AAC827E3-943B-A577-7232-FF77B47E9278}"/>
          </ac:graphicFrameMkLst>
        </pc:graphicFrameChg>
        <pc:graphicFrameChg chg="modGraphic">
          <ac:chgData name="Joao Cabral de Assis" userId="2e28f1b2-599c-43fa-9c22-5b7536e3b37b" providerId="ADAL" clId="{903218E2-C22B-4CC8-9AB6-343CA3DF934D}" dt="2023-06-19T01:36:46.344" v="11428" actId="790"/>
          <ac:graphicFrameMkLst>
            <pc:docMk/>
            <pc:sldMk cId="910772080" sldId="1000"/>
            <ac:graphicFrameMk id="11" creationId="{2471E16C-8593-B7E4-D175-E293867EE6BA}"/>
          </ac:graphicFrameMkLst>
        </pc:graphicFrameChg>
        <pc:graphicFrameChg chg="mod">
          <ac:chgData name="Joao Cabral de Assis" userId="2e28f1b2-599c-43fa-9c22-5b7536e3b37b" providerId="ADAL" clId="{903218E2-C22B-4CC8-9AB6-343CA3DF934D}" dt="2023-06-12T18:35:01.485" v="6117"/>
          <ac:graphicFrameMkLst>
            <pc:docMk/>
            <pc:sldMk cId="910772080" sldId="1000"/>
            <ac:graphicFrameMk id="13" creationId="{874EEB6E-4D3F-DC63-CF18-43036EBEBCD3}"/>
          </ac:graphicFrameMkLst>
        </pc:graphicFrameChg>
      </pc:sldChg>
      <pc:sldChg chg="modSp mod modNotes">
        <pc:chgData name="Joao Cabral de Assis" userId="2e28f1b2-599c-43fa-9c22-5b7536e3b37b" providerId="ADAL" clId="{903218E2-C22B-4CC8-9AB6-343CA3DF934D}" dt="2023-06-19T01:36:47.025" v="11525" actId="790"/>
        <pc:sldMkLst>
          <pc:docMk/>
          <pc:sldMk cId="1526995527" sldId="1002"/>
        </pc:sldMkLst>
        <pc:spChg chg="mod">
          <ac:chgData name="Joao Cabral de Assis" userId="2e28f1b2-599c-43fa-9c22-5b7536e3b37b" providerId="ADAL" clId="{903218E2-C22B-4CC8-9AB6-343CA3DF934D}" dt="2023-06-19T01:36:46.629" v="11485" actId="790"/>
          <ac:spMkLst>
            <pc:docMk/>
            <pc:sldMk cId="1526995527" sldId="1002"/>
            <ac:spMk id="2" creationId="{621EE3CB-88A6-9846-0273-B29487B6AAC0}"/>
          </ac:spMkLst>
        </pc:spChg>
        <pc:spChg chg="mod">
          <ac:chgData name="Joao Cabral de Assis" userId="2e28f1b2-599c-43fa-9c22-5b7536e3b37b" providerId="ADAL" clId="{903218E2-C22B-4CC8-9AB6-343CA3DF934D}" dt="2023-06-19T01:36:47.014" v="11521" actId="790"/>
          <ac:spMkLst>
            <pc:docMk/>
            <pc:sldMk cId="1526995527" sldId="1002"/>
            <ac:spMk id="3" creationId="{024C0EC0-2617-F721-1646-5610C2B84586}"/>
          </ac:spMkLst>
        </pc:spChg>
        <pc:spChg chg="mod">
          <ac:chgData name="Joao Cabral de Assis" userId="2e28f1b2-599c-43fa-9c22-5b7536e3b37b" providerId="ADAL" clId="{903218E2-C22B-4CC8-9AB6-343CA3DF934D}" dt="2023-06-19T01:36:46.634" v="11487" actId="790"/>
          <ac:spMkLst>
            <pc:docMk/>
            <pc:sldMk cId="1526995527" sldId="1002"/>
            <ac:spMk id="4" creationId="{02B46B7E-F0D8-B93D-ABC1-E18A4C1A13DC}"/>
          </ac:spMkLst>
        </pc:spChg>
        <pc:spChg chg="mod">
          <ac:chgData name="Joao Cabral de Assis" userId="2e28f1b2-599c-43fa-9c22-5b7536e3b37b" providerId="ADAL" clId="{903218E2-C22B-4CC8-9AB6-343CA3DF934D}" dt="2023-06-19T01:36:47.018" v="11522" actId="790"/>
          <ac:spMkLst>
            <pc:docMk/>
            <pc:sldMk cId="1526995527" sldId="1002"/>
            <ac:spMk id="5" creationId="{745338F3-46E5-B85F-E020-13ED237805F4}"/>
          </ac:spMkLst>
        </pc:spChg>
        <pc:spChg chg="mod">
          <ac:chgData name="Joao Cabral de Assis" userId="2e28f1b2-599c-43fa-9c22-5b7536e3b37b" providerId="ADAL" clId="{903218E2-C22B-4CC8-9AB6-343CA3DF934D}" dt="2023-06-19T01:36:46.632" v="11486" actId="790"/>
          <ac:spMkLst>
            <pc:docMk/>
            <pc:sldMk cId="1526995527" sldId="1002"/>
            <ac:spMk id="6" creationId="{B66EA8C9-77CE-B963-7AC6-F60B658910B8}"/>
          </ac:spMkLst>
        </pc:spChg>
        <pc:spChg chg="mod">
          <ac:chgData name="Joao Cabral de Assis" userId="2e28f1b2-599c-43fa-9c22-5b7536e3b37b" providerId="ADAL" clId="{903218E2-C22B-4CC8-9AB6-343CA3DF934D}" dt="2023-06-19T01:36:47.012" v="11520" actId="790"/>
          <ac:spMkLst>
            <pc:docMk/>
            <pc:sldMk cId="1526995527" sldId="1002"/>
            <ac:spMk id="10" creationId="{97ED521A-6EA7-313B-F528-55563B91FD8E}"/>
          </ac:spMkLst>
        </pc:spChg>
        <pc:spChg chg="mod">
          <ac:chgData name="Joao Cabral de Assis" userId="2e28f1b2-599c-43fa-9c22-5b7536e3b37b" providerId="ADAL" clId="{903218E2-C22B-4CC8-9AB6-343CA3DF934D}" dt="2023-06-19T01:36:47.021" v="11523" actId="790"/>
          <ac:spMkLst>
            <pc:docMk/>
            <pc:sldMk cId="1526995527" sldId="1002"/>
            <ac:spMk id="14" creationId="{BBD32421-F127-086C-C385-8AB6ED6CE655}"/>
          </ac:spMkLst>
        </pc:spChg>
        <pc:graphicFrameChg chg="modGraphic">
          <ac:chgData name="Joao Cabral de Assis" userId="2e28f1b2-599c-43fa-9c22-5b7536e3b37b" providerId="ADAL" clId="{903218E2-C22B-4CC8-9AB6-343CA3DF934D}" dt="2023-06-19T01:36:47.001" v="11519" actId="790"/>
          <ac:graphicFrameMkLst>
            <pc:docMk/>
            <pc:sldMk cId="1526995527" sldId="1002"/>
            <ac:graphicFrameMk id="8" creationId="{33B970FF-C511-26BF-6941-1807426B6CF6}"/>
          </ac:graphicFrameMkLst>
        </pc:graphicFrameChg>
        <pc:graphicFrameChg chg="modGraphic">
          <ac:chgData name="Joao Cabral de Assis" userId="2e28f1b2-599c-43fa-9c22-5b7536e3b37b" providerId="ADAL" clId="{903218E2-C22B-4CC8-9AB6-343CA3DF934D}" dt="2023-06-19T01:36:46.740" v="11497" actId="790"/>
          <ac:graphicFrameMkLst>
            <pc:docMk/>
            <pc:sldMk cId="1526995527" sldId="1002"/>
            <ac:graphicFrameMk id="9" creationId="{AAC827E3-943B-A577-7232-FF77B47E9278}"/>
          </ac:graphicFrameMkLst>
        </pc:graphicFrameChg>
        <pc:graphicFrameChg chg="modGraphic">
          <ac:chgData name="Joao Cabral de Assis" userId="2e28f1b2-599c-43fa-9c22-5b7536e3b37b" providerId="ADAL" clId="{903218E2-C22B-4CC8-9AB6-343CA3DF934D}" dt="2023-06-19T01:36:46.856" v="11507" actId="790"/>
          <ac:graphicFrameMkLst>
            <pc:docMk/>
            <pc:sldMk cId="1526995527" sldId="1002"/>
            <ac:graphicFrameMk id="11" creationId="{2471E16C-8593-B7E4-D175-E293867EE6BA}"/>
          </ac:graphicFrameMkLst>
        </pc:graphicFrameChg>
      </pc:sldChg>
      <pc:sldChg chg="addSp delSp modSp mod modNotes">
        <pc:chgData name="Joao Cabral de Assis" userId="2e28f1b2-599c-43fa-9c22-5b7536e3b37b" providerId="ADAL" clId="{903218E2-C22B-4CC8-9AB6-343CA3DF934D}" dt="2023-06-19T01:36:47.071" v="11548" actId="790"/>
        <pc:sldMkLst>
          <pc:docMk/>
          <pc:sldMk cId="2617990170" sldId="1003"/>
        </pc:sldMkLst>
        <pc:spChg chg="mod">
          <ac:chgData name="Joao Cabral de Assis" userId="2e28f1b2-599c-43fa-9c22-5b7536e3b37b" providerId="ADAL" clId="{903218E2-C22B-4CC8-9AB6-343CA3DF934D}" dt="2023-06-19T01:36:47.057" v="11541" actId="790"/>
          <ac:spMkLst>
            <pc:docMk/>
            <pc:sldMk cId="2617990170" sldId="1003"/>
            <ac:spMk id="2" creationId="{9C5C7E2F-49F4-6905-2BD0-851FB4CDB0BC}"/>
          </ac:spMkLst>
        </pc:spChg>
        <pc:spChg chg="mod">
          <ac:chgData name="Joao Cabral de Assis" userId="2e28f1b2-599c-43fa-9c22-5b7536e3b37b" providerId="ADAL" clId="{903218E2-C22B-4CC8-9AB6-343CA3DF934D}" dt="2023-06-19T01:36:47.061" v="11542" actId="790"/>
          <ac:spMkLst>
            <pc:docMk/>
            <pc:sldMk cId="2617990170" sldId="1003"/>
            <ac:spMk id="3" creationId="{EE36CAA3-95D8-C5A5-07F3-27500EB65957}"/>
          </ac:spMkLst>
        </pc:spChg>
        <pc:spChg chg="mod">
          <ac:chgData name="Joao Cabral de Assis" userId="2e28f1b2-599c-43fa-9c22-5b7536e3b37b" providerId="ADAL" clId="{903218E2-C22B-4CC8-9AB6-343CA3DF934D}" dt="2023-06-19T01:36:47.068" v="11546" actId="790"/>
          <ac:spMkLst>
            <pc:docMk/>
            <pc:sldMk cId="2617990170" sldId="1003"/>
            <ac:spMk id="4" creationId="{B1970DB4-F8EF-1BC2-D944-57EA0113F1F2}"/>
          </ac:spMkLst>
        </pc:spChg>
        <pc:spChg chg="mod">
          <ac:chgData name="Joao Cabral de Assis" userId="2e28f1b2-599c-43fa-9c22-5b7536e3b37b" providerId="ADAL" clId="{903218E2-C22B-4CC8-9AB6-343CA3DF934D}" dt="2023-06-19T01:36:47.063" v="11543" actId="790"/>
          <ac:spMkLst>
            <pc:docMk/>
            <pc:sldMk cId="2617990170" sldId="1003"/>
            <ac:spMk id="5" creationId="{E50A60F7-0C3C-3937-4045-AF61DD13DADC}"/>
          </ac:spMkLst>
        </pc:spChg>
        <pc:spChg chg="mod">
          <ac:chgData name="Joao Cabral de Assis" userId="2e28f1b2-599c-43fa-9c22-5b7536e3b37b" providerId="ADAL" clId="{903218E2-C22B-4CC8-9AB6-343CA3DF934D}" dt="2023-06-19T01:36:47.064" v="11544" actId="790"/>
          <ac:spMkLst>
            <pc:docMk/>
            <pc:sldMk cId="2617990170" sldId="1003"/>
            <ac:spMk id="7" creationId="{348757EA-F69F-F296-E40F-0373E647EAE8}"/>
          </ac:spMkLst>
        </pc:spChg>
        <pc:spChg chg="mod">
          <ac:chgData name="Joao Cabral de Assis" userId="2e28f1b2-599c-43fa-9c22-5b7536e3b37b" providerId="ADAL" clId="{903218E2-C22B-4CC8-9AB6-343CA3DF934D}" dt="2023-06-19T01:36:47.067" v="11545" actId="790"/>
          <ac:spMkLst>
            <pc:docMk/>
            <pc:sldMk cId="2617990170" sldId="1003"/>
            <ac:spMk id="8" creationId="{D28B3525-DD28-FA0D-9A42-3253ED12E788}"/>
          </ac:spMkLst>
        </pc:spChg>
        <pc:spChg chg="add del mod modVis">
          <ac:chgData name="Joao Cabral de Assis" userId="2e28f1b2-599c-43fa-9c22-5b7536e3b37b" providerId="ADAL" clId="{903218E2-C22B-4CC8-9AB6-343CA3DF934D}" dt="2023-06-12T18:39:20.553" v="6743"/>
          <ac:spMkLst>
            <pc:docMk/>
            <pc:sldMk cId="2617990170" sldId="1003"/>
            <ac:spMk id="9" creationId="{F5D340CD-825D-6779-D722-4C01AAAC03FA}"/>
          </ac:spMkLst>
        </pc:spChg>
        <pc:spChg chg="add del mod modVis">
          <ac:chgData name="Joao Cabral de Assis" userId="2e28f1b2-599c-43fa-9c22-5b7536e3b37b" providerId="ADAL" clId="{903218E2-C22B-4CC8-9AB6-343CA3DF934D}" dt="2023-06-12T18:39:21.293" v="6771"/>
          <ac:spMkLst>
            <pc:docMk/>
            <pc:sldMk cId="2617990170" sldId="1003"/>
            <ac:spMk id="12" creationId="{E61C3882-CC64-A6AA-5FFE-764824078A68}"/>
          </ac:spMkLst>
        </pc:spChg>
        <pc:spChg chg="add del mod modVis">
          <ac:chgData name="Joao Cabral de Assis" userId="2e28f1b2-599c-43fa-9c22-5b7536e3b37b" providerId="ADAL" clId="{903218E2-C22B-4CC8-9AB6-343CA3DF934D}" dt="2023-06-12T18:39:22.550" v="6799"/>
          <ac:spMkLst>
            <pc:docMk/>
            <pc:sldMk cId="2617990170" sldId="1003"/>
            <ac:spMk id="13" creationId="{96D7E8BD-5BC9-6FC0-9093-61B250772036}"/>
          </ac:spMkLst>
        </pc:spChg>
        <pc:spChg chg="add del mod modVis">
          <ac:chgData name="Joao Cabral de Assis" userId="2e28f1b2-599c-43fa-9c22-5b7536e3b37b" providerId="ADAL" clId="{903218E2-C22B-4CC8-9AB6-343CA3DF934D}" dt="2023-06-12T18:39:23.599" v="6827"/>
          <ac:spMkLst>
            <pc:docMk/>
            <pc:sldMk cId="2617990170" sldId="1003"/>
            <ac:spMk id="14" creationId="{9832D8B7-203D-D95E-BC44-2F2AF1E31BFF}"/>
          </ac:spMkLst>
        </pc:spChg>
        <pc:spChg chg="add del mod modVis">
          <ac:chgData name="Joao Cabral de Assis" userId="2e28f1b2-599c-43fa-9c22-5b7536e3b37b" providerId="ADAL" clId="{903218E2-C22B-4CC8-9AB6-343CA3DF934D}" dt="2023-06-12T18:39:25.666" v="6855"/>
          <ac:spMkLst>
            <pc:docMk/>
            <pc:sldMk cId="2617990170" sldId="1003"/>
            <ac:spMk id="15" creationId="{5264FBA3-C5CB-FC32-E14B-804D5DFD8BEC}"/>
          </ac:spMkLst>
        </pc:spChg>
        <pc:spChg chg="add del mod modVis">
          <ac:chgData name="Joao Cabral de Assis" userId="2e28f1b2-599c-43fa-9c22-5b7536e3b37b" providerId="ADAL" clId="{903218E2-C22B-4CC8-9AB6-343CA3DF934D}" dt="2023-06-12T18:39:26.718" v="6883"/>
          <ac:spMkLst>
            <pc:docMk/>
            <pc:sldMk cId="2617990170" sldId="1003"/>
            <ac:spMk id="16" creationId="{51C1F1CE-5BCC-1AE8-27E9-0D2D12131E49}"/>
          </ac:spMkLst>
        </pc:spChg>
        <pc:spChg chg="add del mod modVis">
          <ac:chgData name="Joao Cabral de Assis" userId="2e28f1b2-599c-43fa-9c22-5b7536e3b37b" providerId="ADAL" clId="{903218E2-C22B-4CC8-9AB6-343CA3DF934D}" dt="2023-06-12T18:39:29.145" v="6911"/>
          <ac:spMkLst>
            <pc:docMk/>
            <pc:sldMk cId="2617990170" sldId="1003"/>
            <ac:spMk id="17" creationId="{03F3F431-FDAE-FBDE-096F-EFE37ED203DE}"/>
          </ac:spMkLst>
        </pc:spChg>
        <pc:spChg chg="add del mod modVis">
          <ac:chgData name="Joao Cabral de Assis" userId="2e28f1b2-599c-43fa-9c22-5b7536e3b37b" providerId="ADAL" clId="{903218E2-C22B-4CC8-9AB6-343CA3DF934D}" dt="2023-06-12T18:39:29.767" v="6939"/>
          <ac:spMkLst>
            <pc:docMk/>
            <pc:sldMk cId="2617990170" sldId="1003"/>
            <ac:spMk id="18" creationId="{35E0808F-34E8-966D-B725-45FA73A14813}"/>
          </ac:spMkLst>
        </pc:spChg>
        <pc:spChg chg="add del mod modVis">
          <ac:chgData name="Joao Cabral de Assis" userId="2e28f1b2-599c-43fa-9c22-5b7536e3b37b" providerId="ADAL" clId="{903218E2-C22B-4CC8-9AB6-343CA3DF934D}" dt="2023-06-12T18:39:32.091" v="6968"/>
          <ac:spMkLst>
            <pc:docMk/>
            <pc:sldMk cId="2617990170" sldId="1003"/>
            <ac:spMk id="19" creationId="{6BA3C133-D979-1881-84E4-CA7C2F869FE0}"/>
          </ac:spMkLst>
        </pc:spChg>
        <pc:spChg chg="add del mod modVis">
          <ac:chgData name="Joao Cabral de Assis" userId="2e28f1b2-599c-43fa-9c22-5b7536e3b37b" providerId="ADAL" clId="{903218E2-C22B-4CC8-9AB6-343CA3DF934D}" dt="2023-06-12T18:39:36.162" v="6997"/>
          <ac:spMkLst>
            <pc:docMk/>
            <pc:sldMk cId="2617990170" sldId="1003"/>
            <ac:spMk id="20" creationId="{621F42A7-C1D6-C6BD-9191-29B21810101B}"/>
          </ac:spMkLst>
        </pc:spChg>
        <pc:graphicFrameChg chg="mod">
          <ac:chgData name="Joao Cabral de Assis" userId="2e28f1b2-599c-43fa-9c22-5b7536e3b37b" providerId="ADAL" clId="{903218E2-C22B-4CC8-9AB6-343CA3DF934D}" dt="2023-06-12T18:39:36.166" v="6999"/>
          <ac:graphicFrameMkLst>
            <pc:docMk/>
            <pc:sldMk cId="2617990170" sldId="1003"/>
            <ac:graphicFrameMk id="10" creationId="{2B94FC77-3B88-B97F-9635-8FC661710C57}"/>
          </ac:graphicFrameMkLst>
        </pc:graphicFrameChg>
      </pc:sldChg>
      <pc:sldChg chg="addSp delSp modSp mod modNotes">
        <pc:chgData name="Joao Cabral de Assis" userId="2e28f1b2-599c-43fa-9c22-5b7536e3b37b" providerId="ADAL" clId="{903218E2-C22B-4CC8-9AB6-343CA3DF934D}" dt="2023-06-19T01:36:46.579" v="11461" actId="790"/>
        <pc:sldMkLst>
          <pc:docMk/>
          <pc:sldMk cId="2936560935" sldId="1008"/>
        </pc:sldMkLst>
        <pc:spChg chg="mod">
          <ac:chgData name="Joao Cabral de Assis" userId="2e28f1b2-599c-43fa-9c22-5b7536e3b37b" providerId="ADAL" clId="{903218E2-C22B-4CC8-9AB6-343CA3DF934D}" dt="2023-06-19T01:36:46.567" v="11456" actId="790"/>
          <ac:spMkLst>
            <pc:docMk/>
            <pc:sldMk cId="2936560935" sldId="1008"/>
            <ac:spMk id="2" creationId="{CEA1C8D5-197D-2530-11B4-A24D2D03AB19}"/>
          </ac:spMkLst>
        </pc:spChg>
        <pc:spChg chg="mod">
          <ac:chgData name="Joao Cabral de Assis" userId="2e28f1b2-599c-43fa-9c22-5b7536e3b37b" providerId="ADAL" clId="{903218E2-C22B-4CC8-9AB6-343CA3DF934D}" dt="2023-06-19T01:36:46.574" v="11459" actId="790"/>
          <ac:spMkLst>
            <pc:docMk/>
            <pc:sldMk cId="2936560935" sldId="1008"/>
            <ac:spMk id="3" creationId="{91DF3492-5555-B02A-C436-6068AE8C5001}"/>
          </ac:spMkLst>
        </pc:spChg>
        <pc:spChg chg="add del mod modVis">
          <ac:chgData name="Joao Cabral de Assis" userId="2e28f1b2-599c-43fa-9c22-5b7536e3b37b" providerId="ADAL" clId="{903218E2-C22B-4CC8-9AB6-343CA3DF934D}" dt="2023-06-12T18:35:49.630" v="6148"/>
          <ac:spMkLst>
            <pc:docMk/>
            <pc:sldMk cId="2936560935" sldId="1008"/>
            <ac:spMk id="4" creationId="{162B7C0E-EB93-4E1B-6661-56CD13B2F5B7}"/>
          </ac:spMkLst>
        </pc:spChg>
        <pc:spChg chg="mod">
          <ac:chgData name="Joao Cabral de Assis" userId="2e28f1b2-599c-43fa-9c22-5b7536e3b37b" providerId="ADAL" clId="{903218E2-C22B-4CC8-9AB6-343CA3DF934D}" dt="2023-06-19T01:36:46.568" v="11457" actId="790"/>
          <ac:spMkLst>
            <pc:docMk/>
            <pc:sldMk cId="2936560935" sldId="1008"/>
            <ac:spMk id="5" creationId="{C8059103-38FF-CCE4-8481-E95E54E86171}"/>
          </ac:spMkLst>
        </pc:spChg>
        <pc:spChg chg="mod">
          <ac:chgData name="Joao Cabral de Assis" userId="2e28f1b2-599c-43fa-9c22-5b7536e3b37b" providerId="ADAL" clId="{903218E2-C22B-4CC8-9AB6-343CA3DF934D}" dt="2023-06-19T01:36:46.572" v="11458" actId="790"/>
          <ac:spMkLst>
            <pc:docMk/>
            <pc:sldMk cId="2936560935" sldId="1008"/>
            <ac:spMk id="7" creationId="{FB3FC7A9-D74B-8015-BA17-0018BAEEBF8E}"/>
          </ac:spMkLst>
        </pc:spChg>
        <pc:spChg chg="add del mod modVis">
          <ac:chgData name="Joao Cabral de Assis" userId="2e28f1b2-599c-43fa-9c22-5b7536e3b37b" providerId="ADAL" clId="{903218E2-C22B-4CC8-9AB6-343CA3DF934D}" dt="2023-06-12T18:35:52.357" v="6177"/>
          <ac:spMkLst>
            <pc:docMk/>
            <pc:sldMk cId="2936560935" sldId="1008"/>
            <ac:spMk id="9" creationId="{B990FE69-0ACA-600A-7656-4678EB660C89}"/>
          </ac:spMkLst>
        </pc:spChg>
        <pc:graphicFrameChg chg="mod">
          <ac:chgData name="Joao Cabral de Assis" userId="2e28f1b2-599c-43fa-9c22-5b7536e3b37b" providerId="ADAL" clId="{903218E2-C22B-4CC8-9AB6-343CA3DF934D}" dt="2023-06-12T18:35:52.361" v="6179"/>
          <ac:graphicFrameMkLst>
            <pc:docMk/>
            <pc:sldMk cId="2936560935" sldId="1008"/>
            <ac:graphicFrameMk id="8" creationId="{64ED9D6F-2884-8D32-B724-AA551D673F96}"/>
          </ac:graphicFrameMkLst>
        </pc:graphicFrameChg>
      </pc:sldChg>
      <pc:sldChg chg="addSp delSp modSp mod modNotes">
        <pc:chgData name="Joao Cabral de Assis" userId="2e28f1b2-599c-43fa-9c22-5b7536e3b37b" providerId="ADAL" clId="{903218E2-C22B-4CC8-9AB6-343CA3DF934D}" dt="2023-06-21T13:49:20.324" v="12555" actId="6549"/>
        <pc:sldMkLst>
          <pc:docMk/>
          <pc:sldMk cId="357297978" sldId="1009"/>
        </pc:sldMkLst>
        <pc:spChg chg="mod">
          <ac:chgData name="Joao Cabral de Assis" userId="2e28f1b2-599c-43fa-9c22-5b7536e3b37b" providerId="ADAL" clId="{903218E2-C22B-4CC8-9AB6-343CA3DF934D}" dt="2023-06-19T01:36:47.026" v="11526" actId="790"/>
          <ac:spMkLst>
            <pc:docMk/>
            <pc:sldMk cId="357297978" sldId="1009"/>
            <ac:spMk id="2" creationId="{CEA1C8D5-197D-2530-11B4-A24D2D03AB19}"/>
          </ac:spMkLst>
        </pc:spChg>
        <pc:spChg chg="mod">
          <ac:chgData name="Joao Cabral de Assis" userId="2e28f1b2-599c-43fa-9c22-5b7536e3b37b" providerId="ADAL" clId="{903218E2-C22B-4CC8-9AB6-343CA3DF934D}" dt="2023-06-21T13:49:20.324" v="12555" actId="6549"/>
          <ac:spMkLst>
            <pc:docMk/>
            <pc:sldMk cId="357297978" sldId="1009"/>
            <ac:spMk id="3" creationId="{500715CF-13DF-04ED-2F85-EC4A998B1CE0}"/>
          </ac:spMkLst>
        </pc:spChg>
        <pc:spChg chg="mod">
          <ac:chgData name="Joao Cabral de Assis" userId="2e28f1b2-599c-43fa-9c22-5b7536e3b37b" providerId="ADAL" clId="{903218E2-C22B-4CC8-9AB6-343CA3DF934D}" dt="2023-06-19T01:36:47.035" v="11529" actId="790"/>
          <ac:spMkLst>
            <pc:docMk/>
            <pc:sldMk cId="357297978" sldId="1009"/>
            <ac:spMk id="4" creationId="{24CA4290-C509-61B9-8791-A7C27B7777D2}"/>
          </ac:spMkLst>
        </pc:spChg>
        <pc:spChg chg="mod">
          <ac:chgData name="Joao Cabral de Assis" userId="2e28f1b2-599c-43fa-9c22-5b7536e3b37b" providerId="ADAL" clId="{903218E2-C22B-4CC8-9AB6-343CA3DF934D}" dt="2023-06-19T01:36:47.028" v="11527" actId="790"/>
          <ac:spMkLst>
            <pc:docMk/>
            <pc:sldMk cId="357297978" sldId="1009"/>
            <ac:spMk id="5" creationId="{C8059103-38FF-CCE4-8481-E95E54E86171}"/>
          </ac:spMkLst>
        </pc:spChg>
        <pc:spChg chg="add del mod modVis">
          <ac:chgData name="Joao Cabral de Assis" userId="2e28f1b2-599c-43fa-9c22-5b7536e3b37b" providerId="ADAL" clId="{903218E2-C22B-4CC8-9AB6-343CA3DF934D}" dt="2023-06-12T18:38:46.165" v="6681"/>
          <ac:spMkLst>
            <pc:docMk/>
            <pc:sldMk cId="357297978" sldId="1009"/>
            <ac:spMk id="7" creationId="{BD6B838A-0402-F1C6-0497-FA2201890894}"/>
          </ac:spMkLst>
        </pc:spChg>
        <pc:spChg chg="add del mod modVis">
          <ac:chgData name="Joao Cabral de Assis" userId="2e28f1b2-599c-43fa-9c22-5b7536e3b37b" providerId="ADAL" clId="{903218E2-C22B-4CC8-9AB6-343CA3DF934D}" dt="2023-06-12T18:38:48.946" v="6710"/>
          <ac:spMkLst>
            <pc:docMk/>
            <pc:sldMk cId="357297978" sldId="1009"/>
            <ac:spMk id="9" creationId="{3EC02504-8AEA-6537-9875-37E9D90F77CF}"/>
          </ac:spMkLst>
        </pc:spChg>
        <pc:graphicFrameChg chg="mod">
          <ac:chgData name="Joao Cabral de Assis" userId="2e28f1b2-599c-43fa-9c22-5b7536e3b37b" providerId="ADAL" clId="{903218E2-C22B-4CC8-9AB6-343CA3DF934D}" dt="2023-06-12T18:38:48.950" v="6712"/>
          <ac:graphicFrameMkLst>
            <pc:docMk/>
            <pc:sldMk cId="357297978" sldId="1009"/>
            <ac:graphicFrameMk id="8" creationId="{545A58DF-36DA-8AFB-4DDE-57E1E1CEA19B}"/>
          </ac:graphicFrameMkLst>
        </pc:graphicFrameChg>
      </pc:sldChg>
      <pc:sldChg chg="addSp delSp modSp mod modNotes">
        <pc:chgData name="Joao Cabral de Assis" userId="2e28f1b2-599c-43fa-9c22-5b7536e3b37b" providerId="ADAL" clId="{903218E2-C22B-4CC8-9AB6-343CA3DF934D}" dt="2023-06-19T01:36:47.526" v="11607" actId="790"/>
        <pc:sldMkLst>
          <pc:docMk/>
          <pc:sldMk cId="1198217414" sldId="1011"/>
        </pc:sldMkLst>
        <pc:spChg chg="mod">
          <ac:chgData name="Joao Cabral de Assis" userId="2e28f1b2-599c-43fa-9c22-5b7536e3b37b" providerId="ADAL" clId="{903218E2-C22B-4CC8-9AB6-343CA3DF934D}" dt="2023-06-19T01:36:47.104" v="11562" actId="790"/>
          <ac:spMkLst>
            <pc:docMk/>
            <pc:sldMk cId="1198217414" sldId="1011"/>
            <ac:spMk id="2" creationId="{621EE3CB-88A6-9846-0273-B29487B6AAC0}"/>
          </ac:spMkLst>
        </pc:spChg>
        <pc:spChg chg="mod">
          <ac:chgData name="Joao Cabral de Assis" userId="2e28f1b2-599c-43fa-9c22-5b7536e3b37b" providerId="ADAL" clId="{903218E2-C22B-4CC8-9AB6-343CA3DF934D}" dt="2023-06-19T01:36:47.520" v="11604" actId="790"/>
          <ac:spMkLst>
            <pc:docMk/>
            <pc:sldMk cId="1198217414" sldId="1011"/>
            <ac:spMk id="3" creationId="{A4EAE3F8-FE81-D7E9-522B-BABD2C76AFF7}"/>
          </ac:spMkLst>
        </pc:spChg>
        <pc:spChg chg="mod">
          <ac:chgData name="Joao Cabral de Assis" userId="2e28f1b2-599c-43fa-9c22-5b7536e3b37b" providerId="ADAL" clId="{903218E2-C22B-4CC8-9AB6-343CA3DF934D}" dt="2023-06-19T01:36:47.110" v="11564" actId="790"/>
          <ac:spMkLst>
            <pc:docMk/>
            <pc:sldMk cId="1198217414" sldId="1011"/>
            <ac:spMk id="4" creationId="{02B46B7E-F0D8-B93D-ABC1-E18A4C1A13DC}"/>
          </ac:spMkLst>
        </pc:spChg>
        <pc:spChg chg="add del mod modVis">
          <ac:chgData name="Joao Cabral de Assis" userId="2e28f1b2-599c-43fa-9c22-5b7536e3b37b" providerId="ADAL" clId="{903218E2-C22B-4CC8-9AB6-343CA3DF934D}" dt="2023-06-12T18:44:30.812" v="7507"/>
          <ac:spMkLst>
            <pc:docMk/>
            <pc:sldMk cId="1198217414" sldId="1011"/>
            <ac:spMk id="5" creationId="{49E32FD4-14C5-9252-340C-2686170F3112}"/>
          </ac:spMkLst>
        </pc:spChg>
        <pc:spChg chg="mod">
          <ac:chgData name="Joao Cabral de Assis" userId="2e28f1b2-599c-43fa-9c22-5b7536e3b37b" providerId="ADAL" clId="{903218E2-C22B-4CC8-9AB6-343CA3DF934D}" dt="2023-06-19T01:36:47.108" v="11563" actId="790"/>
          <ac:spMkLst>
            <pc:docMk/>
            <pc:sldMk cId="1198217414" sldId="1011"/>
            <ac:spMk id="6" creationId="{B66EA8C9-77CE-B963-7AC6-F60B658910B8}"/>
          </ac:spMkLst>
        </pc:spChg>
        <pc:spChg chg="add del mod modVis">
          <ac:chgData name="Joao Cabral de Assis" userId="2e28f1b2-599c-43fa-9c22-5b7536e3b37b" providerId="ADAL" clId="{903218E2-C22B-4CC8-9AB6-343CA3DF934D}" dt="2023-06-12T18:44:32.906" v="7536"/>
          <ac:spMkLst>
            <pc:docMk/>
            <pc:sldMk cId="1198217414" sldId="1011"/>
            <ac:spMk id="10" creationId="{A763C698-3989-89DE-EFD0-4FE5298853DF}"/>
          </ac:spMkLst>
        </pc:spChg>
        <pc:spChg chg="add del mod modVis">
          <ac:chgData name="Joao Cabral de Assis" userId="2e28f1b2-599c-43fa-9c22-5b7536e3b37b" providerId="ADAL" clId="{903218E2-C22B-4CC8-9AB6-343CA3DF934D}" dt="2023-06-12T18:44:35.589" v="7565"/>
          <ac:spMkLst>
            <pc:docMk/>
            <pc:sldMk cId="1198217414" sldId="1011"/>
            <ac:spMk id="12" creationId="{632D6B17-8426-850A-644C-30E995345712}"/>
          </ac:spMkLst>
        </pc:spChg>
        <pc:spChg chg="add del mod modVis">
          <ac:chgData name="Joao Cabral de Assis" userId="2e28f1b2-599c-43fa-9c22-5b7536e3b37b" providerId="ADAL" clId="{903218E2-C22B-4CC8-9AB6-343CA3DF934D}" dt="2023-06-12T18:49:06.037" v="7631"/>
          <ac:spMkLst>
            <pc:docMk/>
            <pc:sldMk cId="1198217414" sldId="1011"/>
            <ac:spMk id="13" creationId="{5E885FDA-BA50-8506-FA16-A46F65D4AF00}"/>
          </ac:spMkLst>
        </pc:spChg>
        <pc:spChg chg="mod">
          <ac:chgData name="Joao Cabral de Assis" userId="2e28f1b2-599c-43fa-9c22-5b7536e3b37b" providerId="ADAL" clId="{903218E2-C22B-4CC8-9AB6-343CA3DF934D}" dt="2023-06-19T01:36:47.518" v="11603" actId="790"/>
          <ac:spMkLst>
            <pc:docMk/>
            <pc:sldMk cId="1198217414" sldId="1011"/>
            <ac:spMk id="14" creationId="{C91A2E62-0BA9-1215-4815-4197BABE499B}"/>
          </ac:spMkLst>
        </pc:spChg>
        <pc:spChg chg="add del mod modVis">
          <ac:chgData name="Joao Cabral de Assis" userId="2e28f1b2-599c-43fa-9c22-5b7536e3b37b" providerId="ADAL" clId="{903218E2-C22B-4CC8-9AB6-343CA3DF934D}" dt="2023-06-12T18:49:08.644" v="7666"/>
          <ac:spMkLst>
            <pc:docMk/>
            <pc:sldMk cId="1198217414" sldId="1011"/>
            <ac:spMk id="15" creationId="{0B8A67B7-C81B-65A0-E1BB-0BE680137575}"/>
          </ac:spMkLst>
        </pc:spChg>
        <pc:spChg chg="add del mod modVis">
          <ac:chgData name="Joao Cabral de Assis" userId="2e28f1b2-599c-43fa-9c22-5b7536e3b37b" providerId="ADAL" clId="{903218E2-C22B-4CC8-9AB6-343CA3DF934D}" dt="2023-06-12T18:49:11.201" v="7702"/>
          <ac:spMkLst>
            <pc:docMk/>
            <pc:sldMk cId="1198217414" sldId="1011"/>
            <ac:spMk id="16" creationId="{0CFF748A-FF32-DECC-5AB3-4FA160BB6A0A}"/>
          </ac:spMkLst>
        </pc:spChg>
        <pc:spChg chg="add del mod modVis">
          <ac:chgData name="Joao Cabral de Assis" userId="2e28f1b2-599c-43fa-9c22-5b7536e3b37b" providerId="ADAL" clId="{903218E2-C22B-4CC8-9AB6-343CA3DF934D}" dt="2023-06-12T18:49:12.187" v="7730"/>
          <ac:spMkLst>
            <pc:docMk/>
            <pc:sldMk cId="1198217414" sldId="1011"/>
            <ac:spMk id="17" creationId="{0E5F6868-3539-EFC3-752B-592D3EB44A83}"/>
          </ac:spMkLst>
        </pc:spChg>
        <pc:spChg chg="add del mod modVis">
          <ac:chgData name="Joao Cabral de Assis" userId="2e28f1b2-599c-43fa-9c22-5b7536e3b37b" providerId="ADAL" clId="{903218E2-C22B-4CC8-9AB6-343CA3DF934D}" dt="2023-06-12T18:49:13.540" v="7761"/>
          <ac:spMkLst>
            <pc:docMk/>
            <pc:sldMk cId="1198217414" sldId="1011"/>
            <ac:spMk id="18" creationId="{31E226C3-B0F8-D01E-71C0-01B96ECD78A2}"/>
          </ac:spMkLst>
        </pc:spChg>
        <pc:spChg chg="add del mod modVis">
          <ac:chgData name="Joao Cabral de Assis" userId="2e28f1b2-599c-43fa-9c22-5b7536e3b37b" providerId="ADAL" clId="{903218E2-C22B-4CC8-9AB6-343CA3DF934D}" dt="2023-06-12T18:49:14.539" v="7789"/>
          <ac:spMkLst>
            <pc:docMk/>
            <pc:sldMk cId="1198217414" sldId="1011"/>
            <ac:spMk id="19" creationId="{2DCBAFC3-D25D-67DC-81CB-544A994024B2}"/>
          </ac:spMkLst>
        </pc:spChg>
        <pc:spChg chg="add del mod modVis">
          <ac:chgData name="Joao Cabral de Assis" userId="2e28f1b2-599c-43fa-9c22-5b7536e3b37b" providerId="ADAL" clId="{903218E2-C22B-4CC8-9AB6-343CA3DF934D}" dt="2023-06-12T18:49:19.896" v="7823"/>
          <ac:spMkLst>
            <pc:docMk/>
            <pc:sldMk cId="1198217414" sldId="1011"/>
            <ac:spMk id="20" creationId="{A1360C73-DFF5-2CEF-B7F9-043C086F7925}"/>
          </ac:spMkLst>
        </pc:spChg>
        <pc:spChg chg="add del mod modVis">
          <ac:chgData name="Joao Cabral de Assis" userId="2e28f1b2-599c-43fa-9c22-5b7536e3b37b" providerId="ADAL" clId="{903218E2-C22B-4CC8-9AB6-343CA3DF934D}" dt="2023-06-12T18:49:22.254" v="7857"/>
          <ac:spMkLst>
            <pc:docMk/>
            <pc:sldMk cId="1198217414" sldId="1011"/>
            <ac:spMk id="21" creationId="{488B5D1C-8AE0-C5C3-85B3-6835FE0B3500}"/>
          </ac:spMkLst>
        </pc:spChg>
        <pc:spChg chg="add del mod modVis">
          <ac:chgData name="Joao Cabral de Assis" userId="2e28f1b2-599c-43fa-9c22-5b7536e3b37b" providerId="ADAL" clId="{903218E2-C22B-4CC8-9AB6-343CA3DF934D}" dt="2023-06-12T18:49:25.112" v="7899"/>
          <ac:spMkLst>
            <pc:docMk/>
            <pc:sldMk cId="1198217414" sldId="1011"/>
            <ac:spMk id="22" creationId="{3597C7CF-D344-2431-6BF9-BA942A48B4C2}"/>
          </ac:spMkLst>
        </pc:spChg>
        <pc:spChg chg="add del mod modVis">
          <ac:chgData name="Joao Cabral de Assis" userId="2e28f1b2-599c-43fa-9c22-5b7536e3b37b" providerId="ADAL" clId="{903218E2-C22B-4CC8-9AB6-343CA3DF934D}" dt="2023-06-12T18:49:28.084" v="7927"/>
          <ac:spMkLst>
            <pc:docMk/>
            <pc:sldMk cId="1198217414" sldId="1011"/>
            <ac:spMk id="23" creationId="{09496652-234E-4597-7C86-C0D0A781B685}"/>
          </ac:spMkLst>
        </pc:spChg>
        <pc:spChg chg="add del mod modVis">
          <ac:chgData name="Joao Cabral de Assis" userId="2e28f1b2-599c-43fa-9c22-5b7536e3b37b" providerId="ADAL" clId="{903218E2-C22B-4CC8-9AB6-343CA3DF934D}" dt="2023-06-12T18:49:32.493" v="7955"/>
          <ac:spMkLst>
            <pc:docMk/>
            <pc:sldMk cId="1198217414" sldId="1011"/>
            <ac:spMk id="24" creationId="{1E451407-7788-A203-8B90-CDFC62693D7A}"/>
          </ac:spMkLst>
        </pc:spChg>
        <pc:spChg chg="add mod">
          <ac:chgData name="Joao Cabral de Assis" userId="2e28f1b2-599c-43fa-9c22-5b7536e3b37b" providerId="ADAL" clId="{903218E2-C22B-4CC8-9AB6-343CA3DF934D}" dt="2023-06-19T01:36:47.523" v="11605" actId="790"/>
          <ac:spMkLst>
            <pc:docMk/>
            <pc:sldMk cId="1198217414" sldId="1011"/>
            <ac:spMk id="26" creationId="{769AB40D-BA3D-1DE8-AA04-EA78DEC136BE}"/>
          </ac:spMkLst>
        </pc:spChg>
        <pc:spChg chg="add del mod modVis">
          <ac:chgData name="Joao Cabral de Assis" userId="2e28f1b2-599c-43fa-9c22-5b7536e3b37b" providerId="ADAL" clId="{903218E2-C22B-4CC8-9AB6-343CA3DF934D}" dt="2023-06-12T18:53:52.290" v="8031"/>
          <ac:spMkLst>
            <pc:docMk/>
            <pc:sldMk cId="1198217414" sldId="1011"/>
            <ac:spMk id="29" creationId="{FD24FFD3-9233-623C-8627-EAA387689F79}"/>
          </ac:spMkLst>
        </pc:spChg>
        <pc:graphicFrameChg chg="modGraphic">
          <ac:chgData name="Joao Cabral de Assis" userId="2e28f1b2-599c-43fa-9c22-5b7536e3b37b" providerId="ADAL" clId="{903218E2-C22B-4CC8-9AB6-343CA3DF934D}" dt="2023-06-19T01:36:47.507" v="11602" actId="790"/>
          <ac:graphicFrameMkLst>
            <pc:docMk/>
            <pc:sldMk cId="1198217414" sldId="1011"/>
            <ac:graphicFrameMk id="7" creationId="{E6AC1249-F529-FF7A-0A40-963FC641061B}"/>
          </ac:graphicFrameMkLst>
        </pc:graphicFrameChg>
        <pc:graphicFrameChg chg="mod">
          <ac:chgData name="Joao Cabral de Assis" userId="2e28f1b2-599c-43fa-9c22-5b7536e3b37b" providerId="ADAL" clId="{903218E2-C22B-4CC8-9AB6-343CA3DF934D}" dt="2023-06-12T18:53:52.293" v="8033"/>
          <ac:graphicFrameMkLst>
            <pc:docMk/>
            <pc:sldMk cId="1198217414" sldId="1011"/>
            <ac:graphicFrameMk id="8" creationId="{60468374-BC6A-7E7F-05B8-96488787F4C4}"/>
          </ac:graphicFrameMkLst>
        </pc:graphicFrameChg>
        <pc:graphicFrameChg chg="modGraphic">
          <ac:chgData name="Joao Cabral de Assis" userId="2e28f1b2-599c-43fa-9c22-5b7536e3b37b" providerId="ADAL" clId="{903218E2-C22B-4CC8-9AB6-343CA3DF934D}" dt="2023-06-19T01:36:47.214" v="11574" actId="790"/>
          <ac:graphicFrameMkLst>
            <pc:docMk/>
            <pc:sldMk cId="1198217414" sldId="1011"/>
            <ac:graphicFrameMk id="9" creationId="{AAC827E3-943B-A577-7232-FF77B47E9278}"/>
          </ac:graphicFrameMkLst>
        </pc:graphicFrameChg>
        <pc:graphicFrameChg chg="modGraphic">
          <ac:chgData name="Joao Cabral de Assis" userId="2e28f1b2-599c-43fa-9c22-5b7536e3b37b" providerId="ADAL" clId="{903218E2-C22B-4CC8-9AB6-343CA3DF934D}" dt="2023-06-19T01:36:47.317" v="11584" actId="790"/>
          <ac:graphicFrameMkLst>
            <pc:docMk/>
            <pc:sldMk cId="1198217414" sldId="1011"/>
            <ac:graphicFrameMk id="11" creationId="{2471E16C-8593-B7E4-D175-E293867EE6BA}"/>
          </ac:graphicFrameMkLst>
        </pc:graphicFrameChg>
        <pc:cxnChg chg="add mod">
          <ac:chgData name="Joao Cabral de Assis" userId="2e28f1b2-599c-43fa-9c22-5b7536e3b37b" providerId="ADAL" clId="{903218E2-C22B-4CC8-9AB6-343CA3DF934D}" dt="2023-06-12T18:51:06.012" v="7994" actId="1076"/>
          <ac:cxnSpMkLst>
            <pc:docMk/>
            <pc:sldMk cId="1198217414" sldId="1011"/>
            <ac:cxnSpMk id="28" creationId="{94223701-29BD-6266-9987-C786A13A209C}"/>
          </ac:cxnSpMkLst>
        </pc:cxnChg>
      </pc:sldChg>
      <pc:sldChg chg="addSp delSp modSp mod modNotes">
        <pc:chgData name="Joao Cabral de Assis" userId="2e28f1b2-599c-43fa-9c22-5b7536e3b37b" providerId="ADAL" clId="{903218E2-C22B-4CC8-9AB6-343CA3DF934D}" dt="2023-06-19T01:36:47.563" v="11623" actId="790"/>
        <pc:sldMkLst>
          <pc:docMk/>
          <pc:sldMk cId="460925839" sldId="1014"/>
        </pc:sldMkLst>
        <pc:spChg chg="mod">
          <ac:chgData name="Joao Cabral de Assis" userId="2e28f1b2-599c-43fa-9c22-5b7536e3b37b" providerId="ADAL" clId="{903218E2-C22B-4CC8-9AB6-343CA3DF934D}" dt="2023-06-19T01:36:47.544" v="11614" actId="790"/>
          <ac:spMkLst>
            <pc:docMk/>
            <pc:sldMk cId="460925839" sldId="1014"/>
            <ac:spMk id="2" creationId="{9C5C7E2F-49F4-6905-2BD0-851FB4CDB0BC}"/>
          </ac:spMkLst>
        </pc:spChg>
        <pc:spChg chg="mod">
          <ac:chgData name="Joao Cabral de Assis" userId="2e28f1b2-599c-43fa-9c22-5b7536e3b37b" providerId="ADAL" clId="{903218E2-C22B-4CC8-9AB6-343CA3DF934D}" dt="2023-06-19T01:36:47.548" v="11615" actId="790"/>
          <ac:spMkLst>
            <pc:docMk/>
            <pc:sldMk cId="460925839" sldId="1014"/>
            <ac:spMk id="3" creationId="{EE36CAA3-95D8-C5A5-07F3-27500EB65957}"/>
          </ac:spMkLst>
        </pc:spChg>
        <pc:spChg chg="mod">
          <ac:chgData name="Joao Cabral de Assis" userId="2e28f1b2-599c-43fa-9c22-5b7536e3b37b" providerId="ADAL" clId="{903218E2-C22B-4CC8-9AB6-343CA3DF934D}" dt="2023-06-19T01:36:47.556" v="11619" actId="790"/>
          <ac:spMkLst>
            <pc:docMk/>
            <pc:sldMk cId="460925839" sldId="1014"/>
            <ac:spMk id="4" creationId="{4BD38843-A829-5E28-C1EA-3AE63CFA914C}"/>
          </ac:spMkLst>
        </pc:spChg>
        <pc:spChg chg="mod">
          <ac:chgData name="Joao Cabral de Assis" userId="2e28f1b2-599c-43fa-9c22-5b7536e3b37b" providerId="ADAL" clId="{903218E2-C22B-4CC8-9AB6-343CA3DF934D}" dt="2023-06-19T01:36:47.550" v="11616" actId="790"/>
          <ac:spMkLst>
            <pc:docMk/>
            <pc:sldMk cId="460925839" sldId="1014"/>
            <ac:spMk id="5" creationId="{E50A60F7-0C3C-3937-4045-AF61DD13DADC}"/>
          </ac:spMkLst>
        </pc:spChg>
        <pc:spChg chg="mod">
          <ac:chgData name="Joao Cabral de Assis" userId="2e28f1b2-599c-43fa-9c22-5b7536e3b37b" providerId="ADAL" clId="{903218E2-C22B-4CC8-9AB6-343CA3DF934D}" dt="2023-06-19T01:36:47.557" v="11620" actId="790"/>
          <ac:spMkLst>
            <pc:docMk/>
            <pc:sldMk cId="460925839" sldId="1014"/>
            <ac:spMk id="6" creationId="{577851D6-4065-CF79-48F9-BF0D86484E1E}"/>
          </ac:spMkLst>
        </pc:spChg>
        <pc:spChg chg="add del mod modVis">
          <ac:chgData name="Joao Cabral de Assis" userId="2e28f1b2-599c-43fa-9c22-5b7536e3b37b" providerId="ADAL" clId="{903218E2-C22B-4CC8-9AB6-343CA3DF934D}" dt="2023-06-12T19:07:49.151" v="8226"/>
          <ac:spMkLst>
            <pc:docMk/>
            <pc:sldMk cId="460925839" sldId="1014"/>
            <ac:spMk id="8" creationId="{6E05A349-AD11-C23A-992F-F9B39231057D}"/>
          </ac:spMkLst>
        </pc:spChg>
        <pc:spChg chg="mod">
          <ac:chgData name="Joao Cabral de Assis" userId="2e28f1b2-599c-43fa-9c22-5b7536e3b37b" providerId="ADAL" clId="{903218E2-C22B-4CC8-9AB6-343CA3DF934D}" dt="2023-06-19T01:36:47.551" v="11617" actId="790"/>
          <ac:spMkLst>
            <pc:docMk/>
            <pc:sldMk cId="460925839" sldId="1014"/>
            <ac:spMk id="9" creationId="{FCA8A292-0A95-F5E4-56A3-9B79E48D1A28}"/>
          </ac:spMkLst>
        </pc:spChg>
        <pc:spChg chg="mod">
          <ac:chgData name="Joao Cabral de Assis" userId="2e28f1b2-599c-43fa-9c22-5b7536e3b37b" providerId="ADAL" clId="{903218E2-C22B-4CC8-9AB6-343CA3DF934D}" dt="2023-06-19T01:36:47.553" v="11618" actId="790"/>
          <ac:spMkLst>
            <pc:docMk/>
            <pc:sldMk cId="460925839" sldId="1014"/>
            <ac:spMk id="11" creationId="{C769671F-D599-AA32-6973-4B43C2DC857D}"/>
          </ac:spMkLst>
        </pc:spChg>
        <pc:spChg chg="add mod">
          <ac:chgData name="Joao Cabral de Assis" userId="2e28f1b2-599c-43fa-9c22-5b7536e3b37b" providerId="ADAL" clId="{903218E2-C22B-4CC8-9AB6-343CA3DF934D}" dt="2023-06-19T01:36:47.559" v="11621" actId="790"/>
          <ac:spMkLst>
            <pc:docMk/>
            <pc:sldMk cId="460925839" sldId="1014"/>
            <ac:spMk id="15" creationId="{1ECC0582-C0E8-77FE-9198-E057F665A8FA}"/>
          </ac:spMkLst>
        </pc:spChg>
        <pc:graphicFrameChg chg="mod">
          <ac:chgData name="Joao Cabral de Assis" userId="2e28f1b2-599c-43fa-9c22-5b7536e3b37b" providerId="ADAL" clId="{903218E2-C22B-4CC8-9AB6-343CA3DF934D}" dt="2023-06-12T19:07:49.155" v="8228"/>
          <ac:graphicFrameMkLst>
            <pc:docMk/>
            <pc:sldMk cId="460925839" sldId="1014"/>
            <ac:graphicFrameMk id="7" creationId="{0211011B-2914-4A4F-4536-AABBF3A96FAE}"/>
          </ac:graphicFrameMkLst>
        </pc:graphicFrameChg>
        <pc:cxnChg chg="add mod">
          <ac:chgData name="Joao Cabral de Assis" userId="2e28f1b2-599c-43fa-9c22-5b7536e3b37b" providerId="ADAL" clId="{903218E2-C22B-4CC8-9AB6-343CA3DF934D}" dt="2023-06-12T19:11:36.820" v="8320" actId="14100"/>
          <ac:cxnSpMkLst>
            <pc:docMk/>
            <pc:sldMk cId="460925839" sldId="1014"/>
            <ac:cxnSpMk id="12" creationId="{0E01779D-5968-DD5D-3D5A-767D04F1F139}"/>
          </ac:cxnSpMkLst>
        </pc:cxnChg>
        <pc:cxnChg chg="add mod">
          <ac:chgData name="Joao Cabral de Assis" userId="2e28f1b2-599c-43fa-9c22-5b7536e3b37b" providerId="ADAL" clId="{903218E2-C22B-4CC8-9AB6-343CA3DF934D}" dt="2023-06-12T19:11:21.220" v="8317" actId="14100"/>
          <ac:cxnSpMkLst>
            <pc:docMk/>
            <pc:sldMk cId="460925839" sldId="1014"/>
            <ac:cxnSpMk id="14" creationId="{3764497A-A702-491C-C65E-CD14701C967E}"/>
          </ac:cxnSpMkLst>
        </pc:cxnChg>
        <pc:cxnChg chg="add mod">
          <ac:chgData name="Joao Cabral de Assis" userId="2e28f1b2-599c-43fa-9c22-5b7536e3b37b" providerId="ADAL" clId="{903218E2-C22B-4CC8-9AB6-343CA3DF934D}" dt="2023-06-12T19:11:51.682" v="8323" actId="1076"/>
          <ac:cxnSpMkLst>
            <pc:docMk/>
            <pc:sldMk cId="460925839" sldId="1014"/>
            <ac:cxnSpMk id="26" creationId="{1E85C990-03DD-3940-4339-981E89A79043}"/>
          </ac:cxnSpMkLst>
        </pc:cxnChg>
        <pc:cxnChg chg="add mod">
          <ac:chgData name="Joao Cabral de Assis" userId="2e28f1b2-599c-43fa-9c22-5b7536e3b37b" providerId="ADAL" clId="{903218E2-C22B-4CC8-9AB6-343CA3DF934D}" dt="2023-06-12T19:11:59.615" v="8325" actId="1076"/>
          <ac:cxnSpMkLst>
            <pc:docMk/>
            <pc:sldMk cId="460925839" sldId="1014"/>
            <ac:cxnSpMk id="29" creationId="{5329D8D4-392E-1C11-538A-70C966BF3E47}"/>
          </ac:cxnSpMkLst>
        </pc:cxnChg>
        <pc:cxnChg chg="add mod">
          <ac:chgData name="Joao Cabral de Assis" userId="2e28f1b2-599c-43fa-9c22-5b7536e3b37b" providerId="ADAL" clId="{903218E2-C22B-4CC8-9AB6-343CA3DF934D}" dt="2023-06-12T19:12:13.299" v="8329" actId="1076"/>
          <ac:cxnSpMkLst>
            <pc:docMk/>
            <pc:sldMk cId="460925839" sldId="1014"/>
            <ac:cxnSpMk id="30" creationId="{F94E4BB1-312C-CB21-8EE3-BA5E5E88DABF}"/>
          </ac:cxnSpMkLst>
        </pc:cxnChg>
        <pc:cxnChg chg="add mod">
          <ac:chgData name="Joao Cabral de Assis" userId="2e28f1b2-599c-43fa-9c22-5b7536e3b37b" providerId="ADAL" clId="{903218E2-C22B-4CC8-9AB6-343CA3DF934D}" dt="2023-06-12T19:12:22.858" v="8331" actId="1076"/>
          <ac:cxnSpMkLst>
            <pc:docMk/>
            <pc:sldMk cId="460925839" sldId="1014"/>
            <ac:cxnSpMk id="32" creationId="{92E96575-3A5F-ADCD-C10D-CB052270554B}"/>
          </ac:cxnSpMkLst>
        </pc:cxnChg>
      </pc:sldChg>
      <pc:sldChg chg="addSp delSp modSp mod modNotes">
        <pc:chgData name="Joao Cabral de Assis" userId="2e28f1b2-599c-43fa-9c22-5b7536e3b37b" providerId="ADAL" clId="{903218E2-C22B-4CC8-9AB6-343CA3DF934D}" dt="2023-06-19T01:44:10.066" v="12387" actId="1076"/>
        <pc:sldMkLst>
          <pc:docMk/>
          <pc:sldMk cId="2789702345" sldId="1015"/>
        </pc:sldMkLst>
        <pc:spChg chg="mod">
          <ac:chgData name="Joao Cabral de Assis" userId="2e28f1b2-599c-43fa-9c22-5b7536e3b37b" providerId="ADAL" clId="{903218E2-C22B-4CC8-9AB6-343CA3DF934D}" dt="2023-06-19T01:43:58.042" v="12358" actId="948"/>
          <ac:spMkLst>
            <pc:docMk/>
            <pc:sldMk cId="2789702345" sldId="1015"/>
            <ac:spMk id="2" creationId="{CEA1C8D5-197D-2530-11B4-A24D2D03AB19}"/>
          </ac:spMkLst>
        </pc:spChg>
        <pc:spChg chg="add del mod modVis">
          <ac:chgData name="Joao Cabral de Assis" userId="2e28f1b2-599c-43fa-9c22-5b7536e3b37b" providerId="ADAL" clId="{903218E2-C22B-4CC8-9AB6-343CA3DF934D}" dt="2023-06-19T01:43:58.110" v="12382"/>
          <ac:spMkLst>
            <pc:docMk/>
            <pc:sldMk cId="2789702345" sldId="1015"/>
            <ac:spMk id="4" creationId="{F0886158-7DFC-52F0-1BF1-3248807D3393}"/>
          </ac:spMkLst>
        </pc:spChg>
        <pc:spChg chg="mod">
          <ac:chgData name="Joao Cabral de Assis" userId="2e28f1b2-599c-43fa-9c22-5b7536e3b37b" providerId="ADAL" clId="{903218E2-C22B-4CC8-9AB6-343CA3DF934D}" dt="2023-06-19T01:36:48.079" v="11686" actId="790"/>
          <ac:spMkLst>
            <pc:docMk/>
            <pc:sldMk cId="2789702345" sldId="1015"/>
            <ac:spMk id="5" creationId="{C8059103-38FF-CCE4-8481-E95E54E86171}"/>
          </ac:spMkLst>
        </pc:spChg>
        <pc:spChg chg="mod">
          <ac:chgData name="Joao Cabral de Assis" userId="2e28f1b2-599c-43fa-9c22-5b7536e3b37b" providerId="ADAL" clId="{903218E2-C22B-4CC8-9AB6-343CA3DF934D}" dt="2023-06-19T01:44:10.066" v="12387" actId="1076"/>
          <ac:spMkLst>
            <pc:docMk/>
            <pc:sldMk cId="2789702345" sldId="1015"/>
            <ac:spMk id="7" creationId="{1DDDC718-FF80-C2D7-E9C9-7DB78F910991}"/>
          </ac:spMkLst>
        </pc:spChg>
        <pc:spChg chg="mod">
          <ac:chgData name="Joao Cabral de Assis" userId="2e28f1b2-599c-43fa-9c22-5b7536e3b37b" providerId="ADAL" clId="{903218E2-C22B-4CC8-9AB6-343CA3DF934D}" dt="2023-06-19T01:36:48.086" v="11688" actId="790"/>
          <ac:spMkLst>
            <pc:docMk/>
            <pc:sldMk cId="2789702345" sldId="1015"/>
            <ac:spMk id="16" creationId="{F9394176-7F7D-49C3-FDF3-F0EAEA46776E}"/>
          </ac:spMkLst>
        </pc:spChg>
        <pc:graphicFrameChg chg="mod">
          <ac:chgData name="Joao Cabral de Assis" userId="2e28f1b2-599c-43fa-9c22-5b7536e3b37b" providerId="ADAL" clId="{903218E2-C22B-4CC8-9AB6-343CA3DF934D}" dt="2023-06-19T01:44:04.546" v="12386" actId="14100"/>
          <ac:graphicFrameMkLst>
            <pc:docMk/>
            <pc:sldMk cId="2789702345" sldId="1015"/>
            <ac:graphicFrameMk id="3" creationId="{FA09122B-4564-430C-A247-4B2576229BA0}"/>
          </ac:graphicFrameMkLst>
        </pc:graphicFrameChg>
        <pc:graphicFrameChg chg="mod">
          <ac:chgData name="Joao Cabral de Assis" userId="2e28f1b2-599c-43fa-9c22-5b7536e3b37b" providerId="ADAL" clId="{903218E2-C22B-4CC8-9AB6-343CA3DF934D}" dt="2023-06-19T01:43:58.116" v="12384"/>
          <ac:graphicFrameMkLst>
            <pc:docMk/>
            <pc:sldMk cId="2789702345" sldId="1015"/>
            <ac:graphicFrameMk id="6" creationId="{A10D4921-DEED-DEF6-FD9B-2096B45ECFD5}"/>
          </ac:graphicFrameMkLst>
        </pc:graphicFrameChg>
      </pc:sldChg>
      <pc:sldChg chg="modSp mod delCm modNotes">
        <pc:chgData name="Joao Cabral de Assis" userId="2e28f1b2-599c-43fa-9c22-5b7536e3b37b" providerId="ADAL" clId="{903218E2-C22B-4CC8-9AB6-343CA3DF934D}" dt="2023-06-19T01:36:47.101" v="11561" actId="790"/>
        <pc:sldMkLst>
          <pc:docMk/>
          <pc:sldMk cId="3313977852" sldId="1016"/>
        </pc:sldMkLst>
        <pc:spChg chg="mod">
          <ac:chgData name="Joao Cabral de Assis" userId="2e28f1b2-599c-43fa-9c22-5b7536e3b37b" providerId="ADAL" clId="{903218E2-C22B-4CC8-9AB6-343CA3DF934D}" dt="2023-06-19T01:36:47.089" v="11556" actId="790"/>
          <ac:spMkLst>
            <pc:docMk/>
            <pc:sldMk cId="3313977852" sldId="1016"/>
            <ac:spMk id="2" creationId="{CEA1C8D5-197D-2530-11B4-A24D2D03AB19}"/>
          </ac:spMkLst>
        </pc:spChg>
        <pc:spChg chg="mod">
          <ac:chgData name="Joao Cabral de Assis" userId="2e28f1b2-599c-43fa-9c22-5b7536e3b37b" providerId="ADAL" clId="{903218E2-C22B-4CC8-9AB6-343CA3DF934D}" dt="2023-06-19T01:36:47.098" v="11559" actId="790"/>
          <ac:spMkLst>
            <pc:docMk/>
            <pc:sldMk cId="3313977852" sldId="1016"/>
            <ac:spMk id="3" creationId="{2E09F86F-7761-972D-42A7-93B2F34EA1BD}"/>
          </ac:spMkLst>
        </pc:spChg>
        <pc:spChg chg="mod">
          <ac:chgData name="Joao Cabral de Assis" userId="2e28f1b2-599c-43fa-9c22-5b7536e3b37b" providerId="ADAL" clId="{903218E2-C22B-4CC8-9AB6-343CA3DF934D}" dt="2023-06-19T01:36:47.091" v="11557" actId="790"/>
          <ac:spMkLst>
            <pc:docMk/>
            <pc:sldMk cId="3313977852" sldId="1016"/>
            <ac:spMk id="5" creationId="{C8059103-38FF-CCE4-8481-E95E54E86171}"/>
          </ac:spMkLst>
        </pc:spChg>
        <pc:spChg chg="mod">
          <ac:chgData name="Joao Cabral de Assis" userId="2e28f1b2-599c-43fa-9c22-5b7536e3b37b" providerId="ADAL" clId="{903218E2-C22B-4CC8-9AB6-343CA3DF934D}" dt="2023-06-19T01:36:47.096" v="11558" actId="790"/>
          <ac:spMkLst>
            <pc:docMk/>
            <pc:sldMk cId="3313977852" sldId="1016"/>
            <ac:spMk id="7" creationId="{943C0BAF-1506-9733-06A9-2E13B9249F4A}"/>
          </ac:spMkLst>
        </pc:spChg>
      </pc:sldChg>
      <pc:sldChg chg="modSp mod modNotes">
        <pc:chgData name="Joao Cabral de Assis" userId="2e28f1b2-599c-43fa-9c22-5b7536e3b37b" providerId="ADAL" clId="{903218E2-C22B-4CC8-9AB6-343CA3DF934D}" dt="2023-06-19T01:36:48.046" v="11671" actId="790"/>
        <pc:sldMkLst>
          <pc:docMk/>
          <pc:sldMk cId="1439812606" sldId="1020"/>
        </pc:sldMkLst>
        <pc:spChg chg="mod">
          <ac:chgData name="Joao Cabral de Assis" userId="2e28f1b2-599c-43fa-9c22-5b7536e3b37b" providerId="ADAL" clId="{903218E2-C22B-4CC8-9AB6-343CA3DF934D}" dt="2023-06-19T01:36:47.565" v="11624" actId="790"/>
          <ac:spMkLst>
            <pc:docMk/>
            <pc:sldMk cId="1439812606" sldId="1020"/>
            <ac:spMk id="2" creationId="{621EE3CB-88A6-9846-0273-B29487B6AAC0}"/>
          </ac:spMkLst>
        </pc:spChg>
        <pc:spChg chg="mod">
          <ac:chgData name="Joao Cabral de Assis" userId="2e28f1b2-599c-43fa-9c22-5b7536e3b37b" providerId="ADAL" clId="{903218E2-C22B-4CC8-9AB6-343CA3DF934D}" dt="2023-06-19T01:36:48.043" v="11669" actId="790"/>
          <ac:spMkLst>
            <pc:docMk/>
            <pc:sldMk cId="1439812606" sldId="1020"/>
            <ac:spMk id="3" creationId="{EB559B5C-491D-9363-274F-E1403C436EC0}"/>
          </ac:spMkLst>
        </pc:spChg>
        <pc:spChg chg="mod">
          <ac:chgData name="Joao Cabral de Assis" userId="2e28f1b2-599c-43fa-9c22-5b7536e3b37b" providerId="ADAL" clId="{903218E2-C22B-4CC8-9AB6-343CA3DF934D}" dt="2023-06-19T01:36:47.569" v="11626" actId="790"/>
          <ac:spMkLst>
            <pc:docMk/>
            <pc:sldMk cId="1439812606" sldId="1020"/>
            <ac:spMk id="4" creationId="{02B46B7E-F0D8-B93D-ABC1-E18A4C1A13DC}"/>
          </ac:spMkLst>
        </pc:spChg>
        <pc:spChg chg="mod">
          <ac:chgData name="Joao Cabral de Assis" userId="2e28f1b2-599c-43fa-9c22-5b7536e3b37b" providerId="ADAL" clId="{903218E2-C22B-4CC8-9AB6-343CA3DF934D}" dt="2023-06-19T01:36:47.567" v="11625" actId="790"/>
          <ac:spMkLst>
            <pc:docMk/>
            <pc:sldMk cId="1439812606" sldId="1020"/>
            <ac:spMk id="6" creationId="{B66EA8C9-77CE-B963-7AC6-F60B658910B8}"/>
          </ac:spMkLst>
        </pc:spChg>
        <pc:spChg chg="mod">
          <ac:chgData name="Joao Cabral de Assis" userId="2e28f1b2-599c-43fa-9c22-5b7536e3b37b" providerId="ADAL" clId="{903218E2-C22B-4CC8-9AB6-343CA3DF934D}" dt="2023-06-19T01:36:48.041" v="11668" actId="790"/>
          <ac:spMkLst>
            <pc:docMk/>
            <pc:sldMk cId="1439812606" sldId="1020"/>
            <ac:spMk id="17" creationId="{B0C5B92C-F6AF-3596-837E-720F5C18DAA5}"/>
          </ac:spMkLst>
        </pc:spChg>
        <pc:graphicFrameChg chg="modGraphic">
          <ac:chgData name="Joao Cabral de Assis" userId="2e28f1b2-599c-43fa-9c22-5b7536e3b37b" providerId="ADAL" clId="{903218E2-C22B-4CC8-9AB6-343CA3DF934D}" dt="2023-06-19T01:36:48.030" v="11667" actId="790"/>
          <ac:graphicFrameMkLst>
            <pc:docMk/>
            <pc:sldMk cId="1439812606" sldId="1020"/>
            <ac:graphicFrameMk id="7" creationId="{E6AC1249-F529-FF7A-0A40-963FC641061B}"/>
          </ac:graphicFrameMkLst>
        </pc:graphicFrameChg>
        <pc:graphicFrameChg chg="modGraphic">
          <ac:chgData name="Joao Cabral de Assis" userId="2e28f1b2-599c-43fa-9c22-5b7536e3b37b" providerId="ADAL" clId="{903218E2-C22B-4CC8-9AB6-343CA3DF934D}" dt="2023-06-19T01:36:47.668" v="11636" actId="790"/>
          <ac:graphicFrameMkLst>
            <pc:docMk/>
            <pc:sldMk cId="1439812606" sldId="1020"/>
            <ac:graphicFrameMk id="9" creationId="{AAC827E3-943B-A577-7232-FF77B47E9278}"/>
          </ac:graphicFrameMkLst>
        </pc:graphicFrameChg>
        <pc:graphicFrameChg chg="modGraphic">
          <ac:chgData name="Joao Cabral de Assis" userId="2e28f1b2-599c-43fa-9c22-5b7536e3b37b" providerId="ADAL" clId="{903218E2-C22B-4CC8-9AB6-343CA3DF934D}" dt="2023-06-19T01:36:47.784" v="11646" actId="790"/>
          <ac:graphicFrameMkLst>
            <pc:docMk/>
            <pc:sldMk cId="1439812606" sldId="1020"/>
            <ac:graphicFrameMk id="11" creationId="{2471E16C-8593-B7E4-D175-E293867EE6BA}"/>
          </ac:graphicFrameMkLst>
        </pc:graphicFrameChg>
      </pc:sldChg>
      <pc:sldChg chg="modSp mod modNotes">
        <pc:chgData name="Joao Cabral de Assis" userId="2e28f1b2-599c-43fa-9c22-5b7536e3b37b" providerId="ADAL" clId="{903218E2-C22B-4CC8-9AB6-343CA3DF934D}" dt="2023-06-19T01:44:28.473" v="12388" actId="948"/>
        <pc:sldMkLst>
          <pc:docMk/>
          <pc:sldMk cId="2042292227" sldId="1021"/>
        </pc:sldMkLst>
        <pc:spChg chg="mod">
          <ac:chgData name="Joao Cabral de Assis" userId="2e28f1b2-599c-43fa-9c22-5b7536e3b37b" providerId="ADAL" clId="{903218E2-C22B-4CC8-9AB6-343CA3DF934D}" dt="2023-06-19T01:36:48.063" v="11679" actId="790"/>
          <ac:spMkLst>
            <pc:docMk/>
            <pc:sldMk cId="2042292227" sldId="1021"/>
            <ac:spMk id="2" creationId="{CEA1C8D5-197D-2530-11B4-A24D2D03AB19}"/>
          </ac:spMkLst>
        </pc:spChg>
        <pc:spChg chg="mod">
          <ac:chgData name="Joao Cabral de Assis" userId="2e28f1b2-599c-43fa-9c22-5b7536e3b37b" providerId="ADAL" clId="{903218E2-C22B-4CC8-9AB6-343CA3DF934D}" dt="2023-06-19T01:44:28.473" v="12388" actId="948"/>
          <ac:spMkLst>
            <pc:docMk/>
            <pc:sldMk cId="2042292227" sldId="1021"/>
            <ac:spMk id="3" creationId="{3B4574AF-D4D3-9A11-2C42-250CBB890ED9}"/>
          </ac:spMkLst>
        </pc:spChg>
        <pc:spChg chg="mod">
          <ac:chgData name="Joao Cabral de Assis" userId="2e28f1b2-599c-43fa-9c22-5b7536e3b37b" providerId="ADAL" clId="{903218E2-C22B-4CC8-9AB6-343CA3DF934D}" dt="2023-06-19T01:36:48.064" v="11680" actId="790"/>
          <ac:spMkLst>
            <pc:docMk/>
            <pc:sldMk cId="2042292227" sldId="1021"/>
            <ac:spMk id="5" creationId="{C8059103-38FF-CCE4-8481-E95E54E86171}"/>
          </ac:spMkLst>
        </pc:spChg>
        <pc:spChg chg="mod">
          <ac:chgData name="Joao Cabral de Assis" userId="2e28f1b2-599c-43fa-9c22-5b7536e3b37b" providerId="ADAL" clId="{903218E2-C22B-4CC8-9AB6-343CA3DF934D}" dt="2023-06-19T01:36:48.070" v="11682" actId="790"/>
          <ac:spMkLst>
            <pc:docMk/>
            <pc:sldMk cId="2042292227" sldId="1021"/>
            <ac:spMk id="25" creationId="{136F2463-702B-4143-3DA4-DD596C02EB6B}"/>
          </ac:spMkLst>
        </pc:spChg>
      </pc:sldChg>
      <pc:sldChg chg="modSp mod modNotes">
        <pc:chgData name="Joao Cabral de Assis" userId="2e28f1b2-599c-43fa-9c22-5b7536e3b37b" providerId="ADAL" clId="{903218E2-C22B-4CC8-9AB6-343CA3DF934D}" dt="2023-06-19T01:36:48.569" v="11748" actId="790"/>
        <pc:sldMkLst>
          <pc:docMk/>
          <pc:sldMk cId="1385551307" sldId="1022"/>
        </pc:sldMkLst>
        <pc:spChg chg="mod">
          <ac:chgData name="Joao Cabral de Assis" userId="2e28f1b2-599c-43fa-9c22-5b7536e3b37b" providerId="ADAL" clId="{903218E2-C22B-4CC8-9AB6-343CA3DF934D}" dt="2023-06-19T01:36:48.110" v="11700" actId="790"/>
          <ac:spMkLst>
            <pc:docMk/>
            <pc:sldMk cId="1385551307" sldId="1022"/>
            <ac:spMk id="2" creationId="{621EE3CB-88A6-9846-0273-B29487B6AAC0}"/>
          </ac:spMkLst>
        </pc:spChg>
        <pc:spChg chg="mod">
          <ac:chgData name="Joao Cabral de Assis" userId="2e28f1b2-599c-43fa-9c22-5b7536e3b37b" providerId="ADAL" clId="{903218E2-C22B-4CC8-9AB6-343CA3DF934D}" dt="2023-06-19T01:36:48.554" v="11743" actId="790"/>
          <ac:spMkLst>
            <pc:docMk/>
            <pc:sldMk cId="1385551307" sldId="1022"/>
            <ac:spMk id="3" creationId="{99AEDFEA-B49B-5F9B-01C4-A273EA0EE5E6}"/>
          </ac:spMkLst>
        </pc:spChg>
        <pc:spChg chg="mod">
          <ac:chgData name="Joao Cabral de Assis" userId="2e28f1b2-599c-43fa-9c22-5b7536e3b37b" providerId="ADAL" clId="{903218E2-C22B-4CC8-9AB6-343CA3DF934D}" dt="2023-06-19T01:36:48.115" v="11702" actId="790"/>
          <ac:spMkLst>
            <pc:docMk/>
            <pc:sldMk cId="1385551307" sldId="1022"/>
            <ac:spMk id="4" creationId="{02B46B7E-F0D8-B93D-ABC1-E18A4C1A13DC}"/>
          </ac:spMkLst>
        </pc:spChg>
        <pc:spChg chg="mod">
          <ac:chgData name="Joao Cabral de Assis" userId="2e28f1b2-599c-43fa-9c22-5b7536e3b37b" providerId="ADAL" clId="{903218E2-C22B-4CC8-9AB6-343CA3DF934D}" dt="2023-06-19T01:36:48.113" v="11701" actId="790"/>
          <ac:spMkLst>
            <pc:docMk/>
            <pc:sldMk cId="1385551307" sldId="1022"/>
            <ac:spMk id="6" creationId="{B66EA8C9-77CE-B963-7AC6-F60B658910B8}"/>
          </ac:spMkLst>
        </pc:spChg>
        <pc:spChg chg="mod">
          <ac:chgData name="Joao Cabral de Assis" userId="2e28f1b2-599c-43fa-9c22-5b7536e3b37b" providerId="ADAL" clId="{903218E2-C22B-4CC8-9AB6-343CA3DF934D}" dt="2023-06-19T01:36:48.559" v="11744" actId="790"/>
          <ac:spMkLst>
            <pc:docMk/>
            <pc:sldMk cId="1385551307" sldId="1022"/>
            <ac:spMk id="9" creationId="{0FA72E84-3C7A-1044-36D2-14206EE5AA6B}"/>
          </ac:spMkLst>
        </pc:spChg>
        <pc:spChg chg="mod">
          <ac:chgData name="Joao Cabral de Assis" userId="2e28f1b2-599c-43fa-9c22-5b7536e3b37b" providerId="ADAL" clId="{903218E2-C22B-4CC8-9AB6-343CA3DF934D}" dt="2023-06-19T01:36:48.562" v="11745" actId="790"/>
          <ac:spMkLst>
            <pc:docMk/>
            <pc:sldMk cId="1385551307" sldId="1022"/>
            <ac:spMk id="11" creationId="{981C036E-BBBC-4496-5667-E3CF8CFB2494}"/>
          </ac:spMkLst>
        </pc:spChg>
        <pc:spChg chg="mod">
          <ac:chgData name="Joao Cabral de Assis" userId="2e28f1b2-599c-43fa-9c22-5b7536e3b37b" providerId="ADAL" clId="{903218E2-C22B-4CC8-9AB6-343CA3DF934D}" dt="2023-06-19T01:36:48.565" v="11746" actId="790"/>
          <ac:spMkLst>
            <pc:docMk/>
            <pc:sldMk cId="1385551307" sldId="1022"/>
            <ac:spMk id="12" creationId="{CA77389E-1239-B170-5A9D-77463EFDDD06}"/>
          </ac:spMkLst>
        </pc:spChg>
        <pc:graphicFrameChg chg="modGraphic">
          <ac:chgData name="Joao Cabral de Assis" userId="2e28f1b2-599c-43fa-9c22-5b7536e3b37b" providerId="ADAL" clId="{903218E2-C22B-4CC8-9AB6-343CA3DF934D}" dt="2023-06-19T01:36:48.543" v="11742" actId="790"/>
          <ac:graphicFrameMkLst>
            <pc:docMk/>
            <pc:sldMk cId="1385551307" sldId="1022"/>
            <ac:graphicFrameMk id="8" creationId="{33B970FF-C511-26BF-6941-1807426B6CF6}"/>
          </ac:graphicFrameMkLst>
        </pc:graphicFrameChg>
      </pc:sldChg>
      <pc:sldChg chg="modSp mod modNotes">
        <pc:chgData name="Joao Cabral de Assis" userId="2e28f1b2-599c-43fa-9c22-5b7536e3b37b" providerId="ADAL" clId="{903218E2-C22B-4CC8-9AB6-343CA3DF934D}" dt="2023-06-19T01:44:57.300" v="12392" actId="948"/>
        <pc:sldMkLst>
          <pc:docMk/>
          <pc:sldMk cId="267455280" sldId="1025"/>
        </pc:sldMkLst>
        <pc:spChg chg="mod">
          <ac:chgData name="Joao Cabral de Assis" userId="2e28f1b2-599c-43fa-9c22-5b7536e3b37b" providerId="ADAL" clId="{903218E2-C22B-4CC8-9AB6-343CA3DF934D}" dt="2023-06-19T01:36:48.048" v="11672" actId="790"/>
          <ac:spMkLst>
            <pc:docMk/>
            <pc:sldMk cId="267455280" sldId="1025"/>
            <ac:spMk id="2" creationId="{CEA1C8D5-197D-2530-11B4-A24D2D03AB19}"/>
          </ac:spMkLst>
        </pc:spChg>
        <pc:spChg chg="mod">
          <ac:chgData name="Joao Cabral de Assis" userId="2e28f1b2-599c-43fa-9c22-5b7536e3b37b" providerId="ADAL" clId="{903218E2-C22B-4CC8-9AB6-343CA3DF934D}" dt="2023-06-19T01:36:48.057" v="11675" actId="790"/>
          <ac:spMkLst>
            <pc:docMk/>
            <pc:sldMk cId="267455280" sldId="1025"/>
            <ac:spMk id="3" creationId="{2A958489-AFAC-F7AA-EEBE-B2141453F41B}"/>
          </ac:spMkLst>
        </pc:spChg>
        <pc:spChg chg="mod">
          <ac:chgData name="Joao Cabral de Assis" userId="2e28f1b2-599c-43fa-9c22-5b7536e3b37b" providerId="ADAL" clId="{903218E2-C22B-4CC8-9AB6-343CA3DF934D}" dt="2023-06-19T01:36:48.058" v="11676" actId="790"/>
          <ac:spMkLst>
            <pc:docMk/>
            <pc:sldMk cId="267455280" sldId="1025"/>
            <ac:spMk id="4" creationId="{45184498-4066-7809-9B9F-F61248941EF3}"/>
          </ac:spMkLst>
        </pc:spChg>
        <pc:spChg chg="mod">
          <ac:chgData name="Joao Cabral de Assis" userId="2e28f1b2-599c-43fa-9c22-5b7536e3b37b" providerId="ADAL" clId="{903218E2-C22B-4CC8-9AB6-343CA3DF934D}" dt="2023-06-19T01:36:48.051" v="11673" actId="790"/>
          <ac:spMkLst>
            <pc:docMk/>
            <pc:sldMk cId="267455280" sldId="1025"/>
            <ac:spMk id="5" creationId="{C8059103-38FF-CCE4-8481-E95E54E86171}"/>
          </ac:spMkLst>
        </pc:spChg>
        <pc:spChg chg="mod">
          <ac:chgData name="Joao Cabral de Assis" userId="2e28f1b2-599c-43fa-9c22-5b7536e3b37b" providerId="ADAL" clId="{903218E2-C22B-4CC8-9AB6-343CA3DF934D}" dt="2023-06-19T01:44:57.300" v="12392" actId="948"/>
          <ac:spMkLst>
            <pc:docMk/>
            <pc:sldMk cId="267455280" sldId="1025"/>
            <ac:spMk id="7" creationId="{13FB9EAC-B59B-2A47-0BBE-C3D767B0B0F4}"/>
          </ac:spMkLst>
        </pc:spChg>
      </pc:sldChg>
      <pc:sldChg chg="modSp mod modNotes">
        <pc:chgData name="Joao Cabral de Assis" userId="2e28f1b2-599c-43fa-9c22-5b7536e3b37b" providerId="ADAL" clId="{903218E2-C22B-4CC8-9AB6-343CA3DF934D}" dt="2023-06-19T01:36:48.108" v="11699" actId="790"/>
        <pc:sldMkLst>
          <pc:docMk/>
          <pc:sldMk cId="2604708759" sldId="1032"/>
        </pc:sldMkLst>
        <pc:spChg chg="mod">
          <ac:chgData name="Joao Cabral de Assis" userId="2e28f1b2-599c-43fa-9c22-5b7536e3b37b" providerId="ADAL" clId="{903218E2-C22B-4CC8-9AB6-343CA3DF934D}" dt="2023-06-19T01:36:48.092" v="11691" actId="790"/>
          <ac:spMkLst>
            <pc:docMk/>
            <pc:sldMk cId="2604708759" sldId="1032"/>
            <ac:spMk id="2" creationId="{621EE3CB-88A6-9846-0273-B29487B6AAC0}"/>
          </ac:spMkLst>
        </pc:spChg>
        <pc:spChg chg="mod">
          <ac:chgData name="Joao Cabral de Assis" userId="2e28f1b2-599c-43fa-9c22-5b7536e3b37b" providerId="ADAL" clId="{903218E2-C22B-4CC8-9AB6-343CA3DF934D}" dt="2023-06-19T01:36:48.094" v="11692" actId="790"/>
          <ac:spMkLst>
            <pc:docMk/>
            <pc:sldMk cId="2604708759" sldId="1032"/>
            <ac:spMk id="4" creationId="{02B46B7E-F0D8-B93D-ABC1-E18A4C1A13DC}"/>
          </ac:spMkLst>
        </pc:spChg>
        <pc:spChg chg="mod">
          <ac:chgData name="Joao Cabral de Assis" userId="2e28f1b2-599c-43fa-9c22-5b7536e3b37b" providerId="ADAL" clId="{903218E2-C22B-4CC8-9AB6-343CA3DF934D}" dt="2023-06-19T01:36:48.097" v="11693" actId="790"/>
          <ac:spMkLst>
            <pc:docMk/>
            <pc:sldMk cId="2604708759" sldId="1032"/>
            <ac:spMk id="10" creationId="{EB38B5B0-03B3-2E75-7393-DAAD8E48883A}"/>
          </ac:spMkLst>
        </pc:spChg>
        <pc:spChg chg="mod">
          <ac:chgData name="Joao Cabral de Assis" userId="2e28f1b2-599c-43fa-9c22-5b7536e3b37b" providerId="ADAL" clId="{903218E2-C22B-4CC8-9AB6-343CA3DF934D}" dt="2023-06-19T01:36:48.100" v="11694" actId="790"/>
          <ac:spMkLst>
            <pc:docMk/>
            <pc:sldMk cId="2604708759" sldId="1032"/>
            <ac:spMk id="12" creationId="{1E60397B-4215-6E29-BB85-95C2CE52699C}"/>
          </ac:spMkLst>
        </pc:spChg>
        <pc:spChg chg="mod">
          <ac:chgData name="Joao Cabral de Assis" userId="2e28f1b2-599c-43fa-9c22-5b7536e3b37b" providerId="ADAL" clId="{903218E2-C22B-4CC8-9AB6-343CA3DF934D}" dt="2023-06-19T01:36:48.102" v="11695" actId="790"/>
          <ac:spMkLst>
            <pc:docMk/>
            <pc:sldMk cId="2604708759" sldId="1032"/>
            <ac:spMk id="13" creationId="{22799E69-4C9E-9A3A-080E-5979E1256EE0}"/>
          </ac:spMkLst>
        </pc:spChg>
        <pc:spChg chg="mod">
          <ac:chgData name="Joao Cabral de Assis" userId="2e28f1b2-599c-43fa-9c22-5b7536e3b37b" providerId="ADAL" clId="{903218E2-C22B-4CC8-9AB6-343CA3DF934D}" dt="2023-06-19T01:36:48.104" v="11696" actId="790"/>
          <ac:spMkLst>
            <pc:docMk/>
            <pc:sldMk cId="2604708759" sldId="1032"/>
            <ac:spMk id="16" creationId="{E01CE77E-4695-46C6-55E2-6DF9B5746E1A}"/>
          </ac:spMkLst>
        </pc:spChg>
        <pc:spChg chg="mod">
          <ac:chgData name="Joao Cabral de Assis" userId="2e28f1b2-599c-43fa-9c22-5b7536e3b37b" providerId="ADAL" clId="{903218E2-C22B-4CC8-9AB6-343CA3DF934D}" dt="2023-06-19T01:36:48.105" v="11697" actId="790"/>
          <ac:spMkLst>
            <pc:docMk/>
            <pc:sldMk cId="2604708759" sldId="1032"/>
            <ac:spMk id="28" creationId="{36B5C356-7E39-D053-2A6A-B4CDA96E277E}"/>
          </ac:spMkLst>
        </pc:spChg>
      </pc:sldChg>
      <pc:sldChg chg="addSp delSp modSp mod modNotes">
        <pc:chgData name="Joao Cabral de Assis" userId="2e28f1b2-599c-43fa-9c22-5b7536e3b37b" providerId="ADAL" clId="{903218E2-C22B-4CC8-9AB6-343CA3DF934D}" dt="2023-06-19T01:36:45.756" v="11366" actId="790"/>
        <pc:sldMkLst>
          <pc:docMk/>
          <pc:sldMk cId="1557183527" sldId="1036"/>
        </pc:sldMkLst>
        <pc:spChg chg="mod">
          <ac:chgData name="Joao Cabral de Assis" userId="2e28f1b2-599c-43fa-9c22-5b7536e3b37b" providerId="ADAL" clId="{903218E2-C22B-4CC8-9AB6-343CA3DF934D}" dt="2023-06-19T01:36:45.740" v="11361" actId="790"/>
          <ac:spMkLst>
            <pc:docMk/>
            <pc:sldMk cId="1557183527" sldId="1036"/>
            <ac:spMk id="2" creationId="{621EE3CB-88A6-9846-0273-B29487B6AAC0}"/>
          </ac:spMkLst>
        </pc:spChg>
        <pc:spChg chg="mod">
          <ac:chgData name="Joao Cabral de Assis" userId="2e28f1b2-599c-43fa-9c22-5b7536e3b37b" providerId="ADAL" clId="{903218E2-C22B-4CC8-9AB6-343CA3DF934D}" dt="2023-06-19T01:36:45.751" v="11363" actId="790"/>
          <ac:spMkLst>
            <pc:docMk/>
            <pc:sldMk cId="1557183527" sldId="1036"/>
            <ac:spMk id="3" creationId="{7F974582-2F3B-F890-BAD4-5628C3E438D4}"/>
          </ac:spMkLst>
        </pc:spChg>
        <pc:spChg chg="mod">
          <ac:chgData name="Joao Cabral de Assis" userId="2e28f1b2-599c-43fa-9c22-5b7536e3b37b" providerId="ADAL" clId="{903218E2-C22B-4CC8-9AB6-343CA3DF934D}" dt="2023-06-19T01:36:45.752" v="11364" actId="790"/>
          <ac:spMkLst>
            <pc:docMk/>
            <pc:sldMk cId="1557183527" sldId="1036"/>
            <ac:spMk id="4" creationId="{95CD2049-754D-C856-2F19-A5527579559C}"/>
          </ac:spMkLst>
        </pc:spChg>
        <pc:spChg chg="add del mod modVis">
          <ac:chgData name="Joao Cabral de Assis" userId="2e28f1b2-599c-43fa-9c22-5b7536e3b37b" providerId="ADAL" clId="{903218E2-C22B-4CC8-9AB6-343CA3DF934D}" dt="2023-06-12T18:34:30.465" v="5896"/>
          <ac:spMkLst>
            <pc:docMk/>
            <pc:sldMk cId="1557183527" sldId="1036"/>
            <ac:spMk id="5" creationId="{7704593C-668F-2C9D-2F8A-997D11B9E740}"/>
          </ac:spMkLst>
        </pc:spChg>
        <pc:spChg chg="mod">
          <ac:chgData name="Joao Cabral de Assis" userId="2e28f1b2-599c-43fa-9c22-5b7536e3b37b" providerId="ADAL" clId="{903218E2-C22B-4CC8-9AB6-343CA3DF934D}" dt="2023-06-19T01:36:45.749" v="11362" actId="790"/>
          <ac:spMkLst>
            <pc:docMk/>
            <pc:sldMk cId="1557183527" sldId="1036"/>
            <ac:spMk id="6" creationId="{B66EA8C9-77CE-B963-7AC6-F60B658910B8}"/>
          </ac:spMkLst>
        </pc:spChg>
        <pc:spChg chg="add del mod modVis">
          <ac:chgData name="Joao Cabral de Assis" userId="2e28f1b2-599c-43fa-9c22-5b7536e3b37b" providerId="ADAL" clId="{903218E2-C22B-4CC8-9AB6-343CA3DF934D}" dt="2023-06-12T18:34:31.153" v="5924"/>
          <ac:spMkLst>
            <pc:docMk/>
            <pc:sldMk cId="1557183527" sldId="1036"/>
            <ac:spMk id="7" creationId="{10624976-CEC6-E53D-BD96-3A85C430DD1E}"/>
          </ac:spMkLst>
        </pc:spChg>
        <pc:graphicFrameChg chg="mod">
          <ac:chgData name="Joao Cabral de Assis" userId="2e28f1b2-599c-43fa-9c22-5b7536e3b37b" providerId="ADAL" clId="{903218E2-C22B-4CC8-9AB6-343CA3DF934D}" dt="2023-06-12T18:34:31.159" v="5926"/>
          <ac:graphicFrameMkLst>
            <pc:docMk/>
            <pc:sldMk cId="1557183527" sldId="1036"/>
            <ac:graphicFrameMk id="8" creationId="{E9856D97-86DC-6574-FCBF-08894338D315}"/>
          </ac:graphicFrameMkLst>
        </pc:graphicFrameChg>
      </pc:sldChg>
      <pc:sldChg chg="modSp mod modNotes">
        <pc:chgData name="Joao Cabral de Assis" userId="2e28f1b2-599c-43fa-9c22-5b7536e3b37b" providerId="ADAL" clId="{903218E2-C22B-4CC8-9AB6-343CA3DF934D}" dt="2023-06-19T01:36:46.603" v="11474" actId="790"/>
        <pc:sldMkLst>
          <pc:docMk/>
          <pc:sldMk cId="2423126655" sldId="1037"/>
        </pc:sldMkLst>
        <pc:spChg chg="mod">
          <ac:chgData name="Joao Cabral de Assis" userId="2e28f1b2-599c-43fa-9c22-5b7536e3b37b" providerId="ADAL" clId="{903218E2-C22B-4CC8-9AB6-343CA3DF934D}" dt="2023-06-19T01:36:46.581" v="11462" actId="790"/>
          <ac:spMkLst>
            <pc:docMk/>
            <pc:sldMk cId="2423126655" sldId="1037"/>
            <ac:spMk id="2" creationId="{CEA1C8D5-197D-2530-11B4-A24D2D03AB19}"/>
          </ac:spMkLst>
        </pc:spChg>
        <pc:spChg chg="mod">
          <ac:chgData name="Joao Cabral de Assis" userId="2e28f1b2-599c-43fa-9c22-5b7536e3b37b" providerId="ADAL" clId="{903218E2-C22B-4CC8-9AB6-343CA3DF934D}" dt="2023-06-19T01:36:46.601" v="11472" actId="790"/>
          <ac:spMkLst>
            <pc:docMk/>
            <pc:sldMk cId="2423126655" sldId="1037"/>
            <ac:spMk id="4" creationId="{E091EC48-1382-A3C8-4EB4-34198E192C47}"/>
          </ac:spMkLst>
        </pc:spChg>
        <pc:spChg chg="mod">
          <ac:chgData name="Joao Cabral de Assis" userId="2e28f1b2-599c-43fa-9c22-5b7536e3b37b" providerId="ADAL" clId="{903218E2-C22B-4CC8-9AB6-343CA3DF934D}" dt="2023-06-19T01:36:46.583" v="11463" actId="790"/>
          <ac:spMkLst>
            <pc:docMk/>
            <pc:sldMk cId="2423126655" sldId="1037"/>
            <ac:spMk id="5" creationId="{C8059103-38FF-CCE4-8481-E95E54E86171}"/>
          </ac:spMkLst>
        </pc:spChg>
        <pc:spChg chg="mod">
          <ac:chgData name="Joao Cabral de Assis" userId="2e28f1b2-599c-43fa-9c22-5b7536e3b37b" providerId="ADAL" clId="{903218E2-C22B-4CC8-9AB6-343CA3DF934D}" dt="2023-06-19T01:36:46.589" v="11466" actId="790"/>
          <ac:spMkLst>
            <pc:docMk/>
            <pc:sldMk cId="2423126655" sldId="1037"/>
            <ac:spMk id="7" creationId="{2DFBF5E0-5333-8D02-891F-5C56EB8D33C0}"/>
          </ac:spMkLst>
        </pc:spChg>
        <pc:spChg chg="mod">
          <ac:chgData name="Joao Cabral de Assis" userId="2e28f1b2-599c-43fa-9c22-5b7536e3b37b" providerId="ADAL" clId="{903218E2-C22B-4CC8-9AB6-343CA3DF934D}" dt="2023-06-19T01:36:46.593" v="11467" actId="790"/>
          <ac:spMkLst>
            <pc:docMk/>
            <pc:sldMk cId="2423126655" sldId="1037"/>
            <ac:spMk id="9" creationId="{92395DB6-D0ED-71FD-F762-03B35D238CB9}"/>
          </ac:spMkLst>
        </pc:spChg>
        <pc:spChg chg="mod">
          <ac:chgData name="Joao Cabral de Assis" userId="2e28f1b2-599c-43fa-9c22-5b7536e3b37b" providerId="ADAL" clId="{903218E2-C22B-4CC8-9AB6-343CA3DF934D}" dt="2023-06-19T01:36:46.594" v="11468" actId="790"/>
          <ac:spMkLst>
            <pc:docMk/>
            <pc:sldMk cId="2423126655" sldId="1037"/>
            <ac:spMk id="10" creationId="{C7BA339E-0387-CF07-96D1-D86B11F85BFB}"/>
          </ac:spMkLst>
        </pc:spChg>
        <pc:spChg chg="mod">
          <ac:chgData name="Joao Cabral de Assis" userId="2e28f1b2-599c-43fa-9c22-5b7536e3b37b" providerId="ADAL" clId="{903218E2-C22B-4CC8-9AB6-343CA3DF934D}" dt="2023-06-19T01:36:46.597" v="11469" actId="790"/>
          <ac:spMkLst>
            <pc:docMk/>
            <pc:sldMk cId="2423126655" sldId="1037"/>
            <ac:spMk id="13" creationId="{43204102-8490-238D-9B48-EBE6895B06AC}"/>
          </ac:spMkLst>
        </pc:spChg>
        <pc:spChg chg="mod">
          <ac:chgData name="Joao Cabral de Assis" userId="2e28f1b2-599c-43fa-9c22-5b7536e3b37b" providerId="ADAL" clId="{903218E2-C22B-4CC8-9AB6-343CA3DF934D}" dt="2023-06-19T01:36:46.585" v="11464" actId="790"/>
          <ac:spMkLst>
            <pc:docMk/>
            <pc:sldMk cId="2423126655" sldId="1037"/>
            <ac:spMk id="14" creationId="{4BA46663-1919-2CC7-1B71-BB22CD20254B}"/>
          </ac:spMkLst>
        </pc:spChg>
        <pc:spChg chg="mod">
          <ac:chgData name="Joao Cabral de Assis" userId="2e28f1b2-599c-43fa-9c22-5b7536e3b37b" providerId="ADAL" clId="{903218E2-C22B-4CC8-9AB6-343CA3DF934D}" dt="2023-06-19T01:36:46.587" v="11465" actId="790"/>
          <ac:spMkLst>
            <pc:docMk/>
            <pc:sldMk cId="2423126655" sldId="1037"/>
            <ac:spMk id="15" creationId="{944E9F5C-37B9-8920-CF57-85CFB14E520D}"/>
          </ac:spMkLst>
        </pc:spChg>
        <pc:spChg chg="mod">
          <ac:chgData name="Joao Cabral de Assis" userId="2e28f1b2-599c-43fa-9c22-5b7536e3b37b" providerId="ADAL" clId="{903218E2-C22B-4CC8-9AB6-343CA3DF934D}" dt="2023-06-19T01:36:46.597" v="11470" actId="790"/>
          <ac:spMkLst>
            <pc:docMk/>
            <pc:sldMk cId="2423126655" sldId="1037"/>
            <ac:spMk id="19" creationId="{B2E2287F-7978-E8B9-5633-0F68E73C515B}"/>
          </ac:spMkLst>
        </pc:spChg>
        <pc:spChg chg="mod">
          <ac:chgData name="Joao Cabral de Assis" userId="2e28f1b2-599c-43fa-9c22-5b7536e3b37b" providerId="ADAL" clId="{903218E2-C22B-4CC8-9AB6-343CA3DF934D}" dt="2023-06-19T01:36:46.599" v="11471" actId="790"/>
          <ac:spMkLst>
            <pc:docMk/>
            <pc:sldMk cId="2423126655" sldId="1037"/>
            <ac:spMk id="27" creationId="{47DB5787-137C-0891-3C1E-9D2EC34421CD}"/>
          </ac:spMkLst>
        </pc:spChg>
      </pc:sldChg>
      <pc:sldChg chg="addSp delSp modSp mod delCm modCm modNotes">
        <pc:chgData name="Joao Cabral de Assis" userId="2e28f1b2-599c-43fa-9c22-5b7536e3b37b" providerId="ADAL" clId="{903218E2-C22B-4CC8-9AB6-343CA3DF934D}" dt="2023-06-19T01:36:47.087" v="11555" actId="790"/>
        <pc:sldMkLst>
          <pc:docMk/>
          <pc:sldMk cId="1078412664" sldId="1039"/>
        </pc:sldMkLst>
        <pc:spChg chg="mod">
          <ac:chgData name="Joao Cabral de Assis" userId="2e28f1b2-599c-43fa-9c22-5b7536e3b37b" providerId="ADAL" clId="{903218E2-C22B-4CC8-9AB6-343CA3DF934D}" dt="2023-06-19T01:36:47.074" v="11549" actId="790"/>
          <ac:spMkLst>
            <pc:docMk/>
            <pc:sldMk cId="1078412664" sldId="1039"/>
            <ac:spMk id="2" creationId="{CEA1C8D5-197D-2530-11B4-A24D2D03AB19}"/>
          </ac:spMkLst>
        </pc:spChg>
        <pc:spChg chg="mod">
          <ac:chgData name="Joao Cabral de Assis" userId="2e28f1b2-599c-43fa-9c22-5b7536e3b37b" providerId="ADAL" clId="{903218E2-C22B-4CC8-9AB6-343CA3DF934D}" dt="2023-06-19T01:36:47.078" v="11551" actId="790"/>
          <ac:spMkLst>
            <pc:docMk/>
            <pc:sldMk cId="1078412664" sldId="1039"/>
            <ac:spMk id="3" creationId="{500715CF-13DF-04ED-2F85-EC4A998B1CE0}"/>
          </ac:spMkLst>
        </pc:spChg>
        <pc:spChg chg="mod">
          <ac:chgData name="Joao Cabral de Assis" userId="2e28f1b2-599c-43fa-9c22-5b7536e3b37b" providerId="ADAL" clId="{903218E2-C22B-4CC8-9AB6-343CA3DF934D}" dt="2023-06-19T01:36:47.084" v="11553" actId="790"/>
          <ac:spMkLst>
            <pc:docMk/>
            <pc:sldMk cId="1078412664" sldId="1039"/>
            <ac:spMk id="4" creationId="{75520366-0995-7539-2B39-286EB80D0772}"/>
          </ac:spMkLst>
        </pc:spChg>
        <pc:spChg chg="mod">
          <ac:chgData name="Joao Cabral de Assis" userId="2e28f1b2-599c-43fa-9c22-5b7536e3b37b" providerId="ADAL" clId="{903218E2-C22B-4CC8-9AB6-343CA3DF934D}" dt="2023-06-19T01:36:47.076" v="11550" actId="790"/>
          <ac:spMkLst>
            <pc:docMk/>
            <pc:sldMk cId="1078412664" sldId="1039"/>
            <ac:spMk id="5" creationId="{C8059103-38FF-CCE4-8481-E95E54E86171}"/>
          </ac:spMkLst>
        </pc:spChg>
        <pc:spChg chg="mod">
          <ac:chgData name="Joao Cabral de Assis" userId="2e28f1b2-599c-43fa-9c22-5b7536e3b37b" providerId="ADAL" clId="{903218E2-C22B-4CC8-9AB6-343CA3DF934D}" dt="2023-06-19T01:36:47.082" v="11552" actId="790"/>
          <ac:spMkLst>
            <pc:docMk/>
            <pc:sldMk cId="1078412664" sldId="1039"/>
            <ac:spMk id="7" creationId="{6D58E467-B506-5F27-F2C5-10E7C9853DC4}"/>
          </ac:spMkLst>
        </pc:spChg>
        <pc:spChg chg="add del mod modVis">
          <ac:chgData name="Joao Cabral de Assis" userId="2e28f1b2-599c-43fa-9c22-5b7536e3b37b" providerId="ADAL" clId="{903218E2-C22B-4CC8-9AB6-343CA3DF934D}" dt="2023-06-12T18:43:39.167" v="7300"/>
          <ac:spMkLst>
            <pc:docMk/>
            <pc:sldMk cId="1078412664" sldId="1039"/>
            <ac:spMk id="8" creationId="{4374D6D4-C707-C8F6-2FD9-141547718E2F}"/>
          </ac:spMkLst>
        </pc:spChg>
        <pc:spChg chg="add del mod modVis">
          <ac:chgData name="Joao Cabral de Assis" userId="2e28f1b2-599c-43fa-9c22-5b7536e3b37b" providerId="ADAL" clId="{903218E2-C22B-4CC8-9AB6-343CA3DF934D}" dt="2023-06-12T18:43:41.303" v="7344"/>
          <ac:spMkLst>
            <pc:docMk/>
            <pc:sldMk cId="1078412664" sldId="1039"/>
            <ac:spMk id="10" creationId="{A7CF2D97-7F50-68D0-A9BC-46E2FAF735C2}"/>
          </ac:spMkLst>
        </pc:spChg>
        <pc:spChg chg="add del mod modVis">
          <ac:chgData name="Joao Cabral de Assis" userId="2e28f1b2-599c-43fa-9c22-5b7536e3b37b" providerId="ADAL" clId="{903218E2-C22B-4CC8-9AB6-343CA3DF934D}" dt="2023-06-12T18:43:41.947" v="7388"/>
          <ac:spMkLst>
            <pc:docMk/>
            <pc:sldMk cId="1078412664" sldId="1039"/>
            <ac:spMk id="11" creationId="{4974DCB4-C6CB-2523-E391-09B9F0D86C12}"/>
          </ac:spMkLst>
        </pc:spChg>
        <pc:graphicFrameChg chg="mod">
          <ac:chgData name="Joao Cabral de Assis" userId="2e28f1b2-599c-43fa-9c22-5b7536e3b37b" providerId="ADAL" clId="{903218E2-C22B-4CC8-9AB6-343CA3DF934D}" dt="2023-06-12T18:43:41.952" v="7390"/>
          <ac:graphicFrameMkLst>
            <pc:docMk/>
            <pc:sldMk cId="1078412664" sldId="1039"/>
            <ac:graphicFrameMk id="9" creationId="{3834C236-4268-9094-B704-B6DB81BF07B3}"/>
          </ac:graphicFrameMkLst>
        </pc:graphicFrameChg>
      </pc:sldChg>
      <pc:sldChg chg="addSp delSp modSp mod modNotes">
        <pc:chgData name="Joao Cabral de Assis" userId="2e28f1b2-599c-43fa-9c22-5b7536e3b37b" providerId="ADAL" clId="{903218E2-C22B-4CC8-9AB6-343CA3DF934D}" dt="2023-06-19T01:36:46.565" v="11455" actId="790"/>
        <pc:sldMkLst>
          <pc:docMk/>
          <pc:sldMk cId="3552555709" sldId="1040"/>
        </pc:sldMkLst>
        <pc:spChg chg="mod">
          <ac:chgData name="Joao Cabral de Assis" userId="2e28f1b2-599c-43fa-9c22-5b7536e3b37b" providerId="ADAL" clId="{903218E2-C22B-4CC8-9AB6-343CA3DF934D}" dt="2023-06-19T01:36:46.552" v="11450" actId="790"/>
          <ac:spMkLst>
            <pc:docMk/>
            <pc:sldMk cId="3552555709" sldId="1040"/>
            <ac:spMk id="2" creationId="{CEA1C8D5-197D-2530-11B4-A24D2D03AB19}"/>
          </ac:spMkLst>
        </pc:spChg>
        <pc:spChg chg="mod">
          <ac:chgData name="Joao Cabral de Assis" userId="2e28f1b2-599c-43fa-9c22-5b7536e3b37b" providerId="ADAL" clId="{903218E2-C22B-4CC8-9AB6-343CA3DF934D}" dt="2023-06-19T01:36:46.556" v="11451" actId="790"/>
          <ac:spMkLst>
            <pc:docMk/>
            <pc:sldMk cId="3552555709" sldId="1040"/>
            <ac:spMk id="3" creationId="{87F4C6B9-E05D-545C-5A46-83C73BCF275F}"/>
          </ac:spMkLst>
        </pc:spChg>
        <pc:spChg chg="mod">
          <ac:chgData name="Joao Cabral de Assis" userId="2e28f1b2-599c-43fa-9c22-5b7536e3b37b" providerId="ADAL" clId="{903218E2-C22B-4CC8-9AB6-343CA3DF934D}" dt="2023-06-19T01:36:46.561" v="11453" actId="790"/>
          <ac:spMkLst>
            <pc:docMk/>
            <pc:sldMk cId="3552555709" sldId="1040"/>
            <ac:spMk id="4" creationId="{E0DC1310-921C-3D1B-C6D4-F902165AA9F4}"/>
          </ac:spMkLst>
        </pc:spChg>
        <pc:spChg chg="mod">
          <ac:chgData name="Joao Cabral de Assis" userId="2e28f1b2-599c-43fa-9c22-5b7536e3b37b" providerId="ADAL" clId="{903218E2-C22B-4CC8-9AB6-343CA3DF934D}" dt="2023-06-19T01:36:46.558" v="11452" actId="790"/>
          <ac:spMkLst>
            <pc:docMk/>
            <pc:sldMk cId="3552555709" sldId="1040"/>
            <ac:spMk id="5" creationId="{C8059103-38FF-CCE4-8481-E95E54E86171}"/>
          </ac:spMkLst>
        </pc:spChg>
        <pc:spChg chg="add del mod modVis">
          <ac:chgData name="Joao Cabral de Assis" userId="2e28f1b2-599c-43fa-9c22-5b7536e3b37b" providerId="ADAL" clId="{903218E2-C22B-4CC8-9AB6-343CA3DF934D}" dt="2023-06-12T17:56:25.411" v="5664"/>
          <ac:spMkLst>
            <pc:docMk/>
            <pc:sldMk cId="3552555709" sldId="1040"/>
            <ac:spMk id="6" creationId="{437C9AA5-BCAE-7774-20E6-F943010BFD34}"/>
          </ac:spMkLst>
        </pc:spChg>
        <pc:spChg chg="add del mod modVis">
          <ac:chgData name="Joao Cabral de Assis" userId="2e28f1b2-599c-43fa-9c22-5b7536e3b37b" providerId="ADAL" clId="{903218E2-C22B-4CC8-9AB6-343CA3DF934D}" dt="2023-06-12T17:56:26.196" v="5692"/>
          <ac:spMkLst>
            <pc:docMk/>
            <pc:sldMk cId="3552555709" sldId="1040"/>
            <ac:spMk id="8" creationId="{185DAC2F-44A6-9710-0F4A-A5A520005B22}"/>
          </ac:spMkLst>
        </pc:spChg>
        <pc:graphicFrameChg chg="mod">
          <ac:chgData name="Joao Cabral de Assis" userId="2e28f1b2-599c-43fa-9c22-5b7536e3b37b" providerId="ADAL" clId="{903218E2-C22B-4CC8-9AB6-343CA3DF934D}" dt="2023-06-12T17:56:26.199" v="5694"/>
          <ac:graphicFrameMkLst>
            <pc:docMk/>
            <pc:sldMk cId="3552555709" sldId="1040"/>
            <ac:graphicFrameMk id="7" creationId="{71BB95C8-CCD6-ED22-E356-6C53B852F9A4}"/>
          </ac:graphicFrameMkLst>
        </pc:graphicFrameChg>
      </pc:sldChg>
      <pc:sldChg chg="addSp delSp modSp mod delCm modNotes">
        <pc:chgData name="Joao Cabral de Assis" userId="2e28f1b2-599c-43fa-9c22-5b7536e3b37b" providerId="ADAL" clId="{903218E2-C22B-4CC8-9AB6-343CA3DF934D}" dt="2023-06-19T01:36:47.542" v="11613" actId="790"/>
        <pc:sldMkLst>
          <pc:docMk/>
          <pc:sldMk cId="947605920" sldId="1041"/>
        </pc:sldMkLst>
        <pc:spChg chg="mod">
          <ac:chgData name="Joao Cabral de Assis" userId="2e28f1b2-599c-43fa-9c22-5b7536e3b37b" providerId="ADAL" clId="{903218E2-C22B-4CC8-9AB6-343CA3DF934D}" dt="2023-06-19T01:36:47.528" v="11608" actId="790"/>
          <ac:spMkLst>
            <pc:docMk/>
            <pc:sldMk cId="947605920" sldId="1041"/>
            <ac:spMk id="2" creationId="{CEA1C8D5-197D-2530-11B4-A24D2D03AB19}"/>
          </ac:spMkLst>
        </pc:spChg>
        <pc:spChg chg="mod">
          <ac:chgData name="Joao Cabral de Assis" userId="2e28f1b2-599c-43fa-9c22-5b7536e3b37b" providerId="ADAL" clId="{903218E2-C22B-4CC8-9AB6-343CA3DF934D}" dt="2023-06-19T01:36:47.537" v="11611" actId="790"/>
          <ac:spMkLst>
            <pc:docMk/>
            <pc:sldMk cId="947605920" sldId="1041"/>
            <ac:spMk id="3" creationId="{FEB09AE4-5A6F-25EB-763A-8E66728AEC40}"/>
          </ac:spMkLst>
        </pc:spChg>
        <pc:spChg chg="add del mod modVis">
          <ac:chgData name="Joao Cabral de Assis" userId="2e28f1b2-599c-43fa-9c22-5b7536e3b37b" providerId="ADAL" clId="{903218E2-C22B-4CC8-9AB6-343CA3DF934D}" dt="2023-06-12T18:44:16.340" v="7420"/>
          <ac:spMkLst>
            <pc:docMk/>
            <pc:sldMk cId="947605920" sldId="1041"/>
            <ac:spMk id="4" creationId="{E54652D4-D303-18D5-C762-22CE37C0F53D}"/>
          </ac:spMkLst>
        </pc:spChg>
        <pc:spChg chg="mod">
          <ac:chgData name="Joao Cabral de Assis" userId="2e28f1b2-599c-43fa-9c22-5b7536e3b37b" providerId="ADAL" clId="{903218E2-C22B-4CC8-9AB6-343CA3DF934D}" dt="2023-06-19T01:36:47.531" v="11609" actId="790"/>
          <ac:spMkLst>
            <pc:docMk/>
            <pc:sldMk cId="947605920" sldId="1041"/>
            <ac:spMk id="5" creationId="{C8059103-38FF-CCE4-8481-E95E54E86171}"/>
          </ac:spMkLst>
        </pc:spChg>
        <pc:spChg chg="add del mod modVis">
          <ac:chgData name="Joao Cabral de Assis" userId="2e28f1b2-599c-43fa-9c22-5b7536e3b37b" providerId="ADAL" clId="{903218E2-C22B-4CC8-9AB6-343CA3DF934D}" dt="2023-06-12T18:44:18.951" v="7449"/>
          <ac:spMkLst>
            <pc:docMk/>
            <pc:sldMk cId="947605920" sldId="1041"/>
            <ac:spMk id="8" creationId="{58B8AF37-3D70-92D8-72B0-F40A2CEDD1CF}"/>
          </ac:spMkLst>
        </pc:spChg>
        <pc:spChg chg="add del mod modVis">
          <ac:chgData name="Joao Cabral de Assis" userId="2e28f1b2-599c-43fa-9c22-5b7536e3b37b" providerId="ADAL" clId="{903218E2-C22B-4CC8-9AB6-343CA3DF934D}" dt="2023-06-12T18:44:23.797" v="7478"/>
          <ac:spMkLst>
            <pc:docMk/>
            <pc:sldMk cId="947605920" sldId="1041"/>
            <ac:spMk id="9" creationId="{21D98538-C27F-D579-BF3A-C0AA699B2692}"/>
          </ac:spMkLst>
        </pc:spChg>
        <pc:spChg chg="mod">
          <ac:chgData name="Joao Cabral de Assis" userId="2e28f1b2-599c-43fa-9c22-5b7536e3b37b" providerId="ADAL" clId="{903218E2-C22B-4CC8-9AB6-343CA3DF934D}" dt="2023-06-19T01:36:47.536" v="11610" actId="790"/>
          <ac:spMkLst>
            <pc:docMk/>
            <pc:sldMk cId="947605920" sldId="1041"/>
            <ac:spMk id="11" creationId="{CB96F30B-83D1-BDF1-8FA8-BA7ACFC70858}"/>
          </ac:spMkLst>
        </pc:spChg>
        <pc:graphicFrameChg chg="mod">
          <ac:chgData name="Joao Cabral de Assis" userId="2e28f1b2-599c-43fa-9c22-5b7536e3b37b" providerId="ADAL" clId="{903218E2-C22B-4CC8-9AB6-343CA3DF934D}" dt="2023-06-12T19:07:21.543" v="8196" actId="14100"/>
          <ac:graphicFrameMkLst>
            <pc:docMk/>
            <pc:sldMk cId="947605920" sldId="1041"/>
            <ac:graphicFrameMk id="6" creationId="{FA09122B-4564-430C-A247-4B2576229BA0}"/>
          </ac:graphicFrameMkLst>
        </pc:graphicFrameChg>
        <pc:graphicFrameChg chg="mod">
          <ac:chgData name="Joao Cabral de Assis" userId="2e28f1b2-599c-43fa-9c22-5b7536e3b37b" providerId="ADAL" clId="{903218E2-C22B-4CC8-9AB6-343CA3DF934D}" dt="2023-06-12T18:44:23.800" v="7480"/>
          <ac:graphicFrameMkLst>
            <pc:docMk/>
            <pc:sldMk cId="947605920" sldId="1041"/>
            <ac:graphicFrameMk id="7" creationId="{569ADF31-8439-88B2-9266-641209702D02}"/>
          </ac:graphicFrameMkLst>
        </pc:graphicFrameChg>
      </pc:sldChg>
      <pc:sldChg chg="modSp mod modNotes">
        <pc:chgData name="Joao Cabral de Assis" userId="2e28f1b2-599c-43fa-9c22-5b7536e3b37b" providerId="ADAL" clId="{903218E2-C22B-4CC8-9AB6-343CA3DF934D}" dt="2023-06-19T01:36:44.004" v="10906" actId="790"/>
        <pc:sldMkLst>
          <pc:docMk/>
          <pc:sldMk cId="191188020" sldId="11406"/>
        </pc:sldMkLst>
        <pc:spChg chg="mod">
          <ac:chgData name="Joao Cabral de Assis" userId="2e28f1b2-599c-43fa-9c22-5b7536e3b37b" providerId="ADAL" clId="{903218E2-C22B-4CC8-9AB6-343CA3DF934D}" dt="2023-06-19T01:36:43.991" v="10900" actId="790"/>
          <ac:spMkLst>
            <pc:docMk/>
            <pc:sldMk cId="191188020" sldId="11406"/>
            <ac:spMk id="2" creationId="{5E97E8AD-A0C6-44FA-B538-101F145BE96C}"/>
          </ac:spMkLst>
        </pc:spChg>
        <pc:spChg chg="mod">
          <ac:chgData name="Joao Cabral de Assis" userId="2e28f1b2-599c-43fa-9c22-5b7536e3b37b" providerId="ADAL" clId="{903218E2-C22B-4CC8-9AB6-343CA3DF934D}" dt="2023-06-19T01:36:43.996" v="10901" actId="790"/>
          <ac:spMkLst>
            <pc:docMk/>
            <pc:sldMk cId="191188020" sldId="11406"/>
            <ac:spMk id="3" creationId="{6AD0BBD9-9F7E-4F72-BBA2-7BF817BE98B7}"/>
          </ac:spMkLst>
        </pc:spChg>
        <pc:spChg chg="mod">
          <ac:chgData name="Joao Cabral de Assis" userId="2e28f1b2-599c-43fa-9c22-5b7536e3b37b" providerId="ADAL" clId="{903218E2-C22B-4CC8-9AB6-343CA3DF934D}" dt="2023-06-19T01:36:43.999" v="10903" actId="790"/>
          <ac:spMkLst>
            <pc:docMk/>
            <pc:sldMk cId="191188020" sldId="11406"/>
            <ac:spMk id="7" creationId="{703FD43B-1648-F1FC-2B9E-C35BA2BE7554}"/>
          </ac:spMkLst>
        </pc:spChg>
        <pc:spChg chg="mod">
          <ac:chgData name="Joao Cabral de Assis" userId="2e28f1b2-599c-43fa-9c22-5b7536e3b37b" providerId="ADAL" clId="{903218E2-C22B-4CC8-9AB6-343CA3DF934D}" dt="2023-06-19T01:36:43.998" v="10902" actId="790"/>
          <ac:spMkLst>
            <pc:docMk/>
            <pc:sldMk cId="191188020" sldId="11406"/>
            <ac:spMk id="15" creationId="{A9CAAE7F-2B90-1E8F-3277-6C23A0BE764D}"/>
          </ac:spMkLst>
        </pc:spChg>
      </pc:sldChg>
      <pc:sldChg chg="modSp mod modNotes">
        <pc:chgData name="Joao Cabral de Assis" userId="2e28f1b2-599c-43fa-9c22-5b7536e3b37b" providerId="ADAL" clId="{903218E2-C22B-4CC8-9AB6-343CA3DF934D}" dt="2023-06-19T01:36:44.374" v="10987" actId="790"/>
        <pc:sldMkLst>
          <pc:docMk/>
          <pc:sldMk cId="1385426393" sldId="11428"/>
        </pc:sldMkLst>
        <pc:spChg chg="mod">
          <ac:chgData name="Joao Cabral de Assis" userId="2e28f1b2-599c-43fa-9c22-5b7536e3b37b" providerId="ADAL" clId="{903218E2-C22B-4CC8-9AB6-343CA3DF934D}" dt="2023-06-19T01:36:44.348" v="10979" actId="790"/>
          <ac:spMkLst>
            <pc:docMk/>
            <pc:sldMk cId="1385426393" sldId="11428"/>
            <ac:spMk id="2" creationId="{575DA83C-4377-0D95-13E8-471805376240}"/>
          </ac:spMkLst>
        </pc:spChg>
        <pc:spChg chg="mod">
          <ac:chgData name="Joao Cabral de Assis" userId="2e28f1b2-599c-43fa-9c22-5b7536e3b37b" providerId="ADAL" clId="{903218E2-C22B-4CC8-9AB6-343CA3DF934D}" dt="2023-06-19T01:36:44.356" v="10980" actId="790"/>
          <ac:spMkLst>
            <pc:docMk/>
            <pc:sldMk cId="1385426393" sldId="11428"/>
            <ac:spMk id="3" creationId="{92763E5B-8403-7AA4-6667-14A3E3BB58E2}"/>
          </ac:spMkLst>
        </pc:spChg>
        <pc:spChg chg="mod">
          <ac:chgData name="Joao Cabral de Assis" userId="2e28f1b2-599c-43fa-9c22-5b7536e3b37b" providerId="ADAL" clId="{903218E2-C22B-4CC8-9AB6-343CA3DF934D}" dt="2023-06-19T01:36:44.361" v="10982" actId="790"/>
          <ac:spMkLst>
            <pc:docMk/>
            <pc:sldMk cId="1385426393" sldId="11428"/>
            <ac:spMk id="8" creationId="{DD0E43C1-B3E0-826D-55FB-2CAA75071B8C}"/>
          </ac:spMkLst>
        </pc:spChg>
        <pc:spChg chg="mod">
          <ac:chgData name="Joao Cabral de Assis" userId="2e28f1b2-599c-43fa-9c22-5b7536e3b37b" providerId="ADAL" clId="{903218E2-C22B-4CC8-9AB6-343CA3DF934D}" dt="2023-06-19T01:36:44.364" v="10983"/>
          <ac:spMkLst>
            <pc:docMk/>
            <pc:sldMk cId="1385426393" sldId="11428"/>
            <ac:spMk id="11" creationId="{E8B09ABD-D876-84AD-3F26-583300335AE8}"/>
          </ac:spMkLst>
        </pc:spChg>
        <pc:spChg chg="mod">
          <ac:chgData name="Joao Cabral de Assis" userId="2e28f1b2-599c-43fa-9c22-5b7536e3b37b" providerId="ADAL" clId="{903218E2-C22B-4CC8-9AB6-343CA3DF934D}" dt="2023-06-19T01:36:44.366" v="10984" actId="790"/>
          <ac:spMkLst>
            <pc:docMk/>
            <pc:sldMk cId="1385426393" sldId="11428"/>
            <ac:spMk id="12" creationId="{CF53EA03-FFFC-4503-99FA-170299DB4D6F}"/>
          </ac:spMkLst>
        </pc:spChg>
        <pc:spChg chg="mod">
          <ac:chgData name="Joao Cabral de Assis" userId="2e28f1b2-599c-43fa-9c22-5b7536e3b37b" providerId="ADAL" clId="{903218E2-C22B-4CC8-9AB6-343CA3DF934D}" dt="2023-06-19T01:36:44.369" v="10985" actId="790"/>
          <ac:spMkLst>
            <pc:docMk/>
            <pc:sldMk cId="1385426393" sldId="11428"/>
            <ac:spMk id="13" creationId="{6EE1BCB3-A709-7AE6-8D44-96AB05796A58}"/>
          </ac:spMkLst>
        </pc:spChg>
        <pc:spChg chg="mod">
          <ac:chgData name="Joao Cabral de Assis" userId="2e28f1b2-599c-43fa-9c22-5b7536e3b37b" providerId="ADAL" clId="{903218E2-C22B-4CC8-9AB6-343CA3DF934D}" dt="2023-06-19T01:36:44.359" v="10981" actId="790"/>
          <ac:spMkLst>
            <pc:docMk/>
            <pc:sldMk cId="1385426393" sldId="11428"/>
            <ac:spMk id="14" creationId="{7D4E46E7-840C-1B33-DD44-2EAFE51B73E3}"/>
          </ac:spMkLst>
        </pc:spChg>
      </pc:sldChg>
      <pc:sldChg chg="modSp mod modNotes">
        <pc:chgData name="Joao Cabral de Assis" userId="2e28f1b2-599c-43fa-9c22-5b7536e3b37b" providerId="ADAL" clId="{903218E2-C22B-4CC8-9AB6-343CA3DF934D}" dt="2023-06-19T01:36:49.870" v="12053" actId="790"/>
        <pc:sldMkLst>
          <pc:docMk/>
          <pc:sldMk cId="1069995213" sldId="11444"/>
        </pc:sldMkLst>
        <pc:spChg chg="mod">
          <ac:chgData name="Joao Cabral de Assis" userId="2e28f1b2-599c-43fa-9c22-5b7536e3b37b" providerId="ADAL" clId="{903218E2-C22B-4CC8-9AB6-343CA3DF934D}" dt="2023-06-19T01:36:49.858" v="12048" actId="790"/>
          <ac:spMkLst>
            <pc:docMk/>
            <pc:sldMk cId="1069995213" sldId="11444"/>
            <ac:spMk id="2" creationId="{73B57712-2228-64C9-33B0-2AE68A2A3A8C}"/>
          </ac:spMkLst>
        </pc:spChg>
        <pc:spChg chg="mod">
          <ac:chgData name="Joao Cabral de Assis" userId="2e28f1b2-599c-43fa-9c22-5b7536e3b37b" providerId="ADAL" clId="{903218E2-C22B-4CC8-9AB6-343CA3DF934D}" dt="2023-06-19T01:36:49.860" v="12049" actId="790"/>
          <ac:spMkLst>
            <pc:docMk/>
            <pc:sldMk cId="1069995213" sldId="11444"/>
            <ac:spMk id="6" creationId="{A41B808A-C4B5-3B12-02AB-993F04F5BAD7}"/>
          </ac:spMkLst>
        </pc:spChg>
        <pc:spChg chg="mod">
          <ac:chgData name="Joao Cabral de Assis" userId="2e28f1b2-599c-43fa-9c22-5b7536e3b37b" providerId="ADAL" clId="{903218E2-C22B-4CC8-9AB6-343CA3DF934D}" dt="2023-06-19T01:36:49.863" v="12050" actId="790"/>
          <ac:spMkLst>
            <pc:docMk/>
            <pc:sldMk cId="1069995213" sldId="11444"/>
            <ac:spMk id="8" creationId="{78C4415B-28A0-15E9-01B1-BC7BDA588F24}"/>
          </ac:spMkLst>
        </pc:spChg>
        <pc:spChg chg="mod">
          <ac:chgData name="Joao Cabral de Assis" userId="2e28f1b2-599c-43fa-9c22-5b7536e3b37b" providerId="ADAL" clId="{903218E2-C22B-4CC8-9AB6-343CA3DF934D}" dt="2023-06-19T01:36:49.866" v="12051" actId="790"/>
          <ac:spMkLst>
            <pc:docMk/>
            <pc:sldMk cId="1069995213" sldId="11444"/>
            <ac:spMk id="10" creationId="{6C46FC2B-710A-A9D4-B921-708571C5AF28}"/>
          </ac:spMkLst>
        </pc:spChg>
      </pc:sldChg>
      <pc:sldChg chg="modSp mod modNotes">
        <pc:chgData name="Joao Cabral de Assis" userId="2e28f1b2-599c-43fa-9c22-5b7536e3b37b" providerId="ADAL" clId="{903218E2-C22B-4CC8-9AB6-343CA3DF934D}" dt="2023-06-19T01:36:43.708" v="10845" actId="790"/>
        <pc:sldMkLst>
          <pc:docMk/>
          <pc:sldMk cId="3213695760" sldId="11453"/>
        </pc:sldMkLst>
        <pc:spChg chg="mod">
          <ac:chgData name="Joao Cabral de Assis" userId="2e28f1b2-599c-43fa-9c22-5b7536e3b37b" providerId="ADAL" clId="{903218E2-C22B-4CC8-9AB6-343CA3DF934D}" dt="2023-06-19T01:36:43.693" v="10840" actId="790"/>
          <ac:spMkLst>
            <pc:docMk/>
            <pc:sldMk cId="3213695760" sldId="11453"/>
            <ac:spMk id="2" creationId="{00000000-0000-0000-0000-000000000000}"/>
          </ac:spMkLst>
        </pc:spChg>
        <pc:spChg chg="mod">
          <ac:chgData name="Joao Cabral de Assis" userId="2e28f1b2-599c-43fa-9c22-5b7536e3b37b" providerId="ADAL" clId="{903218E2-C22B-4CC8-9AB6-343CA3DF934D}" dt="2023-06-19T01:36:43.702" v="10843" actId="790"/>
          <ac:spMkLst>
            <pc:docMk/>
            <pc:sldMk cId="3213695760" sldId="11453"/>
            <ac:spMk id="4" creationId="{4E4B89B7-E352-4D97-D729-63AC16BF8B70}"/>
          </ac:spMkLst>
        </pc:spChg>
        <pc:spChg chg="mod">
          <ac:chgData name="Joao Cabral de Assis" userId="2e28f1b2-599c-43fa-9c22-5b7536e3b37b" providerId="ADAL" clId="{903218E2-C22B-4CC8-9AB6-343CA3DF934D}" dt="2023-06-19T01:36:43.698" v="10841" actId="790"/>
          <ac:spMkLst>
            <pc:docMk/>
            <pc:sldMk cId="3213695760" sldId="11453"/>
            <ac:spMk id="8" creationId="{E6F9CC54-7EE2-44C4-8F3F-CE71047396C0}"/>
          </ac:spMkLst>
        </pc:spChg>
        <pc:spChg chg="mod">
          <ac:chgData name="Joao Cabral de Assis" userId="2e28f1b2-599c-43fa-9c22-5b7536e3b37b" providerId="ADAL" clId="{903218E2-C22B-4CC8-9AB6-343CA3DF934D}" dt="2023-06-19T01:36:43.700" v="10842" actId="790"/>
          <ac:spMkLst>
            <pc:docMk/>
            <pc:sldMk cId="3213695760" sldId="11453"/>
            <ac:spMk id="10" creationId="{C9EF0AB2-5683-43B7-B92E-9A505EA6B63C}"/>
          </ac:spMkLst>
        </pc:spChg>
      </pc:sldChg>
      <pc:sldChg chg="addSp delSp modSp mod modNotes">
        <pc:chgData name="Joao Cabral de Assis" userId="2e28f1b2-599c-43fa-9c22-5b7536e3b37b" providerId="ADAL" clId="{903218E2-C22B-4CC8-9AB6-343CA3DF934D}" dt="2023-06-19T01:36:44.671" v="11106" actId="790"/>
        <pc:sldMkLst>
          <pc:docMk/>
          <pc:sldMk cId="751879363" sldId="11454"/>
        </pc:sldMkLst>
        <pc:spChg chg="mod">
          <ac:chgData name="Joao Cabral de Assis" userId="2e28f1b2-599c-43fa-9c22-5b7536e3b37b" providerId="ADAL" clId="{903218E2-C22B-4CC8-9AB6-343CA3DF934D}" dt="2023-06-19T01:36:44.639" v="11092" actId="790"/>
          <ac:spMkLst>
            <pc:docMk/>
            <pc:sldMk cId="751879363" sldId="11454"/>
            <ac:spMk id="2" creationId="{52459F05-EBFC-54C8-6DBB-D87A845A36F4}"/>
          </ac:spMkLst>
        </pc:spChg>
        <pc:spChg chg="add del mod modVis">
          <ac:chgData name="Joao Cabral de Assis" userId="2e28f1b2-599c-43fa-9c22-5b7536e3b37b" providerId="ADAL" clId="{903218E2-C22B-4CC8-9AB6-343CA3DF934D}" dt="2023-06-12T15:35:45.210" v="2375"/>
          <ac:spMkLst>
            <pc:docMk/>
            <pc:sldMk cId="751879363" sldId="11454"/>
            <ac:spMk id="3" creationId="{44FB27CD-6DAF-9E28-B37D-B521FA811326}"/>
          </ac:spMkLst>
        </pc:spChg>
        <pc:spChg chg="add del mod modVis">
          <ac:chgData name="Joao Cabral de Assis" userId="2e28f1b2-599c-43fa-9c22-5b7536e3b37b" providerId="ADAL" clId="{903218E2-C22B-4CC8-9AB6-343CA3DF934D}" dt="2023-06-12T15:35:45.772" v="2403"/>
          <ac:spMkLst>
            <pc:docMk/>
            <pc:sldMk cId="751879363" sldId="11454"/>
            <ac:spMk id="5" creationId="{603492D5-E448-8083-3EFD-C52E37B7E99D}"/>
          </ac:spMkLst>
        </pc:spChg>
        <pc:spChg chg="mod">
          <ac:chgData name="Joao Cabral de Assis" userId="2e28f1b2-599c-43fa-9c22-5b7536e3b37b" providerId="ADAL" clId="{903218E2-C22B-4CC8-9AB6-343CA3DF934D}" dt="2023-06-19T01:36:44.650" v="11093" actId="790"/>
          <ac:spMkLst>
            <pc:docMk/>
            <pc:sldMk cId="751879363" sldId="11454"/>
            <ac:spMk id="6" creationId="{676D0413-F512-AB73-3470-C6AD3ED7F84A}"/>
          </ac:spMkLst>
        </pc:spChg>
        <pc:spChg chg="mod">
          <ac:chgData name="Joao Cabral de Assis" userId="2e28f1b2-599c-43fa-9c22-5b7536e3b37b" providerId="ADAL" clId="{903218E2-C22B-4CC8-9AB6-343CA3DF934D}" dt="2023-06-19T01:36:44.651" v="11094" actId="790"/>
          <ac:spMkLst>
            <pc:docMk/>
            <pc:sldMk cId="751879363" sldId="11454"/>
            <ac:spMk id="7" creationId="{55328C49-3365-E36D-25A9-8FD1D8B85B6A}"/>
          </ac:spMkLst>
        </pc:spChg>
        <pc:spChg chg="mod">
          <ac:chgData name="Joao Cabral de Assis" userId="2e28f1b2-599c-43fa-9c22-5b7536e3b37b" providerId="ADAL" clId="{903218E2-C22B-4CC8-9AB6-343CA3DF934D}" dt="2023-06-19T01:36:44.653" v="11095" actId="790"/>
          <ac:spMkLst>
            <pc:docMk/>
            <pc:sldMk cId="751879363" sldId="11454"/>
            <ac:spMk id="8" creationId="{6437EDD8-973A-EA8F-E8B2-C4FDD3AB6906}"/>
          </ac:spMkLst>
        </pc:spChg>
        <pc:spChg chg="mod">
          <ac:chgData name="Joao Cabral de Assis" userId="2e28f1b2-599c-43fa-9c22-5b7536e3b37b" providerId="ADAL" clId="{903218E2-C22B-4CC8-9AB6-343CA3DF934D}" dt="2023-06-19T01:36:44.655" v="11096"/>
          <ac:spMkLst>
            <pc:docMk/>
            <pc:sldMk cId="751879363" sldId="11454"/>
            <ac:spMk id="10" creationId="{D60B5853-5BDD-884B-E8D2-89F48E7BF8A9}"/>
          </ac:spMkLst>
        </pc:spChg>
        <pc:spChg chg="mod">
          <ac:chgData name="Joao Cabral de Assis" userId="2e28f1b2-599c-43fa-9c22-5b7536e3b37b" providerId="ADAL" clId="{903218E2-C22B-4CC8-9AB6-343CA3DF934D}" dt="2023-06-19T01:36:44.656" v="11097"/>
          <ac:spMkLst>
            <pc:docMk/>
            <pc:sldMk cId="751879363" sldId="11454"/>
            <ac:spMk id="13" creationId="{0965FBF6-13AD-5D0F-DC48-F38F979393D1}"/>
          </ac:spMkLst>
        </pc:spChg>
        <pc:spChg chg="mod">
          <ac:chgData name="Joao Cabral de Assis" userId="2e28f1b2-599c-43fa-9c22-5b7536e3b37b" providerId="ADAL" clId="{903218E2-C22B-4CC8-9AB6-343CA3DF934D}" dt="2023-06-19T01:36:44.658" v="11098"/>
          <ac:spMkLst>
            <pc:docMk/>
            <pc:sldMk cId="751879363" sldId="11454"/>
            <ac:spMk id="14" creationId="{21AE9FA4-BE12-7964-8F4D-5AEB7367AC5C}"/>
          </ac:spMkLst>
        </pc:spChg>
        <pc:spChg chg="mod">
          <ac:chgData name="Joao Cabral de Assis" userId="2e28f1b2-599c-43fa-9c22-5b7536e3b37b" providerId="ADAL" clId="{903218E2-C22B-4CC8-9AB6-343CA3DF934D}" dt="2023-06-19T01:36:44.658" v="11099"/>
          <ac:spMkLst>
            <pc:docMk/>
            <pc:sldMk cId="751879363" sldId="11454"/>
            <ac:spMk id="15" creationId="{A054F9EC-5BDE-03F1-0813-48BD4791E0BF}"/>
          </ac:spMkLst>
        </pc:spChg>
        <pc:spChg chg="mod">
          <ac:chgData name="Joao Cabral de Assis" userId="2e28f1b2-599c-43fa-9c22-5b7536e3b37b" providerId="ADAL" clId="{903218E2-C22B-4CC8-9AB6-343CA3DF934D}" dt="2023-06-19T01:36:44.660" v="11100" actId="790"/>
          <ac:spMkLst>
            <pc:docMk/>
            <pc:sldMk cId="751879363" sldId="11454"/>
            <ac:spMk id="16" creationId="{0520CC67-0E9B-C050-B8C9-B3744FCFC1C1}"/>
          </ac:spMkLst>
        </pc:spChg>
        <pc:spChg chg="mod">
          <ac:chgData name="Joao Cabral de Assis" userId="2e28f1b2-599c-43fa-9c22-5b7536e3b37b" providerId="ADAL" clId="{903218E2-C22B-4CC8-9AB6-343CA3DF934D}" dt="2023-06-19T01:36:44.662" v="11101" actId="790"/>
          <ac:spMkLst>
            <pc:docMk/>
            <pc:sldMk cId="751879363" sldId="11454"/>
            <ac:spMk id="17" creationId="{2CC82225-AFE0-B602-4926-97886828223E}"/>
          </ac:spMkLst>
        </pc:spChg>
        <pc:spChg chg="mod">
          <ac:chgData name="Joao Cabral de Assis" userId="2e28f1b2-599c-43fa-9c22-5b7536e3b37b" providerId="ADAL" clId="{903218E2-C22B-4CC8-9AB6-343CA3DF934D}" dt="2023-06-19T01:36:44.667" v="11104" actId="790"/>
          <ac:spMkLst>
            <pc:docMk/>
            <pc:sldMk cId="751879363" sldId="11454"/>
            <ac:spMk id="20" creationId="{E8CC8515-5E3A-394E-C443-945B5D278699}"/>
          </ac:spMkLst>
        </pc:spChg>
        <pc:spChg chg="mod">
          <ac:chgData name="Joao Cabral de Assis" userId="2e28f1b2-599c-43fa-9c22-5b7536e3b37b" providerId="ADAL" clId="{903218E2-C22B-4CC8-9AB6-343CA3DF934D}" dt="2023-06-19T01:36:44.664" v="11102"/>
          <ac:spMkLst>
            <pc:docMk/>
            <pc:sldMk cId="751879363" sldId="11454"/>
            <ac:spMk id="23" creationId="{815F53D2-3FC8-E863-DE9B-1E5E27B41FFF}"/>
          </ac:spMkLst>
        </pc:spChg>
        <pc:spChg chg="mod">
          <ac:chgData name="Joao Cabral de Assis" userId="2e28f1b2-599c-43fa-9c22-5b7536e3b37b" providerId="ADAL" clId="{903218E2-C22B-4CC8-9AB6-343CA3DF934D}" dt="2023-06-19T01:36:44.665" v="11103"/>
          <ac:spMkLst>
            <pc:docMk/>
            <pc:sldMk cId="751879363" sldId="11454"/>
            <ac:spMk id="24" creationId="{6761A255-6B5B-18AA-2649-0B9A23C1AF71}"/>
          </ac:spMkLst>
        </pc:spChg>
        <pc:spChg chg="mod">
          <ac:chgData name="Joao Cabral de Assis" userId="2e28f1b2-599c-43fa-9c22-5b7536e3b37b" providerId="ADAL" clId="{903218E2-C22B-4CC8-9AB6-343CA3DF934D}" dt="2023-06-19T01:36:44.636" v="11091" actId="790"/>
          <ac:spMkLst>
            <pc:docMk/>
            <pc:sldMk cId="751879363" sldId="11454"/>
            <ac:spMk id="25" creationId="{473FAA11-3E1F-E9AF-C2A2-73EDAA0D6C73}"/>
          </ac:spMkLst>
        </pc:spChg>
        <pc:graphicFrameChg chg="mod">
          <ac:chgData name="Joao Cabral de Assis" userId="2e28f1b2-599c-43fa-9c22-5b7536e3b37b" providerId="ADAL" clId="{903218E2-C22B-4CC8-9AB6-343CA3DF934D}" dt="2023-06-12T15:35:45.775" v="2405"/>
          <ac:graphicFrameMkLst>
            <pc:docMk/>
            <pc:sldMk cId="751879363" sldId="11454"/>
            <ac:graphicFrameMk id="4" creationId="{9BC9E334-BA1C-E0C0-7A61-E9562E803A26}"/>
          </ac:graphicFrameMkLst>
        </pc:graphicFrameChg>
      </pc:sldChg>
      <pc:sldChg chg="modSp mod modNotes">
        <pc:chgData name="Joao Cabral de Assis" userId="2e28f1b2-599c-43fa-9c22-5b7536e3b37b" providerId="ADAL" clId="{903218E2-C22B-4CC8-9AB6-343CA3DF934D}" dt="2023-06-19T01:36:50.276" v="12141" actId="790"/>
        <pc:sldMkLst>
          <pc:docMk/>
          <pc:sldMk cId="451448523" sldId="11464"/>
        </pc:sldMkLst>
        <pc:spChg chg="mod">
          <ac:chgData name="Joao Cabral de Assis" userId="2e28f1b2-599c-43fa-9c22-5b7536e3b37b" providerId="ADAL" clId="{903218E2-C22B-4CC8-9AB6-343CA3DF934D}" dt="2023-06-19T01:36:50.029" v="12112" actId="790"/>
          <ac:spMkLst>
            <pc:docMk/>
            <pc:sldMk cId="451448523" sldId="11464"/>
            <ac:spMk id="2" creationId="{91B3A6F6-8B61-4685-BB51-40A15C7273B9}"/>
          </ac:spMkLst>
        </pc:spChg>
        <pc:spChg chg="mod">
          <ac:chgData name="Joao Cabral de Assis" userId="2e28f1b2-599c-43fa-9c22-5b7536e3b37b" providerId="ADAL" clId="{903218E2-C22B-4CC8-9AB6-343CA3DF934D}" dt="2023-06-19T01:36:50.270" v="12138" actId="790"/>
          <ac:spMkLst>
            <pc:docMk/>
            <pc:sldMk cId="451448523" sldId="11464"/>
            <ac:spMk id="6" creationId="{129208F5-1B17-FC58-CC1C-0AACB5E9D252}"/>
          </ac:spMkLst>
        </pc:spChg>
        <pc:spChg chg="mod">
          <ac:chgData name="Joao Cabral de Assis" userId="2e28f1b2-599c-43fa-9c22-5b7536e3b37b" providerId="ADAL" clId="{903218E2-C22B-4CC8-9AB6-343CA3DF934D}" dt="2023-06-19T01:36:50.272" v="12139" actId="790"/>
          <ac:spMkLst>
            <pc:docMk/>
            <pc:sldMk cId="451448523" sldId="11464"/>
            <ac:spMk id="9" creationId="{EC9C979B-363D-8746-EF08-8150B9AED1D5}"/>
          </ac:spMkLst>
        </pc:spChg>
        <pc:spChg chg="mod">
          <ac:chgData name="Joao Cabral de Assis" userId="2e28f1b2-599c-43fa-9c22-5b7536e3b37b" providerId="ADAL" clId="{903218E2-C22B-4CC8-9AB6-343CA3DF934D}" dt="2023-06-19T01:36:50.268" v="12137" actId="790"/>
          <ac:spMkLst>
            <pc:docMk/>
            <pc:sldMk cId="451448523" sldId="11464"/>
            <ac:spMk id="20" creationId="{4581D17D-4A0C-E40A-591F-DE48CCFE42FE}"/>
          </ac:spMkLst>
        </pc:spChg>
        <pc:graphicFrameChg chg="modGraphic">
          <ac:chgData name="Joao Cabral de Assis" userId="2e28f1b2-599c-43fa-9c22-5b7536e3b37b" providerId="ADAL" clId="{903218E2-C22B-4CC8-9AB6-343CA3DF934D}" dt="2023-06-19T01:36:50.256" v="12136" actId="790"/>
          <ac:graphicFrameMkLst>
            <pc:docMk/>
            <pc:sldMk cId="451448523" sldId="11464"/>
            <ac:graphicFrameMk id="5" creationId="{4D4CA5EE-DBD0-445D-A1CC-6CC590E1A008}"/>
          </ac:graphicFrameMkLst>
        </pc:graphicFrameChg>
      </pc:sldChg>
      <pc:sldChg chg="modSp mod modNotes">
        <pc:chgData name="Joao Cabral de Assis" userId="2e28f1b2-599c-43fa-9c22-5b7536e3b37b" providerId="ADAL" clId="{903218E2-C22B-4CC8-9AB6-343CA3DF934D}" dt="2023-06-19T01:36:50.600" v="12175" actId="790"/>
        <pc:sldMkLst>
          <pc:docMk/>
          <pc:sldMk cId="3362051164" sldId="11465"/>
        </pc:sldMkLst>
        <pc:spChg chg="mod">
          <ac:chgData name="Joao Cabral de Assis" userId="2e28f1b2-599c-43fa-9c22-5b7536e3b37b" providerId="ADAL" clId="{903218E2-C22B-4CC8-9AB6-343CA3DF934D}" dt="2023-06-19T01:36:50.277" v="12142" actId="790"/>
          <ac:spMkLst>
            <pc:docMk/>
            <pc:sldMk cId="3362051164" sldId="11465"/>
            <ac:spMk id="2" creationId="{91B3A6F6-8B61-4685-BB51-40A15C7273B9}"/>
          </ac:spMkLst>
        </pc:spChg>
        <pc:spChg chg="mod">
          <ac:chgData name="Joao Cabral de Assis" userId="2e28f1b2-599c-43fa-9c22-5b7536e3b37b" providerId="ADAL" clId="{903218E2-C22B-4CC8-9AB6-343CA3DF934D}" dt="2023-06-19T01:36:50.594" v="12172" actId="790"/>
          <ac:spMkLst>
            <pc:docMk/>
            <pc:sldMk cId="3362051164" sldId="11465"/>
            <ac:spMk id="6" creationId="{09486D02-FB99-80B9-DA1C-5D0D41234EA2}"/>
          </ac:spMkLst>
        </pc:spChg>
        <pc:spChg chg="mod">
          <ac:chgData name="Joao Cabral de Assis" userId="2e28f1b2-599c-43fa-9c22-5b7536e3b37b" providerId="ADAL" clId="{903218E2-C22B-4CC8-9AB6-343CA3DF934D}" dt="2023-06-19T01:36:50.596" v="12173" actId="790"/>
          <ac:spMkLst>
            <pc:docMk/>
            <pc:sldMk cId="3362051164" sldId="11465"/>
            <ac:spMk id="9" creationId="{D6E91097-84E6-C094-8359-DE7E2487DCD3}"/>
          </ac:spMkLst>
        </pc:spChg>
        <pc:spChg chg="mod">
          <ac:chgData name="Joao Cabral de Assis" userId="2e28f1b2-599c-43fa-9c22-5b7536e3b37b" providerId="ADAL" clId="{903218E2-C22B-4CC8-9AB6-343CA3DF934D}" dt="2023-06-19T01:36:50.593" v="12171" actId="790"/>
          <ac:spMkLst>
            <pc:docMk/>
            <pc:sldMk cId="3362051164" sldId="11465"/>
            <ac:spMk id="20" creationId="{4581D17D-4A0C-E40A-591F-DE48CCFE42FE}"/>
          </ac:spMkLst>
        </pc:spChg>
        <pc:graphicFrameChg chg="modGraphic">
          <ac:chgData name="Joao Cabral de Assis" userId="2e28f1b2-599c-43fa-9c22-5b7536e3b37b" providerId="ADAL" clId="{903218E2-C22B-4CC8-9AB6-343CA3DF934D}" dt="2023-06-19T01:36:50.580" v="12170" actId="790"/>
          <ac:graphicFrameMkLst>
            <pc:docMk/>
            <pc:sldMk cId="3362051164" sldId="11465"/>
            <ac:graphicFrameMk id="5" creationId="{4D4CA5EE-DBD0-445D-A1CC-6CC590E1A008}"/>
          </ac:graphicFrameMkLst>
        </pc:graphicFrameChg>
      </pc:sldChg>
      <pc:sldChg chg="modSp mod modNotes">
        <pc:chgData name="Joao Cabral de Assis" userId="2e28f1b2-599c-43fa-9c22-5b7536e3b37b" providerId="ADAL" clId="{903218E2-C22B-4CC8-9AB6-343CA3DF934D}" dt="2023-06-19T01:36:50.911" v="12209" actId="790"/>
        <pc:sldMkLst>
          <pc:docMk/>
          <pc:sldMk cId="2097243073" sldId="11468"/>
        </pc:sldMkLst>
        <pc:spChg chg="mod">
          <ac:chgData name="Joao Cabral de Assis" userId="2e28f1b2-599c-43fa-9c22-5b7536e3b37b" providerId="ADAL" clId="{903218E2-C22B-4CC8-9AB6-343CA3DF934D}" dt="2023-06-19T01:36:50.603" v="12176" actId="790"/>
          <ac:spMkLst>
            <pc:docMk/>
            <pc:sldMk cId="2097243073" sldId="11468"/>
            <ac:spMk id="2" creationId="{91B3A6F6-8B61-4685-BB51-40A15C7273B9}"/>
          </ac:spMkLst>
        </pc:spChg>
        <pc:spChg chg="mod">
          <ac:chgData name="Joao Cabral de Assis" userId="2e28f1b2-599c-43fa-9c22-5b7536e3b37b" providerId="ADAL" clId="{903218E2-C22B-4CC8-9AB6-343CA3DF934D}" dt="2023-06-19T01:36:50.906" v="12206" actId="790"/>
          <ac:spMkLst>
            <pc:docMk/>
            <pc:sldMk cId="2097243073" sldId="11468"/>
            <ac:spMk id="6" creationId="{1A20DFA3-3AAB-2887-10BA-B2D6D3CC3386}"/>
          </ac:spMkLst>
        </pc:spChg>
        <pc:spChg chg="mod">
          <ac:chgData name="Joao Cabral de Assis" userId="2e28f1b2-599c-43fa-9c22-5b7536e3b37b" providerId="ADAL" clId="{903218E2-C22B-4CC8-9AB6-343CA3DF934D}" dt="2023-06-19T01:36:50.908" v="12207" actId="790"/>
          <ac:spMkLst>
            <pc:docMk/>
            <pc:sldMk cId="2097243073" sldId="11468"/>
            <ac:spMk id="9" creationId="{B67DBAA1-14B5-CB1B-A79B-FB367107333D}"/>
          </ac:spMkLst>
        </pc:spChg>
        <pc:spChg chg="mod">
          <ac:chgData name="Joao Cabral de Assis" userId="2e28f1b2-599c-43fa-9c22-5b7536e3b37b" providerId="ADAL" clId="{903218E2-C22B-4CC8-9AB6-343CA3DF934D}" dt="2023-06-19T01:36:50.904" v="12205" actId="790"/>
          <ac:spMkLst>
            <pc:docMk/>
            <pc:sldMk cId="2097243073" sldId="11468"/>
            <ac:spMk id="20" creationId="{4581D17D-4A0C-E40A-591F-DE48CCFE42FE}"/>
          </ac:spMkLst>
        </pc:spChg>
        <pc:graphicFrameChg chg="modGraphic">
          <ac:chgData name="Joao Cabral de Assis" userId="2e28f1b2-599c-43fa-9c22-5b7536e3b37b" providerId="ADAL" clId="{903218E2-C22B-4CC8-9AB6-343CA3DF934D}" dt="2023-06-19T01:36:50.892" v="12204" actId="790"/>
          <ac:graphicFrameMkLst>
            <pc:docMk/>
            <pc:sldMk cId="2097243073" sldId="11468"/>
            <ac:graphicFrameMk id="5" creationId="{4D4CA5EE-DBD0-445D-A1CC-6CC590E1A008}"/>
          </ac:graphicFrameMkLst>
        </pc:graphicFrameChg>
      </pc:sldChg>
      <pc:sldChg chg="addSp delSp modSp mod modNotes">
        <pc:chgData name="Joao Cabral de Assis" userId="2e28f1b2-599c-43fa-9c22-5b7536e3b37b" providerId="ADAL" clId="{903218E2-C22B-4CC8-9AB6-343CA3DF934D}" dt="2023-06-19T01:36:44.198" v="10953" actId="790"/>
        <pc:sldMkLst>
          <pc:docMk/>
          <pc:sldMk cId="1221453314" sldId="11470"/>
        </pc:sldMkLst>
        <pc:spChg chg="mod">
          <ac:chgData name="Joao Cabral de Assis" userId="2e28f1b2-599c-43fa-9c22-5b7536e3b37b" providerId="ADAL" clId="{903218E2-C22B-4CC8-9AB6-343CA3DF934D}" dt="2023-06-19T01:36:44.171" v="10942" actId="790"/>
          <ac:spMkLst>
            <pc:docMk/>
            <pc:sldMk cId="1221453314" sldId="11470"/>
            <ac:spMk id="2" creationId="{E1A58D21-E0ED-422F-B286-0009C7AA04B4}"/>
          </ac:spMkLst>
        </pc:spChg>
        <pc:spChg chg="add del mod modVis">
          <ac:chgData name="Joao Cabral de Assis" userId="2e28f1b2-599c-43fa-9c22-5b7536e3b37b" providerId="ADAL" clId="{903218E2-C22B-4CC8-9AB6-343CA3DF934D}" dt="2023-06-12T15:03:46.158" v="1088"/>
          <ac:spMkLst>
            <pc:docMk/>
            <pc:sldMk cId="1221453314" sldId="11470"/>
            <ac:spMk id="3" creationId="{92A13EEE-0EA6-042D-2F0F-FC1621DF4816}"/>
          </ac:spMkLst>
        </pc:spChg>
        <pc:spChg chg="mod">
          <ac:chgData name="Joao Cabral de Assis" userId="2e28f1b2-599c-43fa-9c22-5b7536e3b37b" providerId="ADAL" clId="{903218E2-C22B-4CC8-9AB6-343CA3DF934D}" dt="2023-06-19T01:36:44.174" v="10943" actId="790"/>
          <ac:spMkLst>
            <pc:docMk/>
            <pc:sldMk cId="1221453314" sldId="11470"/>
            <ac:spMk id="5" creationId="{4401A7B6-BEDF-4664-91CD-29FFE676B409}"/>
          </ac:spMkLst>
        </pc:spChg>
        <pc:spChg chg="mod">
          <ac:chgData name="Joao Cabral de Assis" userId="2e28f1b2-599c-43fa-9c22-5b7536e3b37b" providerId="ADAL" clId="{903218E2-C22B-4CC8-9AB6-343CA3DF934D}" dt="2023-06-19T01:36:44.177" v="10944" actId="790"/>
          <ac:spMkLst>
            <pc:docMk/>
            <pc:sldMk cId="1221453314" sldId="11470"/>
            <ac:spMk id="7" creationId="{EDAD61DE-32F5-4B43-AFD8-485E71406648}"/>
          </ac:spMkLst>
        </pc:spChg>
        <pc:spChg chg="mod">
          <ac:chgData name="Joao Cabral de Assis" userId="2e28f1b2-599c-43fa-9c22-5b7536e3b37b" providerId="ADAL" clId="{903218E2-C22B-4CC8-9AB6-343CA3DF934D}" dt="2023-06-19T01:36:44.190" v="10949" actId="790"/>
          <ac:spMkLst>
            <pc:docMk/>
            <pc:sldMk cId="1221453314" sldId="11470"/>
            <ac:spMk id="8" creationId="{5A1D9E4E-D055-D817-FBC9-0690B0CF1BBE}"/>
          </ac:spMkLst>
        </pc:spChg>
        <pc:spChg chg="add del mod modVis">
          <ac:chgData name="Joao Cabral de Assis" userId="2e28f1b2-599c-43fa-9c22-5b7536e3b37b" providerId="ADAL" clId="{903218E2-C22B-4CC8-9AB6-343CA3DF934D}" dt="2023-06-12T15:04:00.468" v="1116"/>
          <ac:spMkLst>
            <pc:docMk/>
            <pc:sldMk cId="1221453314" sldId="11470"/>
            <ac:spMk id="9" creationId="{1D40E400-F702-906B-6A54-DA3CB195437D}"/>
          </ac:spMkLst>
        </pc:spChg>
        <pc:spChg chg="mod">
          <ac:chgData name="Joao Cabral de Assis" userId="2e28f1b2-599c-43fa-9c22-5b7536e3b37b" providerId="ADAL" clId="{903218E2-C22B-4CC8-9AB6-343CA3DF934D}" dt="2023-06-19T01:36:44.180" v="10945" actId="790"/>
          <ac:spMkLst>
            <pc:docMk/>
            <pc:sldMk cId="1221453314" sldId="11470"/>
            <ac:spMk id="11" creationId="{9E621CB2-1013-4F73-AE88-C5C1F68D4C9D}"/>
          </ac:spMkLst>
        </pc:spChg>
        <pc:spChg chg="mod">
          <ac:chgData name="Joao Cabral de Assis" userId="2e28f1b2-599c-43fa-9c22-5b7536e3b37b" providerId="ADAL" clId="{903218E2-C22B-4CC8-9AB6-343CA3DF934D}" dt="2023-06-19T01:36:44.191" v="10950" actId="790"/>
          <ac:spMkLst>
            <pc:docMk/>
            <pc:sldMk cId="1221453314" sldId="11470"/>
            <ac:spMk id="12" creationId="{E92F2D7F-8108-D2DC-4E38-73BE3BABC0F1}"/>
          </ac:spMkLst>
        </pc:spChg>
        <pc:spChg chg="mod">
          <ac:chgData name="Joao Cabral de Assis" userId="2e28f1b2-599c-43fa-9c22-5b7536e3b37b" providerId="ADAL" clId="{903218E2-C22B-4CC8-9AB6-343CA3DF934D}" dt="2023-06-19T01:36:44.182" v="10946" actId="790"/>
          <ac:spMkLst>
            <pc:docMk/>
            <pc:sldMk cId="1221453314" sldId="11470"/>
            <ac:spMk id="13" creationId="{E4E3363A-C8FC-4FDE-9FE1-F92EA1E3D736}"/>
          </ac:spMkLst>
        </pc:spChg>
        <pc:spChg chg="mod">
          <ac:chgData name="Joao Cabral de Assis" userId="2e28f1b2-599c-43fa-9c22-5b7536e3b37b" providerId="ADAL" clId="{903218E2-C22B-4CC8-9AB6-343CA3DF934D}" dt="2023-06-19T01:36:44.184" v="10947" actId="790"/>
          <ac:spMkLst>
            <pc:docMk/>
            <pc:sldMk cId="1221453314" sldId="11470"/>
            <ac:spMk id="15" creationId="{FEA1E098-E9C8-4F8E-8953-B4454299052C}"/>
          </ac:spMkLst>
        </pc:spChg>
        <pc:spChg chg="mod">
          <ac:chgData name="Joao Cabral de Assis" userId="2e28f1b2-599c-43fa-9c22-5b7536e3b37b" providerId="ADAL" clId="{903218E2-C22B-4CC8-9AB6-343CA3DF934D}" dt="2023-06-19T01:36:44.187" v="10948" actId="790"/>
          <ac:spMkLst>
            <pc:docMk/>
            <pc:sldMk cId="1221453314" sldId="11470"/>
            <ac:spMk id="16" creationId="{65AD2A8D-E276-47CB-8F3A-D9BCA6EF7937}"/>
          </ac:spMkLst>
        </pc:spChg>
        <pc:graphicFrameChg chg="mod">
          <ac:chgData name="Joao Cabral de Assis" userId="2e28f1b2-599c-43fa-9c22-5b7536e3b37b" providerId="ADAL" clId="{903218E2-C22B-4CC8-9AB6-343CA3DF934D}" dt="2023-06-12T15:04:00.471" v="1118"/>
          <ac:graphicFrameMkLst>
            <pc:docMk/>
            <pc:sldMk cId="1221453314" sldId="11470"/>
            <ac:graphicFrameMk id="6" creationId="{13598B3F-0338-6FD9-B3E1-A612BCB0DCE9}"/>
          </ac:graphicFrameMkLst>
        </pc:graphicFrameChg>
      </pc:sldChg>
      <pc:sldChg chg="modSp mod modNotes">
        <pc:chgData name="Joao Cabral de Assis" userId="2e28f1b2-599c-43fa-9c22-5b7536e3b37b" providerId="ADAL" clId="{903218E2-C22B-4CC8-9AB6-343CA3DF934D}" dt="2023-06-19T01:36:51.180" v="12239" actId="790"/>
        <pc:sldMkLst>
          <pc:docMk/>
          <pc:sldMk cId="1382895790" sldId="11471"/>
        </pc:sldMkLst>
        <pc:spChg chg="mod">
          <ac:chgData name="Joao Cabral de Assis" userId="2e28f1b2-599c-43fa-9c22-5b7536e3b37b" providerId="ADAL" clId="{903218E2-C22B-4CC8-9AB6-343CA3DF934D}" dt="2023-06-19T01:36:50.913" v="12210" actId="790"/>
          <ac:spMkLst>
            <pc:docMk/>
            <pc:sldMk cId="1382895790" sldId="11471"/>
            <ac:spMk id="2" creationId="{91B3A6F6-8B61-4685-BB51-40A15C7273B9}"/>
          </ac:spMkLst>
        </pc:spChg>
        <pc:spChg chg="mod">
          <ac:chgData name="Joao Cabral de Assis" userId="2e28f1b2-599c-43fa-9c22-5b7536e3b37b" providerId="ADAL" clId="{903218E2-C22B-4CC8-9AB6-343CA3DF934D}" dt="2023-06-19T01:36:51.171" v="12236" actId="790"/>
          <ac:spMkLst>
            <pc:docMk/>
            <pc:sldMk cId="1382895790" sldId="11471"/>
            <ac:spMk id="6" creationId="{690E6119-9D43-AF89-9489-311AD2B668A2}"/>
          </ac:spMkLst>
        </pc:spChg>
        <pc:spChg chg="mod">
          <ac:chgData name="Joao Cabral de Assis" userId="2e28f1b2-599c-43fa-9c22-5b7536e3b37b" providerId="ADAL" clId="{903218E2-C22B-4CC8-9AB6-343CA3DF934D}" dt="2023-06-19T01:36:51.174" v="12237" actId="790"/>
          <ac:spMkLst>
            <pc:docMk/>
            <pc:sldMk cId="1382895790" sldId="11471"/>
            <ac:spMk id="9" creationId="{146905E6-AF6E-2668-0419-119381A6CAD4}"/>
          </ac:spMkLst>
        </pc:spChg>
        <pc:spChg chg="mod">
          <ac:chgData name="Joao Cabral de Assis" userId="2e28f1b2-599c-43fa-9c22-5b7536e3b37b" providerId="ADAL" clId="{903218E2-C22B-4CC8-9AB6-343CA3DF934D}" dt="2023-06-19T01:36:51.167" v="12235" actId="790"/>
          <ac:spMkLst>
            <pc:docMk/>
            <pc:sldMk cId="1382895790" sldId="11471"/>
            <ac:spMk id="20" creationId="{4581D17D-4A0C-E40A-591F-DE48CCFE42FE}"/>
          </ac:spMkLst>
        </pc:spChg>
        <pc:graphicFrameChg chg="modGraphic">
          <ac:chgData name="Joao Cabral de Assis" userId="2e28f1b2-599c-43fa-9c22-5b7536e3b37b" providerId="ADAL" clId="{903218E2-C22B-4CC8-9AB6-343CA3DF934D}" dt="2023-06-19T01:36:51.154" v="12234" actId="790"/>
          <ac:graphicFrameMkLst>
            <pc:docMk/>
            <pc:sldMk cId="1382895790" sldId="11471"/>
            <ac:graphicFrameMk id="5" creationId="{4D4CA5EE-DBD0-445D-A1CC-6CC590E1A008}"/>
          </ac:graphicFrameMkLst>
        </pc:graphicFrameChg>
      </pc:sldChg>
      <pc:sldChg chg="addSp delSp modSp mod modNotes">
        <pc:chgData name="Joao Cabral de Assis" userId="2e28f1b2-599c-43fa-9c22-5b7536e3b37b" providerId="ADAL" clId="{903218E2-C22B-4CC8-9AB6-343CA3DF934D}" dt="2023-06-19T01:36:44.408" v="10996" actId="790"/>
        <pc:sldMkLst>
          <pc:docMk/>
          <pc:sldMk cId="2329869740" sldId="11477"/>
        </pc:sldMkLst>
        <pc:spChg chg="mod">
          <ac:chgData name="Joao Cabral de Assis" userId="2e28f1b2-599c-43fa-9c22-5b7536e3b37b" providerId="ADAL" clId="{903218E2-C22B-4CC8-9AB6-343CA3DF934D}" dt="2023-06-19T01:36:44.400" v="10993" actId="790"/>
          <ac:spMkLst>
            <pc:docMk/>
            <pc:sldMk cId="2329869740" sldId="11477"/>
            <ac:spMk id="2" creationId="{53FA7D62-1C0C-A17D-417F-8C102F792AC5}"/>
          </ac:spMkLst>
        </pc:spChg>
        <pc:spChg chg="mod">
          <ac:chgData name="Joao Cabral de Assis" userId="2e28f1b2-599c-43fa-9c22-5b7536e3b37b" providerId="ADAL" clId="{903218E2-C22B-4CC8-9AB6-343CA3DF934D}" dt="2023-06-19T01:36:44.403" v="10994" actId="790"/>
          <ac:spMkLst>
            <pc:docMk/>
            <pc:sldMk cId="2329869740" sldId="11477"/>
            <ac:spMk id="3" creationId="{5C363A1E-32D9-AA71-5275-179229CDE21E}"/>
          </ac:spMkLst>
        </pc:spChg>
        <pc:spChg chg="mod">
          <ac:chgData name="Joao Cabral de Assis" userId="2e28f1b2-599c-43fa-9c22-5b7536e3b37b" providerId="ADAL" clId="{903218E2-C22B-4CC8-9AB6-343CA3DF934D}" dt="2023-06-19T01:36:44.380" v="10989" actId="790"/>
          <ac:spMkLst>
            <pc:docMk/>
            <pc:sldMk cId="2329869740" sldId="11477"/>
            <ac:spMk id="5" creationId="{11E7175F-8643-4AB6-67A2-3AE503F7AA54}"/>
          </ac:spMkLst>
        </pc:spChg>
        <pc:spChg chg="mod">
          <ac:chgData name="Joao Cabral de Assis" userId="2e28f1b2-599c-43fa-9c22-5b7536e3b37b" providerId="ADAL" clId="{903218E2-C22B-4CC8-9AB6-343CA3DF934D}" dt="2023-06-19T01:36:44.377" v="10988" actId="790"/>
          <ac:spMkLst>
            <pc:docMk/>
            <pc:sldMk cId="2329869740" sldId="11477"/>
            <ac:spMk id="6" creationId="{D973F929-3850-3EF2-3950-8C09AB1DEEC3}"/>
          </ac:spMkLst>
        </pc:spChg>
        <pc:spChg chg="mod">
          <ac:chgData name="Joao Cabral de Assis" userId="2e28f1b2-599c-43fa-9c22-5b7536e3b37b" providerId="ADAL" clId="{903218E2-C22B-4CC8-9AB6-343CA3DF934D}" dt="2023-06-19T01:36:44.384" v="10990" actId="790"/>
          <ac:spMkLst>
            <pc:docMk/>
            <pc:sldMk cId="2329869740" sldId="11477"/>
            <ac:spMk id="9" creationId="{7AAAF43B-D148-C870-6BDB-BB9D629C434F}"/>
          </ac:spMkLst>
        </pc:spChg>
        <pc:spChg chg="mod">
          <ac:chgData name="Joao Cabral de Assis" userId="2e28f1b2-599c-43fa-9c22-5b7536e3b37b" providerId="ADAL" clId="{903218E2-C22B-4CC8-9AB6-343CA3DF934D}" dt="2023-06-19T01:36:44.387" v="10991" actId="790"/>
          <ac:spMkLst>
            <pc:docMk/>
            <pc:sldMk cId="2329869740" sldId="11477"/>
            <ac:spMk id="11" creationId="{F8635B6B-7AAF-B501-385B-B7A1A2314161}"/>
          </ac:spMkLst>
        </pc:spChg>
        <pc:spChg chg="mod">
          <ac:chgData name="Joao Cabral de Assis" userId="2e28f1b2-599c-43fa-9c22-5b7536e3b37b" providerId="ADAL" clId="{903218E2-C22B-4CC8-9AB6-343CA3DF934D}" dt="2023-06-19T01:36:44.396" v="10992" actId="790"/>
          <ac:spMkLst>
            <pc:docMk/>
            <pc:sldMk cId="2329869740" sldId="11477"/>
            <ac:spMk id="14" creationId="{A8CAB658-095A-9216-CE94-901E2FF62D86}"/>
          </ac:spMkLst>
        </pc:spChg>
        <pc:graphicFrameChg chg="add del mod">
          <ac:chgData name="Joao Cabral de Assis" userId="2e28f1b2-599c-43fa-9c22-5b7536e3b37b" providerId="ADAL" clId="{903218E2-C22B-4CC8-9AB6-343CA3DF934D}" dt="2023-06-12T15:42:43.182" v="2842"/>
          <ac:graphicFrameMkLst>
            <pc:docMk/>
            <pc:sldMk cId="2329869740" sldId="11477"/>
            <ac:graphicFrameMk id="4" creationId="{3E31B16E-60D1-DC37-39C8-B51E8C1FDD61}"/>
          </ac:graphicFrameMkLst>
        </pc:graphicFrameChg>
        <pc:cxnChg chg="add mod">
          <ac:chgData name="Joao Cabral de Assis" userId="2e28f1b2-599c-43fa-9c22-5b7536e3b37b" providerId="ADAL" clId="{903218E2-C22B-4CC8-9AB6-343CA3DF934D}" dt="2023-06-12T15:44:48.998" v="2849" actId="1076"/>
          <ac:cxnSpMkLst>
            <pc:docMk/>
            <pc:sldMk cId="2329869740" sldId="11477"/>
            <ac:cxnSpMk id="12" creationId="{2D63B486-48D6-7BB1-017B-5BAAC8322207}"/>
          </ac:cxnSpMkLst>
        </pc:cxnChg>
      </pc:sldChg>
      <pc:sldChg chg="modSp mod modNotes">
        <pc:chgData name="Joao Cabral de Assis" userId="2e28f1b2-599c-43fa-9c22-5b7536e3b37b" providerId="ADAL" clId="{903218E2-C22B-4CC8-9AB6-343CA3DF934D}" dt="2023-06-19T01:36:49.946" v="12088" actId="790"/>
        <pc:sldMkLst>
          <pc:docMk/>
          <pc:sldMk cId="968269063" sldId="11478"/>
        </pc:sldMkLst>
        <pc:spChg chg="mod">
          <ac:chgData name="Joao Cabral de Assis" userId="2e28f1b2-599c-43fa-9c22-5b7536e3b37b" providerId="ADAL" clId="{903218E2-C22B-4CC8-9AB6-343CA3DF934D}" dt="2023-06-19T01:36:49.924" v="12076" actId="790"/>
          <ac:spMkLst>
            <pc:docMk/>
            <pc:sldMk cId="968269063" sldId="11478"/>
            <ac:spMk id="2" creationId="{5E6F6674-C8B3-C0EA-BCCB-D21D37393FC7}"/>
          </ac:spMkLst>
        </pc:spChg>
        <pc:spChg chg="mod">
          <ac:chgData name="Joao Cabral de Assis" userId="2e28f1b2-599c-43fa-9c22-5b7536e3b37b" providerId="ADAL" clId="{903218E2-C22B-4CC8-9AB6-343CA3DF934D}" dt="2023-06-19T01:36:49.927" v="12077" actId="790"/>
          <ac:spMkLst>
            <pc:docMk/>
            <pc:sldMk cId="968269063" sldId="11478"/>
            <ac:spMk id="3" creationId="{BF13C6F7-0099-9FD6-016B-83EE34298A64}"/>
          </ac:spMkLst>
        </pc:spChg>
        <pc:spChg chg="mod">
          <ac:chgData name="Joao Cabral de Assis" userId="2e28f1b2-599c-43fa-9c22-5b7536e3b37b" providerId="ADAL" clId="{903218E2-C22B-4CC8-9AB6-343CA3DF934D}" dt="2023-06-19T01:36:49.929" v="12078" actId="790"/>
          <ac:spMkLst>
            <pc:docMk/>
            <pc:sldMk cId="968269063" sldId="11478"/>
            <ac:spMk id="5" creationId="{A231A2CC-9067-9E62-CD94-845300464BC1}"/>
          </ac:spMkLst>
        </pc:spChg>
        <pc:spChg chg="mod">
          <ac:chgData name="Joao Cabral de Assis" userId="2e28f1b2-599c-43fa-9c22-5b7536e3b37b" providerId="ADAL" clId="{903218E2-C22B-4CC8-9AB6-343CA3DF934D}" dt="2023-06-19T01:36:49.931" v="12079" actId="790"/>
          <ac:spMkLst>
            <pc:docMk/>
            <pc:sldMk cId="968269063" sldId="11478"/>
            <ac:spMk id="9" creationId="{C8F911D2-313A-C134-3261-48886A7BFF15}"/>
          </ac:spMkLst>
        </pc:spChg>
        <pc:spChg chg="mod">
          <ac:chgData name="Joao Cabral de Assis" userId="2e28f1b2-599c-43fa-9c22-5b7536e3b37b" providerId="ADAL" clId="{903218E2-C22B-4CC8-9AB6-343CA3DF934D}" dt="2023-06-19T01:36:49.931" v="12080" actId="790"/>
          <ac:spMkLst>
            <pc:docMk/>
            <pc:sldMk cId="968269063" sldId="11478"/>
            <ac:spMk id="10" creationId="{EDF778C0-B6C7-D278-8DF0-B9EC7519A635}"/>
          </ac:spMkLst>
        </pc:spChg>
        <pc:spChg chg="mod">
          <ac:chgData name="Joao Cabral de Assis" userId="2e28f1b2-599c-43fa-9c22-5b7536e3b37b" providerId="ADAL" clId="{903218E2-C22B-4CC8-9AB6-343CA3DF934D}" dt="2023-06-19T01:36:49.934" v="12081" actId="790"/>
          <ac:spMkLst>
            <pc:docMk/>
            <pc:sldMk cId="968269063" sldId="11478"/>
            <ac:spMk id="11" creationId="{5EC699D9-2D74-89E4-C3C9-43E2B4D0B8FE}"/>
          </ac:spMkLst>
        </pc:spChg>
        <pc:spChg chg="mod">
          <ac:chgData name="Joao Cabral de Assis" userId="2e28f1b2-599c-43fa-9c22-5b7536e3b37b" providerId="ADAL" clId="{903218E2-C22B-4CC8-9AB6-343CA3DF934D}" dt="2023-06-19T01:36:49.936" v="12082" actId="790"/>
          <ac:spMkLst>
            <pc:docMk/>
            <pc:sldMk cId="968269063" sldId="11478"/>
            <ac:spMk id="12" creationId="{11FBFF16-3B79-E2A6-70DA-B9203223CC44}"/>
          </ac:spMkLst>
        </pc:spChg>
        <pc:spChg chg="mod">
          <ac:chgData name="Joao Cabral de Assis" userId="2e28f1b2-599c-43fa-9c22-5b7536e3b37b" providerId="ADAL" clId="{903218E2-C22B-4CC8-9AB6-343CA3DF934D}" dt="2023-06-19T01:36:49.938" v="12083" actId="790"/>
          <ac:spMkLst>
            <pc:docMk/>
            <pc:sldMk cId="968269063" sldId="11478"/>
            <ac:spMk id="14" creationId="{A6B8D92B-8845-E725-C3BD-D1E2337BB4AA}"/>
          </ac:spMkLst>
        </pc:spChg>
        <pc:spChg chg="mod">
          <ac:chgData name="Joao Cabral de Assis" userId="2e28f1b2-599c-43fa-9c22-5b7536e3b37b" providerId="ADAL" clId="{903218E2-C22B-4CC8-9AB6-343CA3DF934D}" dt="2023-06-19T01:36:49.940" v="12084" actId="790"/>
          <ac:spMkLst>
            <pc:docMk/>
            <pc:sldMk cId="968269063" sldId="11478"/>
            <ac:spMk id="15" creationId="{97967EDD-FFB8-EE68-E284-E7DF957C0E18}"/>
          </ac:spMkLst>
        </pc:spChg>
        <pc:spChg chg="mod">
          <ac:chgData name="Joao Cabral de Assis" userId="2e28f1b2-599c-43fa-9c22-5b7536e3b37b" providerId="ADAL" clId="{903218E2-C22B-4CC8-9AB6-343CA3DF934D}" dt="2023-06-19T01:36:49.942" v="12085" actId="790"/>
          <ac:spMkLst>
            <pc:docMk/>
            <pc:sldMk cId="968269063" sldId="11478"/>
            <ac:spMk id="16" creationId="{57C3B7AE-59CE-4D17-08D2-B92D4076BEBF}"/>
          </ac:spMkLst>
        </pc:spChg>
        <pc:spChg chg="mod">
          <ac:chgData name="Joao Cabral de Assis" userId="2e28f1b2-599c-43fa-9c22-5b7536e3b37b" providerId="ADAL" clId="{903218E2-C22B-4CC8-9AB6-343CA3DF934D}" dt="2023-06-19T01:36:49.943" v="12086" actId="790"/>
          <ac:spMkLst>
            <pc:docMk/>
            <pc:sldMk cId="968269063" sldId="11478"/>
            <ac:spMk id="19" creationId="{5D87A6D9-D658-8676-AFF3-E41C0CB847DC}"/>
          </ac:spMkLst>
        </pc:spChg>
      </pc:sldChg>
      <pc:sldChg chg="modSp mod modNotes">
        <pc:chgData name="Joao Cabral de Assis" userId="2e28f1b2-599c-43fa-9c22-5b7536e3b37b" providerId="ADAL" clId="{903218E2-C22B-4CC8-9AB6-343CA3DF934D}" dt="2023-06-19T01:36:49.973" v="12096" actId="790"/>
        <pc:sldMkLst>
          <pc:docMk/>
          <pc:sldMk cId="2658386249" sldId="11479"/>
        </pc:sldMkLst>
        <pc:spChg chg="mod">
          <ac:chgData name="Joao Cabral de Assis" userId="2e28f1b2-599c-43fa-9c22-5b7536e3b37b" providerId="ADAL" clId="{903218E2-C22B-4CC8-9AB6-343CA3DF934D}" dt="2023-06-19T01:36:49.948" v="12089" actId="790"/>
          <ac:spMkLst>
            <pc:docMk/>
            <pc:sldMk cId="2658386249" sldId="11479"/>
            <ac:spMk id="2" creationId="{2DBDC415-B54B-CC1F-C4C6-BE9923744C9F}"/>
          </ac:spMkLst>
        </pc:spChg>
        <pc:spChg chg="mod">
          <ac:chgData name="Joao Cabral de Assis" userId="2e28f1b2-599c-43fa-9c22-5b7536e3b37b" providerId="ADAL" clId="{903218E2-C22B-4CC8-9AB6-343CA3DF934D}" dt="2023-06-19T01:36:49.956" v="12090" actId="790"/>
          <ac:spMkLst>
            <pc:docMk/>
            <pc:sldMk cId="2658386249" sldId="11479"/>
            <ac:spMk id="3" creationId="{F7D08D49-55B5-2DDE-DF06-CD0AB9939849}"/>
          </ac:spMkLst>
        </pc:spChg>
        <pc:spChg chg="mod">
          <ac:chgData name="Joao Cabral de Assis" userId="2e28f1b2-599c-43fa-9c22-5b7536e3b37b" providerId="ADAL" clId="{903218E2-C22B-4CC8-9AB6-343CA3DF934D}" dt="2023-06-19T01:36:49.958" v="12091" actId="790"/>
          <ac:spMkLst>
            <pc:docMk/>
            <pc:sldMk cId="2658386249" sldId="11479"/>
            <ac:spMk id="5" creationId="{25912ACE-E6A8-B555-66AE-363474DD4087}"/>
          </ac:spMkLst>
        </pc:spChg>
        <pc:spChg chg="mod">
          <ac:chgData name="Joao Cabral de Assis" userId="2e28f1b2-599c-43fa-9c22-5b7536e3b37b" providerId="ADAL" clId="{903218E2-C22B-4CC8-9AB6-343CA3DF934D}" dt="2023-06-19T01:36:49.960" v="12092" actId="790"/>
          <ac:spMkLst>
            <pc:docMk/>
            <pc:sldMk cId="2658386249" sldId="11479"/>
            <ac:spMk id="6" creationId="{AAB56A4C-E6A8-2122-7169-D1A3A192C64F}"/>
          </ac:spMkLst>
        </pc:spChg>
        <pc:spChg chg="mod">
          <ac:chgData name="Joao Cabral de Assis" userId="2e28f1b2-599c-43fa-9c22-5b7536e3b37b" providerId="ADAL" clId="{903218E2-C22B-4CC8-9AB6-343CA3DF934D}" dt="2023-06-19T01:36:49.966" v="12093" actId="790"/>
          <ac:spMkLst>
            <pc:docMk/>
            <pc:sldMk cId="2658386249" sldId="11479"/>
            <ac:spMk id="7" creationId="{380810FD-E484-AA4C-3EC5-98F32D2D5ACF}"/>
          </ac:spMkLst>
        </pc:spChg>
        <pc:spChg chg="mod">
          <ac:chgData name="Joao Cabral de Assis" userId="2e28f1b2-599c-43fa-9c22-5b7536e3b37b" providerId="ADAL" clId="{903218E2-C22B-4CC8-9AB6-343CA3DF934D}" dt="2023-06-19T01:36:49.969" v="12094" actId="790"/>
          <ac:spMkLst>
            <pc:docMk/>
            <pc:sldMk cId="2658386249" sldId="11479"/>
            <ac:spMk id="13" creationId="{4E51C38D-9EC7-8FD9-6FD5-46ECB3BFCA62}"/>
          </ac:spMkLst>
        </pc:spChg>
      </pc:sldChg>
      <pc:sldChg chg="modSp mod delCm modNotes">
        <pc:chgData name="Joao Cabral de Assis" userId="2e28f1b2-599c-43fa-9c22-5b7536e3b37b" providerId="ADAL" clId="{903218E2-C22B-4CC8-9AB6-343CA3DF934D}" dt="2023-06-19T01:36:50.021" v="12107" actId="790"/>
        <pc:sldMkLst>
          <pc:docMk/>
          <pc:sldMk cId="3855268419" sldId="11480"/>
        </pc:sldMkLst>
        <pc:spChg chg="mod">
          <ac:chgData name="Joao Cabral de Assis" userId="2e28f1b2-599c-43fa-9c22-5b7536e3b37b" providerId="ADAL" clId="{903218E2-C22B-4CC8-9AB6-343CA3DF934D}" dt="2023-06-19T01:36:49.976" v="12097" actId="790"/>
          <ac:spMkLst>
            <pc:docMk/>
            <pc:sldMk cId="3855268419" sldId="11480"/>
            <ac:spMk id="2" creationId="{17B82BCC-670C-306E-0059-2C40960DC7E5}"/>
          </ac:spMkLst>
        </pc:spChg>
        <pc:spChg chg="mod">
          <ac:chgData name="Joao Cabral de Assis" userId="2e28f1b2-599c-43fa-9c22-5b7536e3b37b" providerId="ADAL" clId="{903218E2-C22B-4CC8-9AB6-343CA3DF934D}" dt="2023-06-19T01:36:49.980" v="12098" actId="790"/>
          <ac:spMkLst>
            <pc:docMk/>
            <pc:sldMk cId="3855268419" sldId="11480"/>
            <ac:spMk id="3" creationId="{DC64EEB9-5484-1A54-D070-80232EF6824C}"/>
          </ac:spMkLst>
        </pc:spChg>
        <pc:spChg chg="mod">
          <ac:chgData name="Joao Cabral de Assis" userId="2e28f1b2-599c-43fa-9c22-5b7536e3b37b" providerId="ADAL" clId="{903218E2-C22B-4CC8-9AB6-343CA3DF934D}" dt="2023-06-19T01:36:49.983" v="12099" actId="790"/>
          <ac:spMkLst>
            <pc:docMk/>
            <pc:sldMk cId="3855268419" sldId="11480"/>
            <ac:spMk id="5" creationId="{F240D059-77F8-EE6B-FED3-3C1AC5931316}"/>
          </ac:spMkLst>
        </pc:spChg>
        <pc:spChg chg="mod">
          <ac:chgData name="Joao Cabral de Assis" userId="2e28f1b2-599c-43fa-9c22-5b7536e3b37b" providerId="ADAL" clId="{903218E2-C22B-4CC8-9AB6-343CA3DF934D}" dt="2023-06-19T01:36:49.986" v="12100" actId="790"/>
          <ac:spMkLst>
            <pc:docMk/>
            <pc:sldMk cId="3855268419" sldId="11480"/>
            <ac:spMk id="6" creationId="{325A8E0A-14D2-3F4C-079F-73FA7EAEBEE3}"/>
          </ac:spMkLst>
        </pc:spChg>
        <pc:spChg chg="mod">
          <ac:chgData name="Joao Cabral de Assis" userId="2e28f1b2-599c-43fa-9c22-5b7536e3b37b" providerId="ADAL" clId="{903218E2-C22B-4CC8-9AB6-343CA3DF934D}" dt="2023-06-19T01:36:49.988" v="12101" actId="790"/>
          <ac:spMkLst>
            <pc:docMk/>
            <pc:sldMk cId="3855268419" sldId="11480"/>
            <ac:spMk id="8" creationId="{4D8EC735-AD68-4D5D-33DE-F17786C1ABD9}"/>
          </ac:spMkLst>
        </pc:spChg>
        <pc:spChg chg="mod">
          <ac:chgData name="Joao Cabral de Assis" userId="2e28f1b2-599c-43fa-9c22-5b7536e3b37b" providerId="ADAL" clId="{903218E2-C22B-4CC8-9AB6-343CA3DF934D}" dt="2023-06-19T01:36:50.008" v="12102"/>
          <ac:spMkLst>
            <pc:docMk/>
            <pc:sldMk cId="3855268419" sldId="11480"/>
            <ac:spMk id="9" creationId="{2C88633B-F5FB-039F-D3D7-BC976170A291}"/>
          </ac:spMkLst>
        </pc:spChg>
        <pc:spChg chg="mod">
          <ac:chgData name="Joao Cabral de Assis" userId="2e28f1b2-599c-43fa-9c22-5b7536e3b37b" providerId="ADAL" clId="{903218E2-C22B-4CC8-9AB6-343CA3DF934D}" dt="2023-06-19T01:36:50.012" v="12103" actId="790"/>
          <ac:spMkLst>
            <pc:docMk/>
            <pc:sldMk cId="3855268419" sldId="11480"/>
            <ac:spMk id="10" creationId="{BC7E7CE3-8A09-28AD-C75F-224F993EA3BA}"/>
          </ac:spMkLst>
        </pc:spChg>
        <pc:spChg chg="mod">
          <ac:chgData name="Joao Cabral de Assis" userId="2e28f1b2-599c-43fa-9c22-5b7536e3b37b" providerId="ADAL" clId="{903218E2-C22B-4CC8-9AB6-343CA3DF934D}" dt="2023-06-19T01:36:50.015" v="12104" actId="790"/>
          <ac:spMkLst>
            <pc:docMk/>
            <pc:sldMk cId="3855268419" sldId="11480"/>
            <ac:spMk id="14" creationId="{68C1FB1B-7BFA-0BC3-9E3B-82F752DEDFB5}"/>
          </ac:spMkLst>
        </pc:spChg>
        <pc:spChg chg="mod">
          <ac:chgData name="Joao Cabral de Assis" userId="2e28f1b2-599c-43fa-9c22-5b7536e3b37b" providerId="ADAL" clId="{903218E2-C22B-4CC8-9AB6-343CA3DF934D}" dt="2023-06-19T01:36:50.017" v="12105" actId="790"/>
          <ac:spMkLst>
            <pc:docMk/>
            <pc:sldMk cId="3855268419" sldId="11480"/>
            <ac:spMk id="17" creationId="{CE4BD9BE-20E6-C473-0C73-CE0BB5225F1A}"/>
          </ac:spMkLst>
        </pc:spChg>
      </pc:sldChg>
      <pc:sldChg chg="del">
        <pc:chgData name="Joao Cabral de Assis" userId="2e28f1b2-599c-43fa-9c22-5b7536e3b37b" providerId="ADAL" clId="{903218E2-C22B-4CC8-9AB6-343CA3DF934D}" dt="2023-06-12T16:02:51.355" v="2885" actId="47"/>
        <pc:sldMkLst>
          <pc:docMk/>
          <pc:sldMk cId="4094244304" sldId="11481"/>
        </pc:sldMkLst>
      </pc:sldChg>
      <pc:sldChg chg="modSp mod modNotes">
        <pc:chgData name="Joao Cabral de Assis" userId="2e28f1b2-599c-43fa-9c22-5b7536e3b37b" providerId="ADAL" clId="{903218E2-C22B-4CC8-9AB6-343CA3DF934D}" dt="2023-06-19T01:36:44.635" v="11090" actId="790"/>
        <pc:sldMkLst>
          <pc:docMk/>
          <pc:sldMk cId="2127318424" sldId="11487"/>
        </pc:sldMkLst>
        <pc:spChg chg="mod">
          <ac:chgData name="Joao Cabral de Assis" userId="2e28f1b2-599c-43fa-9c22-5b7536e3b37b" providerId="ADAL" clId="{903218E2-C22B-4CC8-9AB6-343CA3DF934D}" dt="2023-06-19T01:36:44.609" v="11077" actId="790"/>
          <ac:spMkLst>
            <pc:docMk/>
            <pc:sldMk cId="2127318424" sldId="11487"/>
            <ac:spMk id="2" creationId="{17F40238-4DF2-672D-C84C-E0A4291A1CCA}"/>
          </ac:spMkLst>
        </pc:spChg>
        <pc:spChg chg="mod">
          <ac:chgData name="Joao Cabral de Assis" userId="2e28f1b2-599c-43fa-9c22-5b7536e3b37b" providerId="ADAL" clId="{903218E2-C22B-4CC8-9AB6-343CA3DF934D}" dt="2023-06-19T01:36:44.610" v="11078" actId="790"/>
          <ac:spMkLst>
            <pc:docMk/>
            <pc:sldMk cId="2127318424" sldId="11487"/>
            <ac:spMk id="6" creationId="{20854BB5-DA12-126D-B9A6-891C2FCAA9CF}"/>
          </ac:spMkLst>
        </pc:spChg>
        <pc:spChg chg="mod">
          <ac:chgData name="Joao Cabral de Assis" userId="2e28f1b2-599c-43fa-9c22-5b7536e3b37b" providerId="ADAL" clId="{903218E2-C22B-4CC8-9AB6-343CA3DF934D}" dt="2023-06-19T01:36:44.611" v="11079" actId="790"/>
          <ac:spMkLst>
            <pc:docMk/>
            <pc:sldMk cId="2127318424" sldId="11487"/>
            <ac:spMk id="7" creationId="{A6FB8BE7-4363-468B-F081-A851791A8139}"/>
          </ac:spMkLst>
        </pc:spChg>
        <pc:spChg chg="mod">
          <ac:chgData name="Joao Cabral de Assis" userId="2e28f1b2-599c-43fa-9c22-5b7536e3b37b" providerId="ADAL" clId="{903218E2-C22B-4CC8-9AB6-343CA3DF934D}" dt="2023-06-19T01:36:44.613" v="11080" actId="790"/>
          <ac:spMkLst>
            <pc:docMk/>
            <pc:sldMk cId="2127318424" sldId="11487"/>
            <ac:spMk id="8" creationId="{237D48EB-DB31-234B-14FB-20D44D5A0565}"/>
          </ac:spMkLst>
        </pc:spChg>
        <pc:spChg chg="mod">
          <ac:chgData name="Joao Cabral de Assis" userId="2e28f1b2-599c-43fa-9c22-5b7536e3b37b" providerId="ADAL" clId="{903218E2-C22B-4CC8-9AB6-343CA3DF934D}" dt="2023-06-19T01:36:44.613" v="11081" actId="790"/>
          <ac:spMkLst>
            <pc:docMk/>
            <pc:sldMk cId="2127318424" sldId="11487"/>
            <ac:spMk id="9" creationId="{A29E202E-CEDC-54B6-884B-8D3DC2E41BEF}"/>
          </ac:spMkLst>
        </pc:spChg>
        <pc:spChg chg="mod">
          <ac:chgData name="Joao Cabral de Assis" userId="2e28f1b2-599c-43fa-9c22-5b7536e3b37b" providerId="ADAL" clId="{903218E2-C22B-4CC8-9AB6-343CA3DF934D}" dt="2023-06-19T01:36:44.615" v="11082"/>
          <ac:spMkLst>
            <pc:docMk/>
            <pc:sldMk cId="2127318424" sldId="11487"/>
            <ac:spMk id="10" creationId="{1C5B2855-CCF8-E425-FA4D-B47E2718BF3B}"/>
          </ac:spMkLst>
        </pc:spChg>
        <pc:spChg chg="mod">
          <ac:chgData name="Joao Cabral de Assis" userId="2e28f1b2-599c-43fa-9c22-5b7536e3b37b" providerId="ADAL" clId="{903218E2-C22B-4CC8-9AB6-343CA3DF934D}" dt="2023-06-19T01:36:44.616" v="11083"/>
          <ac:spMkLst>
            <pc:docMk/>
            <pc:sldMk cId="2127318424" sldId="11487"/>
            <ac:spMk id="11" creationId="{9D51C19A-9314-97C4-08BC-E432C7BFAC41}"/>
          </ac:spMkLst>
        </pc:spChg>
        <pc:spChg chg="mod">
          <ac:chgData name="Joao Cabral de Assis" userId="2e28f1b2-599c-43fa-9c22-5b7536e3b37b" providerId="ADAL" clId="{903218E2-C22B-4CC8-9AB6-343CA3DF934D}" dt="2023-06-19T01:36:44.620" v="11084"/>
          <ac:spMkLst>
            <pc:docMk/>
            <pc:sldMk cId="2127318424" sldId="11487"/>
            <ac:spMk id="12" creationId="{B7156CAF-D7B1-FEE3-DC64-CFCCBC6DAD53}"/>
          </ac:spMkLst>
        </pc:spChg>
        <pc:spChg chg="mod">
          <ac:chgData name="Joao Cabral de Assis" userId="2e28f1b2-599c-43fa-9c22-5b7536e3b37b" providerId="ADAL" clId="{903218E2-C22B-4CC8-9AB6-343CA3DF934D}" dt="2023-06-19T01:36:44.623" v="11085"/>
          <ac:spMkLst>
            <pc:docMk/>
            <pc:sldMk cId="2127318424" sldId="11487"/>
            <ac:spMk id="13" creationId="{E7C2B48D-7ACE-16E2-600B-2986BB0E9F06}"/>
          </ac:spMkLst>
        </pc:spChg>
        <pc:spChg chg="mod">
          <ac:chgData name="Joao Cabral de Assis" userId="2e28f1b2-599c-43fa-9c22-5b7536e3b37b" providerId="ADAL" clId="{903218E2-C22B-4CC8-9AB6-343CA3DF934D}" dt="2023-06-19T01:36:44.627" v="11087" actId="790"/>
          <ac:spMkLst>
            <pc:docMk/>
            <pc:sldMk cId="2127318424" sldId="11487"/>
            <ac:spMk id="14" creationId="{DFC90B72-4B69-CCA4-FC5B-A034BE2946BC}"/>
          </ac:spMkLst>
        </pc:spChg>
        <pc:spChg chg="mod">
          <ac:chgData name="Joao Cabral de Assis" userId="2e28f1b2-599c-43fa-9c22-5b7536e3b37b" providerId="ADAL" clId="{903218E2-C22B-4CC8-9AB6-343CA3DF934D}" dt="2023-06-19T01:36:44.625" v="11086" actId="790"/>
          <ac:spMkLst>
            <pc:docMk/>
            <pc:sldMk cId="2127318424" sldId="11487"/>
            <ac:spMk id="16" creationId="{B9B9FE13-1961-B8E2-2EDA-EEAF47218A50}"/>
          </ac:spMkLst>
        </pc:spChg>
        <pc:spChg chg="mod">
          <ac:chgData name="Joao Cabral de Assis" userId="2e28f1b2-599c-43fa-9c22-5b7536e3b37b" providerId="ADAL" clId="{903218E2-C22B-4CC8-9AB6-343CA3DF934D}" dt="2023-06-19T01:36:44.629" v="11088" actId="790"/>
          <ac:spMkLst>
            <pc:docMk/>
            <pc:sldMk cId="2127318424" sldId="11487"/>
            <ac:spMk id="17" creationId="{138CAE1C-4772-2CEC-3264-876EAF5562F3}"/>
          </ac:spMkLst>
        </pc:spChg>
      </pc:sldChg>
      <pc:sldChg chg="addSp modSp mod modNotes">
        <pc:chgData name="Joao Cabral de Assis" userId="2e28f1b2-599c-43fa-9c22-5b7536e3b37b" providerId="ADAL" clId="{903218E2-C22B-4CC8-9AB6-343CA3DF934D}" dt="2023-06-19T01:36:44.571" v="11061" actId="790"/>
        <pc:sldMkLst>
          <pc:docMk/>
          <pc:sldMk cId="306005183" sldId="11488"/>
        </pc:sldMkLst>
        <pc:spChg chg="mod">
          <ac:chgData name="Joao Cabral de Assis" userId="2e28f1b2-599c-43fa-9c22-5b7536e3b37b" providerId="ADAL" clId="{903218E2-C22B-4CC8-9AB6-343CA3DF934D}" dt="2023-06-19T01:36:44.458" v="11015" actId="790"/>
          <ac:spMkLst>
            <pc:docMk/>
            <pc:sldMk cId="306005183" sldId="11488"/>
            <ac:spMk id="2" creationId="{8D38371C-F5DA-FCD5-69A7-3CF9E2E29FF1}"/>
          </ac:spMkLst>
        </pc:spChg>
        <pc:spChg chg="add mod">
          <ac:chgData name="Joao Cabral de Assis" userId="2e28f1b2-599c-43fa-9c22-5b7536e3b37b" providerId="ADAL" clId="{903218E2-C22B-4CC8-9AB6-343CA3DF934D}" dt="2023-06-19T01:36:44.559" v="11058" actId="790"/>
          <ac:spMkLst>
            <pc:docMk/>
            <pc:sldMk cId="306005183" sldId="11488"/>
            <ac:spMk id="3" creationId="{941E65A3-CE1E-F30B-2486-6E614D210B06}"/>
          </ac:spMkLst>
        </pc:spChg>
        <pc:spChg chg="mod">
          <ac:chgData name="Joao Cabral de Assis" userId="2e28f1b2-599c-43fa-9c22-5b7536e3b37b" providerId="ADAL" clId="{903218E2-C22B-4CC8-9AB6-343CA3DF934D}" dt="2023-06-19T01:36:44.554" v="11056" actId="790"/>
          <ac:spMkLst>
            <pc:docMk/>
            <pc:sldMk cId="306005183" sldId="11488"/>
            <ac:spMk id="4" creationId="{55ACEB17-B2FD-9412-7A0B-25286BEC3381}"/>
          </ac:spMkLst>
        </pc:spChg>
        <pc:spChg chg="add mod">
          <ac:chgData name="Joao Cabral de Assis" userId="2e28f1b2-599c-43fa-9c22-5b7536e3b37b" providerId="ADAL" clId="{903218E2-C22B-4CC8-9AB6-343CA3DF934D}" dt="2023-06-19T01:36:44.561" v="11059" actId="790"/>
          <ac:spMkLst>
            <pc:docMk/>
            <pc:sldMk cId="306005183" sldId="11488"/>
            <ac:spMk id="5" creationId="{26498320-FF38-EC71-ED3F-06C0754DFCA3}"/>
          </ac:spMkLst>
        </pc:spChg>
        <pc:spChg chg="mod">
          <ac:chgData name="Joao Cabral de Assis" userId="2e28f1b2-599c-43fa-9c22-5b7536e3b37b" providerId="ADAL" clId="{903218E2-C22B-4CC8-9AB6-343CA3DF934D}" dt="2023-06-19T01:36:44.460" v="11016"/>
          <ac:spMkLst>
            <pc:docMk/>
            <pc:sldMk cId="306005183" sldId="11488"/>
            <ac:spMk id="6" creationId="{BE7B7E01-8E52-1992-CE60-7D14F2113C36}"/>
          </ac:spMkLst>
        </pc:spChg>
        <pc:spChg chg="mod">
          <ac:chgData name="Joao Cabral de Assis" userId="2e28f1b2-599c-43fa-9c22-5b7536e3b37b" providerId="ADAL" clId="{903218E2-C22B-4CC8-9AB6-343CA3DF934D}" dt="2023-06-19T01:36:44.463" v="11017" actId="790"/>
          <ac:spMkLst>
            <pc:docMk/>
            <pc:sldMk cId="306005183" sldId="11488"/>
            <ac:spMk id="8" creationId="{7D754657-CEC2-3192-D7F0-2226B9B3CDC4}"/>
          </ac:spMkLst>
        </pc:spChg>
        <pc:spChg chg="mod">
          <ac:chgData name="Joao Cabral de Assis" userId="2e28f1b2-599c-43fa-9c22-5b7536e3b37b" providerId="ADAL" clId="{903218E2-C22B-4CC8-9AB6-343CA3DF934D}" dt="2023-06-19T01:36:44.465" v="11018" actId="790"/>
          <ac:spMkLst>
            <pc:docMk/>
            <pc:sldMk cId="306005183" sldId="11488"/>
            <ac:spMk id="9" creationId="{EB9188F7-78F6-06AA-78CA-CBADFAD1A387}"/>
          </ac:spMkLst>
        </pc:spChg>
        <pc:spChg chg="mod">
          <ac:chgData name="Joao Cabral de Assis" userId="2e28f1b2-599c-43fa-9c22-5b7536e3b37b" providerId="ADAL" clId="{903218E2-C22B-4CC8-9AB6-343CA3DF934D}" dt="2023-06-19T01:36:44.466" v="11019" actId="790"/>
          <ac:spMkLst>
            <pc:docMk/>
            <pc:sldMk cId="306005183" sldId="11488"/>
            <ac:spMk id="10" creationId="{5697FFC8-C1E5-F8A9-0AE6-85365A8239CF}"/>
          </ac:spMkLst>
        </pc:spChg>
        <pc:spChg chg="mod">
          <ac:chgData name="Joao Cabral de Assis" userId="2e28f1b2-599c-43fa-9c22-5b7536e3b37b" providerId="ADAL" clId="{903218E2-C22B-4CC8-9AB6-343CA3DF934D}" dt="2023-06-19T01:36:44.468" v="11020" actId="790"/>
          <ac:spMkLst>
            <pc:docMk/>
            <pc:sldMk cId="306005183" sldId="11488"/>
            <ac:spMk id="11" creationId="{C2CCDEB3-02B8-7DF8-0B8A-342E655DDAE2}"/>
          </ac:spMkLst>
        </pc:spChg>
        <pc:spChg chg="mod">
          <ac:chgData name="Joao Cabral de Assis" userId="2e28f1b2-599c-43fa-9c22-5b7536e3b37b" providerId="ADAL" clId="{903218E2-C22B-4CC8-9AB6-343CA3DF934D}" dt="2023-06-19T01:36:44.470" v="11021" actId="790"/>
          <ac:spMkLst>
            <pc:docMk/>
            <pc:sldMk cId="306005183" sldId="11488"/>
            <ac:spMk id="12" creationId="{3B18F735-9DE2-AD72-B43F-1D39E39D5CDC}"/>
          </ac:spMkLst>
        </pc:spChg>
        <pc:spChg chg="mod">
          <ac:chgData name="Joao Cabral de Assis" userId="2e28f1b2-599c-43fa-9c22-5b7536e3b37b" providerId="ADAL" clId="{903218E2-C22B-4CC8-9AB6-343CA3DF934D}" dt="2023-06-19T01:36:44.471" v="11022" actId="790"/>
          <ac:spMkLst>
            <pc:docMk/>
            <pc:sldMk cId="306005183" sldId="11488"/>
            <ac:spMk id="13" creationId="{E001ED29-20AA-DDD2-6084-5C19C6398C2E}"/>
          </ac:spMkLst>
        </pc:spChg>
        <pc:spChg chg="mod">
          <ac:chgData name="Joao Cabral de Assis" userId="2e28f1b2-599c-43fa-9c22-5b7536e3b37b" providerId="ADAL" clId="{903218E2-C22B-4CC8-9AB6-343CA3DF934D}" dt="2023-06-19T01:36:44.473" v="11023" actId="790"/>
          <ac:spMkLst>
            <pc:docMk/>
            <pc:sldMk cId="306005183" sldId="11488"/>
            <ac:spMk id="14" creationId="{63F8F679-2742-1F22-420D-F3821E915F30}"/>
          </ac:spMkLst>
        </pc:spChg>
        <pc:spChg chg="mod">
          <ac:chgData name="Joao Cabral de Assis" userId="2e28f1b2-599c-43fa-9c22-5b7536e3b37b" providerId="ADAL" clId="{903218E2-C22B-4CC8-9AB6-343CA3DF934D}" dt="2023-06-19T01:36:44.476" v="11024" actId="790"/>
          <ac:spMkLst>
            <pc:docMk/>
            <pc:sldMk cId="306005183" sldId="11488"/>
            <ac:spMk id="15" creationId="{17C38575-02A3-CD68-04F5-4E68C74F7870}"/>
          </ac:spMkLst>
        </pc:spChg>
        <pc:spChg chg="mod">
          <ac:chgData name="Joao Cabral de Assis" userId="2e28f1b2-599c-43fa-9c22-5b7536e3b37b" providerId="ADAL" clId="{903218E2-C22B-4CC8-9AB6-343CA3DF934D}" dt="2023-06-19T01:36:44.478" v="11025" actId="790"/>
          <ac:spMkLst>
            <pc:docMk/>
            <pc:sldMk cId="306005183" sldId="11488"/>
            <ac:spMk id="16" creationId="{32B4B48C-6B17-A5F7-7AC5-C7461C719791}"/>
          </ac:spMkLst>
        </pc:spChg>
        <pc:spChg chg="mod">
          <ac:chgData name="Joao Cabral de Assis" userId="2e28f1b2-599c-43fa-9c22-5b7536e3b37b" providerId="ADAL" clId="{903218E2-C22B-4CC8-9AB6-343CA3DF934D}" dt="2023-06-19T01:36:44.480" v="11026" actId="790"/>
          <ac:spMkLst>
            <pc:docMk/>
            <pc:sldMk cId="306005183" sldId="11488"/>
            <ac:spMk id="17" creationId="{ECFF0102-7615-39EB-51C5-35BB4CA87196}"/>
          </ac:spMkLst>
        </pc:spChg>
        <pc:spChg chg="mod">
          <ac:chgData name="Joao Cabral de Assis" userId="2e28f1b2-599c-43fa-9c22-5b7536e3b37b" providerId="ADAL" clId="{903218E2-C22B-4CC8-9AB6-343CA3DF934D}" dt="2023-06-19T01:36:44.482" v="11027" actId="790"/>
          <ac:spMkLst>
            <pc:docMk/>
            <pc:sldMk cId="306005183" sldId="11488"/>
            <ac:spMk id="18" creationId="{0AE2674C-CA34-8843-8131-B4EBE8659ABE}"/>
          </ac:spMkLst>
        </pc:spChg>
        <pc:spChg chg="mod">
          <ac:chgData name="Joao Cabral de Assis" userId="2e28f1b2-599c-43fa-9c22-5b7536e3b37b" providerId="ADAL" clId="{903218E2-C22B-4CC8-9AB6-343CA3DF934D}" dt="2023-06-19T01:36:44.485" v="11028" actId="790"/>
          <ac:spMkLst>
            <pc:docMk/>
            <pc:sldMk cId="306005183" sldId="11488"/>
            <ac:spMk id="19" creationId="{2F1031DA-EEC0-48CE-E3E1-EA01C9404285}"/>
          </ac:spMkLst>
        </pc:spChg>
        <pc:spChg chg="mod">
          <ac:chgData name="Joao Cabral de Assis" userId="2e28f1b2-599c-43fa-9c22-5b7536e3b37b" providerId="ADAL" clId="{903218E2-C22B-4CC8-9AB6-343CA3DF934D}" dt="2023-06-19T01:36:44.487" v="11029" actId="790"/>
          <ac:spMkLst>
            <pc:docMk/>
            <pc:sldMk cId="306005183" sldId="11488"/>
            <ac:spMk id="20" creationId="{F801CE6D-6187-6284-BCF9-5501FDB2E5A3}"/>
          </ac:spMkLst>
        </pc:spChg>
        <pc:spChg chg="mod">
          <ac:chgData name="Joao Cabral de Assis" userId="2e28f1b2-599c-43fa-9c22-5b7536e3b37b" providerId="ADAL" clId="{903218E2-C22B-4CC8-9AB6-343CA3DF934D}" dt="2023-06-19T01:36:44.489" v="11030" actId="790"/>
          <ac:spMkLst>
            <pc:docMk/>
            <pc:sldMk cId="306005183" sldId="11488"/>
            <ac:spMk id="21" creationId="{8914868B-CFBE-0093-1989-0418FF5BD169}"/>
          </ac:spMkLst>
        </pc:spChg>
        <pc:spChg chg="mod">
          <ac:chgData name="Joao Cabral de Assis" userId="2e28f1b2-599c-43fa-9c22-5b7536e3b37b" providerId="ADAL" clId="{903218E2-C22B-4CC8-9AB6-343CA3DF934D}" dt="2023-06-19T01:36:44.493" v="11031" actId="790"/>
          <ac:spMkLst>
            <pc:docMk/>
            <pc:sldMk cId="306005183" sldId="11488"/>
            <ac:spMk id="22" creationId="{668DA3EB-878D-9A04-45D9-1FE08ABBAC0F}"/>
          </ac:spMkLst>
        </pc:spChg>
        <pc:spChg chg="mod">
          <ac:chgData name="Joao Cabral de Assis" userId="2e28f1b2-599c-43fa-9c22-5b7536e3b37b" providerId="ADAL" clId="{903218E2-C22B-4CC8-9AB6-343CA3DF934D}" dt="2023-06-19T01:36:44.495" v="11032" actId="790"/>
          <ac:spMkLst>
            <pc:docMk/>
            <pc:sldMk cId="306005183" sldId="11488"/>
            <ac:spMk id="23" creationId="{1615854F-CC69-672B-2478-C97B50862FEE}"/>
          </ac:spMkLst>
        </pc:spChg>
        <pc:spChg chg="mod">
          <ac:chgData name="Joao Cabral de Assis" userId="2e28f1b2-599c-43fa-9c22-5b7536e3b37b" providerId="ADAL" clId="{903218E2-C22B-4CC8-9AB6-343CA3DF934D}" dt="2023-06-19T01:36:44.497" v="11033" actId="790"/>
          <ac:spMkLst>
            <pc:docMk/>
            <pc:sldMk cId="306005183" sldId="11488"/>
            <ac:spMk id="24" creationId="{4E62BAC0-E370-2A10-949F-3E3923AF6206}"/>
          </ac:spMkLst>
        </pc:spChg>
        <pc:spChg chg="mod">
          <ac:chgData name="Joao Cabral de Assis" userId="2e28f1b2-599c-43fa-9c22-5b7536e3b37b" providerId="ADAL" clId="{903218E2-C22B-4CC8-9AB6-343CA3DF934D}" dt="2023-06-19T01:36:44.500" v="11034" actId="790"/>
          <ac:spMkLst>
            <pc:docMk/>
            <pc:sldMk cId="306005183" sldId="11488"/>
            <ac:spMk id="25" creationId="{04625E5D-0EDA-22B4-1093-4CC6BC330CF5}"/>
          </ac:spMkLst>
        </pc:spChg>
        <pc:spChg chg="mod">
          <ac:chgData name="Joao Cabral de Assis" userId="2e28f1b2-599c-43fa-9c22-5b7536e3b37b" providerId="ADAL" clId="{903218E2-C22B-4CC8-9AB6-343CA3DF934D}" dt="2023-06-19T01:36:44.502" v="11035" actId="790"/>
          <ac:spMkLst>
            <pc:docMk/>
            <pc:sldMk cId="306005183" sldId="11488"/>
            <ac:spMk id="26" creationId="{0B4135F1-21DB-69CB-E42A-AE24F0FA70AA}"/>
          </ac:spMkLst>
        </pc:spChg>
        <pc:spChg chg="mod">
          <ac:chgData name="Joao Cabral de Assis" userId="2e28f1b2-599c-43fa-9c22-5b7536e3b37b" providerId="ADAL" clId="{903218E2-C22B-4CC8-9AB6-343CA3DF934D}" dt="2023-06-19T01:36:44.504" v="11036" actId="790"/>
          <ac:spMkLst>
            <pc:docMk/>
            <pc:sldMk cId="306005183" sldId="11488"/>
            <ac:spMk id="27" creationId="{FE24AFBB-935C-C687-283E-BD4B62257EC9}"/>
          </ac:spMkLst>
        </pc:spChg>
        <pc:spChg chg="mod">
          <ac:chgData name="Joao Cabral de Assis" userId="2e28f1b2-599c-43fa-9c22-5b7536e3b37b" providerId="ADAL" clId="{903218E2-C22B-4CC8-9AB6-343CA3DF934D}" dt="2023-06-19T01:36:44.507" v="11037" actId="790"/>
          <ac:spMkLst>
            <pc:docMk/>
            <pc:sldMk cId="306005183" sldId="11488"/>
            <ac:spMk id="28" creationId="{32479F5E-41E2-3671-2E37-43B30C4EFC0F}"/>
          </ac:spMkLst>
        </pc:spChg>
        <pc:spChg chg="mod">
          <ac:chgData name="Joao Cabral de Assis" userId="2e28f1b2-599c-43fa-9c22-5b7536e3b37b" providerId="ADAL" clId="{903218E2-C22B-4CC8-9AB6-343CA3DF934D}" dt="2023-06-19T01:36:44.510" v="11038" actId="790"/>
          <ac:spMkLst>
            <pc:docMk/>
            <pc:sldMk cId="306005183" sldId="11488"/>
            <ac:spMk id="29" creationId="{95994EFC-DEC9-3123-C291-7D517488018B}"/>
          </ac:spMkLst>
        </pc:spChg>
        <pc:spChg chg="mod">
          <ac:chgData name="Joao Cabral de Assis" userId="2e28f1b2-599c-43fa-9c22-5b7536e3b37b" providerId="ADAL" clId="{903218E2-C22B-4CC8-9AB6-343CA3DF934D}" dt="2023-06-19T01:36:44.512" v="11039" actId="790"/>
          <ac:spMkLst>
            <pc:docMk/>
            <pc:sldMk cId="306005183" sldId="11488"/>
            <ac:spMk id="30" creationId="{1D0950DC-A593-5303-A754-FCD722473D87}"/>
          </ac:spMkLst>
        </pc:spChg>
        <pc:spChg chg="mod">
          <ac:chgData name="Joao Cabral de Assis" userId="2e28f1b2-599c-43fa-9c22-5b7536e3b37b" providerId="ADAL" clId="{903218E2-C22B-4CC8-9AB6-343CA3DF934D}" dt="2023-06-19T01:36:44.515" v="11040" actId="790"/>
          <ac:spMkLst>
            <pc:docMk/>
            <pc:sldMk cId="306005183" sldId="11488"/>
            <ac:spMk id="31" creationId="{D63FF902-1CB2-7321-FB7C-DFBB8301A6AD}"/>
          </ac:spMkLst>
        </pc:spChg>
        <pc:spChg chg="mod">
          <ac:chgData name="Joao Cabral de Assis" userId="2e28f1b2-599c-43fa-9c22-5b7536e3b37b" providerId="ADAL" clId="{903218E2-C22B-4CC8-9AB6-343CA3DF934D}" dt="2023-06-19T01:36:44.518" v="11041" actId="790"/>
          <ac:spMkLst>
            <pc:docMk/>
            <pc:sldMk cId="306005183" sldId="11488"/>
            <ac:spMk id="32" creationId="{3E088D13-EE7E-BC85-3EDA-5C120471630A}"/>
          </ac:spMkLst>
        </pc:spChg>
        <pc:spChg chg="mod">
          <ac:chgData name="Joao Cabral de Assis" userId="2e28f1b2-599c-43fa-9c22-5b7536e3b37b" providerId="ADAL" clId="{903218E2-C22B-4CC8-9AB6-343CA3DF934D}" dt="2023-06-19T01:36:44.519" v="11042" actId="790"/>
          <ac:spMkLst>
            <pc:docMk/>
            <pc:sldMk cId="306005183" sldId="11488"/>
            <ac:spMk id="33" creationId="{EA05D466-B5CE-076D-995B-239F8D693ABB}"/>
          </ac:spMkLst>
        </pc:spChg>
        <pc:spChg chg="mod">
          <ac:chgData name="Joao Cabral de Assis" userId="2e28f1b2-599c-43fa-9c22-5b7536e3b37b" providerId="ADAL" clId="{903218E2-C22B-4CC8-9AB6-343CA3DF934D}" dt="2023-06-19T01:36:44.522" v="11043" actId="790"/>
          <ac:spMkLst>
            <pc:docMk/>
            <pc:sldMk cId="306005183" sldId="11488"/>
            <ac:spMk id="34" creationId="{3B80E640-9C3A-D963-5449-BD73B2EC88C2}"/>
          </ac:spMkLst>
        </pc:spChg>
        <pc:spChg chg="mod">
          <ac:chgData name="Joao Cabral de Assis" userId="2e28f1b2-599c-43fa-9c22-5b7536e3b37b" providerId="ADAL" clId="{903218E2-C22B-4CC8-9AB6-343CA3DF934D}" dt="2023-06-19T01:36:44.525" v="11044" actId="790"/>
          <ac:spMkLst>
            <pc:docMk/>
            <pc:sldMk cId="306005183" sldId="11488"/>
            <ac:spMk id="35" creationId="{C64A91A9-C4E6-BB16-02C6-8351874C4293}"/>
          </ac:spMkLst>
        </pc:spChg>
        <pc:spChg chg="mod">
          <ac:chgData name="Joao Cabral de Assis" userId="2e28f1b2-599c-43fa-9c22-5b7536e3b37b" providerId="ADAL" clId="{903218E2-C22B-4CC8-9AB6-343CA3DF934D}" dt="2023-06-19T01:36:44.527" v="11045" actId="790"/>
          <ac:spMkLst>
            <pc:docMk/>
            <pc:sldMk cId="306005183" sldId="11488"/>
            <ac:spMk id="36" creationId="{D2BFB8CF-2784-5036-F719-02267E301CD8}"/>
          </ac:spMkLst>
        </pc:spChg>
        <pc:spChg chg="mod">
          <ac:chgData name="Joao Cabral de Assis" userId="2e28f1b2-599c-43fa-9c22-5b7536e3b37b" providerId="ADAL" clId="{903218E2-C22B-4CC8-9AB6-343CA3DF934D}" dt="2023-06-19T01:36:44.529" v="11046" actId="790"/>
          <ac:spMkLst>
            <pc:docMk/>
            <pc:sldMk cId="306005183" sldId="11488"/>
            <ac:spMk id="37" creationId="{EABE3E27-9130-60D1-0134-F649008A9F5F}"/>
          </ac:spMkLst>
        </pc:spChg>
        <pc:spChg chg="mod">
          <ac:chgData name="Joao Cabral de Assis" userId="2e28f1b2-599c-43fa-9c22-5b7536e3b37b" providerId="ADAL" clId="{903218E2-C22B-4CC8-9AB6-343CA3DF934D}" dt="2023-06-19T01:36:44.531" v="11047" actId="790"/>
          <ac:spMkLst>
            <pc:docMk/>
            <pc:sldMk cId="306005183" sldId="11488"/>
            <ac:spMk id="38" creationId="{50FE556E-47AE-64C6-E66C-B83AD7353316}"/>
          </ac:spMkLst>
        </pc:spChg>
        <pc:spChg chg="mod">
          <ac:chgData name="Joao Cabral de Assis" userId="2e28f1b2-599c-43fa-9c22-5b7536e3b37b" providerId="ADAL" clId="{903218E2-C22B-4CC8-9AB6-343CA3DF934D}" dt="2023-06-19T01:36:44.534" v="11048" actId="790"/>
          <ac:spMkLst>
            <pc:docMk/>
            <pc:sldMk cId="306005183" sldId="11488"/>
            <ac:spMk id="39" creationId="{019F8D8F-F6FA-E3C3-D783-DDAA70592DAE}"/>
          </ac:spMkLst>
        </pc:spChg>
        <pc:spChg chg="mod">
          <ac:chgData name="Joao Cabral de Assis" userId="2e28f1b2-599c-43fa-9c22-5b7536e3b37b" providerId="ADAL" clId="{903218E2-C22B-4CC8-9AB6-343CA3DF934D}" dt="2023-06-19T01:36:44.536" v="11049" actId="790"/>
          <ac:spMkLst>
            <pc:docMk/>
            <pc:sldMk cId="306005183" sldId="11488"/>
            <ac:spMk id="40" creationId="{C0AFF7EA-1EC1-B18F-6341-C78CB456E52E}"/>
          </ac:spMkLst>
        </pc:spChg>
        <pc:spChg chg="mod">
          <ac:chgData name="Joao Cabral de Assis" userId="2e28f1b2-599c-43fa-9c22-5b7536e3b37b" providerId="ADAL" clId="{903218E2-C22B-4CC8-9AB6-343CA3DF934D}" dt="2023-06-19T01:36:44.539" v="11050" actId="790"/>
          <ac:spMkLst>
            <pc:docMk/>
            <pc:sldMk cId="306005183" sldId="11488"/>
            <ac:spMk id="41" creationId="{251C080F-5E83-58F5-65F6-8A7D7F791D00}"/>
          </ac:spMkLst>
        </pc:spChg>
        <pc:spChg chg="mod">
          <ac:chgData name="Joao Cabral de Assis" userId="2e28f1b2-599c-43fa-9c22-5b7536e3b37b" providerId="ADAL" clId="{903218E2-C22B-4CC8-9AB6-343CA3DF934D}" dt="2023-06-19T01:36:44.542" v="11051" actId="790"/>
          <ac:spMkLst>
            <pc:docMk/>
            <pc:sldMk cId="306005183" sldId="11488"/>
            <ac:spMk id="42" creationId="{9ED4E1BA-2F75-020E-653E-0A53E8B771AB}"/>
          </ac:spMkLst>
        </pc:spChg>
        <pc:spChg chg="mod">
          <ac:chgData name="Joao Cabral de Assis" userId="2e28f1b2-599c-43fa-9c22-5b7536e3b37b" providerId="ADAL" clId="{903218E2-C22B-4CC8-9AB6-343CA3DF934D}" dt="2023-06-19T01:36:44.544" v="11052" actId="790"/>
          <ac:spMkLst>
            <pc:docMk/>
            <pc:sldMk cId="306005183" sldId="11488"/>
            <ac:spMk id="43" creationId="{46BCDAD7-8255-6AB4-F59C-3F8A138641D0}"/>
          </ac:spMkLst>
        </pc:spChg>
        <pc:spChg chg="mod">
          <ac:chgData name="Joao Cabral de Assis" userId="2e28f1b2-599c-43fa-9c22-5b7536e3b37b" providerId="ADAL" clId="{903218E2-C22B-4CC8-9AB6-343CA3DF934D}" dt="2023-06-19T01:36:44.547" v="11053" actId="790"/>
          <ac:spMkLst>
            <pc:docMk/>
            <pc:sldMk cId="306005183" sldId="11488"/>
            <ac:spMk id="44" creationId="{8930976D-3324-0712-A7FC-69CDD639FB79}"/>
          </ac:spMkLst>
        </pc:spChg>
        <pc:spChg chg="mod">
          <ac:chgData name="Joao Cabral de Assis" userId="2e28f1b2-599c-43fa-9c22-5b7536e3b37b" providerId="ADAL" clId="{903218E2-C22B-4CC8-9AB6-343CA3DF934D}" dt="2023-06-19T01:36:44.557" v="11057" actId="790"/>
          <ac:spMkLst>
            <pc:docMk/>
            <pc:sldMk cId="306005183" sldId="11488"/>
            <ac:spMk id="46" creationId="{3E8F1530-B126-0AF7-4ADD-49A9E1E54FB6}"/>
          </ac:spMkLst>
        </pc:spChg>
        <pc:spChg chg="mod">
          <ac:chgData name="Joao Cabral de Assis" userId="2e28f1b2-599c-43fa-9c22-5b7536e3b37b" providerId="ADAL" clId="{903218E2-C22B-4CC8-9AB6-343CA3DF934D}" dt="2023-06-19T01:36:44.549" v="11054" actId="790"/>
          <ac:spMkLst>
            <pc:docMk/>
            <pc:sldMk cId="306005183" sldId="11488"/>
            <ac:spMk id="48" creationId="{A5427BBF-EC66-BD4C-8FBC-90F0D9456B26}"/>
          </ac:spMkLst>
        </pc:spChg>
        <pc:spChg chg="mod">
          <ac:chgData name="Joao Cabral de Assis" userId="2e28f1b2-599c-43fa-9c22-5b7536e3b37b" providerId="ADAL" clId="{903218E2-C22B-4CC8-9AB6-343CA3DF934D}" dt="2023-06-19T01:36:44.551" v="11055" actId="790"/>
          <ac:spMkLst>
            <pc:docMk/>
            <pc:sldMk cId="306005183" sldId="11488"/>
            <ac:spMk id="49" creationId="{9C3CC3E9-C46C-88EC-954C-4C0FD55ACC8D}"/>
          </ac:spMkLst>
        </pc:spChg>
      </pc:sldChg>
      <pc:sldChg chg="addSp delSp modSp mod modNotes">
        <pc:chgData name="Joao Cabral de Assis" userId="2e28f1b2-599c-43fa-9c22-5b7536e3b37b" providerId="ADAL" clId="{903218E2-C22B-4CC8-9AB6-343CA3DF934D}" dt="2023-06-19T01:36:44.876" v="11132" actId="790"/>
        <pc:sldMkLst>
          <pc:docMk/>
          <pc:sldMk cId="866834420" sldId="11489"/>
        </pc:sldMkLst>
        <pc:spChg chg="mod">
          <ac:chgData name="Joao Cabral de Assis" userId="2e28f1b2-599c-43fa-9c22-5b7536e3b37b" providerId="ADAL" clId="{903218E2-C22B-4CC8-9AB6-343CA3DF934D}" dt="2023-06-19T01:36:44.672" v="11107" actId="790"/>
          <ac:spMkLst>
            <pc:docMk/>
            <pc:sldMk cId="866834420" sldId="11489"/>
            <ac:spMk id="2" creationId="{32A4A0B9-5693-9928-7937-2BB6830F8EBC}"/>
          </ac:spMkLst>
        </pc:spChg>
        <pc:spChg chg="add del mod modVis">
          <ac:chgData name="Joao Cabral de Assis" userId="2e28f1b2-599c-43fa-9c22-5b7536e3b37b" providerId="ADAL" clId="{903218E2-C22B-4CC8-9AB6-343CA3DF934D}" dt="2023-06-12T15:36:02.341" v="2431"/>
          <ac:spMkLst>
            <pc:docMk/>
            <pc:sldMk cId="866834420" sldId="11489"/>
            <ac:spMk id="3" creationId="{8997DE0E-CAD1-4803-286C-5DE82CA7A306}"/>
          </ac:spMkLst>
        </pc:spChg>
        <pc:spChg chg="mod">
          <ac:chgData name="Joao Cabral de Assis" userId="2e28f1b2-599c-43fa-9c22-5b7536e3b37b" providerId="ADAL" clId="{903218E2-C22B-4CC8-9AB6-343CA3DF934D}" dt="2023-06-19T01:36:44.870" v="11129" actId="790"/>
          <ac:spMkLst>
            <pc:docMk/>
            <pc:sldMk cId="866834420" sldId="11489"/>
            <ac:spMk id="4" creationId="{58433931-2299-92B7-99A4-8620B040FFBE}"/>
          </ac:spMkLst>
        </pc:spChg>
        <pc:spChg chg="mod">
          <ac:chgData name="Joao Cabral de Assis" userId="2e28f1b2-599c-43fa-9c22-5b7536e3b37b" providerId="ADAL" clId="{903218E2-C22B-4CC8-9AB6-343CA3DF934D}" dt="2023-06-19T01:36:44.863" v="11126" actId="790"/>
          <ac:spMkLst>
            <pc:docMk/>
            <pc:sldMk cId="866834420" sldId="11489"/>
            <ac:spMk id="6" creationId="{28B94690-645C-1368-9C02-3D4605103ADE}"/>
          </ac:spMkLst>
        </pc:spChg>
        <pc:spChg chg="mod">
          <ac:chgData name="Joao Cabral de Assis" userId="2e28f1b2-599c-43fa-9c22-5b7536e3b37b" providerId="ADAL" clId="{903218E2-C22B-4CC8-9AB6-343CA3DF934D}" dt="2023-06-19T01:36:44.865" v="11127" actId="790"/>
          <ac:spMkLst>
            <pc:docMk/>
            <pc:sldMk cId="866834420" sldId="11489"/>
            <ac:spMk id="7" creationId="{EDA10E72-6C6A-60DC-C032-2C13E80AB56B}"/>
          </ac:spMkLst>
        </pc:spChg>
        <pc:spChg chg="mod">
          <ac:chgData name="Joao Cabral de Assis" userId="2e28f1b2-599c-43fa-9c22-5b7536e3b37b" providerId="ADAL" clId="{903218E2-C22B-4CC8-9AB6-343CA3DF934D}" dt="2023-06-19T01:36:44.868" v="11128" actId="790"/>
          <ac:spMkLst>
            <pc:docMk/>
            <pc:sldMk cId="866834420" sldId="11489"/>
            <ac:spMk id="9" creationId="{F289E8D8-0557-E563-B4FA-AFED273BD66C}"/>
          </ac:spMkLst>
        </pc:spChg>
        <pc:spChg chg="mod">
          <ac:chgData name="Joao Cabral de Assis" userId="2e28f1b2-599c-43fa-9c22-5b7536e3b37b" providerId="ADAL" clId="{903218E2-C22B-4CC8-9AB6-343CA3DF934D}" dt="2023-06-19T01:36:44.871" v="11130" actId="790"/>
          <ac:spMkLst>
            <pc:docMk/>
            <pc:sldMk cId="866834420" sldId="11489"/>
            <ac:spMk id="12" creationId="{31698C09-3A05-1200-7FF3-EEFA0225635A}"/>
          </ac:spMkLst>
        </pc:spChg>
        <pc:graphicFrameChg chg="modGraphic">
          <ac:chgData name="Joao Cabral de Assis" userId="2e28f1b2-599c-43fa-9c22-5b7536e3b37b" providerId="ADAL" clId="{903218E2-C22B-4CC8-9AB6-343CA3DF934D}" dt="2023-06-19T01:36:44.854" v="11125" actId="790"/>
          <ac:graphicFrameMkLst>
            <pc:docMk/>
            <pc:sldMk cId="866834420" sldId="11489"/>
            <ac:graphicFrameMk id="5" creationId="{53067E79-396A-897F-2910-7FE9D3D7EC3F}"/>
          </ac:graphicFrameMkLst>
        </pc:graphicFrameChg>
        <pc:graphicFrameChg chg="mod">
          <ac:chgData name="Joao Cabral de Assis" userId="2e28f1b2-599c-43fa-9c22-5b7536e3b37b" providerId="ADAL" clId="{903218E2-C22B-4CC8-9AB6-343CA3DF934D}" dt="2023-06-12T15:36:02.344" v="2433"/>
          <ac:graphicFrameMkLst>
            <pc:docMk/>
            <pc:sldMk cId="866834420" sldId="11489"/>
            <ac:graphicFrameMk id="8" creationId="{0FE51068-D8AF-5888-93ED-9BF0F43BCDD5}"/>
          </ac:graphicFrameMkLst>
        </pc:graphicFrameChg>
      </pc:sldChg>
      <pc:sldChg chg="modSp mod delCm modCm modNotes">
        <pc:chgData name="Joao Cabral de Assis" userId="2e28f1b2-599c-43fa-9c22-5b7536e3b37b" providerId="ADAL" clId="{903218E2-C22B-4CC8-9AB6-343CA3DF934D}" dt="2023-06-19T01:36:44.926" v="11149" actId="790"/>
        <pc:sldMkLst>
          <pc:docMk/>
          <pc:sldMk cId="4022284831" sldId="11490"/>
        </pc:sldMkLst>
        <pc:spChg chg="mod">
          <ac:chgData name="Joao Cabral de Assis" userId="2e28f1b2-599c-43fa-9c22-5b7536e3b37b" providerId="ADAL" clId="{903218E2-C22B-4CC8-9AB6-343CA3DF934D}" dt="2023-06-19T01:36:44.907" v="11142" actId="790"/>
          <ac:spMkLst>
            <pc:docMk/>
            <pc:sldMk cId="4022284831" sldId="11490"/>
            <ac:spMk id="2" creationId="{F16E8DA4-218F-5965-477D-70E48D50669C}"/>
          </ac:spMkLst>
        </pc:spChg>
        <pc:spChg chg="mod">
          <ac:chgData name="Joao Cabral de Assis" userId="2e28f1b2-599c-43fa-9c22-5b7536e3b37b" providerId="ADAL" clId="{903218E2-C22B-4CC8-9AB6-343CA3DF934D}" dt="2023-06-19T01:36:44.920" v="11147" actId="790"/>
          <ac:spMkLst>
            <pc:docMk/>
            <pc:sldMk cId="4022284831" sldId="11490"/>
            <ac:spMk id="3" creationId="{B2878E9B-BC7F-98AB-E5C8-C428E470F3DF}"/>
          </ac:spMkLst>
        </pc:spChg>
        <pc:spChg chg="mod">
          <ac:chgData name="Joao Cabral de Assis" userId="2e28f1b2-599c-43fa-9c22-5b7536e3b37b" providerId="ADAL" clId="{903218E2-C22B-4CC8-9AB6-343CA3DF934D}" dt="2023-06-19T01:36:44.916" v="11145" actId="790"/>
          <ac:spMkLst>
            <pc:docMk/>
            <pc:sldMk cId="4022284831" sldId="11490"/>
            <ac:spMk id="4" creationId="{42D23A73-6B0A-6997-165F-52618C5768FB}"/>
          </ac:spMkLst>
        </pc:spChg>
        <pc:spChg chg="mod">
          <ac:chgData name="Joao Cabral de Assis" userId="2e28f1b2-599c-43fa-9c22-5b7536e3b37b" providerId="ADAL" clId="{903218E2-C22B-4CC8-9AB6-343CA3DF934D}" dt="2023-06-19T01:36:44.909" v="11143"/>
          <ac:spMkLst>
            <pc:docMk/>
            <pc:sldMk cId="4022284831" sldId="11490"/>
            <ac:spMk id="8" creationId="{C92A1687-2E9A-100A-C399-503753805DD8}"/>
          </ac:spMkLst>
        </pc:spChg>
        <pc:spChg chg="mod">
          <ac:chgData name="Joao Cabral de Assis" userId="2e28f1b2-599c-43fa-9c22-5b7536e3b37b" providerId="ADAL" clId="{903218E2-C22B-4CC8-9AB6-343CA3DF934D}" dt="2023-06-19T01:36:44.913" v="11144" actId="790"/>
          <ac:spMkLst>
            <pc:docMk/>
            <pc:sldMk cId="4022284831" sldId="11490"/>
            <ac:spMk id="9" creationId="{7ABB9DE1-2E3D-CE65-B6A5-500EA2BA97AF}"/>
          </ac:spMkLst>
        </pc:spChg>
        <pc:spChg chg="mod">
          <ac:chgData name="Joao Cabral de Assis" userId="2e28f1b2-599c-43fa-9c22-5b7536e3b37b" providerId="ADAL" clId="{903218E2-C22B-4CC8-9AB6-343CA3DF934D}" dt="2023-06-19T01:36:44.918" v="11146" actId="790"/>
          <ac:spMkLst>
            <pc:docMk/>
            <pc:sldMk cId="4022284831" sldId="11490"/>
            <ac:spMk id="12" creationId="{43692BD3-EE3C-C7E4-2478-6BA6812AF575}"/>
          </ac:spMkLst>
        </pc:spChg>
      </pc:sldChg>
      <pc:sldChg chg="addSp delSp modSp mod modNotes">
        <pc:chgData name="Joao Cabral de Assis" userId="2e28f1b2-599c-43fa-9c22-5b7536e3b37b" providerId="ADAL" clId="{903218E2-C22B-4CC8-9AB6-343CA3DF934D}" dt="2023-06-19T01:36:45.003" v="11194" actId="790"/>
        <pc:sldMkLst>
          <pc:docMk/>
          <pc:sldMk cId="1455971848" sldId="11491"/>
        </pc:sldMkLst>
        <pc:spChg chg="mod">
          <ac:chgData name="Joao Cabral de Assis" userId="2e28f1b2-599c-43fa-9c22-5b7536e3b37b" providerId="ADAL" clId="{903218E2-C22B-4CC8-9AB6-343CA3DF934D}" dt="2023-06-19T01:36:44.929" v="11150" actId="790"/>
          <ac:spMkLst>
            <pc:docMk/>
            <pc:sldMk cId="1455971848" sldId="11491"/>
            <ac:spMk id="2" creationId="{53A4C38C-AC48-49E9-FFB6-D712B883A294}"/>
          </ac:spMkLst>
        </pc:spChg>
        <pc:spChg chg="add del mod modVis">
          <ac:chgData name="Joao Cabral de Assis" userId="2e28f1b2-599c-43fa-9c22-5b7536e3b37b" providerId="ADAL" clId="{903218E2-C22B-4CC8-9AB6-343CA3DF934D}" dt="2023-06-12T15:36:29.800" v="2460"/>
          <ac:spMkLst>
            <pc:docMk/>
            <pc:sldMk cId="1455971848" sldId="11491"/>
            <ac:spMk id="3" creationId="{37739F4E-5CC9-3694-90D1-CE4B8EBA5B20}"/>
          </ac:spMkLst>
        </pc:spChg>
        <pc:spChg chg="mod">
          <ac:chgData name="Joao Cabral de Assis" userId="2e28f1b2-599c-43fa-9c22-5b7536e3b37b" providerId="ADAL" clId="{903218E2-C22B-4CC8-9AB6-343CA3DF934D}" dt="2023-06-19T01:36:44.999" v="11191" actId="790"/>
          <ac:spMkLst>
            <pc:docMk/>
            <pc:sldMk cId="1455971848" sldId="11491"/>
            <ac:spMk id="4" creationId="{C4724B3E-6B69-83E3-7878-93C7FAC01A2F}"/>
          </ac:spMkLst>
        </pc:spChg>
        <pc:spChg chg="add del mod modVis">
          <ac:chgData name="Joao Cabral de Assis" userId="2e28f1b2-599c-43fa-9c22-5b7536e3b37b" providerId="ADAL" clId="{903218E2-C22B-4CC8-9AB6-343CA3DF934D}" dt="2023-06-12T15:36:31.769" v="2494"/>
          <ac:spMkLst>
            <pc:docMk/>
            <pc:sldMk cId="1455971848" sldId="11491"/>
            <ac:spMk id="5" creationId="{F32D6499-00C1-5689-E03B-36965119103E}"/>
          </ac:spMkLst>
        </pc:spChg>
        <pc:spChg chg="mod">
          <ac:chgData name="Joao Cabral de Assis" userId="2e28f1b2-599c-43fa-9c22-5b7536e3b37b" providerId="ADAL" clId="{903218E2-C22B-4CC8-9AB6-343CA3DF934D}" dt="2023-06-19T01:36:44.930" v="11151"/>
          <ac:spMkLst>
            <pc:docMk/>
            <pc:sldMk cId="1455971848" sldId="11491"/>
            <ac:spMk id="7" creationId="{87D53901-B372-100C-726A-D6457308AC89}"/>
          </ac:spMkLst>
        </pc:spChg>
        <pc:spChg chg="mod">
          <ac:chgData name="Joao Cabral de Assis" userId="2e28f1b2-599c-43fa-9c22-5b7536e3b37b" providerId="ADAL" clId="{903218E2-C22B-4CC8-9AB6-343CA3DF934D}" dt="2023-06-19T01:36:44.931" v="11152"/>
          <ac:spMkLst>
            <pc:docMk/>
            <pc:sldMk cId="1455971848" sldId="11491"/>
            <ac:spMk id="8" creationId="{4E548E15-B8BD-8430-768F-2347473D2D54}"/>
          </ac:spMkLst>
        </pc:spChg>
        <pc:spChg chg="mod">
          <ac:chgData name="Joao Cabral de Assis" userId="2e28f1b2-599c-43fa-9c22-5b7536e3b37b" providerId="ADAL" clId="{903218E2-C22B-4CC8-9AB6-343CA3DF934D}" dt="2023-06-19T01:36:44.933" v="11153"/>
          <ac:spMkLst>
            <pc:docMk/>
            <pc:sldMk cId="1455971848" sldId="11491"/>
            <ac:spMk id="9" creationId="{D4C65C9D-956C-2ABF-46E6-7F7980C8DBE3}"/>
          </ac:spMkLst>
        </pc:spChg>
        <pc:spChg chg="mod">
          <ac:chgData name="Joao Cabral de Assis" userId="2e28f1b2-599c-43fa-9c22-5b7536e3b37b" providerId="ADAL" clId="{903218E2-C22B-4CC8-9AB6-343CA3DF934D}" dt="2023-06-19T01:36:44.934" v="11154"/>
          <ac:spMkLst>
            <pc:docMk/>
            <pc:sldMk cId="1455971848" sldId="11491"/>
            <ac:spMk id="10" creationId="{001FFB60-6C14-92E0-0599-58D5E0123BD9}"/>
          </ac:spMkLst>
        </pc:spChg>
        <pc:spChg chg="mod">
          <ac:chgData name="Joao Cabral de Assis" userId="2e28f1b2-599c-43fa-9c22-5b7536e3b37b" providerId="ADAL" clId="{903218E2-C22B-4CC8-9AB6-343CA3DF934D}" dt="2023-06-19T01:36:44.936" v="11155" actId="790"/>
          <ac:spMkLst>
            <pc:docMk/>
            <pc:sldMk cId="1455971848" sldId="11491"/>
            <ac:spMk id="12" creationId="{DDFFAE33-50D9-510C-235D-7CDF171D5CB8}"/>
          </ac:spMkLst>
        </pc:spChg>
        <pc:spChg chg="mod">
          <ac:chgData name="Joao Cabral de Assis" userId="2e28f1b2-599c-43fa-9c22-5b7536e3b37b" providerId="ADAL" clId="{903218E2-C22B-4CC8-9AB6-343CA3DF934D}" dt="2023-06-19T01:36:44.938" v="11156" actId="790"/>
          <ac:spMkLst>
            <pc:docMk/>
            <pc:sldMk cId="1455971848" sldId="11491"/>
            <ac:spMk id="13" creationId="{B19F5D4C-7DD1-00A2-8187-2B1EA7D762F5}"/>
          </ac:spMkLst>
        </pc:spChg>
        <pc:spChg chg="mod">
          <ac:chgData name="Joao Cabral de Assis" userId="2e28f1b2-599c-43fa-9c22-5b7536e3b37b" providerId="ADAL" clId="{903218E2-C22B-4CC8-9AB6-343CA3DF934D}" dt="2023-06-19T01:36:44.940" v="11157" actId="790"/>
          <ac:spMkLst>
            <pc:docMk/>
            <pc:sldMk cId="1455971848" sldId="11491"/>
            <ac:spMk id="14" creationId="{48A512FF-E31A-10AC-DB81-22FB803E4D61}"/>
          </ac:spMkLst>
        </pc:spChg>
        <pc:spChg chg="mod">
          <ac:chgData name="Joao Cabral de Assis" userId="2e28f1b2-599c-43fa-9c22-5b7536e3b37b" providerId="ADAL" clId="{903218E2-C22B-4CC8-9AB6-343CA3DF934D}" dt="2023-06-19T01:36:44.942" v="11158" actId="790"/>
          <ac:spMkLst>
            <pc:docMk/>
            <pc:sldMk cId="1455971848" sldId="11491"/>
            <ac:spMk id="15" creationId="{E5C4C82D-B8C6-BB4E-C7F8-18D68E273D84}"/>
          </ac:spMkLst>
        </pc:spChg>
        <pc:spChg chg="mod">
          <ac:chgData name="Joao Cabral de Assis" userId="2e28f1b2-599c-43fa-9c22-5b7536e3b37b" providerId="ADAL" clId="{903218E2-C22B-4CC8-9AB6-343CA3DF934D}" dt="2023-06-19T01:36:44.943" v="11159" actId="790"/>
          <ac:spMkLst>
            <pc:docMk/>
            <pc:sldMk cId="1455971848" sldId="11491"/>
            <ac:spMk id="16" creationId="{E3F5AA06-1A3F-0829-1E6C-86CA76F318F2}"/>
          </ac:spMkLst>
        </pc:spChg>
        <pc:spChg chg="mod">
          <ac:chgData name="Joao Cabral de Assis" userId="2e28f1b2-599c-43fa-9c22-5b7536e3b37b" providerId="ADAL" clId="{903218E2-C22B-4CC8-9AB6-343CA3DF934D}" dt="2023-06-19T01:36:44.945" v="11160" actId="790"/>
          <ac:spMkLst>
            <pc:docMk/>
            <pc:sldMk cId="1455971848" sldId="11491"/>
            <ac:spMk id="17" creationId="{07674A9A-FB33-5E1D-2F24-F88C349DC74C}"/>
          </ac:spMkLst>
        </pc:spChg>
        <pc:spChg chg="mod">
          <ac:chgData name="Joao Cabral de Assis" userId="2e28f1b2-599c-43fa-9c22-5b7536e3b37b" providerId="ADAL" clId="{903218E2-C22B-4CC8-9AB6-343CA3DF934D}" dt="2023-06-19T01:36:44.947" v="11161" actId="790"/>
          <ac:spMkLst>
            <pc:docMk/>
            <pc:sldMk cId="1455971848" sldId="11491"/>
            <ac:spMk id="18" creationId="{4E785028-A045-BE85-BC4A-FF09B0E8BBC1}"/>
          </ac:spMkLst>
        </pc:spChg>
        <pc:spChg chg="mod">
          <ac:chgData name="Joao Cabral de Assis" userId="2e28f1b2-599c-43fa-9c22-5b7536e3b37b" providerId="ADAL" clId="{903218E2-C22B-4CC8-9AB6-343CA3DF934D}" dt="2023-06-19T01:36:44.948" v="11162" actId="790"/>
          <ac:spMkLst>
            <pc:docMk/>
            <pc:sldMk cId="1455971848" sldId="11491"/>
            <ac:spMk id="19" creationId="{806D0CE3-05D2-A93B-0BB2-4964BCFD44B0}"/>
          </ac:spMkLst>
        </pc:spChg>
        <pc:spChg chg="mod">
          <ac:chgData name="Joao Cabral de Assis" userId="2e28f1b2-599c-43fa-9c22-5b7536e3b37b" providerId="ADAL" clId="{903218E2-C22B-4CC8-9AB6-343CA3DF934D}" dt="2023-06-19T01:36:44.951" v="11163" actId="790"/>
          <ac:spMkLst>
            <pc:docMk/>
            <pc:sldMk cId="1455971848" sldId="11491"/>
            <ac:spMk id="20" creationId="{B39E16A9-D4C6-C8A5-D7E5-11FDB7989158}"/>
          </ac:spMkLst>
        </pc:spChg>
        <pc:spChg chg="mod">
          <ac:chgData name="Joao Cabral de Assis" userId="2e28f1b2-599c-43fa-9c22-5b7536e3b37b" providerId="ADAL" clId="{903218E2-C22B-4CC8-9AB6-343CA3DF934D}" dt="2023-06-19T01:36:44.952" v="11164" actId="790"/>
          <ac:spMkLst>
            <pc:docMk/>
            <pc:sldMk cId="1455971848" sldId="11491"/>
            <ac:spMk id="21" creationId="{58C6F5EF-06FC-9F41-4634-87E72116EB17}"/>
          </ac:spMkLst>
        </pc:spChg>
        <pc:spChg chg="mod">
          <ac:chgData name="Joao Cabral de Assis" userId="2e28f1b2-599c-43fa-9c22-5b7536e3b37b" providerId="ADAL" clId="{903218E2-C22B-4CC8-9AB6-343CA3DF934D}" dt="2023-06-19T01:36:44.953" v="11165" actId="790"/>
          <ac:spMkLst>
            <pc:docMk/>
            <pc:sldMk cId="1455971848" sldId="11491"/>
            <ac:spMk id="22" creationId="{654C1034-3674-B4AC-E3A3-4BE7DE9280CB}"/>
          </ac:spMkLst>
        </pc:spChg>
        <pc:spChg chg="mod">
          <ac:chgData name="Joao Cabral de Assis" userId="2e28f1b2-599c-43fa-9c22-5b7536e3b37b" providerId="ADAL" clId="{903218E2-C22B-4CC8-9AB6-343CA3DF934D}" dt="2023-06-19T01:36:44.955" v="11166" actId="790"/>
          <ac:spMkLst>
            <pc:docMk/>
            <pc:sldMk cId="1455971848" sldId="11491"/>
            <ac:spMk id="23" creationId="{E5C2270B-257D-8F60-E6D2-DB02154946FB}"/>
          </ac:spMkLst>
        </pc:spChg>
        <pc:spChg chg="mod">
          <ac:chgData name="Joao Cabral de Assis" userId="2e28f1b2-599c-43fa-9c22-5b7536e3b37b" providerId="ADAL" clId="{903218E2-C22B-4CC8-9AB6-343CA3DF934D}" dt="2023-06-19T01:36:44.957" v="11167" actId="790"/>
          <ac:spMkLst>
            <pc:docMk/>
            <pc:sldMk cId="1455971848" sldId="11491"/>
            <ac:spMk id="24" creationId="{B0D520F9-A6CA-BF7E-0C9A-2D73DF012A1D}"/>
          </ac:spMkLst>
        </pc:spChg>
        <pc:spChg chg="mod">
          <ac:chgData name="Joao Cabral de Assis" userId="2e28f1b2-599c-43fa-9c22-5b7536e3b37b" providerId="ADAL" clId="{903218E2-C22B-4CC8-9AB6-343CA3DF934D}" dt="2023-06-19T01:36:44.959" v="11168" actId="790"/>
          <ac:spMkLst>
            <pc:docMk/>
            <pc:sldMk cId="1455971848" sldId="11491"/>
            <ac:spMk id="25" creationId="{48438AB0-36CC-20EF-63F3-83D761B6DE7D}"/>
          </ac:spMkLst>
        </pc:spChg>
        <pc:spChg chg="mod">
          <ac:chgData name="Joao Cabral de Assis" userId="2e28f1b2-599c-43fa-9c22-5b7536e3b37b" providerId="ADAL" clId="{903218E2-C22B-4CC8-9AB6-343CA3DF934D}" dt="2023-06-19T01:36:44.961" v="11169" actId="790"/>
          <ac:spMkLst>
            <pc:docMk/>
            <pc:sldMk cId="1455971848" sldId="11491"/>
            <ac:spMk id="26" creationId="{CD2412FB-B238-C9AF-E17B-C45A652DF449}"/>
          </ac:spMkLst>
        </pc:spChg>
        <pc:spChg chg="mod">
          <ac:chgData name="Joao Cabral de Assis" userId="2e28f1b2-599c-43fa-9c22-5b7536e3b37b" providerId="ADAL" clId="{903218E2-C22B-4CC8-9AB6-343CA3DF934D}" dt="2023-06-19T01:36:44.963" v="11170" actId="790"/>
          <ac:spMkLst>
            <pc:docMk/>
            <pc:sldMk cId="1455971848" sldId="11491"/>
            <ac:spMk id="27" creationId="{C019B8CB-F672-03CF-D30B-91CB3C9221E3}"/>
          </ac:spMkLst>
        </pc:spChg>
        <pc:spChg chg="mod">
          <ac:chgData name="Joao Cabral de Assis" userId="2e28f1b2-599c-43fa-9c22-5b7536e3b37b" providerId="ADAL" clId="{903218E2-C22B-4CC8-9AB6-343CA3DF934D}" dt="2023-06-19T01:36:44.965" v="11171" actId="790"/>
          <ac:spMkLst>
            <pc:docMk/>
            <pc:sldMk cId="1455971848" sldId="11491"/>
            <ac:spMk id="28" creationId="{E60C3768-03BC-8AF2-9BE6-F76C8D461879}"/>
          </ac:spMkLst>
        </pc:spChg>
        <pc:spChg chg="mod">
          <ac:chgData name="Joao Cabral de Assis" userId="2e28f1b2-599c-43fa-9c22-5b7536e3b37b" providerId="ADAL" clId="{903218E2-C22B-4CC8-9AB6-343CA3DF934D}" dt="2023-06-19T01:36:44.966" v="11172" actId="790"/>
          <ac:spMkLst>
            <pc:docMk/>
            <pc:sldMk cId="1455971848" sldId="11491"/>
            <ac:spMk id="29" creationId="{A5511396-ACAF-8271-C14E-EE4E898D4CC7}"/>
          </ac:spMkLst>
        </pc:spChg>
        <pc:spChg chg="mod">
          <ac:chgData name="Joao Cabral de Assis" userId="2e28f1b2-599c-43fa-9c22-5b7536e3b37b" providerId="ADAL" clId="{903218E2-C22B-4CC8-9AB6-343CA3DF934D}" dt="2023-06-19T01:36:44.968" v="11173" actId="790"/>
          <ac:spMkLst>
            <pc:docMk/>
            <pc:sldMk cId="1455971848" sldId="11491"/>
            <ac:spMk id="30" creationId="{06145E21-1CAE-5E0B-5DF4-5F78EC0F9653}"/>
          </ac:spMkLst>
        </pc:spChg>
        <pc:spChg chg="mod">
          <ac:chgData name="Joao Cabral de Assis" userId="2e28f1b2-599c-43fa-9c22-5b7536e3b37b" providerId="ADAL" clId="{903218E2-C22B-4CC8-9AB6-343CA3DF934D}" dt="2023-06-19T01:36:44.969" v="11174" actId="790"/>
          <ac:spMkLst>
            <pc:docMk/>
            <pc:sldMk cId="1455971848" sldId="11491"/>
            <ac:spMk id="31" creationId="{114468BA-75B8-B02D-8418-C4951101E0A0}"/>
          </ac:spMkLst>
        </pc:spChg>
        <pc:spChg chg="mod">
          <ac:chgData name="Joao Cabral de Assis" userId="2e28f1b2-599c-43fa-9c22-5b7536e3b37b" providerId="ADAL" clId="{903218E2-C22B-4CC8-9AB6-343CA3DF934D}" dt="2023-06-19T01:36:44.971" v="11175" actId="790"/>
          <ac:spMkLst>
            <pc:docMk/>
            <pc:sldMk cId="1455971848" sldId="11491"/>
            <ac:spMk id="32" creationId="{341352D3-64DD-7E6D-B44F-1270FBF4600A}"/>
          </ac:spMkLst>
        </pc:spChg>
        <pc:spChg chg="mod">
          <ac:chgData name="Joao Cabral de Assis" userId="2e28f1b2-599c-43fa-9c22-5b7536e3b37b" providerId="ADAL" clId="{903218E2-C22B-4CC8-9AB6-343CA3DF934D}" dt="2023-06-19T01:36:44.973" v="11176" actId="790"/>
          <ac:spMkLst>
            <pc:docMk/>
            <pc:sldMk cId="1455971848" sldId="11491"/>
            <ac:spMk id="33" creationId="{E2B6DAA6-0F13-E3D3-3AD6-A1302EB76F22}"/>
          </ac:spMkLst>
        </pc:spChg>
        <pc:spChg chg="mod">
          <ac:chgData name="Joao Cabral de Assis" userId="2e28f1b2-599c-43fa-9c22-5b7536e3b37b" providerId="ADAL" clId="{903218E2-C22B-4CC8-9AB6-343CA3DF934D}" dt="2023-06-19T01:36:44.974" v="11177" actId="790"/>
          <ac:spMkLst>
            <pc:docMk/>
            <pc:sldMk cId="1455971848" sldId="11491"/>
            <ac:spMk id="34" creationId="{74E64805-2258-01BB-83AF-604304F2CAC7}"/>
          </ac:spMkLst>
        </pc:spChg>
        <pc:spChg chg="mod">
          <ac:chgData name="Joao Cabral de Assis" userId="2e28f1b2-599c-43fa-9c22-5b7536e3b37b" providerId="ADAL" clId="{903218E2-C22B-4CC8-9AB6-343CA3DF934D}" dt="2023-06-19T01:36:44.976" v="11178" actId="790"/>
          <ac:spMkLst>
            <pc:docMk/>
            <pc:sldMk cId="1455971848" sldId="11491"/>
            <ac:spMk id="35" creationId="{C5B4AA9B-EF3E-FCCE-5FAD-2DB8417F610C}"/>
          </ac:spMkLst>
        </pc:spChg>
        <pc:spChg chg="mod">
          <ac:chgData name="Joao Cabral de Assis" userId="2e28f1b2-599c-43fa-9c22-5b7536e3b37b" providerId="ADAL" clId="{903218E2-C22B-4CC8-9AB6-343CA3DF934D}" dt="2023-06-19T01:36:44.979" v="11179" actId="790"/>
          <ac:spMkLst>
            <pc:docMk/>
            <pc:sldMk cId="1455971848" sldId="11491"/>
            <ac:spMk id="36" creationId="{61A95838-F731-BC9E-B9B5-77A28133C67C}"/>
          </ac:spMkLst>
        </pc:spChg>
        <pc:spChg chg="mod">
          <ac:chgData name="Joao Cabral de Assis" userId="2e28f1b2-599c-43fa-9c22-5b7536e3b37b" providerId="ADAL" clId="{903218E2-C22B-4CC8-9AB6-343CA3DF934D}" dt="2023-06-19T01:36:44.981" v="11180" actId="790"/>
          <ac:spMkLst>
            <pc:docMk/>
            <pc:sldMk cId="1455971848" sldId="11491"/>
            <ac:spMk id="37" creationId="{0E1F254F-8EF5-BF4D-D673-55F4D2285FBB}"/>
          </ac:spMkLst>
        </pc:spChg>
        <pc:spChg chg="mod">
          <ac:chgData name="Joao Cabral de Assis" userId="2e28f1b2-599c-43fa-9c22-5b7536e3b37b" providerId="ADAL" clId="{903218E2-C22B-4CC8-9AB6-343CA3DF934D}" dt="2023-06-19T01:36:44.983" v="11181" actId="790"/>
          <ac:spMkLst>
            <pc:docMk/>
            <pc:sldMk cId="1455971848" sldId="11491"/>
            <ac:spMk id="38" creationId="{7168CBE8-D2CB-8518-DED2-7E2EE5A222E9}"/>
          </ac:spMkLst>
        </pc:spChg>
        <pc:spChg chg="mod">
          <ac:chgData name="Joao Cabral de Assis" userId="2e28f1b2-599c-43fa-9c22-5b7536e3b37b" providerId="ADAL" clId="{903218E2-C22B-4CC8-9AB6-343CA3DF934D}" dt="2023-06-19T01:36:44.984" v="11182" actId="790"/>
          <ac:spMkLst>
            <pc:docMk/>
            <pc:sldMk cId="1455971848" sldId="11491"/>
            <ac:spMk id="39" creationId="{10961889-566D-AEDB-8B4C-EDDCE9C4713D}"/>
          </ac:spMkLst>
        </pc:spChg>
        <pc:spChg chg="mod">
          <ac:chgData name="Joao Cabral de Assis" userId="2e28f1b2-599c-43fa-9c22-5b7536e3b37b" providerId="ADAL" clId="{903218E2-C22B-4CC8-9AB6-343CA3DF934D}" dt="2023-06-19T01:36:44.986" v="11183" actId="790"/>
          <ac:spMkLst>
            <pc:docMk/>
            <pc:sldMk cId="1455971848" sldId="11491"/>
            <ac:spMk id="40" creationId="{29BA55B2-99D0-D713-B41E-415DD7629268}"/>
          </ac:spMkLst>
        </pc:spChg>
        <pc:spChg chg="mod">
          <ac:chgData name="Joao Cabral de Assis" userId="2e28f1b2-599c-43fa-9c22-5b7536e3b37b" providerId="ADAL" clId="{903218E2-C22B-4CC8-9AB6-343CA3DF934D}" dt="2023-06-19T01:36:44.987" v="11184" actId="790"/>
          <ac:spMkLst>
            <pc:docMk/>
            <pc:sldMk cId="1455971848" sldId="11491"/>
            <ac:spMk id="41" creationId="{224D33F5-10E7-89A5-4D26-F17AAF19EC11}"/>
          </ac:spMkLst>
        </pc:spChg>
        <pc:spChg chg="mod">
          <ac:chgData name="Joao Cabral de Assis" userId="2e28f1b2-599c-43fa-9c22-5b7536e3b37b" providerId="ADAL" clId="{903218E2-C22B-4CC8-9AB6-343CA3DF934D}" dt="2023-06-19T01:36:44.989" v="11185" actId="790"/>
          <ac:spMkLst>
            <pc:docMk/>
            <pc:sldMk cId="1455971848" sldId="11491"/>
            <ac:spMk id="42" creationId="{539B7685-AD97-F6E1-2979-2C01E5D8F285}"/>
          </ac:spMkLst>
        </pc:spChg>
        <pc:spChg chg="mod">
          <ac:chgData name="Joao Cabral de Assis" userId="2e28f1b2-599c-43fa-9c22-5b7536e3b37b" providerId="ADAL" clId="{903218E2-C22B-4CC8-9AB6-343CA3DF934D}" dt="2023-06-19T01:36:44.991" v="11186" actId="790"/>
          <ac:spMkLst>
            <pc:docMk/>
            <pc:sldMk cId="1455971848" sldId="11491"/>
            <ac:spMk id="43" creationId="{4A4959D8-D270-9432-521B-DDF0B848103A}"/>
          </ac:spMkLst>
        </pc:spChg>
        <pc:spChg chg="mod">
          <ac:chgData name="Joao Cabral de Assis" userId="2e28f1b2-599c-43fa-9c22-5b7536e3b37b" providerId="ADAL" clId="{903218E2-C22B-4CC8-9AB6-343CA3DF934D}" dt="2023-06-19T01:36:44.992" v="11187" actId="790"/>
          <ac:spMkLst>
            <pc:docMk/>
            <pc:sldMk cId="1455971848" sldId="11491"/>
            <ac:spMk id="44" creationId="{7C99DDE1-0751-53D5-4ABF-8C23A1E1A078}"/>
          </ac:spMkLst>
        </pc:spChg>
        <pc:spChg chg="mod">
          <ac:chgData name="Joao Cabral de Assis" userId="2e28f1b2-599c-43fa-9c22-5b7536e3b37b" providerId="ADAL" clId="{903218E2-C22B-4CC8-9AB6-343CA3DF934D}" dt="2023-06-19T01:36:44.995" v="11188" actId="790"/>
          <ac:spMkLst>
            <pc:docMk/>
            <pc:sldMk cId="1455971848" sldId="11491"/>
            <ac:spMk id="45" creationId="{2F7EC739-5029-19F1-B467-B938BE9CB5A5}"/>
          </ac:spMkLst>
        </pc:spChg>
        <pc:spChg chg="mod">
          <ac:chgData name="Joao Cabral de Assis" userId="2e28f1b2-599c-43fa-9c22-5b7536e3b37b" providerId="ADAL" clId="{903218E2-C22B-4CC8-9AB6-343CA3DF934D}" dt="2023-06-19T01:36:44.996" v="11189"/>
          <ac:spMkLst>
            <pc:docMk/>
            <pc:sldMk cId="1455971848" sldId="11491"/>
            <ac:spMk id="46" creationId="{453763E8-3F05-86F7-BB7C-243285CDFC5C}"/>
          </ac:spMkLst>
        </pc:spChg>
        <pc:spChg chg="mod">
          <ac:chgData name="Joao Cabral de Assis" userId="2e28f1b2-599c-43fa-9c22-5b7536e3b37b" providerId="ADAL" clId="{903218E2-C22B-4CC8-9AB6-343CA3DF934D}" dt="2023-06-19T01:36:44.997" v="11190"/>
          <ac:spMkLst>
            <pc:docMk/>
            <pc:sldMk cId="1455971848" sldId="11491"/>
            <ac:spMk id="47" creationId="{BF4F2105-78BE-C417-460B-79B77C6053BE}"/>
          </ac:spMkLst>
        </pc:spChg>
        <pc:spChg chg="add del mod modVis">
          <ac:chgData name="Joao Cabral de Assis" userId="2e28f1b2-599c-43fa-9c22-5b7536e3b37b" providerId="ADAL" clId="{903218E2-C22B-4CC8-9AB6-343CA3DF934D}" dt="2023-06-12T15:36:37.370" v="2523"/>
          <ac:spMkLst>
            <pc:docMk/>
            <pc:sldMk cId="1455971848" sldId="11491"/>
            <ac:spMk id="49" creationId="{981D5691-9EC8-5801-8438-BF29FE18388D}"/>
          </ac:spMkLst>
        </pc:spChg>
        <pc:spChg chg="mod">
          <ac:chgData name="Joao Cabral de Assis" userId="2e28f1b2-599c-43fa-9c22-5b7536e3b37b" providerId="ADAL" clId="{903218E2-C22B-4CC8-9AB6-343CA3DF934D}" dt="2023-06-19T01:36:45.001" v="11192" actId="790"/>
          <ac:spMkLst>
            <pc:docMk/>
            <pc:sldMk cId="1455971848" sldId="11491"/>
            <ac:spMk id="50" creationId="{34948DED-65EF-CFAD-188E-E6E67A08B135}"/>
          </ac:spMkLst>
        </pc:spChg>
        <pc:spChg chg="add del mod modVis">
          <ac:chgData name="Joao Cabral de Assis" userId="2e28f1b2-599c-43fa-9c22-5b7536e3b37b" providerId="ADAL" clId="{903218E2-C22B-4CC8-9AB6-343CA3DF934D}" dt="2023-06-12T15:36:39.796" v="2554"/>
          <ac:spMkLst>
            <pc:docMk/>
            <pc:sldMk cId="1455971848" sldId="11491"/>
            <ac:spMk id="51" creationId="{72D0A42B-BE3F-9A3F-EFA7-28D2743E4E5C}"/>
          </ac:spMkLst>
        </pc:spChg>
        <pc:graphicFrameChg chg="mod">
          <ac:chgData name="Joao Cabral de Assis" userId="2e28f1b2-599c-43fa-9c22-5b7536e3b37b" providerId="ADAL" clId="{903218E2-C22B-4CC8-9AB6-343CA3DF934D}" dt="2023-06-12T15:36:39.798" v="2556"/>
          <ac:graphicFrameMkLst>
            <pc:docMk/>
            <pc:sldMk cId="1455971848" sldId="11491"/>
            <ac:graphicFrameMk id="48" creationId="{901F8E28-17DA-C53C-B88F-B95FEC42F127}"/>
          </ac:graphicFrameMkLst>
        </pc:graphicFrameChg>
      </pc:sldChg>
      <pc:sldChg chg="addSp delSp modSp mod ord modNotes">
        <pc:chgData name="Joao Cabral de Assis" userId="2e28f1b2-599c-43fa-9c22-5b7536e3b37b" providerId="ADAL" clId="{903218E2-C22B-4CC8-9AB6-343CA3DF934D}" dt="2023-06-19T01:36:44.346" v="10978" actId="790"/>
        <pc:sldMkLst>
          <pc:docMk/>
          <pc:sldMk cId="1835710935" sldId="11493"/>
        </pc:sldMkLst>
        <pc:spChg chg="mod">
          <ac:chgData name="Joao Cabral de Assis" userId="2e28f1b2-599c-43fa-9c22-5b7536e3b37b" providerId="ADAL" clId="{903218E2-C22B-4CC8-9AB6-343CA3DF934D}" dt="2023-06-19T01:36:44.217" v="10960" actId="790"/>
          <ac:spMkLst>
            <pc:docMk/>
            <pc:sldMk cId="1835710935" sldId="11493"/>
            <ac:spMk id="2" creationId="{21D85687-03B4-BD87-B25C-275BE60F150A}"/>
          </ac:spMkLst>
        </pc:spChg>
        <pc:spChg chg="add del mod modVis">
          <ac:chgData name="Joao Cabral de Assis" userId="2e28f1b2-599c-43fa-9c22-5b7536e3b37b" providerId="ADAL" clId="{903218E2-C22B-4CC8-9AB6-343CA3DF934D}" dt="2023-06-12T15:36:48.521" v="2582"/>
          <ac:spMkLst>
            <pc:docMk/>
            <pc:sldMk cId="1835710935" sldId="11493"/>
            <ac:spMk id="4" creationId="{8BB51E1A-C43A-87B5-7716-511EF705D385}"/>
          </ac:spMkLst>
        </pc:spChg>
        <pc:spChg chg="add del mod modVis">
          <ac:chgData name="Joao Cabral de Assis" userId="2e28f1b2-599c-43fa-9c22-5b7536e3b37b" providerId="ADAL" clId="{903218E2-C22B-4CC8-9AB6-343CA3DF934D}" dt="2023-06-12T15:36:50.790" v="2616"/>
          <ac:spMkLst>
            <pc:docMk/>
            <pc:sldMk cId="1835710935" sldId="11493"/>
            <ac:spMk id="5" creationId="{A6A2D561-B066-9F1A-F171-7F46A914AA87}"/>
          </ac:spMkLst>
        </pc:spChg>
        <pc:spChg chg="mod">
          <ac:chgData name="Joao Cabral de Assis" userId="2e28f1b2-599c-43fa-9c22-5b7536e3b37b" providerId="ADAL" clId="{903218E2-C22B-4CC8-9AB6-343CA3DF934D}" dt="2023-06-19T01:36:44.220" v="10961"/>
          <ac:spMkLst>
            <pc:docMk/>
            <pc:sldMk cId="1835710935" sldId="11493"/>
            <ac:spMk id="6" creationId="{9165901B-8867-5E16-C1BE-F6449D0FBC7B}"/>
          </ac:spMkLst>
        </pc:spChg>
        <pc:spChg chg="mod">
          <ac:chgData name="Joao Cabral de Assis" userId="2e28f1b2-599c-43fa-9c22-5b7536e3b37b" providerId="ADAL" clId="{903218E2-C22B-4CC8-9AB6-343CA3DF934D}" dt="2023-06-19T01:36:44.221" v="10962"/>
          <ac:spMkLst>
            <pc:docMk/>
            <pc:sldMk cId="1835710935" sldId="11493"/>
            <ac:spMk id="7" creationId="{8B4F03AB-5757-A727-94A9-D8B247FD3457}"/>
          </ac:spMkLst>
        </pc:spChg>
        <pc:spChg chg="mod">
          <ac:chgData name="Joao Cabral de Assis" userId="2e28f1b2-599c-43fa-9c22-5b7536e3b37b" providerId="ADAL" clId="{903218E2-C22B-4CC8-9AB6-343CA3DF934D}" dt="2023-06-19T01:36:44.223" v="10963"/>
          <ac:spMkLst>
            <pc:docMk/>
            <pc:sldMk cId="1835710935" sldId="11493"/>
            <ac:spMk id="8" creationId="{35028986-5CB1-FC01-C66A-F0B7B91F0FE6}"/>
          </ac:spMkLst>
        </pc:spChg>
        <pc:spChg chg="mod">
          <ac:chgData name="Joao Cabral de Assis" userId="2e28f1b2-599c-43fa-9c22-5b7536e3b37b" providerId="ADAL" clId="{903218E2-C22B-4CC8-9AB6-343CA3DF934D}" dt="2023-06-19T01:36:44.225" v="10964" actId="790"/>
          <ac:spMkLst>
            <pc:docMk/>
            <pc:sldMk cId="1835710935" sldId="11493"/>
            <ac:spMk id="9" creationId="{18A3B97F-F7DC-9AF7-B1D0-0F518874DAC4}"/>
          </ac:spMkLst>
        </pc:spChg>
        <pc:spChg chg="mod">
          <ac:chgData name="Joao Cabral de Assis" userId="2e28f1b2-599c-43fa-9c22-5b7536e3b37b" providerId="ADAL" clId="{903218E2-C22B-4CC8-9AB6-343CA3DF934D}" dt="2023-06-19T01:36:44.228" v="10965" actId="790"/>
          <ac:spMkLst>
            <pc:docMk/>
            <pc:sldMk cId="1835710935" sldId="11493"/>
            <ac:spMk id="10" creationId="{82117C90-FD0A-7412-3D66-7D797FF93686}"/>
          </ac:spMkLst>
        </pc:spChg>
        <pc:spChg chg="mod">
          <ac:chgData name="Joao Cabral de Assis" userId="2e28f1b2-599c-43fa-9c22-5b7536e3b37b" providerId="ADAL" clId="{903218E2-C22B-4CC8-9AB6-343CA3DF934D}" dt="2023-06-19T01:36:44.328" v="10974" actId="790"/>
          <ac:spMkLst>
            <pc:docMk/>
            <pc:sldMk cId="1835710935" sldId="11493"/>
            <ac:spMk id="11" creationId="{C64A6A26-48E5-AC94-F118-7D2DFD9783FA}"/>
          </ac:spMkLst>
        </pc:spChg>
        <pc:spChg chg="add del mod modVis">
          <ac:chgData name="Joao Cabral de Assis" userId="2e28f1b2-599c-43fa-9c22-5b7536e3b37b" providerId="ADAL" clId="{903218E2-C22B-4CC8-9AB6-343CA3DF934D}" dt="2023-06-12T15:36:51.638" v="2646"/>
          <ac:spMkLst>
            <pc:docMk/>
            <pc:sldMk cId="1835710935" sldId="11493"/>
            <ac:spMk id="13" creationId="{393E1BE1-2C2E-1B54-70EC-2D4E6196756C}"/>
          </ac:spMkLst>
        </pc:spChg>
        <pc:spChg chg="mod">
          <ac:chgData name="Joao Cabral de Assis" userId="2e28f1b2-599c-43fa-9c22-5b7536e3b37b" providerId="ADAL" clId="{903218E2-C22B-4CC8-9AB6-343CA3DF934D}" dt="2023-06-19T01:36:44.330" v="10975" actId="790"/>
          <ac:spMkLst>
            <pc:docMk/>
            <pc:sldMk cId="1835710935" sldId="11493"/>
            <ac:spMk id="15" creationId="{0196F9C8-6634-7136-6647-BB60FD4BD644}"/>
          </ac:spMkLst>
        </pc:spChg>
        <pc:spChg chg="add del mod modVis">
          <ac:chgData name="Joao Cabral de Assis" userId="2e28f1b2-599c-43fa-9c22-5b7536e3b37b" providerId="ADAL" clId="{903218E2-C22B-4CC8-9AB6-343CA3DF934D}" dt="2023-06-12T15:36:53.501" v="2679"/>
          <ac:spMkLst>
            <pc:docMk/>
            <pc:sldMk cId="1835710935" sldId="11493"/>
            <ac:spMk id="16" creationId="{58CC99B0-1F6C-CC13-4317-3DDD24F813AC}"/>
          </ac:spMkLst>
        </pc:spChg>
        <pc:spChg chg="add mod">
          <ac:chgData name="Joao Cabral de Assis" userId="2e28f1b2-599c-43fa-9c22-5b7536e3b37b" providerId="ADAL" clId="{903218E2-C22B-4CC8-9AB6-343CA3DF934D}" dt="2023-06-19T01:36:44.332" v="10976" actId="790"/>
          <ac:spMkLst>
            <pc:docMk/>
            <pc:sldMk cId="1835710935" sldId="11493"/>
            <ac:spMk id="17" creationId="{D90A9932-94C3-BD5D-DAD7-851361101888}"/>
          </ac:spMkLst>
        </pc:spChg>
        <pc:graphicFrameChg chg="mod modGraphic">
          <ac:chgData name="Joao Cabral de Assis" userId="2e28f1b2-599c-43fa-9c22-5b7536e3b37b" providerId="ADAL" clId="{903218E2-C22B-4CC8-9AB6-343CA3DF934D}" dt="2023-06-19T01:36:44.315" v="10973" actId="790"/>
          <ac:graphicFrameMkLst>
            <pc:docMk/>
            <pc:sldMk cId="1835710935" sldId="11493"/>
            <ac:graphicFrameMk id="12" creationId="{04BABA06-4285-302F-F611-3D1F17049D3F}"/>
          </ac:graphicFrameMkLst>
        </pc:graphicFrameChg>
        <pc:graphicFrameChg chg="mod">
          <ac:chgData name="Joao Cabral de Assis" userId="2e28f1b2-599c-43fa-9c22-5b7536e3b37b" providerId="ADAL" clId="{903218E2-C22B-4CC8-9AB6-343CA3DF934D}" dt="2023-06-12T15:36:53.504" v="2681"/>
          <ac:graphicFrameMkLst>
            <pc:docMk/>
            <pc:sldMk cId="1835710935" sldId="11493"/>
            <ac:graphicFrameMk id="14" creationId="{B3BC61B9-9F99-FB46-3B98-4E6ABCDCB5DA}"/>
          </ac:graphicFrameMkLst>
        </pc:graphicFrameChg>
      </pc:sldChg>
      <pc:sldChg chg="del">
        <pc:chgData name="Joao Cabral de Assis" userId="2e28f1b2-599c-43fa-9c22-5b7536e3b37b" providerId="ADAL" clId="{903218E2-C22B-4CC8-9AB6-343CA3DF934D}" dt="2023-06-12T16:14:22.478" v="2900" actId="47"/>
        <pc:sldMkLst>
          <pc:docMk/>
          <pc:sldMk cId="3794840147" sldId="11497"/>
        </pc:sldMkLst>
      </pc:sldChg>
      <pc:sldChg chg="modSp mod modNotes">
        <pc:chgData name="Joao Cabral de Assis" userId="2e28f1b2-599c-43fa-9c22-5b7536e3b37b" providerId="ADAL" clId="{903218E2-C22B-4CC8-9AB6-343CA3DF934D}" dt="2023-06-19T01:36:45.040" v="11208" actId="790"/>
        <pc:sldMkLst>
          <pc:docMk/>
          <pc:sldMk cId="2649716323" sldId="11498"/>
        </pc:sldMkLst>
        <pc:spChg chg="mod">
          <ac:chgData name="Joao Cabral de Assis" userId="2e28f1b2-599c-43fa-9c22-5b7536e3b37b" providerId="ADAL" clId="{903218E2-C22B-4CC8-9AB6-343CA3DF934D}" dt="2023-06-19T01:36:45.023" v="11201" actId="790"/>
          <ac:spMkLst>
            <pc:docMk/>
            <pc:sldMk cId="2649716323" sldId="11498"/>
            <ac:spMk id="2" creationId="{ACED7606-7740-BFE5-E58F-2E1B623D838E}"/>
          </ac:spMkLst>
        </pc:spChg>
        <pc:spChg chg="mod">
          <ac:chgData name="Joao Cabral de Assis" userId="2e28f1b2-599c-43fa-9c22-5b7536e3b37b" providerId="ADAL" clId="{903218E2-C22B-4CC8-9AB6-343CA3DF934D}" dt="2023-06-19T01:36:45.035" v="11206" actId="790"/>
          <ac:spMkLst>
            <pc:docMk/>
            <pc:sldMk cId="2649716323" sldId="11498"/>
            <ac:spMk id="3" creationId="{8B31BB15-058C-54F5-3F45-8B009832D7D0}"/>
          </ac:spMkLst>
        </pc:spChg>
        <pc:spChg chg="mod">
          <ac:chgData name="Joao Cabral de Assis" userId="2e28f1b2-599c-43fa-9c22-5b7536e3b37b" providerId="ADAL" clId="{903218E2-C22B-4CC8-9AB6-343CA3DF934D}" dt="2023-06-19T01:36:45.025" v="11202" actId="790"/>
          <ac:spMkLst>
            <pc:docMk/>
            <pc:sldMk cId="2649716323" sldId="11498"/>
            <ac:spMk id="4" creationId="{EE5EF5AC-F606-814F-75F1-689FED3F2A1B}"/>
          </ac:spMkLst>
        </pc:spChg>
        <pc:spChg chg="mod">
          <ac:chgData name="Joao Cabral de Assis" userId="2e28f1b2-599c-43fa-9c22-5b7536e3b37b" providerId="ADAL" clId="{903218E2-C22B-4CC8-9AB6-343CA3DF934D}" dt="2023-06-19T01:36:45.027" v="11203" actId="790"/>
          <ac:spMkLst>
            <pc:docMk/>
            <pc:sldMk cId="2649716323" sldId="11498"/>
            <ac:spMk id="6" creationId="{EBAA4BED-122E-AF3D-4572-2363F280DADF}"/>
          </ac:spMkLst>
        </pc:spChg>
        <pc:spChg chg="mod">
          <ac:chgData name="Joao Cabral de Assis" userId="2e28f1b2-599c-43fa-9c22-5b7536e3b37b" providerId="ADAL" clId="{903218E2-C22B-4CC8-9AB6-343CA3DF934D}" dt="2023-06-19T01:36:45.031" v="11204" actId="790"/>
          <ac:spMkLst>
            <pc:docMk/>
            <pc:sldMk cId="2649716323" sldId="11498"/>
            <ac:spMk id="8" creationId="{965CABA9-F59F-8810-4D81-8AB15621626C}"/>
          </ac:spMkLst>
        </pc:spChg>
        <pc:spChg chg="mod">
          <ac:chgData name="Joao Cabral de Assis" userId="2e28f1b2-599c-43fa-9c22-5b7536e3b37b" providerId="ADAL" clId="{903218E2-C22B-4CC8-9AB6-343CA3DF934D}" dt="2023-06-19T01:36:45.033" v="11205" actId="790"/>
          <ac:spMkLst>
            <pc:docMk/>
            <pc:sldMk cId="2649716323" sldId="11498"/>
            <ac:spMk id="64" creationId="{D7AFC75F-276E-A987-6FB6-C422C27DA820}"/>
          </ac:spMkLst>
        </pc:spChg>
      </pc:sldChg>
      <pc:sldChg chg="modSp mod modNotes">
        <pc:chgData name="Joao Cabral de Assis" userId="2e28f1b2-599c-43fa-9c22-5b7536e3b37b" providerId="ADAL" clId="{903218E2-C22B-4CC8-9AB6-343CA3DF934D}" dt="2023-06-19T01:36:45.226" v="11267" actId="790"/>
        <pc:sldMkLst>
          <pc:docMk/>
          <pc:sldMk cId="3808702550" sldId="11506"/>
        </pc:sldMkLst>
        <pc:spChg chg="mod">
          <ac:chgData name="Joao Cabral de Assis" userId="2e28f1b2-599c-43fa-9c22-5b7536e3b37b" providerId="ADAL" clId="{903218E2-C22B-4CC8-9AB6-343CA3DF934D}" dt="2023-06-19T01:36:45.042" v="11209" actId="790"/>
          <ac:spMkLst>
            <pc:docMk/>
            <pc:sldMk cId="3808702550" sldId="11506"/>
            <ac:spMk id="2" creationId="{8C4244C5-7A2E-F091-6228-559940173FCD}"/>
          </ac:spMkLst>
        </pc:spChg>
        <pc:spChg chg="mod">
          <ac:chgData name="Joao Cabral de Assis" userId="2e28f1b2-599c-43fa-9c22-5b7536e3b37b" providerId="ADAL" clId="{903218E2-C22B-4CC8-9AB6-343CA3DF934D}" dt="2023-06-19T01:36:45.044" v="11210" actId="790"/>
          <ac:spMkLst>
            <pc:docMk/>
            <pc:sldMk cId="3808702550" sldId="11506"/>
            <ac:spMk id="5" creationId="{CDDAA6BC-AB81-24B1-AADB-0A3E65AC63C6}"/>
          </ac:spMkLst>
        </pc:spChg>
        <pc:spChg chg="mod">
          <ac:chgData name="Joao Cabral de Assis" userId="2e28f1b2-599c-43fa-9c22-5b7536e3b37b" providerId="ADAL" clId="{903218E2-C22B-4CC8-9AB6-343CA3DF934D}" dt="2023-06-19T01:36:45.046" v="11211" actId="790"/>
          <ac:spMkLst>
            <pc:docMk/>
            <pc:sldMk cId="3808702550" sldId="11506"/>
            <ac:spMk id="8" creationId="{F1F3EFD4-5340-8E50-7A11-B24E2804FB05}"/>
          </ac:spMkLst>
        </pc:spChg>
        <pc:spChg chg="mod">
          <ac:chgData name="Joao Cabral de Assis" userId="2e28f1b2-599c-43fa-9c22-5b7536e3b37b" providerId="ADAL" clId="{903218E2-C22B-4CC8-9AB6-343CA3DF934D}" dt="2023-06-19T01:36:45.047" v="11212" actId="790"/>
          <ac:spMkLst>
            <pc:docMk/>
            <pc:sldMk cId="3808702550" sldId="11506"/>
            <ac:spMk id="9" creationId="{81290D8D-E227-3CDE-F601-8BDE07EE6371}"/>
          </ac:spMkLst>
        </pc:spChg>
        <pc:spChg chg="mod">
          <ac:chgData name="Joao Cabral de Assis" userId="2e28f1b2-599c-43fa-9c22-5b7536e3b37b" providerId="ADAL" clId="{903218E2-C22B-4CC8-9AB6-343CA3DF934D}" dt="2023-06-19T01:36:45.049" v="11213" actId="790"/>
          <ac:spMkLst>
            <pc:docMk/>
            <pc:sldMk cId="3808702550" sldId="11506"/>
            <ac:spMk id="10" creationId="{9A8C2240-6B7C-4014-65BB-95184D10B709}"/>
          </ac:spMkLst>
        </pc:spChg>
        <pc:spChg chg="mod">
          <ac:chgData name="Joao Cabral de Assis" userId="2e28f1b2-599c-43fa-9c22-5b7536e3b37b" providerId="ADAL" clId="{903218E2-C22B-4CC8-9AB6-343CA3DF934D}" dt="2023-06-19T01:36:45.051" v="11214" actId="790"/>
          <ac:spMkLst>
            <pc:docMk/>
            <pc:sldMk cId="3808702550" sldId="11506"/>
            <ac:spMk id="11" creationId="{3E325C0D-338D-1CC3-11DF-976A3D16E342}"/>
          </ac:spMkLst>
        </pc:spChg>
        <pc:spChg chg="mod">
          <ac:chgData name="Joao Cabral de Assis" userId="2e28f1b2-599c-43fa-9c22-5b7536e3b37b" providerId="ADAL" clId="{903218E2-C22B-4CC8-9AB6-343CA3DF934D}" dt="2023-06-19T01:36:45.051" v="11215" actId="790"/>
          <ac:spMkLst>
            <pc:docMk/>
            <pc:sldMk cId="3808702550" sldId="11506"/>
            <ac:spMk id="12" creationId="{DE0290CF-D0B8-154F-7AF3-225811F692AD}"/>
          </ac:spMkLst>
        </pc:spChg>
        <pc:spChg chg="mod">
          <ac:chgData name="Joao Cabral de Assis" userId="2e28f1b2-599c-43fa-9c22-5b7536e3b37b" providerId="ADAL" clId="{903218E2-C22B-4CC8-9AB6-343CA3DF934D}" dt="2023-06-19T01:36:45.053" v="11216" actId="790"/>
          <ac:spMkLst>
            <pc:docMk/>
            <pc:sldMk cId="3808702550" sldId="11506"/>
            <ac:spMk id="13" creationId="{7DC78E2F-51D6-A949-0601-BB4D8C208D94}"/>
          </ac:spMkLst>
        </pc:spChg>
        <pc:spChg chg="mod">
          <ac:chgData name="Joao Cabral de Assis" userId="2e28f1b2-599c-43fa-9c22-5b7536e3b37b" providerId="ADAL" clId="{903218E2-C22B-4CC8-9AB6-343CA3DF934D}" dt="2023-06-19T01:36:45.054" v="11217" actId="790"/>
          <ac:spMkLst>
            <pc:docMk/>
            <pc:sldMk cId="3808702550" sldId="11506"/>
            <ac:spMk id="14" creationId="{79835AB1-7140-822D-7893-4E6C44058090}"/>
          </ac:spMkLst>
        </pc:spChg>
        <pc:spChg chg="mod">
          <ac:chgData name="Joao Cabral de Assis" userId="2e28f1b2-599c-43fa-9c22-5b7536e3b37b" providerId="ADAL" clId="{903218E2-C22B-4CC8-9AB6-343CA3DF934D}" dt="2023-06-19T01:36:45.057" v="11218" actId="790"/>
          <ac:spMkLst>
            <pc:docMk/>
            <pc:sldMk cId="3808702550" sldId="11506"/>
            <ac:spMk id="15" creationId="{F052D00F-B528-C784-F1A8-3668EC44BAA0}"/>
          </ac:spMkLst>
        </pc:spChg>
        <pc:spChg chg="mod">
          <ac:chgData name="Joao Cabral de Assis" userId="2e28f1b2-599c-43fa-9c22-5b7536e3b37b" providerId="ADAL" clId="{903218E2-C22B-4CC8-9AB6-343CA3DF934D}" dt="2023-06-19T01:36:45.059" v="11219" actId="790"/>
          <ac:spMkLst>
            <pc:docMk/>
            <pc:sldMk cId="3808702550" sldId="11506"/>
            <ac:spMk id="16" creationId="{7BB40147-5D14-1AB4-90B7-4FE1C3FCABC4}"/>
          </ac:spMkLst>
        </pc:spChg>
        <pc:spChg chg="mod">
          <ac:chgData name="Joao Cabral de Assis" userId="2e28f1b2-599c-43fa-9c22-5b7536e3b37b" providerId="ADAL" clId="{903218E2-C22B-4CC8-9AB6-343CA3DF934D}" dt="2023-06-19T01:36:45.061" v="11220" actId="790"/>
          <ac:spMkLst>
            <pc:docMk/>
            <pc:sldMk cId="3808702550" sldId="11506"/>
            <ac:spMk id="17" creationId="{2F24EAC6-3C3A-DB3E-7AD9-CFCEFFE77A5F}"/>
          </ac:spMkLst>
        </pc:spChg>
        <pc:spChg chg="mod">
          <ac:chgData name="Joao Cabral de Assis" userId="2e28f1b2-599c-43fa-9c22-5b7536e3b37b" providerId="ADAL" clId="{903218E2-C22B-4CC8-9AB6-343CA3DF934D}" dt="2023-06-19T01:36:45.062" v="11221" actId="790"/>
          <ac:spMkLst>
            <pc:docMk/>
            <pc:sldMk cId="3808702550" sldId="11506"/>
            <ac:spMk id="18" creationId="{63607B69-76C6-C4E9-4C3E-FB48B6D37E13}"/>
          </ac:spMkLst>
        </pc:spChg>
        <pc:spChg chg="mod">
          <ac:chgData name="Joao Cabral de Assis" userId="2e28f1b2-599c-43fa-9c22-5b7536e3b37b" providerId="ADAL" clId="{903218E2-C22B-4CC8-9AB6-343CA3DF934D}" dt="2023-06-19T01:36:45.064" v="11222" actId="790"/>
          <ac:spMkLst>
            <pc:docMk/>
            <pc:sldMk cId="3808702550" sldId="11506"/>
            <ac:spMk id="19" creationId="{EA1EB2E4-4A29-094E-D55C-4A9945F351DB}"/>
          </ac:spMkLst>
        </pc:spChg>
        <pc:spChg chg="mod">
          <ac:chgData name="Joao Cabral de Assis" userId="2e28f1b2-599c-43fa-9c22-5b7536e3b37b" providerId="ADAL" clId="{903218E2-C22B-4CC8-9AB6-343CA3DF934D}" dt="2023-06-19T01:36:45.065" v="11223" actId="790"/>
          <ac:spMkLst>
            <pc:docMk/>
            <pc:sldMk cId="3808702550" sldId="11506"/>
            <ac:spMk id="20" creationId="{314A12B8-D95E-51B0-D398-7CAD2BDD594B}"/>
          </ac:spMkLst>
        </pc:spChg>
        <pc:spChg chg="mod">
          <ac:chgData name="Joao Cabral de Assis" userId="2e28f1b2-599c-43fa-9c22-5b7536e3b37b" providerId="ADAL" clId="{903218E2-C22B-4CC8-9AB6-343CA3DF934D}" dt="2023-06-19T01:36:45.066" v="11224" actId="790"/>
          <ac:spMkLst>
            <pc:docMk/>
            <pc:sldMk cId="3808702550" sldId="11506"/>
            <ac:spMk id="21" creationId="{6308FC99-7FF2-08BA-2D9F-0403AC0CFC58}"/>
          </ac:spMkLst>
        </pc:spChg>
        <pc:spChg chg="mod">
          <ac:chgData name="Joao Cabral de Assis" userId="2e28f1b2-599c-43fa-9c22-5b7536e3b37b" providerId="ADAL" clId="{903218E2-C22B-4CC8-9AB6-343CA3DF934D}" dt="2023-06-19T01:36:45.067" v="11225" actId="790"/>
          <ac:spMkLst>
            <pc:docMk/>
            <pc:sldMk cId="3808702550" sldId="11506"/>
            <ac:spMk id="22" creationId="{BF4E7D0E-6097-B410-3410-7B6243DAEECC}"/>
          </ac:spMkLst>
        </pc:spChg>
        <pc:spChg chg="mod">
          <ac:chgData name="Joao Cabral de Assis" userId="2e28f1b2-599c-43fa-9c22-5b7536e3b37b" providerId="ADAL" clId="{903218E2-C22B-4CC8-9AB6-343CA3DF934D}" dt="2023-06-19T01:36:45.069" v="11226" actId="790"/>
          <ac:spMkLst>
            <pc:docMk/>
            <pc:sldMk cId="3808702550" sldId="11506"/>
            <ac:spMk id="23" creationId="{DA133243-51F6-6D06-5A2A-7203B4AC157E}"/>
          </ac:spMkLst>
        </pc:spChg>
        <pc:spChg chg="mod">
          <ac:chgData name="Joao Cabral de Assis" userId="2e28f1b2-599c-43fa-9c22-5b7536e3b37b" providerId="ADAL" clId="{903218E2-C22B-4CC8-9AB6-343CA3DF934D}" dt="2023-06-19T01:36:45.070" v="11227" actId="790"/>
          <ac:spMkLst>
            <pc:docMk/>
            <pc:sldMk cId="3808702550" sldId="11506"/>
            <ac:spMk id="24" creationId="{745DEE72-546B-F967-CE58-5573F6719B1E}"/>
          </ac:spMkLst>
        </pc:spChg>
        <pc:spChg chg="mod">
          <ac:chgData name="Joao Cabral de Assis" userId="2e28f1b2-599c-43fa-9c22-5b7536e3b37b" providerId="ADAL" clId="{903218E2-C22B-4CC8-9AB6-343CA3DF934D}" dt="2023-06-19T01:36:45.073" v="11228" actId="790"/>
          <ac:spMkLst>
            <pc:docMk/>
            <pc:sldMk cId="3808702550" sldId="11506"/>
            <ac:spMk id="25" creationId="{2583AD5A-0A7E-80EC-19ED-52E17639C629}"/>
          </ac:spMkLst>
        </pc:spChg>
        <pc:spChg chg="mod">
          <ac:chgData name="Joao Cabral de Assis" userId="2e28f1b2-599c-43fa-9c22-5b7536e3b37b" providerId="ADAL" clId="{903218E2-C22B-4CC8-9AB6-343CA3DF934D}" dt="2023-06-19T01:36:45.076" v="11229" actId="790"/>
          <ac:spMkLst>
            <pc:docMk/>
            <pc:sldMk cId="3808702550" sldId="11506"/>
            <ac:spMk id="26" creationId="{441E69F4-5237-7317-7CC3-03287384C442}"/>
          </ac:spMkLst>
        </pc:spChg>
        <pc:spChg chg="mod">
          <ac:chgData name="Joao Cabral de Assis" userId="2e28f1b2-599c-43fa-9c22-5b7536e3b37b" providerId="ADAL" clId="{903218E2-C22B-4CC8-9AB6-343CA3DF934D}" dt="2023-06-19T01:36:45.078" v="11230" actId="790"/>
          <ac:spMkLst>
            <pc:docMk/>
            <pc:sldMk cId="3808702550" sldId="11506"/>
            <ac:spMk id="27" creationId="{13C2860A-1895-5613-110F-6C86F3D3938E}"/>
          </ac:spMkLst>
        </pc:spChg>
        <pc:spChg chg="mod">
          <ac:chgData name="Joao Cabral de Assis" userId="2e28f1b2-599c-43fa-9c22-5b7536e3b37b" providerId="ADAL" clId="{903218E2-C22B-4CC8-9AB6-343CA3DF934D}" dt="2023-06-19T01:36:45.081" v="11231" actId="790"/>
          <ac:spMkLst>
            <pc:docMk/>
            <pc:sldMk cId="3808702550" sldId="11506"/>
            <ac:spMk id="28" creationId="{7945409F-DCBA-9ABE-F056-2DAB09D2D3BD}"/>
          </ac:spMkLst>
        </pc:spChg>
        <pc:spChg chg="mod">
          <ac:chgData name="Joao Cabral de Assis" userId="2e28f1b2-599c-43fa-9c22-5b7536e3b37b" providerId="ADAL" clId="{903218E2-C22B-4CC8-9AB6-343CA3DF934D}" dt="2023-06-19T01:36:45.083" v="11232" actId="790"/>
          <ac:spMkLst>
            <pc:docMk/>
            <pc:sldMk cId="3808702550" sldId="11506"/>
            <ac:spMk id="29" creationId="{66EE4D1E-DD90-DA4B-3A0C-0C83342DF559}"/>
          </ac:spMkLst>
        </pc:spChg>
        <pc:spChg chg="mod">
          <ac:chgData name="Joao Cabral de Assis" userId="2e28f1b2-599c-43fa-9c22-5b7536e3b37b" providerId="ADAL" clId="{903218E2-C22B-4CC8-9AB6-343CA3DF934D}" dt="2023-06-19T01:36:45.085" v="11233" actId="790"/>
          <ac:spMkLst>
            <pc:docMk/>
            <pc:sldMk cId="3808702550" sldId="11506"/>
            <ac:spMk id="30" creationId="{8C4AF5C2-C280-410F-062C-D20C44CFA39C}"/>
          </ac:spMkLst>
        </pc:spChg>
        <pc:spChg chg="mod">
          <ac:chgData name="Joao Cabral de Assis" userId="2e28f1b2-599c-43fa-9c22-5b7536e3b37b" providerId="ADAL" clId="{903218E2-C22B-4CC8-9AB6-343CA3DF934D}" dt="2023-06-19T01:36:45.087" v="11234" actId="790"/>
          <ac:spMkLst>
            <pc:docMk/>
            <pc:sldMk cId="3808702550" sldId="11506"/>
            <ac:spMk id="31" creationId="{DCE00710-A389-F677-960E-8996FF748AE4}"/>
          </ac:spMkLst>
        </pc:spChg>
        <pc:spChg chg="mod">
          <ac:chgData name="Joao Cabral de Assis" userId="2e28f1b2-599c-43fa-9c22-5b7536e3b37b" providerId="ADAL" clId="{903218E2-C22B-4CC8-9AB6-343CA3DF934D}" dt="2023-06-19T01:36:45.089" v="11235" actId="790"/>
          <ac:spMkLst>
            <pc:docMk/>
            <pc:sldMk cId="3808702550" sldId="11506"/>
            <ac:spMk id="32" creationId="{5C711CA0-D35E-3317-25A3-402D883C8F7E}"/>
          </ac:spMkLst>
        </pc:spChg>
        <pc:spChg chg="mod">
          <ac:chgData name="Joao Cabral de Assis" userId="2e28f1b2-599c-43fa-9c22-5b7536e3b37b" providerId="ADAL" clId="{903218E2-C22B-4CC8-9AB6-343CA3DF934D}" dt="2023-06-19T01:36:45.092" v="11236" actId="790"/>
          <ac:spMkLst>
            <pc:docMk/>
            <pc:sldMk cId="3808702550" sldId="11506"/>
            <ac:spMk id="33" creationId="{B67EBBBF-A97F-E96C-01DC-8EAAB976518F}"/>
          </ac:spMkLst>
        </pc:spChg>
        <pc:spChg chg="mod">
          <ac:chgData name="Joao Cabral de Assis" userId="2e28f1b2-599c-43fa-9c22-5b7536e3b37b" providerId="ADAL" clId="{903218E2-C22B-4CC8-9AB6-343CA3DF934D}" dt="2023-06-19T01:36:45.093" v="11237" actId="790"/>
          <ac:spMkLst>
            <pc:docMk/>
            <pc:sldMk cId="3808702550" sldId="11506"/>
            <ac:spMk id="34" creationId="{D77AA06F-DC7F-24CE-E833-117EAEB0EE7A}"/>
          </ac:spMkLst>
        </pc:spChg>
        <pc:spChg chg="mod">
          <ac:chgData name="Joao Cabral de Assis" userId="2e28f1b2-599c-43fa-9c22-5b7536e3b37b" providerId="ADAL" clId="{903218E2-C22B-4CC8-9AB6-343CA3DF934D}" dt="2023-06-19T01:36:45.095" v="11238" actId="790"/>
          <ac:spMkLst>
            <pc:docMk/>
            <pc:sldMk cId="3808702550" sldId="11506"/>
            <ac:spMk id="35" creationId="{0EB00F48-8627-1FA3-26AA-951FB36C4F61}"/>
          </ac:spMkLst>
        </pc:spChg>
        <pc:spChg chg="mod">
          <ac:chgData name="Joao Cabral de Assis" userId="2e28f1b2-599c-43fa-9c22-5b7536e3b37b" providerId="ADAL" clId="{903218E2-C22B-4CC8-9AB6-343CA3DF934D}" dt="2023-06-19T01:36:45.097" v="11239" actId="790"/>
          <ac:spMkLst>
            <pc:docMk/>
            <pc:sldMk cId="3808702550" sldId="11506"/>
            <ac:spMk id="36" creationId="{138C28FB-3CC8-34E0-D5C6-A565DF2055F4}"/>
          </ac:spMkLst>
        </pc:spChg>
        <pc:spChg chg="mod">
          <ac:chgData name="Joao Cabral de Assis" userId="2e28f1b2-599c-43fa-9c22-5b7536e3b37b" providerId="ADAL" clId="{903218E2-C22B-4CC8-9AB6-343CA3DF934D}" dt="2023-06-19T01:36:45.099" v="11240" actId="790"/>
          <ac:spMkLst>
            <pc:docMk/>
            <pc:sldMk cId="3808702550" sldId="11506"/>
            <ac:spMk id="37" creationId="{5672BE5B-4FFA-BD61-5BDE-7C250A926A69}"/>
          </ac:spMkLst>
        </pc:spChg>
        <pc:spChg chg="mod">
          <ac:chgData name="Joao Cabral de Assis" userId="2e28f1b2-599c-43fa-9c22-5b7536e3b37b" providerId="ADAL" clId="{903218E2-C22B-4CC8-9AB6-343CA3DF934D}" dt="2023-06-19T01:36:45.100" v="11241" actId="790"/>
          <ac:spMkLst>
            <pc:docMk/>
            <pc:sldMk cId="3808702550" sldId="11506"/>
            <ac:spMk id="38" creationId="{B438A3FD-AD31-B0FB-DB30-8967BCB013D0}"/>
          </ac:spMkLst>
        </pc:spChg>
        <pc:spChg chg="mod">
          <ac:chgData name="Joao Cabral de Assis" userId="2e28f1b2-599c-43fa-9c22-5b7536e3b37b" providerId="ADAL" clId="{903218E2-C22B-4CC8-9AB6-343CA3DF934D}" dt="2023-06-19T01:36:45.102" v="11242" actId="790"/>
          <ac:spMkLst>
            <pc:docMk/>
            <pc:sldMk cId="3808702550" sldId="11506"/>
            <ac:spMk id="39" creationId="{F6CA2EBA-1E26-284F-6FBB-1E5951B507CF}"/>
          </ac:spMkLst>
        </pc:spChg>
        <pc:spChg chg="mod">
          <ac:chgData name="Joao Cabral de Assis" userId="2e28f1b2-599c-43fa-9c22-5b7536e3b37b" providerId="ADAL" clId="{903218E2-C22B-4CC8-9AB6-343CA3DF934D}" dt="2023-06-19T01:36:45.103" v="11243" actId="790"/>
          <ac:spMkLst>
            <pc:docMk/>
            <pc:sldMk cId="3808702550" sldId="11506"/>
            <ac:spMk id="40" creationId="{89BF1016-8E7A-4B17-D7D7-383527790006}"/>
          </ac:spMkLst>
        </pc:spChg>
        <pc:spChg chg="mod">
          <ac:chgData name="Joao Cabral de Assis" userId="2e28f1b2-599c-43fa-9c22-5b7536e3b37b" providerId="ADAL" clId="{903218E2-C22B-4CC8-9AB6-343CA3DF934D}" dt="2023-06-19T01:36:45.106" v="11244" actId="790"/>
          <ac:spMkLst>
            <pc:docMk/>
            <pc:sldMk cId="3808702550" sldId="11506"/>
            <ac:spMk id="41" creationId="{ED4A230C-C3D9-D84B-0E3B-F4713223848B}"/>
          </ac:spMkLst>
        </pc:spChg>
        <pc:spChg chg="mod">
          <ac:chgData name="Joao Cabral de Assis" userId="2e28f1b2-599c-43fa-9c22-5b7536e3b37b" providerId="ADAL" clId="{903218E2-C22B-4CC8-9AB6-343CA3DF934D}" dt="2023-06-19T01:36:45.108" v="11245" actId="790"/>
          <ac:spMkLst>
            <pc:docMk/>
            <pc:sldMk cId="3808702550" sldId="11506"/>
            <ac:spMk id="42" creationId="{45784792-3581-F161-1F2A-0E9F5C4FE31F}"/>
          </ac:spMkLst>
        </pc:spChg>
        <pc:spChg chg="mod">
          <ac:chgData name="Joao Cabral de Assis" userId="2e28f1b2-599c-43fa-9c22-5b7536e3b37b" providerId="ADAL" clId="{903218E2-C22B-4CC8-9AB6-343CA3DF934D}" dt="2023-06-19T01:36:45.110" v="11246" actId="790"/>
          <ac:spMkLst>
            <pc:docMk/>
            <pc:sldMk cId="3808702550" sldId="11506"/>
            <ac:spMk id="43" creationId="{1C4C9113-5667-C902-CFAB-293D62612CA0}"/>
          </ac:spMkLst>
        </pc:spChg>
        <pc:spChg chg="mod">
          <ac:chgData name="Joao Cabral de Assis" userId="2e28f1b2-599c-43fa-9c22-5b7536e3b37b" providerId="ADAL" clId="{903218E2-C22B-4CC8-9AB6-343CA3DF934D}" dt="2023-06-19T01:36:45.112" v="11247" actId="790"/>
          <ac:spMkLst>
            <pc:docMk/>
            <pc:sldMk cId="3808702550" sldId="11506"/>
            <ac:spMk id="44" creationId="{BD570936-3BA7-5634-045C-079FA1FF7B36}"/>
          </ac:spMkLst>
        </pc:spChg>
        <pc:spChg chg="mod">
          <ac:chgData name="Joao Cabral de Assis" userId="2e28f1b2-599c-43fa-9c22-5b7536e3b37b" providerId="ADAL" clId="{903218E2-C22B-4CC8-9AB6-343CA3DF934D}" dt="2023-06-19T01:36:45.114" v="11248" actId="790"/>
          <ac:spMkLst>
            <pc:docMk/>
            <pc:sldMk cId="3808702550" sldId="11506"/>
            <ac:spMk id="45" creationId="{7305E273-6815-2438-2701-6682FDE6BB6F}"/>
          </ac:spMkLst>
        </pc:spChg>
        <pc:spChg chg="mod">
          <ac:chgData name="Joao Cabral de Assis" userId="2e28f1b2-599c-43fa-9c22-5b7536e3b37b" providerId="ADAL" clId="{903218E2-C22B-4CC8-9AB6-343CA3DF934D}" dt="2023-06-19T01:36:45.116" v="11249" actId="790"/>
          <ac:spMkLst>
            <pc:docMk/>
            <pc:sldMk cId="3808702550" sldId="11506"/>
            <ac:spMk id="46" creationId="{B3617C09-C0BF-1E9C-7AD8-E1AC0E61B55F}"/>
          </ac:spMkLst>
        </pc:spChg>
        <pc:spChg chg="mod">
          <ac:chgData name="Joao Cabral de Assis" userId="2e28f1b2-599c-43fa-9c22-5b7536e3b37b" providerId="ADAL" clId="{903218E2-C22B-4CC8-9AB6-343CA3DF934D}" dt="2023-06-19T01:36:45.117" v="11250" actId="790"/>
          <ac:spMkLst>
            <pc:docMk/>
            <pc:sldMk cId="3808702550" sldId="11506"/>
            <ac:spMk id="47" creationId="{0970F3E1-ACBA-CA5E-8823-F73FE8FD0F23}"/>
          </ac:spMkLst>
        </pc:spChg>
        <pc:spChg chg="mod">
          <ac:chgData name="Joao Cabral de Assis" userId="2e28f1b2-599c-43fa-9c22-5b7536e3b37b" providerId="ADAL" clId="{903218E2-C22B-4CC8-9AB6-343CA3DF934D}" dt="2023-06-19T01:36:45.119" v="11251" actId="790"/>
          <ac:spMkLst>
            <pc:docMk/>
            <pc:sldMk cId="3808702550" sldId="11506"/>
            <ac:spMk id="48" creationId="{65AE1CA9-CA87-7D09-DACB-F556C261BB42}"/>
          </ac:spMkLst>
        </pc:spChg>
        <pc:spChg chg="mod">
          <ac:chgData name="Joao Cabral de Assis" userId="2e28f1b2-599c-43fa-9c22-5b7536e3b37b" providerId="ADAL" clId="{903218E2-C22B-4CC8-9AB6-343CA3DF934D}" dt="2023-06-19T01:36:45.123" v="11252" actId="790"/>
          <ac:spMkLst>
            <pc:docMk/>
            <pc:sldMk cId="3808702550" sldId="11506"/>
            <ac:spMk id="80" creationId="{2328FEF4-5944-2B18-1753-BB5E6C349AAF}"/>
          </ac:spMkLst>
        </pc:spChg>
        <pc:spChg chg="mod">
          <ac:chgData name="Joao Cabral de Assis" userId="2e28f1b2-599c-43fa-9c22-5b7536e3b37b" providerId="ADAL" clId="{903218E2-C22B-4CC8-9AB6-343CA3DF934D}" dt="2023-06-19T01:36:45.124" v="11253" actId="790"/>
          <ac:spMkLst>
            <pc:docMk/>
            <pc:sldMk cId="3808702550" sldId="11506"/>
            <ac:spMk id="81" creationId="{8CFFA331-E947-5B53-D304-15785C660719}"/>
          </ac:spMkLst>
        </pc:spChg>
        <pc:spChg chg="mod">
          <ac:chgData name="Joao Cabral de Assis" userId="2e28f1b2-599c-43fa-9c22-5b7536e3b37b" providerId="ADAL" clId="{903218E2-C22B-4CC8-9AB6-343CA3DF934D}" dt="2023-06-19T01:36:45.217" v="11263" actId="790"/>
          <ac:spMkLst>
            <pc:docMk/>
            <pc:sldMk cId="3808702550" sldId="11506"/>
            <ac:spMk id="82" creationId="{D3DC021F-03E6-EF49-EE3A-7A8C0F4CE2DA}"/>
          </ac:spMkLst>
        </pc:spChg>
        <pc:spChg chg="mod">
          <ac:chgData name="Joao Cabral de Assis" userId="2e28f1b2-599c-43fa-9c22-5b7536e3b37b" providerId="ADAL" clId="{903218E2-C22B-4CC8-9AB6-343CA3DF934D}" dt="2023-06-19T01:36:45.126" v="11254" actId="790"/>
          <ac:spMkLst>
            <pc:docMk/>
            <pc:sldMk cId="3808702550" sldId="11506"/>
            <ac:spMk id="83" creationId="{AC735FF7-2996-75FF-ABB4-05C6BE76B6A2}"/>
          </ac:spMkLst>
        </pc:spChg>
        <pc:spChg chg="mod">
          <ac:chgData name="Joao Cabral de Assis" userId="2e28f1b2-599c-43fa-9c22-5b7536e3b37b" providerId="ADAL" clId="{903218E2-C22B-4CC8-9AB6-343CA3DF934D}" dt="2023-06-19T01:36:45.219" v="11264" actId="790"/>
          <ac:spMkLst>
            <pc:docMk/>
            <pc:sldMk cId="3808702550" sldId="11506"/>
            <ac:spMk id="84" creationId="{7910B4DA-3AEB-1559-E581-5A0059A1F534}"/>
          </ac:spMkLst>
        </pc:spChg>
        <pc:spChg chg="mod">
          <ac:chgData name="Joao Cabral de Assis" userId="2e28f1b2-599c-43fa-9c22-5b7536e3b37b" providerId="ADAL" clId="{903218E2-C22B-4CC8-9AB6-343CA3DF934D}" dt="2023-06-19T01:36:45.221" v="11265" actId="790"/>
          <ac:spMkLst>
            <pc:docMk/>
            <pc:sldMk cId="3808702550" sldId="11506"/>
            <ac:spMk id="90" creationId="{62B26AF6-DE5D-66B6-9E51-AF96630B9259}"/>
          </ac:spMkLst>
        </pc:spChg>
        <pc:graphicFrameChg chg="modGraphic">
          <ac:chgData name="Joao Cabral de Assis" userId="2e28f1b2-599c-43fa-9c22-5b7536e3b37b" providerId="ADAL" clId="{903218E2-C22B-4CC8-9AB6-343CA3DF934D}" dt="2023-06-19T01:36:45.206" v="11262" actId="790"/>
          <ac:graphicFrameMkLst>
            <pc:docMk/>
            <pc:sldMk cId="3808702550" sldId="11506"/>
            <ac:graphicFrameMk id="79" creationId="{C011C653-5F6B-C103-4F6D-525272A79FEA}"/>
          </ac:graphicFrameMkLst>
        </pc:graphicFrameChg>
      </pc:sldChg>
      <pc:sldChg chg="modSp mod delCm modNotes">
        <pc:chgData name="Joao Cabral de Assis" userId="2e28f1b2-599c-43fa-9c22-5b7536e3b37b" providerId="ADAL" clId="{903218E2-C22B-4CC8-9AB6-343CA3DF934D}" dt="2023-06-19T01:36:43.989" v="10899" actId="790"/>
        <pc:sldMkLst>
          <pc:docMk/>
          <pc:sldMk cId="341901210" sldId="11512"/>
        </pc:sldMkLst>
        <pc:spChg chg="mod">
          <ac:chgData name="Joao Cabral de Assis" userId="2e28f1b2-599c-43fa-9c22-5b7536e3b37b" providerId="ADAL" clId="{903218E2-C22B-4CC8-9AB6-343CA3DF934D}" dt="2023-06-19T01:36:43.782" v="10876" actId="790"/>
          <ac:spMkLst>
            <pc:docMk/>
            <pc:sldMk cId="341901210" sldId="11512"/>
            <ac:spMk id="2" creationId="{7BD4AE08-9D73-1CD8-A576-E32E9D18AFB3}"/>
          </ac:spMkLst>
        </pc:spChg>
        <pc:spChg chg="mod">
          <ac:chgData name="Joao Cabral de Assis" userId="2e28f1b2-599c-43fa-9c22-5b7536e3b37b" providerId="ADAL" clId="{903218E2-C22B-4CC8-9AB6-343CA3DF934D}" dt="2023-06-19T01:36:43.784" v="10877" actId="790"/>
          <ac:spMkLst>
            <pc:docMk/>
            <pc:sldMk cId="341901210" sldId="11512"/>
            <ac:spMk id="4" creationId="{ECE2F4A1-5D28-4C94-E6B2-45FB18F4C30F}"/>
          </ac:spMkLst>
        </pc:spChg>
        <pc:spChg chg="mod">
          <ac:chgData name="Joao Cabral de Assis" userId="2e28f1b2-599c-43fa-9c22-5b7536e3b37b" providerId="ADAL" clId="{903218E2-C22B-4CC8-9AB6-343CA3DF934D}" dt="2023-06-19T01:36:43.985" v="10897" actId="790"/>
          <ac:spMkLst>
            <pc:docMk/>
            <pc:sldMk cId="341901210" sldId="11512"/>
            <ac:spMk id="5" creationId="{1F9482DF-E068-F84B-BCB1-319198A7F810}"/>
          </ac:spMkLst>
        </pc:spChg>
        <pc:spChg chg="mod">
          <ac:chgData name="Joao Cabral de Assis" userId="2e28f1b2-599c-43fa-9c22-5b7536e3b37b" providerId="ADAL" clId="{903218E2-C22B-4CC8-9AB6-343CA3DF934D}" dt="2023-06-19T01:36:43.786" v="10878" actId="790"/>
          <ac:spMkLst>
            <pc:docMk/>
            <pc:sldMk cId="341901210" sldId="11512"/>
            <ac:spMk id="15" creationId="{BF335ACC-0F3A-5A1E-922A-D7805A1F1723}"/>
          </ac:spMkLst>
        </pc:spChg>
        <pc:graphicFrameChg chg="mod modGraphic">
          <ac:chgData name="Joao Cabral de Assis" userId="2e28f1b2-599c-43fa-9c22-5b7536e3b37b" providerId="ADAL" clId="{903218E2-C22B-4CC8-9AB6-343CA3DF934D}" dt="2023-06-19T01:36:43.975" v="10896" actId="790"/>
          <ac:graphicFrameMkLst>
            <pc:docMk/>
            <pc:sldMk cId="341901210" sldId="11512"/>
            <ac:graphicFrameMk id="3" creationId="{A746DBD1-5214-2166-7972-A07B8339017D}"/>
          </ac:graphicFrameMkLst>
        </pc:graphicFrameChg>
      </pc:sldChg>
      <pc:sldChg chg="modSp mod modNotes">
        <pc:chgData name="Joao Cabral de Assis" userId="2e28f1b2-599c-43fa-9c22-5b7536e3b37b" providerId="ADAL" clId="{903218E2-C22B-4CC8-9AB6-343CA3DF934D}" dt="2023-06-19T01:36:43.780" v="10875" actId="790"/>
        <pc:sldMkLst>
          <pc:docMk/>
          <pc:sldMk cId="1923667715" sldId="11513"/>
        </pc:sldMkLst>
        <pc:spChg chg="mod">
          <ac:chgData name="Joao Cabral de Assis" userId="2e28f1b2-599c-43fa-9c22-5b7536e3b37b" providerId="ADAL" clId="{903218E2-C22B-4CC8-9AB6-343CA3DF934D}" dt="2023-06-19T01:36:43.768" v="10870" actId="790"/>
          <ac:spMkLst>
            <pc:docMk/>
            <pc:sldMk cId="1923667715" sldId="11513"/>
            <ac:spMk id="2" creationId="{24D931D8-E0DF-C1AD-C171-BC9856CF196F}"/>
          </ac:spMkLst>
        </pc:spChg>
        <pc:spChg chg="mod">
          <ac:chgData name="Joao Cabral de Assis" userId="2e28f1b2-599c-43fa-9c22-5b7536e3b37b" providerId="ADAL" clId="{903218E2-C22B-4CC8-9AB6-343CA3DF934D}" dt="2023-06-19T01:36:43.770" v="10871" actId="790"/>
          <ac:spMkLst>
            <pc:docMk/>
            <pc:sldMk cId="1923667715" sldId="11513"/>
            <ac:spMk id="4" creationId="{6193477C-B3F7-B5FC-07F4-741FF12CB75B}"/>
          </ac:spMkLst>
        </pc:spChg>
        <pc:spChg chg="mod">
          <ac:chgData name="Joao Cabral de Assis" userId="2e28f1b2-599c-43fa-9c22-5b7536e3b37b" providerId="ADAL" clId="{903218E2-C22B-4CC8-9AB6-343CA3DF934D}" dt="2023-06-19T01:36:43.776" v="10873" actId="790"/>
          <ac:spMkLst>
            <pc:docMk/>
            <pc:sldMk cId="1923667715" sldId="11513"/>
            <ac:spMk id="5" creationId="{FAB13F4B-BF9B-034D-FD2E-D471EEBD89F3}"/>
          </ac:spMkLst>
        </pc:spChg>
        <pc:spChg chg="mod">
          <ac:chgData name="Joao Cabral de Assis" userId="2e28f1b2-599c-43fa-9c22-5b7536e3b37b" providerId="ADAL" clId="{903218E2-C22B-4CC8-9AB6-343CA3DF934D}" dt="2023-06-19T01:36:43.774" v="10872" actId="790"/>
          <ac:spMkLst>
            <pc:docMk/>
            <pc:sldMk cId="1923667715" sldId="11513"/>
            <ac:spMk id="6" creationId="{4808E4E8-1947-CFFA-9CEF-FB4F1DB55D4D}"/>
          </ac:spMkLst>
        </pc:spChg>
      </pc:sldChg>
      <pc:sldChg chg="modSp mod modNotes">
        <pc:chgData name="Joao Cabral de Assis" userId="2e28f1b2-599c-43fa-9c22-5b7536e3b37b" providerId="ADAL" clId="{903218E2-C22B-4CC8-9AB6-343CA3DF934D}" dt="2023-06-19T01:36:44.434" v="11006" actId="790"/>
        <pc:sldMkLst>
          <pc:docMk/>
          <pc:sldMk cId="4244856100" sldId="11514"/>
        </pc:sldMkLst>
        <pc:spChg chg="mod">
          <ac:chgData name="Joao Cabral de Assis" userId="2e28f1b2-599c-43fa-9c22-5b7536e3b37b" providerId="ADAL" clId="{903218E2-C22B-4CC8-9AB6-343CA3DF934D}" dt="2023-06-19T01:36:44.414" v="10999" actId="790"/>
          <ac:spMkLst>
            <pc:docMk/>
            <pc:sldMk cId="4244856100" sldId="11514"/>
            <ac:spMk id="2" creationId="{53FA7D62-1C0C-A17D-417F-8C102F792AC5}"/>
          </ac:spMkLst>
        </pc:spChg>
        <pc:spChg chg="mod">
          <ac:chgData name="Joao Cabral de Assis" userId="2e28f1b2-599c-43fa-9c22-5b7536e3b37b" providerId="ADAL" clId="{903218E2-C22B-4CC8-9AB6-343CA3DF934D}" dt="2023-06-19T01:36:44.416" v="11000" actId="790"/>
          <ac:spMkLst>
            <pc:docMk/>
            <pc:sldMk cId="4244856100" sldId="11514"/>
            <ac:spMk id="3" creationId="{5C363A1E-32D9-AA71-5275-179229CDE21E}"/>
          </ac:spMkLst>
        </pc:spChg>
        <pc:spChg chg="mod">
          <ac:chgData name="Joao Cabral de Assis" userId="2e28f1b2-599c-43fa-9c22-5b7536e3b37b" providerId="ADAL" clId="{903218E2-C22B-4CC8-9AB6-343CA3DF934D}" dt="2023-06-19T01:36:44.412" v="10998" actId="790"/>
          <ac:spMkLst>
            <pc:docMk/>
            <pc:sldMk cId="4244856100" sldId="11514"/>
            <ac:spMk id="5" creationId="{11E7175F-8643-4AB6-67A2-3AE503F7AA54}"/>
          </ac:spMkLst>
        </pc:spChg>
        <pc:spChg chg="mod">
          <ac:chgData name="Joao Cabral de Assis" userId="2e28f1b2-599c-43fa-9c22-5b7536e3b37b" providerId="ADAL" clId="{903218E2-C22B-4CC8-9AB6-343CA3DF934D}" dt="2023-06-19T01:36:44.410" v="10997" actId="790"/>
          <ac:spMkLst>
            <pc:docMk/>
            <pc:sldMk cId="4244856100" sldId="11514"/>
            <ac:spMk id="6" creationId="{D973F929-3850-3EF2-3950-8C09AB1DEEC3}"/>
          </ac:spMkLst>
        </pc:spChg>
        <pc:spChg chg="mod">
          <ac:chgData name="Joao Cabral de Assis" userId="2e28f1b2-599c-43fa-9c22-5b7536e3b37b" providerId="ADAL" clId="{903218E2-C22B-4CC8-9AB6-343CA3DF934D}" dt="2023-06-19T01:36:44.418" v="11001" actId="790"/>
          <ac:spMkLst>
            <pc:docMk/>
            <pc:sldMk cId="4244856100" sldId="11514"/>
            <ac:spMk id="13" creationId="{C1E80E9C-85A3-7811-FD94-C3C27FBE733E}"/>
          </ac:spMkLst>
        </pc:spChg>
        <pc:spChg chg="mod">
          <ac:chgData name="Joao Cabral de Assis" userId="2e28f1b2-599c-43fa-9c22-5b7536e3b37b" providerId="ADAL" clId="{903218E2-C22B-4CC8-9AB6-343CA3DF934D}" dt="2023-06-19T01:36:44.420" v="11002" actId="790"/>
          <ac:spMkLst>
            <pc:docMk/>
            <pc:sldMk cId="4244856100" sldId="11514"/>
            <ac:spMk id="16" creationId="{EBB04EAA-B45F-04C4-A0C2-548C65F32E5A}"/>
          </ac:spMkLst>
        </pc:spChg>
        <pc:spChg chg="mod">
          <ac:chgData name="Joao Cabral de Assis" userId="2e28f1b2-599c-43fa-9c22-5b7536e3b37b" providerId="ADAL" clId="{903218E2-C22B-4CC8-9AB6-343CA3DF934D}" dt="2023-06-19T01:36:44.429" v="11003" actId="790"/>
          <ac:spMkLst>
            <pc:docMk/>
            <pc:sldMk cId="4244856100" sldId="11514"/>
            <ac:spMk id="17" creationId="{C6BA2EFB-D692-17E2-6D54-5662674CF05F}"/>
          </ac:spMkLst>
        </pc:spChg>
        <pc:spChg chg="mod">
          <ac:chgData name="Joao Cabral de Assis" userId="2e28f1b2-599c-43fa-9c22-5b7536e3b37b" providerId="ADAL" clId="{903218E2-C22B-4CC8-9AB6-343CA3DF934D}" dt="2023-06-19T01:36:44.430" v="11004" actId="790"/>
          <ac:spMkLst>
            <pc:docMk/>
            <pc:sldMk cId="4244856100" sldId="11514"/>
            <ac:spMk id="18" creationId="{512D66C8-6ACD-EA4F-B932-C9AE369BFB70}"/>
          </ac:spMkLst>
        </pc:spChg>
      </pc:sldChg>
      <pc:sldChg chg="modSp mod modNotes">
        <pc:chgData name="Joao Cabral de Assis" userId="2e28f1b2-599c-43fa-9c22-5b7536e3b37b" providerId="ADAL" clId="{903218E2-C22B-4CC8-9AB6-343CA3DF934D}" dt="2023-06-19T01:36:45.738" v="11360" actId="790"/>
        <pc:sldMkLst>
          <pc:docMk/>
          <pc:sldMk cId="2380634651" sldId="11515"/>
        </pc:sldMkLst>
        <pc:spChg chg="mod">
          <ac:chgData name="Joao Cabral de Assis" userId="2e28f1b2-599c-43fa-9c22-5b7536e3b37b" providerId="ADAL" clId="{903218E2-C22B-4CC8-9AB6-343CA3DF934D}" dt="2023-06-19T01:36:45.733" v="11358" actId="790"/>
          <ac:spMkLst>
            <pc:docMk/>
            <pc:sldMk cId="2380634651" sldId="11515"/>
            <ac:spMk id="5" creationId="{51F23A1F-7C12-2B06-913D-65655C1A8D7E}"/>
          </ac:spMkLst>
        </pc:spChg>
        <pc:spChg chg="mod">
          <ac:chgData name="Joao Cabral de Assis" userId="2e28f1b2-599c-43fa-9c22-5b7536e3b37b" providerId="ADAL" clId="{903218E2-C22B-4CC8-9AB6-343CA3DF934D}" dt="2023-06-19T01:36:45.727" v="11354"/>
          <ac:spMkLst>
            <pc:docMk/>
            <pc:sldMk cId="2380634651" sldId="11515"/>
            <ac:spMk id="12" creationId="{D2CFBEA7-A4E1-40A6-A816-02296D0B4887}"/>
          </ac:spMkLst>
        </pc:spChg>
        <pc:spChg chg="mod">
          <ac:chgData name="Joao Cabral de Assis" userId="2e28f1b2-599c-43fa-9c22-5b7536e3b37b" providerId="ADAL" clId="{903218E2-C22B-4CC8-9AB6-343CA3DF934D}" dt="2023-06-19T01:36:45.729" v="11355"/>
          <ac:spMkLst>
            <pc:docMk/>
            <pc:sldMk cId="2380634651" sldId="11515"/>
            <ac:spMk id="15" creationId="{B586682B-CC45-40D6-AC29-8C5EC37BFAA2}"/>
          </ac:spMkLst>
        </pc:spChg>
        <pc:spChg chg="mod">
          <ac:chgData name="Joao Cabral de Assis" userId="2e28f1b2-599c-43fa-9c22-5b7536e3b37b" providerId="ADAL" clId="{903218E2-C22B-4CC8-9AB6-343CA3DF934D}" dt="2023-06-19T01:36:45.730" v="11356"/>
          <ac:spMkLst>
            <pc:docMk/>
            <pc:sldMk cId="2380634651" sldId="11515"/>
            <ac:spMk id="16" creationId="{70504074-E145-4B4E-B7E8-1208178905FF}"/>
          </ac:spMkLst>
        </pc:spChg>
        <pc:spChg chg="mod">
          <ac:chgData name="Joao Cabral de Assis" userId="2e28f1b2-599c-43fa-9c22-5b7536e3b37b" providerId="ADAL" clId="{903218E2-C22B-4CC8-9AB6-343CA3DF934D}" dt="2023-06-19T01:36:45.731" v="11357"/>
          <ac:spMkLst>
            <pc:docMk/>
            <pc:sldMk cId="2380634651" sldId="11515"/>
            <ac:spMk id="17" creationId="{3AB61637-CFA4-4A86-A74A-5BB9447B4F49}"/>
          </ac:spMkLst>
        </pc:spChg>
      </pc:sldChg>
      <pc:sldChg chg="modSp add del mod delCm modNotes">
        <pc:chgData name="Joao Cabral de Assis" userId="2e28f1b2-599c-43fa-9c22-5b7536e3b37b" providerId="ADAL" clId="{903218E2-C22B-4CC8-9AB6-343CA3DF934D}" dt="2023-06-19T01:40:01.321" v="12339" actId="948"/>
        <pc:sldMkLst>
          <pc:docMk/>
          <pc:sldMk cId="2648243926" sldId="11516"/>
        </pc:sldMkLst>
        <pc:spChg chg="mod">
          <ac:chgData name="Joao Cabral de Assis" userId="2e28f1b2-599c-43fa-9c22-5b7536e3b37b" providerId="ADAL" clId="{903218E2-C22B-4CC8-9AB6-343CA3DF934D}" dt="2023-06-19T01:36:49.379" v="11848" actId="790"/>
          <ac:spMkLst>
            <pc:docMk/>
            <pc:sldMk cId="2648243926" sldId="11516"/>
            <ac:spMk id="2" creationId="{621EE3CB-88A6-9846-0273-B29487B6AAC0}"/>
          </ac:spMkLst>
        </pc:spChg>
        <pc:spChg chg="mod">
          <ac:chgData name="Joao Cabral de Assis" userId="2e28f1b2-599c-43fa-9c22-5b7536e3b37b" providerId="ADAL" clId="{903218E2-C22B-4CC8-9AB6-343CA3DF934D}" dt="2023-06-19T01:36:49.383" v="11850" actId="790"/>
          <ac:spMkLst>
            <pc:docMk/>
            <pc:sldMk cId="2648243926" sldId="11516"/>
            <ac:spMk id="4" creationId="{02B46B7E-F0D8-B93D-ABC1-E18A4C1A13DC}"/>
          </ac:spMkLst>
        </pc:spChg>
        <pc:spChg chg="mod">
          <ac:chgData name="Joao Cabral de Assis" userId="2e28f1b2-599c-43fa-9c22-5b7536e3b37b" providerId="ADAL" clId="{903218E2-C22B-4CC8-9AB6-343CA3DF934D}" dt="2023-06-19T01:36:49.381" v="11849" actId="790"/>
          <ac:spMkLst>
            <pc:docMk/>
            <pc:sldMk cId="2648243926" sldId="11516"/>
            <ac:spMk id="6" creationId="{B66EA8C9-77CE-B963-7AC6-F60B658910B8}"/>
          </ac:spMkLst>
        </pc:spChg>
        <pc:spChg chg="mod">
          <ac:chgData name="Joao Cabral de Assis" userId="2e28f1b2-599c-43fa-9c22-5b7536e3b37b" providerId="ADAL" clId="{903218E2-C22B-4CC8-9AB6-343CA3DF934D}" dt="2023-06-19T01:40:01.321" v="12339" actId="948"/>
          <ac:spMkLst>
            <pc:docMk/>
            <pc:sldMk cId="2648243926" sldId="11516"/>
            <ac:spMk id="15" creationId="{B96FDC7E-1F71-9747-58CE-F7845CFBE252}"/>
          </ac:spMkLst>
        </pc:spChg>
        <pc:spChg chg="mod">
          <ac:chgData name="Joao Cabral de Assis" userId="2e28f1b2-599c-43fa-9c22-5b7536e3b37b" providerId="ADAL" clId="{903218E2-C22B-4CC8-9AB6-343CA3DF934D}" dt="2023-06-19T01:36:49.388" v="11852" actId="790"/>
          <ac:spMkLst>
            <pc:docMk/>
            <pc:sldMk cId="2648243926" sldId="11516"/>
            <ac:spMk id="35" creationId="{388A93C6-8E9A-7487-FBFB-248CEC977A19}"/>
          </ac:spMkLst>
        </pc:spChg>
      </pc:sldChg>
      <pc:sldChg chg="del">
        <pc:chgData name="Joao Cabral de Assis" userId="2e28f1b2-599c-43fa-9c22-5b7536e3b37b" providerId="ADAL" clId="{903218E2-C22B-4CC8-9AB6-343CA3DF934D}" dt="2023-06-19T00:04:09.232" v="8391" actId="47"/>
        <pc:sldMkLst>
          <pc:docMk/>
          <pc:sldMk cId="4269404268" sldId="11518"/>
        </pc:sldMkLst>
      </pc:sldChg>
      <pc:sldChg chg="addSp modSp mod delCm modNotes">
        <pc:chgData name="Joao Cabral de Assis" userId="2e28f1b2-599c-43fa-9c22-5b7536e3b37b" providerId="ADAL" clId="{903218E2-C22B-4CC8-9AB6-343CA3DF934D}" dt="2023-06-19T01:40:37.857" v="12340" actId="948"/>
        <pc:sldMkLst>
          <pc:docMk/>
          <pc:sldMk cId="1509743954" sldId="11519"/>
        </pc:sldMkLst>
        <pc:spChg chg="mod">
          <ac:chgData name="Joao Cabral de Assis" userId="2e28f1b2-599c-43fa-9c22-5b7536e3b37b" providerId="ADAL" clId="{903218E2-C22B-4CC8-9AB6-343CA3DF934D}" dt="2023-06-19T01:36:49.397" v="11855" actId="790"/>
          <ac:spMkLst>
            <pc:docMk/>
            <pc:sldMk cId="1509743954" sldId="11519"/>
            <ac:spMk id="2" creationId="{621EE3CB-88A6-9846-0273-B29487B6AAC0}"/>
          </ac:spMkLst>
        </pc:spChg>
        <pc:spChg chg="mod">
          <ac:chgData name="Joao Cabral de Assis" userId="2e28f1b2-599c-43fa-9c22-5b7536e3b37b" providerId="ADAL" clId="{903218E2-C22B-4CC8-9AB6-343CA3DF934D}" dt="2023-06-19T01:36:49.403" v="11857" actId="790"/>
          <ac:spMkLst>
            <pc:docMk/>
            <pc:sldMk cId="1509743954" sldId="11519"/>
            <ac:spMk id="4" creationId="{02B46B7E-F0D8-B93D-ABC1-E18A4C1A13DC}"/>
          </ac:spMkLst>
        </pc:spChg>
        <pc:spChg chg="mod">
          <ac:chgData name="Joao Cabral de Assis" userId="2e28f1b2-599c-43fa-9c22-5b7536e3b37b" providerId="ADAL" clId="{903218E2-C22B-4CC8-9AB6-343CA3DF934D}" dt="2023-06-19T01:36:49.400" v="11856" actId="790"/>
          <ac:spMkLst>
            <pc:docMk/>
            <pc:sldMk cId="1509743954" sldId="11519"/>
            <ac:spMk id="6" creationId="{B66EA8C9-77CE-B963-7AC6-F60B658910B8}"/>
          </ac:spMkLst>
        </pc:spChg>
        <pc:spChg chg="mod">
          <ac:chgData name="Joao Cabral de Assis" userId="2e28f1b2-599c-43fa-9c22-5b7536e3b37b" providerId="ADAL" clId="{903218E2-C22B-4CC8-9AB6-343CA3DF934D}" dt="2023-06-19T01:40:37.857" v="12340" actId="948"/>
          <ac:spMkLst>
            <pc:docMk/>
            <pc:sldMk cId="1509743954" sldId="11519"/>
            <ac:spMk id="15" creationId="{B96FDC7E-1F71-9747-58CE-F7845CFBE252}"/>
          </ac:spMkLst>
        </pc:spChg>
        <pc:spChg chg="mod">
          <ac:chgData name="Joao Cabral de Assis" userId="2e28f1b2-599c-43fa-9c22-5b7536e3b37b" providerId="ADAL" clId="{903218E2-C22B-4CC8-9AB6-343CA3DF934D}" dt="2023-06-19T01:36:49.411" v="11859" actId="790"/>
          <ac:spMkLst>
            <pc:docMk/>
            <pc:sldMk cId="1509743954" sldId="11519"/>
            <ac:spMk id="19" creationId="{35C9DDBA-D1AC-060F-17C9-EBA1073A3C91}"/>
          </ac:spMkLst>
        </pc:spChg>
        <pc:picChg chg="add mod">
          <ac:chgData name="Joao Cabral de Assis" userId="2e28f1b2-599c-43fa-9c22-5b7536e3b37b" providerId="ADAL" clId="{903218E2-C22B-4CC8-9AB6-343CA3DF934D}" dt="2023-06-19T00:43:29.758" v="8420" actId="14100"/>
          <ac:picMkLst>
            <pc:docMk/>
            <pc:sldMk cId="1509743954" sldId="11519"/>
            <ac:picMk id="9" creationId="{5504FC21-C18A-4E79-B475-6251E043B234}"/>
          </ac:picMkLst>
        </pc:picChg>
      </pc:sldChg>
      <pc:sldChg chg="del">
        <pc:chgData name="Joao Cabral de Assis" userId="2e28f1b2-599c-43fa-9c22-5b7536e3b37b" providerId="ADAL" clId="{903218E2-C22B-4CC8-9AB6-343CA3DF934D}" dt="2023-06-19T00:08:49.726" v="8394" actId="47"/>
        <pc:sldMkLst>
          <pc:docMk/>
          <pc:sldMk cId="4175918775" sldId="11520"/>
        </pc:sldMkLst>
      </pc:sldChg>
      <pc:sldChg chg="modSp mod modNotes">
        <pc:chgData name="Joao Cabral de Assis" userId="2e28f1b2-599c-43fa-9c22-5b7536e3b37b" providerId="ADAL" clId="{903218E2-C22B-4CC8-9AB6-343CA3DF934D}" dt="2023-06-19T01:36:49.317" v="11823" actId="790"/>
        <pc:sldMkLst>
          <pc:docMk/>
          <pc:sldMk cId="2898652016" sldId="11521"/>
        </pc:sldMkLst>
        <pc:spChg chg="mod">
          <ac:chgData name="Joao Cabral de Assis" userId="2e28f1b2-599c-43fa-9c22-5b7536e3b37b" providerId="ADAL" clId="{903218E2-C22B-4CC8-9AB6-343CA3DF934D}" dt="2023-06-19T01:36:48.572" v="11749" actId="790"/>
          <ac:spMkLst>
            <pc:docMk/>
            <pc:sldMk cId="2898652016" sldId="11521"/>
            <ac:spMk id="2" creationId="{621EE3CB-88A6-9846-0273-B29487B6AAC0}"/>
          </ac:spMkLst>
        </pc:spChg>
        <pc:spChg chg="mod">
          <ac:chgData name="Joao Cabral de Assis" userId="2e28f1b2-599c-43fa-9c22-5b7536e3b37b" providerId="ADAL" clId="{903218E2-C22B-4CC8-9AB6-343CA3DF934D}" dt="2023-06-19T01:36:49.313" v="11821" actId="790"/>
          <ac:spMkLst>
            <pc:docMk/>
            <pc:sldMk cId="2898652016" sldId="11521"/>
            <ac:spMk id="3" creationId="{C99F9DDB-6000-9391-D497-3452F21EC8A3}"/>
          </ac:spMkLst>
        </pc:spChg>
        <pc:spChg chg="mod">
          <ac:chgData name="Joao Cabral de Assis" userId="2e28f1b2-599c-43fa-9c22-5b7536e3b37b" providerId="ADAL" clId="{903218E2-C22B-4CC8-9AB6-343CA3DF934D}" dt="2023-06-19T01:36:48.574" v="11750" actId="790"/>
          <ac:spMkLst>
            <pc:docMk/>
            <pc:sldMk cId="2898652016" sldId="11521"/>
            <ac:spMk id="4" creationId="{02B46B7E-F0D8-B93D-ABC1-E18A4C1A13DC}"/>
          </ac:spMkLst>
        </pc:spChg>
        <pc:spChg chg="mod">
          <ac:chgData name="Joao Cabral de Assis" userId="2e28f1b2-599c-43fa-9c22-5b7536e3b37b" providerId="ADAL" clId="{903218E2-C22B-4CC8-9AB6-343CA3DF934D}" dt="2023-06-19T01:36:48.941" v="11785" actId="790"/>
          <ac:spMkLst>
            <pc:docMk/>
            <pc:sldMk cId="2898652016" sldId="11521"/>
            <ac:spMk id="10" creationId="{1682764F-594F-C826-F94E-407817AC83BB}"/>
          </ac:spMkLst>
        </pc:spChg>
        <pc:spChg chg="mod">
          <ac:chgData name="Joao Cabral de Assis" userId="2e28f1b2-599c-43fa-9c22-5b7536e3b37b" providerId="ADAL" clId="{903218E2-C22B-4CC8-9AB6-343CA3DF934D}" dt="2023-06-19T01:36:49.187" v="11810" actId="790"/>
          <ac:spMkLst>
            <pc:docMk/>
            <pc:sldMk cId="2898652016" sldId="11521"/>
            <ac:spMk id="15" creationId="{83679B31-37C0-F198-BF92-6700B4CB2995}"/>
          </ac:spMkLst>
        </pc:spChg>
        <pc:graphicFrameChg chg="modGraphic">
          <ac:chgData name="Joao Cabral de Assis" userId="2e28f1b2-599c-43fa-9c22-5b7536e3b37b" providerId="ADAL" clId="{903218E2-C22B-4CC8-9AB6-343CA3DF934D}" dt="2023-06-19T01:36:48.677" v="11760" actId="790"/>
          <ac:graphicFrameMkLst>
            <pc:docMk/>
            <pc:sldMk cId="2898652016" sldId="11521"/>
            <ac:graphicFrameMk id="9" creationId="{AAC827E3-943B-A577-7232-FF77B47E9278}"/>
          </ac:graphicFrameMkLst>
        </pc:graphicFrameChg>
        <pc:graphicFrameChg chg="modGraphic">
          <ac:chgData name="Joao Cabral de Assis" userId="2e28f1b2-599c-43fa-9c22-5b7536e3b37b" providerId="ADAL" clId="{903218E2-C22B-4CC8-9AB6-343CA3DF934D}" dt="2023-06-19T01:36:48.929" v="11784" actId="790"/>
          <ac:graphicFrameMkLst>
            <pc:docMk/>
            <pc:sldMk cId="2898652016" sldId="11521"/>
            <ac:graphicFrameMk id="11" creationId="{2471E16C-8593-B7E4-D175-E293867EE6BA}"/>
          </ac:graphicFrameMkLst>
        </pc:graphicFrameChg>
        <pc:graphicFrameChg chg="modGraphic">
          <ac:chgData name="Joao Cabral de Assis" userId="2e28f1b2-599c-43fa-9c22-5b7536e3b37b" providerId="ADAL" clId="{903218E2-C22B-4CC8-9AB6-343CA3DF934D}" dt="2023-06-19T01:36:49.177" v="11809" actId="790"/>
          <ac:graphicFrameMkLst>
            <pc:docMk/>
            <pc:sldMk cId="2898652016" sldId="11521"/>
            <ac:graphicFrameMk id="14" creationId="{B98D8222-4BCA-E162-30F6-61055D80F4FB}"/>
          </ac:graphicFrameMkLst>
        </pc:graphicFrameChg>
        <pc:graphicFrameChg chg="modGraphic">
          <ac:chgData name="Joao Cabral de Assis" userId="2e28f1b2-599c-43fa-9c22-5b7536e3b37b" providerId="ADAL" clId="{903218E2-C22B-4CC8-9AB6-343CA3DF934D}" dt="2023-06-19T01:36:49.301" v="11820" actId="790"/>
          <ac:graphicFrameMkLst>
            <pc:docMk/>
            <pc:sldMk cId="2898652016" sldId="11521"/>
            <ac:graphicFrameMk id="28" creationId="{EADBFDBB-0873-48E9-F986-0D020D47991E}"/>
          </ac:graphicFrameMkLst>
        </pc:graphicFrameChg>
      </pc:sldChg>
      <pc:sldChg chg="addSp delSp modSp mod modNotes">
        <pc:chgData name="Joao Cabral de Assis" userId="2e28f1b2-599c-43fa-9c22-5b7536e3b37b" providerId="ADAL" clId="{903218E2-C22B-4CC8-9AB6-343CA3DF934D}" dt="2023-06-19T01:43:09.399" v="12350" actId="948"/>
        <pc:sldMkLst>
          <pc:docMk/>
          <pc:sldMk cId="2485391577" sldId="11522"/>
        </pc:sldMkLst>
        <pc:spChg chg="mod">
          <ac:chgData name="Joao Cabral de Assis" userId="2e28f1b2-599c-43fa-9c22-5b7536e3b37b" providerId="ADAL" clId="{903218E2-C22B-4CC8-9AB6-343CA3DF934D}" dt="2023-06-19T01:36:49.320" v="11824" actId="790"/>
          <ac:spMkLst>
            <pc:docMk/>
            <pc:sldMk cId="2485391577" sldId="11522"/>
            <ac:spMk id="2" creationId="{621EE3CB-88A6-9846-0273-B29487B6AAC0}"/>
          </ac:spMkLst>
        </pc:spChg>
        <pc:spChg chg="mod">
          <ac:chgData name="Joao Cabral de Assis" userId="2e28f1b2-599c-43fa-9c22-5b7536e3b37b" providerId="ADAL" clId="{903218E2-C22B-4CC8-9AB6-343CA3DF934D}" dt="2023-06-19T01:36:49.324" v="11826" actId="790"/>
          <ac:spMkLst>
            <pc:docMk/>
            <pc:sldMk cId="2485391577" sldId="11522"/>
            <ac:spMk id="4" creationId="{02B46B7E-F0D8-B93D-ABC1-E18A4C1A13DC}"/>
          </ac:spMkLst>
        </pc:spChg>
        <pc:spChg chg="mod">
          <ac:chgData name="Joao Cabral de Assis" userId="2e28f1b2-599c-43fa-9c22-5b7536e3b37b" providerId="ADAL" clId="{903218E2-C22B-4CC8-9AB6-343CA3DF934D}" dt="2023-06-19T01:36:49.322" v="11825" actId="790"/>
          <ac:spMkLst>
            <pc:docMk/>
            <pc:sldMk cId="2485391577" sldId="11522"/>
            <ac:spMk id="6" creationId="{B66EA8C9-77CE-B963-7AC6-F60B658910B8}"/>
          </ac:spMkLst>
        </pc:spChg>
        <pc:spChg chg="add mod">
          <ac:chgData name="Joao Cabral de Assis" userId="2e28f1b2-599c-43fa-9c22-5b7536e3b37b" providerId="ADAL" clId="{903218E2-C22B-4CC8-9AB6-343CA3DF934D}" dt="2023-06-19T01:36:49.339" v="11831" actId="790"/>
          <ac:spMkLst>
            <pc:docMk/>
            <pc:sldMk cId="2485391577" sldId="11522"/>
            <ac:spMk id="9" creationId="{218E1BD3-9217-0185-8E6B-838314D3BE41}"/>
          </ac:spMkLst>
        </pc:spChg>
        <pc:spChg chg="mod">
          <ac:chgData name="Joao Cabral de Assis" userId="2e28f1b2-599c-43fa-9c22-5b7536e3b37b" providerId="ADAL" clId="{903218E2-C22B-4CC8-9AB6-343CA3DF934D}" dt="2023-06-19T01:36:49.328" v="11827" actId="790"/>
          <ac:spMkLst>
            <pc:docMk/>
            <pc:sldMk cId="2485391577" sldId="11522"/>
            <ac:spMk id="11" creationId="{92841D3B-482D-DFD2-E103-5F9E87A3DB78}"/>
          </ac:spMkLst>
        </pc:spChg>
        <pc:spChg chg="mod">
          <ac:chgData name="Joao Cabral de Assis" userId="2e28f1b2-599c-43fa-9c22-5b7536e3b37b" providerId="ADAL" clId="{903218E2-C22B-4CC8-9AB6-343CA3DF934D}" dt="2023-06-19T01:36:49.331" v="11828" actId="790"/>
          <ac:spMkLst>
            <pc:docMk/>
            <pc:sldMk cId="2485391577" sldId="11522"/>
            <ac:spMk id="14" creationId="{6FAF5D49-9C89-0C6A-09E5-A236E75EF44C}"/>
          </ac:spMkLst>
        </pc:spChg>
        <pc:spChg chg="mod">
          <ac:chgData name="Joao Cabral de Assis" userId="2e28f1b2-599c-43fa-9c22-5b7536e3b37b" providerId="ADAL" clId="{903218E2-C22B-4CC8-9AB6-343CA3DF934D}" dt="2023-06-19T01:43:09.399" v="12350" actId="948"/>
          <ac:spMkLst>
            <pc:docMk/>
            <pc:sldMk cId="2485391577" sldId="11522"/>
            <ac:spMk id="16" creationId="{E01CE77E-4695-46C6-55E2-6DF9B5746E1A}"/>
          </ac:spMkLst>
        </pc:spChg>
        <pc:spChg chg="mod">
          <ac:chgData name="Joao Cabral de Assis" userId="2e28f1b2-599c-43fa-9c22-5b7536e3b37b" providerId="ADAL" clId="{903218E2-C22B-4CC8-9AB6-343CA3DF934D}" dt="2023-06-19T01:36:49.337" v="11830" actId="790"/>
          <ac:spMkLst>
            <pc:docMk/>
            <pc:sldMk cId="2485391577" sldId="11522"/>
            <ac:spMk id="33" creationId="{1778B79B-EE0D-C72C-BE24-827DD6AA4E3F}"/>
          </ac:spMkLst>
        </pc:spChg>
        <pc:picChg chg="mod">
          <ac:chgData name="Joao Cabral de Assis" userId="2e28f1b2-599c-43fa-9c22-5b7536e3b37b" providerId="ADAL" clId="{903218E2-C22B-4CC8-9AB6-343CA3DF934D}" dt="2023-06-19T01:13:56.277" v="9223" actId="1076"/>
          <ac:picMkLst>
            <pc:docMk/>
            <pc:sldMk cId="2485391577" sldId="11522"/>
            <ac:picMk id="5" creationId="{576C6C64-BD1F-B798-E9E3-B1075E0EB301}"/>
          </ac:picMkLst>
        </pc:picChg>
        <pc:picChg chg="mod">
          <ac:chgData name="Joao Cabral de Assis" userId="2e28f1b2-599c-43fa-9c22-5b7536e3b37b" providerId="ADAL" clId="{903218E2-C22B-4CC8-9AB6-343CA3DF934D}" dt="2023-06-19T01:13:59.855" v="9224" actId="1076"/>
          <ac:picMkLst>
            <pc:docMk/>
            <pc:sldMk cId="2485391577" sldId="11522"/>
            <ac:picMk id="8" creationId="{DA61F38A-74E7-974A-2EB7-C1658249947A}"/>
          </ac:picMkLst>
        </pc:picChg>
        <pc:cxnChg chg="add mod">
          <ac:chgData name="Joao Cabral de Assis" userId="2e28f1b2-599c-43fa-9c22-5b7536e3b37b" providerId="ADAL" clId="{903218E2-C22B-4CC8-9AB6-343CA3DF934D}" dt="2023-06-19T01:15:47.878" v="9247" actId="14100"/>
          <ac:cxnSpMkLst>
            <pc:docMk/>
            <pc:sldMk cId="2485391577" sldId="11522"/>
            <ac:cxnSpMk id="3" creationId="{C358DF11-8025-8A9F-A908-A21528124A83}"/>
          </ac:cxnSpMkLst>
        </pc:cxnChg>
        <pc:cxnChg chg="add mod">
          <ac:chgData name="Joao Cabral de Assis" userId="2e28f1b2-599c-43fa-9c22-5b7536e3b37b" providerId="ADAL" clId="{903218E2-C22B-4CC8-9AB6-343CA3DF934D}" dt="2023-06-19T01:16:14.699" v="9253" actId="1076"/>
          <ac:cxnSpMkLst>
            <pc:docMk/>
            <pc:sldMk cId="2485391577" sldId="11522"/>
            <ac:cxnSpMk id="7" creationId="{09550132-D845-82CF-E8E8-8FD9D3F0CFE0}"/>
          </ac:cxnSpMkLst>
        </pc:cxnChg>
        <pc:cxnChg chg="add mod">
          <ac:chgData name="Joao Cabral de Assis" userId="2e28f1b2-599c-43fa-9c22-5b7536e3b37b" providerId="ADAL" clId="{903218E2-C22B-4CC8-9AB6-343CA3DF934D}" dt="2023-06-19T01:16:35.634" v="9256" actId="1076"/>
          <ac:cxnSpMkLst>
            <pc:docMk/>
            <pc:sldMk cId="2485391577" sldId="11522"/>
            <ac:cxnSpMk id="13" creationId="{8EE5A322-C585-2189-2748-F0FF3EBF90A9}"/>
          </ac:cxnSpMkLst>
        </pc:cxnChg>
        <pc:cxnChg chg="add del mod">
          <ac:chgData name="Joao Cabral de Assis" userId="2e28f1b2-599c-43fa-9c22-5b7536e3b37b" providerId="ADAL" clId="{903218E2-C22B-4CC8-9AB6-343CA3DF934D}" dt="2023-06-19T01:12:09.391" v="9197" actId="478"/>
          <ac:cxnSpMkLst>
            <pc:docMk/>
            <pc:sldMk cId="2485391577" sldId="11522"/>
            <ac:cxnSpMk id="18" creationId="{A9215FA8-AC86-9B49-27F6-E98D048F35CD}"/>
          </ac:cxnSpMkLst>
        </pc:cxnChg>
        <pc:cxnChg chg="add mod">
          <ac:chgData name="Joao Cabral de Assis" userId="2e28f1b2-599c-43fa-9c22-5b7536e3b37b" providerId="ADAL" clId="{903218E2-C22B-4CC8-9AB6-343CA3DF934D}" dt="2023-06-19T01:16:38.378" v="9257" actId="1076"/>
          <ac:cxnSpMkLst>
            <pc:docMk/>
            <pc:sldMk cId="2485391577" sldId="11522"/>
            <ac:cxnSpMk id="19" creationId="{6D988589-6554-1707-0D3F-09783048B240}"/>
          </ac:cxnSpMkLst>
        </pc:cxnChg>
        <pc:cxnChg chg="add mod">
          <ac:chgData name="Joao Cabral de Assis" userId="2e28f1b2-599c-43fa-9c22-5b7536e3b37b" providerId="ADAL" clId="{903218E2-C22B-4CC8-9AB6-343CA3DF934D}" dt="2023-06-19T01:15:55.156" v="9249" actId="1076"/>
          <ac:cxnSpMkLst>
            <pc:docMk/>
            <pc:sldMk cId="2485391577" sldId="11522"/>
            <ac:cxnSpMk id="20" creationId="{0CD01470-09D5-57DE-5B65-EA8378DE4A6A}"/>
          </ac:cxnSpMkLst>
        </pc:cxnChg>
        <pc:cxnChg chg="add mod">
          <ac:chgData name="Joao Cabral de Assis" userId="2e28f1b2-599c-43fa-9c22-5b7536e3b37b" providerId="ADAL" clId="{903218E2-C22B-4CC8-9AB6-343CA3DF934D}" dt="2023-06-19T01:15:51.320" v="9248" actId="1076"/>
          <ac:cxnSpMkLst>
            <pc:docMk/>
            <pc:sldMk cId="2485391577" sldId="11522"/>
            <ac:cxnSpMk id="21" creationId="{0F34A3A2-7BC8-4C8E-89A5-9AAEC1C23AF5}"/>
          </ac:cxnSpMkLst>
        </pc:cxnChg>
      </pc:sldChg>
      <pc:sldChg chg="modNotes">
        <pc:chgData name="Joao Cabral de Assis" userId="2e28f1b2-599c-43fa-9c22-5b7536e3b37b" providerId="ADAL" clId="{903218E2-C22B-4CC8-9AB6-343CA3DF934D}" dt="2023-06-19T01:36:49.482" v="11891" actId="790"/>
        <pc:sldMkLst>
          <pc:docMk/>
          <pc:sldMk cId="4251414838" sldId="11523"/>
        </pc:sldMkLst>
      </pc:sldChg>
      <pc:sldChg chg="addSp delSp modSp mod modNotes">
        <pc:chgData name="Joao Cabral de Assis" userId="2e28f1b2-599c-43fa-9c22-5b7536e3b37b" providerId="ADAL" clId="{903218E2-C22B-4CC8-9AB6-343CA3DF934D}" dt="2023-06-19T01:49:10.928" v="12537"/>
        <pc:sldMkLst>
          <pc:docMk/>
          <pc:sldMk cId="408117804" sldId="11524"/>
        </pc:sldMkLst>
        <pc:spChg chg="mod">
          <ac:chgData name="Joao Cabral de Assis" userId="2e28f1b2-599c-43fa-9c22-5b7536e3b37b" providerId="ADAL" clId="{903218E2-C22B-4CC8-9AB6-343CA3DF934D}" dt="2023-06-19T01:49:10.911" v="12533" actId="948"/>
          <ac:spMkLst>
            <pc:docMk/>
            <pc:sldMk cId="408117804" sldId="11524"/>
            <ac:spMk id="2" creationId="{6CCABE40-C3BD-20B8-0814-2DE86E30D3EC}"/>
          </ac:spMkLst>
        </pc:spChg>
        <pc:spChg chg="mod">
          <ac:chgData name="Joao Cabral de Assis" userId="2e28f1b2-599c-43fa-9c22-5b7536e3b37b" providerId="ADAL" clId="{903218E2-C22B-4CC8-9AB6-343CA3DF934D}" dt="2023-06-19T01:36:49.452" v="11877" actId="790"/>
          <ac:spMkLst>
            <pc:docMk/>
            <pc:sldMk cId="408117804" sldId="11524"/>
            <ac:spMk id="3" creationId="{57FF7E34-0F98-1CC4-3249-46D8F765FCCD}"/>
          </ac:spMkLst>
        </pc:spChg>
        <pc:spChg chg="mod">
          <ac:chgData name="Joao Cabral de Assis" userId="2e28f1b2-599c-43fa-9c22-5b7536e3b37b" providerId="ADAL" clId="{903218E2-C22B-4CC8-9AB6-343CA3DF934D}" dt="2023-06-19T01:36:49.454" v="11878" actId="790"/>
          <ac:spMkLst>
            <pc:docMk/>
            <pc:sldMk cId="408117804" sldId="11524"/>
            <ac:spMk id="5" creationId="{5AB05E06-8365-AB62-4CAF-445F82AB8323}"/>
          </ac:spMkLst>
        </pc:spChg>
        <pc:spChg chg="mod">
          <ac:chgData name="Joao Cabral de Assis" userId="2e28f1b2-599c-43fa-9c22-5b7536e3b37b" providerId="ADAL" clId="{903218E2-C22B-4CC8-9AB6-343CA3DF934D}" dt="2023-06-19T01:36:49.456" v="11879" actId="790"/>
          <ac:spMkLst>
            <pc:docMk/>
            <pc:sldMk cId="408117804" sldId="11524"/>
            <ac:spMk id="6" creationId="{D2D018AE-40F4-3A10-3667-CD5A40DC5FBC}"/>
          </ac:spMkLst>
        </pc:spChg>
        <pc:spChg chg="add del">
          <ac:chgData name="Joao Cabral de Assis" userId="2e28f1b2-599c-43fa-9c22-5b7536e3b37b" providerId="ADAL" clId="{903218E2-C22B-4CC8-9AB6-343CA3DF934D}" dt="2023-06-19T01:23:46.884" v="10806" actId="22"/>
          <ac:spMkLst>
            <pc:docMk/>
            <pc:sldMk cId="408117804" sldId="11524"/>
            <ac:spMk id="9" creationId="{3C6B78FA-B1A7-AB8C-D41F-05DEB9464DF9}"/>
          </ac:spMkLst>
        </pc:spChg>
        <pc:spChg chg="add mod">
          <ac:chgData name="Joao Cabral de Assis" userId="2e28f1b2-599c-43fa-9c22-5b7536e3b37b" providerId="ADAL" clId="{903218E2-C22B-4CC8-9AB6-343CA3DF934D}" dt="2023-06-19T01:36:49.459" v="11880" actId="790"/>
          <ac:spMkLst>
            <pc:docMk/>
            <pc:sldMk cId="408117804" sldId="11524"/>
            <ac:spMk id="11" creationId="{91B89685-78B5-9E1B-C253-AF6EEDA23CE1}"/>
          </ac:spMkLst>
        </pc:spChg>
        <pc:graphicFrameChg chg="mod">
          <ac:chgData name="Joao Cabral de Assis" userId="2e28f1b2-599c-43fa-9c22-5b7536e3b37b" providerId="ADAL" clId="{903218E2-C22B-4CC8-9AB6-343CA3DF934D}" dt="2023-06-19T01:49:10.928" v="12537"/>
          <ac:graphicFrameMkLst>
            <pc:docMk/>
            <pc:sldMk cId="408117804" sldId="11524"/>
            <ac:graphicFrameMk id="7" creationId="{EA603F68-AC1F-B55A-7F78-22C4038C4824}"/>
          </ac:graphicFrameMkLst>
        </pc:graphicFrameChg>
        <pc:picChg chg="mod">
          <ac:chgData name="Joao Cabral de Assis" userId="2e28f1b2-599c-43fa-9c22-5b7536e3b37b" providerId="ADAL" clId="{903218E2-C22B-4CC8-9AB6-343CA3DF934D}" dt="2023-06-19T01:24:27.657" v="10816" actId="1076"/>
          <ac:picMkLst>
            <pc:docMk/>
            <pc:sldMk cId="408117804" sldId="11524"/>
            <ac:picMk id="4" creationId="{64AEDC61-117F-07A2-4957-B5A427AAE965}"/>
          </ac:picMkLst>
        </pc:picChg>
      </pc:sldChg>
      <pc:sldChg chg="modNotes">
        <pc:chgData name="Joao Cabral de Assis" userId="2e28f1b2-599c-43fa-9c22-5b7536e3b37b" providerId="ADAL" clId="{903218E2-C22B-4CC8-9AB6-343CA3DF934D}" dt="2023-06-19T01:36:49.755" v="12007" actId="790"/>
        <pc:sldMkLst>
          <pc:docMk/>
          <pc:sldMk cId="4194807795" sldId="11525"/>
        </pc:sldMkLst>
      </pc:sldChg>
      <pc:sldChg chg="modNotes">
        <pc:chgData name="Joao Cabral de Assis" userId="2e28f1b2-599c-43fa-9c22-5b7536e3b37b" providerId="ADAL" clId="{903218E2-C22B-4CC8-9AB6-343CA3DF934D}" dt="2023-06-19T01:36:49.541" v="11917" actId="790"/>
        <pc:sldMkLst>
          <pc:docMk/>
          <pc:sldMk cId="3015517591" sldId="11526"/>
        </pc:sldMkLst>
      </pc:sldChg>
      <pc:sldChg chg="addSp delSp modSp mod modNotes">
        <pc:chgData name="Joao Cabral de Assis" userId="2e28f1b2-599c-43fa-9c22-5b7536e3b37b" providerId="ADAL" clId="{903218E2-C22B-4CC8-9AB6-343CA3DF934D}" dt="2023-06-19T01:49:21.923" v="12548"/>
        <pc:sldMkLst>
          <pc:docMk/>
          <pc:sldMk cId="1068429091" sldId="11527"/>
        </pc:sldMkLst>
        <pc:spChg chg="del mod">
          <ac:chgData name="Joao Cabral de Assis" userId="2e28f1b2-599c-43fa-9c22-5b7536e3b37b" providerId="ADAL" clId="{903218E2-C22B-4CC8-9AB6-343CA3DF934D}" dt="2023-06-19T01:49:17.057" v="12538" actId="478"/>
          <ac:spMkLst>
            <pc:docMk/>
            <pc:sldMk cId="1068429091" sldId="11527"/>
            <ac:spMk id="2" creationId="{F3940C8D-D727-C688-4E63-2A4413ACA3FB}"/>
          </ac:spMkLst>
        </pc:spChg>
        <pc:spChg chg="mod">
          <ac:chgData name="Joao Cabral de Assis" userId="2e28f1b2-599c-43fa-9c22-5b7536e3b37b" providerId="ADAL" clId="{903218E2-C22B-4CC8-9AB6-343CA3DF934D}" dt="2023-06-19T01:48:42.198" v="12531" actId="2710"/>
          <ac:spMkLst>
            <pc:docMk/>
            <pc:sldMk cId="1068429091" sldId="11527"/>
            <ac:spMk id="3" creationId="{23B9721D-3DAE-E524-351E-34B31A4A255F}"/>
          </ac:spMkLst>
        </pc:spChg>
        <pc:spChg chg="mod">
          <ac:chgData name="Joao Cabral de Assis" userId="2e28f1b2-599c-43fa-9c22-5b7536e3b37b" providerId="ADAL" clId="{903218E2-C22B-4CC8-9AB6-343CA3DF934D}" dt="2023-06-19T01:36:49.470" v="11885" actId="790"/>
          <ac:spMkLst>
            <pc:docMk/>
            <pc:sldMk cId="1068429091" sldId="11527"/>
            <ac:spMk id="5" creationId="{F3A56B59-36EF-6F29-7F6E-9E51C62478CE}"/>
          </ac:spMkLst>
        </pc:spChg>
        <pc:spChg chg="add del mod">
          <ac:chgData name="Joao Cabral de Assis" userId="2e28f1b2-599c-43fa-9c22-5b7536e3b37b" providerId="ADAL" clId="{903218E2-C22B-4CC8-9AB6-343CA3DF934D}" dt="2023-06-19T01:49:20.761" v="12543" actId="478"/>
          <ac:spMkLst>
            <pc:docMk/>
            <pc:sldMk cId="1068429091" sldId="11527"/>
            <ac:spMk id="7" creationId="{E81A5D42-69CD-6DEB-01DD-AC3E17A94E94}"/>
          </ac:spMkLst>
        </pc:spChg>
        <pc:spChg chg="mod">
          <ac:chgData name="Joao Cabral de Assis" userId="2e28f1b2-599c-43fa-9c22-5b7536e3b37b" providerId="ADAL" clId="{903218E2-C22B-4CC8-9AB6-343CA3DF934D}" dt="2023-06-19T01:36:49.472" v="11886" actId="790"/>
          <ac:spMkLst>
            <pc:docMk/>
            <pc:sldMk cId="1068429091" sldId="11527"/>
            <ac:spMk id="9" creationId="{321992E6-33D3-899D-4DDA-9BB63A277883}"/>
          </ac:spMkLst>
        </pc:spChg>
        <pc:spChg chg="mod">
          <ac:chgData name="Joao Cabral de Assis" userId="2e28f1b2-599c-43fa-9c22-5b7536e3b37b" providerId="ADAL" clId="{903218E2-C22B-4CC8-9AB6-343CA3DF934D}" dt="2023-06-19T01:47:39.103" v="12521" actId="1076"/>
          <ac:spMkLst>
            <pc:docMk/>
            <pc:sldMk cId="1068429091" sldId="11527"/>
            <ac:spMk id="10" creationId="{BE4108DA-57FE-FB7B-9EA8-56EBD4CB19A2}"/>
          </ac:spMkLst>
        </pc:spChg>
        <pc:spChg chg="add mod">
          <ac:chgData name="Joao Cabral de Assis" userId="2e28f1b2-599c-43fa-9c22-5b7536e3b37b" providerId="ADAL" clId="{903218E2-C22B-4CC8-9AB6-343CA3DF934D}" dt="2023-06-19T01:49:21.923" v="12548"/>
          <ac:spMkLst>
            <pc:docMk/>
            <pc:sldMk cId="1068429091" sldId="11527"/>
            <ac:spMk id="11" creationId="{5E90D9D4-FE96-8EB3-666B-66C8F4E026C2}"/>
          </ac:spMkLst>
        </pc:spChg>
        <pc:graphicFrameChg chg="mod">
          <ac:chgData name="Joao Cabral de Assis" userId="2e28f1b2-599c-43fa-9c22-5b7536e3b37b" providerId="ADAL" clId="{903218E2-C22B-4CC8-9AB6-343CA3DF934D}" dt="2023-06-19T01:49:21.393" v="12547"/>
          <ac:graphicFrameMkLst>
            <pc:docMk/>
            <pc:sldMk cId="1068429091" sldId="11527"/>
            <ac:graphicFrameMk id="6" creationId="{1C83CF1F-4582-B9AD-7E0D-00FC14089205}"/>
          </ac:graphicFrameMkLst>
        </pc:graphicFrameChg>
        <pc:picChg chg="mod">
          <ac:chgData name="Joao Cabral de Assis" userId="2e28f1b2-599c-43fa-9c22-5b7536e3b37b" providerId="ADAL" clId="{903218E2-C22B-4CC8-9AB6-343CA3DF934D}" dt="2023-06-19T01:22:26.354" v="10793" actId="1076"/>
          <ac:picMkLst>
            <pc:docMk/>
            <pc:sldMk cId="1068429091" sldId="11527"/>
            <ac:picMk id="8" creationId="{303B1771-99EF-FAEB-68AE-256AFF669406}"/>
          </ac:picMkLst>
        </pc:picChg>
      </pc:sldChg>
      <pc:sldChg chg="modSp mod modNotes">
        <pc:chgData name="Joao Cabral de Assis" userId="2e28f1b2-599c-43fa-9c22-5b7536e3b37b" providerId="ADAL" clId="{903218E2-C22B-4CC8-9AB6-343CA3DF934D}" dt="2023-06-19T01:36:49.538" v="11915" actId="790"/>
        <pc:sldMkLst>
          <pc:docMk/>
          <pc:sldMk cId="1449692248" sldId="11528"/>
        </pc:sldMkLst>
        <pc:spChg chg="mod">
          <ac:chgData name="Joao Cabral de Assis" userId="2e28f1b2-599c-43fa-9c22-5b7536e3b37b" providerId="ADAL" clId="{903218E2-C22B-4CC8-9AB6-343CA3DF934D}" dt="2023-06-19T01:36:49.531" v="11911" actId="790"/>
          <ac:spMkLst>
            <pc:docMk/>
            <pc:sldMk cId="1449692248" sldId="11528"/>
            <ac:spMk id="2" creationId="{0B2AC4D7-D9CC-47C0-A863-A287E985BCF7}"/>
          </ac:spMkLst>
        </pc:spChg>
        <pc:spChg chg="mod">
          <ac:chgData name="Joao Cabral de Assis" userId="2e28f1b2-599c-43fa-9c22-5b7536e3b37b" providerId="ADAL" clId="{903218E2-C22B-4CC8-9AB6-343CA3DF934D}" dt="2023-06-19T01:36:49.535" v="11913" actId="790"/>
          <ac:spMkLst>
            <pc:docMk/>
            <pc:sldMk cId="1449692248" sldId="11528"/>
            <ac:spMk id="3" creationId="{7F38FA73-EF4B-BDB4-BC39-23B73A125E1F}"/>
          </ac:spMkLst>
        </pc:spChg>
        <pc:spChg chg="mod">
          <ac:chgData name="Joao Cabral de Assis" userId="2e28f1b2-599c-43fa-9c22-5b7536e3b37b" providerId="ADAL" clId="{903218E2-C22B-4CC8-9AB6-343CA3DF934D}" dt="2023-06-19T01:36:49.533" v="11912" actId="790"/>
          <ac:spMkLst>
            <pc:docMk/>
            <pc:sldMk cId="1449692248" sldId="11528"/>
            <ac:spMk id="4" creationId="{DE38F229-63B1-433E-BA01-8452C1EBABB1}"/>
          </ac:spMkLst>
        </pc:spChg>
        <pc:spChg chg="mod">
          <ac:chgData name="Joao Cabral de Assis" userId="2e28f1b2-599c-43fa-9c22-5b7536e3b37b" providerId="ADAL" clId="{903218E2-C22B-4CC8-9AB6-343CA3DF934D}" dt="2023-06-19T01:36:49.529" v="11910" actId="790"/>
          <ac:spMkLst>
            <pc:docMk/>
            <pc:sldMk cId="1449692248" sldId="11528"/>
            <ac:spMk id="7" creationId="{02512DF6-5475-4909-8C56-6C8627D8C46F}"/>
          </ac:spMkLst>
        </pc:spChg>
      </pc:sldChg>
      <pc:sldChg chg="modSp mod modNotes">
        <pc:chgData name="Joao Cabral de Assis" userId="2e28f1b2-599c-43fa-9c22-5b7536e3b37b" providerId="ADAL" clId="{903218E2-C22B-4CC8-9AB6-343CA3DF934D}" dt="2023-06-19T01:36:49.765" v="12011" actId="790"/>
        <pc:sldMkLst>
          <pc:docMk/>
          <pc:sldMk cId="599210622" sldId="11530"/>
        </pc:sldMkLst>
        <pc:spChg chg="mod">
          <ac:chgData name="Joao Cabral de Assis" userId="2e28f1b2-599c-43fa-9c22-5b7536e3b37b" providerId="ADAL" clId="{903218E2-C22B-4CC8-9AB6-343CA3DF934D}" dt="2023-06-19T01:36:49.761" v="12009" actId="790"/>
          <ac:spMkLst>
            <pc:docMk/>
            <pc:sldMk cId="599210622" sldId="11530"/>
            <ac:spMk id="2" creationId="{BECDDECA-5C94-E2DB-00ED-E6C7B89B4231}"/>
          </ac:spMkLst>
        </pc:spChg>
        <pc:spChg chg="mod">
          <ac:chgData name="Joao Cabral de Assis" userId="2e28f1b2-599c-43fa-9c22-5b7536e3b37b" providerId="ADAL" clId="{903218E2-C22B-4CC8-9AB6-343CA3DF934D}" dt="2023-06-19T01:36:49.759" v="12008" actId="790"/>
          <ac:spMkLst>
            <pc:docMk/>
            <pc:sldMk cId="599210622" sldId="11530"/>
            <ac:spMk id="3" creationId="{F448F8AE-4446-483E-B67F-7CEC714480A5}"/>
          </ac:spMkLst>
        </pc:spChg>
      </pc:sldChg>
      <pc:sldChg chg="modSp mod modNotes">
        <pc:chgData name="Joao Cabral de Assis" userId="2e28f1b2-599c-43fa-9c22-5b7536e3b37b" providerId="ADAL" clId="{903218E2-C22B-4CC8-9AB6-343CA3DF934D}" dt="2023-06-19T01:36:49.774" v="12015" actId="790"/>
        <pc:sldMkLst>
          <pc:docMk/>
          <pc:sldMk cId="989493196" sldId="11531"/>
        </pc:sldMkLst>
        <pc:spChg chg="mod">
          <ac:chgData name="Joao Cabral de Assis" userId="2e28f1b2-599c-43fa-9c22-5b7536e3b37b" providerId="ADAL" clId="{903218E2-C22B-4CC8-9AB6-343CA3DF934D}" dt="2023-06-19T01:36:49.770" v="12013" actId="790"/>
          <ac:spMkLst>
            <pc:docMk/>
            <pc:sldMk cId="989493196" sldId="11531"/>
            <ac:spMk id="2" creationId="{B604129E-EED0-2100-2F29-35BA91F8EE69}"/>
          </ac:spMkLst>
        </pc:spChg>
        <pc:spChg chg="mod">
          <ac:chgData name="Joao Cabral de Assis" userId="2e28f1b2-599c-43fa-9c22-5b7536e3b37b" providerId="ADAL" clId="{903218E2-C22B-4CC8-9AB6-343CA3DF934D}" dt="2023-06-19T01:36:49.767" v="12012" actId="790"/>
          <ac:spMkLst>
            <pc:docMk/>
            <pc:sldMk cId="989493196" sldId="11531"/>
            <ac:spMk id="4" creationId="{623DACD9-4132-D86A-A875-8AA84933437A}"/>
          </ac:spMkLst>
        </pc:spChg>
      </pc:sldChg>
      <pc:sldChg chg="modSp mod modNotes">
        <pc:chgData name="Joao Cabral de Assis" userId="2e28f1b2-599c-43fa-9c22-5b7536e3b37b" providerId="ADAL" clId="{903218E2-C22B-4CC8-9AB6-343CA3DF934D}" dt="2023-06-19T01:36:49.921" v="12075" actId="790"/>
        <pc:sldMkLst>
          <pc:docMk/>
          <pc:sldMk cId="2170697018" sldId="11532"/>
        </pc:sldMkLst>
        <pc:spChg chg="mod">
          <ac:chgData name="Joao Cabral de Assis" userId="2e28f1b2-599c-43fa-9c22-5b7536e3b37b" providerId="ADAL" clId="{903218E2-C22B-4CC8-9AB6-343CA3DF934D}" dt="2023-06-19T01:36:49.916" v="12072" actId="790"/>
          <ac:spMkLst>
            <pc:docMk/>
            <pc:sldMk cId="2170697018" sldId="11532"/>
            <ac:spMk id="2" creationId="{35881883-E1F1-1CE5-415E-296A5B142BFA}"/>
          </ac:spMkLst>
        </pc:spChg>
        <pc:spChg chg="mod">
          <ac:chgData name="Joao Cabral de Assis" userId="2e28f1b2-599c-43fa-9c22-5b7536e3b37b" providerId="ADAL" clId="{903218E2-C22B-4CC8-9AB6-343CA3DF934D}" dt="2023-06-19T01:36:49.918" v="12073" actId="790"/>
          <ac:spMkLst>
            <pc:docMk/>
            <pc:sldMk cId="2170697018" sldId="11532"/>
            <ac:spMk id="5" creationId="{7A5A116D-3F5C-5028-2A7C-E8EE5F868987}"/>
          </ac:spMkLst>
        </pc:spChg>
      </pc:sldChg>
      <pc:sldChg chg="modSp mod modNotes">
        <pc:chgData name="Joao Cabral de Assis" userId="2e28f1b2-599c-43fa-9c22-5b7536e3b37b" providerId="ADAL" clId="{903218E2-C22B-4CC8-9AB6-343CA3DF934D}" dt="2023-06-19T01:36:50.027" v="12111" actId="790"/>
        <pc:sldMkLst>
          <pc:docMk/>
          <pc:sldMk cId="3942601383" sldId="11533"/>
        </pc:sldMkLst>
        <pc:spChg chg="mod">
          <ac:chgData name="Joao Cabral de Assis" userId="2e28f1b2-599c-43fa-9c22-5b7536e3b37b" providerId="ADAL" clId="{903218E2-C22B-4CC8-9AB6-343CA3DF934D}" dt="2023-06-19T01:36:50.023" v="12108" actId="790"/>
          <ac:spMkLst>
            <pc:docMk/>
            <pc:sldMk cId="3942601383" sldId="11533"/>
            <ac:spMk id="2" creationId="{72776314-0EBD-6C38-FCC9-2AEFB18E4B0C}"/>
          </ac:spMkLst>
        </pc:spChg>
        <pc:spChg chg="mod">
          <ac:chgData name="Joao Cabral de Assis" userId="2e28f1b2-599c-43fa-9c22-5b7536e3b37b" providerId="ADAL" clId="{903218E2-C22B-4CC8-9AB6-343CA3DF934D}" dt="2023-06-19T01:36:50.024" v="12109" actId="790"/>
          <ac:spMkLst>
            <pc:docMk/>
            <pc:sldMk cId="3942601383" sldId="11533"/>
            <ac:spMk id="5" creationId="{E2CBF5CA-9FDF-6E41-0BF2-59EB9E81BFAE}"/>
          </ac:spMkLst>
        </pc:spChg>
      </pc:sldChg>
      <pc:sldChg chg="modSp mod modNotes">
        <pc:chgData name="Joao Cabral de Assis" userId="2e28f1b2-599c-43fa-9c22-5b7536e3b37b" providerId="ADAL" clId="{903218E2-C22B-4CC8-9AB6-343CA3DF934D}" dt="2023-06-19T01:36:51.193" v="12243" actId="790"/>
        <pc:sldMkLst>
          <pc:docMk/>
          <pc:sldMk cId="293673345" sldId="11534"/>
        </pc:sldMkLst>
        <pc:spChg chg="mod">
          <ac:chgData name="Joao Cabral de Assis" userId="2e28f1b2-599c-43fa-9c22-5b7536e3b37b" providerId="ADAL" clId="{903218E2-C22B-4CC8-9AB6-343CA3DF934D}" dt="2023-06-19T01:36:51.183" v="12240" actId="790"/>
          <ac:spMkLst>
            <pc:docMk/>
            <pc:sldMk cId="293673345" sldId="11534"/>
            <ac:spMk id="2" creationId="{97E1ACA5-910F-BBBE-63B7-7E78C1DC9770}"/>
          </ac:spMkLst>
        </pc:spChg>
        <pc:spChg chg="mod">
          <ac:chgData name="Joao Cabral de Assis" userId="2e28f1b2-599c-43fa-9c22-5b7536e3b37b" providerId="ADAL" clId="{903218E2-C22B-4CC8-9AB6-343CA3DF934D}" dt="2023-06-19T01:36:51.186" v="12241" actId="790"/>
          <ac:spMkLst>
            <pc:docMk/>
            <pc:sldMk cId="293673345" sldId="11534"/>
            <ac:spMk id="4" creationId="{5FE4A6E6-ABC4-DD2F-5A69-C889FEF9E414}"/>
          </ac:spMkLst>
        </pc:spChg>
      </pc:sldChg>
      <pc:sldChg chg="modSp mod modNotes">
        <pc:chgData name="Joao Cabral de Assis" userId="2e28f1b2-599c-43fa-9c22-5b7536e3b37b" providerId="ADAL" clId="{903218E2-C22B-4CC8-9AB6-343CA3DF934D}" dt="2023-06-19T01:36:51.622" v="12293" actId="790"/>
        <pc:sldMkLst>
          <pc:docMk/>
          <pc:sldMk cId="331930860" sldId="11535"/>
        </pc:sldMkLst>
        <pc:spChg chg="mod">
          <ac:chgData name="Joao Cabral de Assis" userId="2e28f1b2-599c-43fa-9c22-5b7536e3b37b" providerId="ADAL" clId="{903218E2-C22B-4CC8-9AB6-343CA3DF934D}" dt="2023-06-19T01:36:51.616" v="12290" actId="790"/>
          <ac:spMkLst>
            <pc:docMk/>
            <pc:sldMk cId="331930860" sldId="11535"/>
            <ac:spMk id="2" creationId="{61E37F53-5A0F-3B8E-E5E4-3162A789D51D}"/>
          </ac:spMkLst>
        </pc:spChg>
        <pc:spChg chg="mod">
          <ac:chgData name="Joao Cabral de Assis" userId="2e28f1b2-599c-43fa-9c22-5b7536e3b37b" providerId="ADAL" clId="{903218E2-C22B-4CC8-9AB6-343CA3DF934D}" dt="2023-06-19T01:36:51.618" v="12291" actId="790"/>
          <ac:spMkLst>
            <pc:docMk/>
            <pc:sldMk cId="331930860" sldId="11535"/>
            <ac:spMk id="4" creationId="{02B9F1C7-FAF4-4D15-D74D-DE63FB1C6E5D}"/>
          </ac:spMkLst>
        </pc:spChg>
      </pc:sldChg>
      <pc:sldChg chg="modSp mod modNotes">
        <pc:chgData name="Joao Cabral de Assis" userId="2e28f1b2-599c-43fa-9c22-5b7536e3b37b" providerId="ADAL" clId="{903218E2-C22B-4CC8-9AB6-343CA3DF934D}" dt="2023-06-19T01:36:49.546" v="11921" actId="790"/>
        <pc:sldMkLst>
          <pc:docMk/>
          <pc:sldMk cId="3074523161" sldId="11536"/>
        </pc:sldMkLst>
        <pc:spChg chg="mod">
          <ac:chgData name="Joao Cabral de Assis" userId="2e28f1b2-599c-43fa-9c22-5b7536e3b37b" providerId="ADAL" clId="{903218E2-C22B-4CC8-9AB6-343CA3DF934D}" dt="2023-06-19T01:36:49.542" v="11918" actId="790"/>
          <ac:spMkLst>
            <pc:docMk/>
            <pc:sldMk cId="3074523161" sldId="11536"/>
            <ac:spMk id="2" creationId="{93123969-787B-846D-0BA2-EFB3E65767DC}"/>
          </ac:spMkLst>
        </pc:spChg>
        <pc:spChg chg="mod">
          <ac:chgData name="Joao Cabral de Assis" userId="2e28f1b2-599c-43fa-9c22-5b7536e3b37b" providerId="ADAL" clId="{903218E2-C22B-4CC8-9AB6-343CA3DF934D}" dt="2023-06-19T01:36:49.543" v="11919" actId="790"/>
          <ac:spMkLst>
            <pc:docMk/>
            <pc:sldMk cId="3074523161" sldId="11536"/>
            <ac:spMk id="5" creationId="{E8591A4B-DF60-F12A-788B-719FCC655F61}"/>
          </ac:spMkLst>
        </pc:spChg>
      </pc:sldChg>
      <pc:sldChg chg="modSp mod modNotes">
        <pc:chgData name="Joao Cabral de Assis" userId="2e28f1b2-599c-43fa-9c22-5b7536e3b37b" providerId="ADAL" clId="{903218E2-C22B-4CC8-9AB6-343CA3DF934D}" dt="2023-06-19T01:36:49.491" v="11895" actId="790"/>
        <pc:sldMkLst>
          <pc:docMk/>
          <pc:sldMk cId="396234179" sldId="11537"/>
        </pc:sldMkLst>
        <pc:spChg chg="mod">
          <ac:chgData name="Joao Cabral de Assis" userId="2e28f1b2-599c-43fa-9c22-5b7536e3b37b" providerId="ADAL" clId="{903218E2-C22B-4CC8-9AB6-343CA3DF934D}" dt="2023-06-19T01:36:49.485" v="11892" actId="790"/>
          <ac:spMkLst>
            <pc:docMk/>
            <pc:sldMk cId="396234179" sldId="11537"/>
            <ac:spMk id="2" creationId="{93123969-787B-846D-0BA2-EFB3E65767DC}"/>
          </ac:spMkLst>
        </pc:spChg>
        <pc:spChg chg="mod">
          <ac:chgData name="Joao Cabral de Assis" userId="2e28f1b2-599c-43fa-9c22-5b7536e3b37b" providerId="ADAL" clId="{903218E2-C22B-4CC8-9AB6-343CA3DF934D}" dt="2023-06-19T01:36:49.487" v="11893" actId="790"/>
          <ac:spMkLst>
            <pc:docMk/>
            <pc:sldMk cId="396234179" sldId="11537"/>
            <ac:spMk id="5" creationId="{48317978-FF7C-7CD5-088E-FB2949061788}"/>
          </ac:spMkLst>
        </pc:spChg>
      </pc:sldChg>
      <pc:sldChg chg="addSp delSp modSp mod modNotes">
        <pc:chgData name="Joao Cabral de Assis" userId="2e28f1b2-599c-43fa-9c22-5b7536e3b37b" providerId="ADAL" clId="{903218E2-C22B-4CC8-9AB6-343CA3DF934D}" dt="2023-06-19T01:36:46.626" v="11484" actId="790"/>
        <pc:sldMkLst>
          <pc:docMk/>
          <pc:sldMk cId="2819319243" sldId="11538"/>
        </pc:sldMkLst>
        <pc:spChg chg="mod">
          <ac:chgData name="Joao Cabral de Assis" userId="2e28f1b2-599c-43fa-9c22-5b7536e3b37b" providerId="ADAL" clId="{903218E2-C22B-4CC8-9AB6-343CA3DF934D}" dt="2023-06-19T01:36:46.606" v="11475" actId="790"/>
          <ac:spMkLst>
            <pc:docMk/>
            <pc:sldMk cId="2819319243" sldId="11538"/>
            <ac:spMk id="2" creationId="{45F5D1AD-4744-510E-EA2B-CB93527C0595}"/>
          </ac:spMkLst>
        </pc:spChg>
        <pc:spChg chg="add mod">
          <ac:chgData name="Joao Cabral de Assis" userId="2e28f1b2-599c-43fa-9c22-5b7536e3b37b" providerId="ADAL" clId="{903218E2-C22B-4CC8-9AB6-343CA3DF934D}" dt="2023-06-19T01:36:46.621" v="11482" actId="790"/>
          <ac:spMkLst>
            <pc:docMk/>
            <pc:sldMk cId="2819319243" sldId="11538"/>
            <ac:spMk id="3" creationId="{0A91746E-B6AC-B7DA-3016-2904F9381296}"/>
          </ac:spMkLst>
        </pc:spChg>
        <pc:spChg chg="add del mod modVis">
          <ac:chgData name="Joao Cabral de Assis" userId="2e28f1b2-599c-43fa-9c22-5b7536e3b37b" providerId="ADAL" clId="{903218E2-C22B-4CC8-9AB6-343CA3DF934D}" dt="2023-06-12T17:58:04.198" v="5720"/>
          <ac:spMkLst>
            <pc:docMk/>
            <pc:sldMk cId="2819319243" sldId="11538"/>
            <ac:spMk id="3" creationId="{F5EBB31F-A337-2985-D0FC-FA59206F6BE7}"/>
          </ac:spMkLst>
        </pc:spChg>
        <pc:spChg chg="add del mod modVis">
          <ac:chgData name="Joao Cabral de Assis" userId="2e28f1b2-599c-43fa-9c22-5b7536e3b37b" providerId="ADAL" clId="{903218E2-C22B-4CC8-9AB6-343CA3DF934D}" dt="2023-06-12T18:37:37.802" v="6219"/>
          <ac:spMkLst>
            <pc:docMk/>
            <pc:sldMk cId="2819319243" sldId="11538"/>
            <ac:spMk id="4" creationId="{4F3AFFDC-D209-5946-FCD1-A12F3DB5FAC3}"/>
          </ac:spMkLst>
        </pc:spChg>
        <pc:spChg chg="add del mod modVis">
          <ac:chgData name="Joao Cabral de Assis" userId="2e28f1b2-599c-43fa-9c22-5b7536e3b37b" providerId="ADAL" clId="{903218E2-C22B-4CC8-9AB6-343CA3DF934D}" dt="2023-06-12T17:58:12.175" v="5758"/>
          <ac:spMkLst>
            <pc:docMk/>
            <pc:sldMk cId="2819319243" sldId="11538"/>
            <ac:spMk id="4" creationId="{821E4299-134C-1467-6501-9B199A6EEFA6}"/>
          </ac:spMkLst>
        </pc:spChg>
        <pc:spChg chg="mod">
          <ac:chgData name="Joao Cabral de Assis" userId="2e28f1b2-599c-43fa-9c22-5b7536e3b37b" providerId="ADAL" clId="{903218E2-C22B-4CC8-9AB6-343CA3DF934D}" dt="2023-06-19T01:36:46.608" v="11476" actId="790"/>
          <ac:spMkLst>
            <pc:docMk/>
            <pc:sldMk cId="2819319243" sldId="11538"/>
            <ac:spMk id="5" creationId="{EAE5A1ED-DC38-3EAB-18A4-EAEA0E8BFEDD}"/>
          </ac:spMkLst>
        </pc:spChg>
        <pc:spChg chg="add del mod">
          <ac:chgData name="Joao Cabral de Assis" userId="2e28f1b2-599c-43fa-9c22-5b7536e3b37b" providerId="ADAL" clId="{903218E2-C22B-4CC8-9AB6-343CA3DF934D}" dt="2023-06-12T18:01:09.827" v="5828" actId="478"/>
          <ac:spMkLst>
            <pc:docMk/>
            <pc:sldMk cId="2819319243" sldId="11538"/>
            <ac:spMk id="7" creationId="{43A139F2-8E37-49D7-CE2E-5DFE87875398}"/>
          </ac:spMkLst>
        </pc:spChg>
        <pc:spChg chg="add del mod modVis">
          <ac:chgData name="Joao Cabral de Assis" userId="2e28f1b2-599c-43fa-9c22-5b7536e3b37b" providerId="ADAL" clId="{903218E2-C22B-4CC8-9AB6-343CA3DF934D}" dt="2023-06-12T18:37:41.114" v="6248"/>
          <ac:spMkLst>
            <pc:docMk/>
            <pc:sldMk cId="2819319243" sldId="11538"/>
            <ac:spMk id="7" creationId="{C9DEDB6A-AC8E-3310-4988-0B073DD1D46E}"/>
          </ac:spMkLst>
        </pc:spChg>
        <pc:spChg chg="add del mod modVis">
          <ac:chgData name="Joao Cabral de Assis" userId="2e28f1b2-599c-43fa-9c22-5b7536e3b37b" providerId="ADAL" clId="{903218E2-C22B-4CC8-9AB6-343CA3DF934D}" dt="2023-06-12T18:37:43.667" v="6277"/>
          <ac:spMkLst>
            <pc:docMk/>
            <pc:sldMk cId="2819319243" sldId="11538"/>
            <ac:spMk id="9" creationId="{EDAAE25A-831F-FB63-0DBB-1AE544F3D877}"/>
          </ac:spMkLst>
        </pc:spChg>
        <pc:spChg chg="add mod">
          <ac:chgData name="Joao Cabral de Assis" userId="2e28f1b2-599c-43fa-9c22-5b7536e3b37b" providerId="ADAL" clId="{903218E2-C22B-4CC8-9AB6-343CA3DF934D}" dt="2023-06-19T01:36:46.619" v="11481" actId="790"/>
          <ac:spMkLst>
            <pc:docMk/>
            <pc:sldMk cId="2819319243" sldId="11538"/>
            <ac:spMk id="10" creationId="{57CD3991-025A-F076-780D-2BF368547AA8}"/>
          </ac:spMkLst>
        </pc:spChg>
        <pc:spChg chg="add del mod modVis">
          <ac:chgData name="Joao Cabral de Assis" userId="2e28f1b2-599c-43fa-9c22-5b7536e3b37b" providerId="ADAL" clId="{903218E2-C22B-4CC8-9AB6-343CA3DF934D}" dt="2023-06-12T18:37:46.659" v="6306"/>
          <ac:spMkLst>
            <pc:docMk/>
            <pc:sldMk cId="2819319243" sldId="11538"/>
            <ac:spMk id="11" creationId="{481A085C-2F1C-E19A-7DA7-03E3B1239F75}"/>
          </ac:spMkLst>
        </pc:spChg>
        <pc:spChg chg="add del mod modVis">
          <ac:chgData name="Joao Cabral de Assis" userId="2e28f1b2-599c-43fa-9c22-5b7536e3b37b" providerId="ADAL" clId="{903218E2-C22B-4CC8-9AB6-343CA3DF934D}" dt="2023-06-12T18:01:53.103" v="5868"/>
          <ac:spMkLst>
            <pc:docMk/>
            <pc:sldMk cId="2819319243" sldId="11538"/>
            <ac:spMk id="11" creationId="{CB4031D1-4537-2722-BA54-28B9A7D048B5}"/>
          </ac:spMkLst>
        </pc:spChg>
        <pc:spChg chg="add del mod modVis">
          <ac:chgData name="Joao Cabral de Assis" userId="2e28f1b2-599c-43fa-9c22-5b7536e3b37b" providerId="ADAL" clId="{903218E2-C22B-4CC8-9AB6-343CA3DF934D}" dt="2023-06-12T18:37:48.366" v="6334"/>
          <ac:spMkLst>
            <pc:docMk/>
            <pc:sldMk cId="2819319243" sldId="11538"/>
            <ac:spMk id="12" creationId="{E51DD81E-B005-B027-18BA-935F99C8C0F9}"/>
          </ac:spMkLst>
        </pc:spChg>
        <pc:spChg chg="add del mod modVis">
          <ac:chgData name="Joao Cabral de Assis" userId="2e28f1b2-599c-43fa-9c22-5b7536e3b37b" providerId="ADAL" clId="{903218E2-C22B-4CC8-9AB6-343CA3DF934D}" dt="2023-06-12T18:37:49.003" v="6362"/>
          <ac:spMkLst>
            <pc:docMk/>
            <pc:sldMk cId="2819319243" sldId="11538"/>
            <ac:spMk id="13" creationId="{0ECCAD8F-5E74-B96C-6C39-FE8529C6287A}"/>
          </ac:spMkLst>
        </pc:spChg>
        <pc:spChg chg="add del mod modVis">
          <ac:chgData name="Joao Cabral de Assis" userId="2e28f1b2-599c-43fa-9c22-5b7536e3b37b" providerId="ADAL" clId="{903218E2-C22B-4CC8-9AB6-343CA3DF934D}" dt="2023-06-12T18:37:58.764" v="6390"/>
          <ac:spMkLst>
            <pc:docMk/>
            <pc:sldMk cId="2819319243" sldId="11538"/>
            <ac:spMk id="14" creationId="{AEF2533E-AE60-1F2F-1B68-384D91E22880}"/>
          </ac:spMkLst>
        </pc:spChg>
        <pc:spChg chg="add del mod modVis">
          <ac:chgData name="Joao Cabral de Assis" userId="2e28f1b2-599c-43fa-9c22-5b7536e3b37b" providerId="ADAL" clId="{903218E2-C22B-4CC8-9AB6-343CA3DF934D}" dt="2023-06-12T18:38:05.406" v="6418"/>
          <ac:spMkLst>
            <pc:docMk/>
            <pc:sldMk cId="2819319243" sldId="11538"/>
            <ac:spMk id="15" creationId="{D1D40FA9-C1FC-23BA-6316-AD30A4786527}"/>
          </ac:spMkLst>
        </pc:spChg>
        <pc:spChg chg="add del mod modVis">
          <ac:chgData name="Joao Cabral de Assis" userId="2e28f1b2-599c-43fa-9c22-5b7536e3b37b" providerId="ADAL" clId="{903218E2-C22B-4CC8-9AB6-343CA3DF934D}" dt="2023-06-12T18:38:08.528" v="6446"/>
          <ac:spMkLst>
            <pc:docMk/>
            <pc:sldMk cId="2819319243" sldId="11538"/>
            <ac:spMk id="16" creationId="{8087B214-6E7E-9011-A9C7-BA41BBA909DB}"/>
          </ac:spMkLst>
        </pc:spChg>
        <pc:spChg chg="add del mod modVis">
          <ac:chgData name="Joao Cabral de Assis" userId="2e28f1b2-599c-43fa-9c22-5b7536e3b37b" providerId="ADAL" clId="{903218E2-C22B-4CC8-9AB6-343CA3DF934D}" dt="2023-06-12T18:38:09.135" v="6474"/>
          <ac:spMkLst>
            <pc:docMk/>
            <pc:sldMk cId="2819319243" sldId="11538"/>
            <ac:spMk id="17" creationId="{FC41176D-D930-A39D-5463-FB6124E7BAEA}"/>
          </ac:spMkLst>
        </pc:spChg>
        <pc:spChg chg="add del mod modVis">
          <ac:chgData name="Joao Cabral de Assis" userId="2e28f1b2-599c-43fa-9c22-5b7536e3b37b" providerId="ADAL" clId="{903218E2-C22B-4CC8-9AB6-343CA3DF934D}" dt="2023-06-12T18:38:10.706" v="6504"/>
          <ac:spMkLst>
            <pc:docMk/>
            <pc:sldMk cId="2819319243" sldId="11538"/>
            <ac:spMk id="18" creationId="{4A0DBCCF-62EF-6230-F664-18CC73D8DA33}"/>
          </ac:spMkLst>
        </pc:spChg>
        <pc:spChg chg="add del mod modVis">
          <ac:chgData name="Joao Cabral de Assis" userId="2e28f1b2-599c-43fa-9c22-5b7536e3b37b" providerId="ADAL" clId="{903218E2-C22B-4CC8-9AB6-343CA3DF934D}" dt="2023-06-12T18:38:11.700" v="6534"/>
          <ac:spMkLst>
            <pc:docMk/>
            <pc:sldMk cId="2819319243" sldId="11538"/>
            <ac:spMk id="19" creationId="{073E2E4F-E792-D536-A566-92C143AE5BF6}"/>
          </ac:spMkLst>
        </pc:spChg>
        <pc:spChg chg="add del mod modVis">
          <ac:chgData name="Joao Cabral de Assis" userId="2e28f1b2-599c-43fa-9c22-5b7536e3b37b" providerId="ADAL" clId="{903218E2-C22B-4CC8-9AB6-343CA3DF934D}" dt="2023-06-12T18:38:12.410" v="6562"/>
          <ac:spMkLst>
            <pc:docMk/>
            <pc:sldMk cId="2819319243" sldId="11538"/>
            <ac:spMk id="20" creationId="{D24738A3-CB26-6F79-9F41-5BEC85D2A939}"/>
          </ac:spMkLst>
        </pc:spChg>
        <pc:spChg chg="add del mod modVis">
          <ac:chgData name="Joao Cabral de Assis" userId="2e28f1b2-599c-43fa-9c22-5b7536e3b37b" providerId="ADAL" clId="{903218E2-C22B-4CC8-9AB6-343CA3DF934D}" dt="2023-06-12T18:38:12.976" v="6590"/>
          <ac:spMkLst>
            <pc:docMk/>
            <pc:sldMk cId="2819319243" sldId="11538"/>
            <ac:spMk id="21" creationId="{D1E59E8A-F7A3-64BB-8E80-1AECB6518086}"/>
          </ac:spMkLst>
        </pc:spChg>
        <pc:spChg chg="add del mod modVis">
          <ac:chgData name="Joao Cabral de Assis" userId="2e28f1b2-599c-43fa-9c22-5b7536e3b37b" providerId="ADAL" clId="{903218E2-C22B-4CC8-9AB6-343CA3DF934D}" dt="2023-06-12T18:38:13.523" v="6618"/>
          <ac:spMkLst>
            <pc:docMk/>
            <pc:sldMk cId="2819319243" sldId="11538"/>
            <ac:spMk id="22" creationId="{3E5F936C-DD56-065A-4637-204DA8677A8D}"/>
          </ac:spMkLst>
        </pc:spChg>
        <pc:spChg chg="add del mod modVis">
          <ac:chgData name="Joao Cabral de Assis" userId="2e28f1b2-599c-43fa-9c22-5b7536e3b37b" providerId="ADAL" clId="{903218E2-C22B-4CC8-9AB6-343CA3DF934D}" dt="2023-06-12T18:38:14.371" v="6646"/>
          <ac:spMkLst>
            <pc:docMk/>
            <pc:sldMk cId="2819319243" sldId="11538"/>
            <ac:spMk id="23" creationId="{F90BD4D9-A453-83DB-DBA8-F7F007031B8F}"/>
          </ac:spMkLst>
        </pc:spChg>
        <pc:spChg chg="mod">
          <ac:chgData name="Joao Cabral de Assis" userId="2e28f1b2-599c-43fa-9c22-5b7536e3b37b" providerId="ADAL" clId="{903218E2-C22B-4CC8-9AB6-343CA3DF934D}" dt="2023-06-19T01:36:46.611" v="11477" actId="790"/>
          <ac:spMkLst>
            <pc:docMk/>
            <pc:sldMk cId="2819319243" sldId="11538"/>
            <ac:spMk id="184" creationId="{C0EECC22-9F89-9874-A464-1E6AB418847C}"/>
          </ac:spMkLst>
        </pc:spChg>
        <pc:spChg chg="mod">
          <ac:chgData name="Joao Cabral de Assis" userId="2e28f1b2-599c-43fa-9c22-5b7536e3b37b" providerId="ADAL" clId="{903218E2-C22B-4CC8-9AB6-343CA3DF934D}" dt="2023-06-19T01:36:46.613" v="11478" actId="790"/>
          <ac:spMkLst>
            <pc:docMk/>
            <pc:sldMk cId="2819319243" sldId="11538"/>
            <ac:spMk id="185" creationId="{DC156E62-E576-F9A9-2901-07275FA879E5}"/>
          </ac:spMkLst>
        </pc:spChg>
        <pc:spChg chg="mod">
          <ac:chgData name="Joao Cabral de Assis" userId="2e28f1b2-599c-43fa-9c22-5b7536e3b37b" providerId="ADAL" clId="{903218E2-C22B-4CC8-9AB6-343CA3DF934D}" dt="2023-06-19T01:36:46.615" v="11479" actId="790"/>
          <ac:spMkLst>
            <pc:docMk/>
            <pc:sldMk cId="2819319243" sldId="11538"/>
            <ac:spMk id="188" creationId="{B35754DC-0765-4A76-867A-FE70A7CA9128}"/>
          </ac:spMkLst>
        </pc:spChg>
        <pc:spChg chg="mod">
          <ac:chgData name="Joao Cabral de Assis" userId="2e28f1b2-599c-43fa-9c22-5b7536e3b37b" providerId="ADAL" clId="{903218E2-C22B-4CC8-9AB6-343CA3DF934D}" dt="2023-06-19T01:36:46.616" v="11480" actId="790"/>
          <ac:spMkLst>
            <pc:docMk/>
            <pc:sldMk cId="2819319243" sldId="11538"/>
            <ac:spMk id="194" creationId="{25BEDD1D-3736-C4E2-1474-F96784BCF27B}"/>
          </ac:spMkLst>
        </pc:spChg>
        <pc:grpChg chg="mod">
          <ac:chgData name="Joao Cabral de Assis" userId="2e28f1b2-599c-43fa-9c22-5b7536e3b37b" providerId="ADAL" clId="{903218E2-C22B-4CC8-9AB6-343CA3DF934D}" dt="2023-06-12T18:36:56.934" v="6189" actId="1076"/>
          <ac:grpSpMkLst>
            <pc:docMk/>
            <pc:sldMk cId="2819319243" sldId="11538"/>
            <ac:grpSpMk id="186" creationId="{8D567446-5A70-ABF2-5AA6-B01FF5066325}"/>
          </ac:grpSpMkLst>
        </pc:grpChg>
        <pc:graphicFrameChg chg="mod">
          <ac:chgData name="Joao Cabral de Assis" userId="2e28f1b2-599c-43fa-9c22-5b7536e3b37b" providerId="ADAL" clId="{903218E2-C22B-4CC8-9AB6-343CA3DF934D}" dt="2023-06-12T18:38:14.375" v="6648"/>
          <ac:graphicFrameMkLst>
            <pc:docMk/>
            <pc:sldMk cId="2819319243" sldId="11538"/>
            <ac:graphicFrameMk id="8" creationId="{71466A34-306C-EB6F-6C0B-43AFA4D9C5F9}"/>
          </ac:graphicFrameMkLst>
        </pc:graphicFrameChg>
        <pc:picChg chg="mod">
          <ac:chgData name="Joao Cabral de Assis" userId="2e28f1b2-599c-43fa-9c22-5b7536e3b37b" providerId="ADAL" clId="{903218E2-C22B-4CC8-9AB6-343CA3DF934D}" dt="2023-06-12T18:36:30.105" v="6182" actId="1076"/>
          <ac:picMkLst>
            <pc:docMk/>
            <pc:sldMk cId="2819319243" sldId="11538"/>
            <ac:picMk id="6" creationId="{0DBF289A-3FD7-369D-9BF0-5180A99126BA}"/>
          </ac:picMkLst>
        </pc:picChg>
      </pc:sldChg>
      <pc:sldChg chg="modSp mod delCm modNotes">
        <pc:chgData name="Joao Cabral de Assis" userId="2e28f1b2-599c-43fa-9c22-5b7536e3b37b" providerId="ADAL" clId="{903218E2-C22B-4CC8-9AB6-343CA3DF934D}" dt="2023-06-19T01:36:47.056" v="11540" actId="790"/>
        <pc:sldMkLst>
          <pc:docMk/>
          <pc:sldMk cId="78019449" sldId="11539"/>
        </pc:sldMkLst>
        <pc:spChg chg="mod">
          <ac:chgData name="Joao Cabral de Assis" userId="2e28f1b2-599c-43fa-9c22-5b7536e3b37b" providerId="ADAL" clId="{903218E2-C22B-4CC8-9AB6-343CA3DF934D}" dt="2023-06-19T01:36:47.041" v="11532" actId="790"/>
          <ac:spMkLst>
            <pc:docMk/>
            <pc:sldMk cId="78019449" sldId="11539"/>
            <ac:spMk id="2" creationId="{8461065B-E2D9-84FE-4800-037EA670A8CF}"/>
          </ac:spMkLst>
        </pc:spChg>
        <pc:spChg chg="mod">
          <ac:chgData name="Joao Cabral de Assis" userId="2e28f1b2-599c-43fa-9c22-5b7536e3b37b" providerId="ADAL" clId="{903218E2-C22B-4CC8-9AB6-343CA3DF934D}" dt="2023-06-19T01:36:47.043" v="11533" actId="790"/>
          <ac:spMkLst>
            <pc:docMk/>
            <pc:sldMk cId="78019449" sldId="11539"/>
            <ac:spMk id="3" creationId="{971CE4C3-E39D-B9D0-7DE2-3233B9D4871E}"/>
          </ac:spMkLst>
        </pc:spChg>
        <pc:spChg chg="mod">
          <ac:chgData name="Joao Cabral de Assis" userId="2e28f1b2-599c-43fa-9c22-5b7536e3b37b" providerId="ADAL" clId="{903218E2-C22B-4CC8-9AB6-343CA3DF934D}" dt="2023-06-19T01:36:47.046" v="11534" actId="790"/>
          <ac:spMkLst>
            <pc:docMk/>
            <pc:sldMk cId="78019449" sldId="11539"/>
            <ac:spMk id="5" creationId="{8C65FBD0-9E14-64EB-EDE6-D88A403BD2F5}"/>
          </ac:spMkLst>
        </pc:spChg>
        <pc:spChg chg="mod">
          <ac:chgData name="Joao Cabral de Assis" userId="2e28f1b2-599c-43fa-9c22-5b7536e3b37b" providerId="ADAL" clId="{903218E2-C22B-4CC8-9AB6-343CA3DF934D}" dt="2023-06-19T01:36:47.052" v="11538" actId="790"/>
          <ac:spMkLst>
            <pc:docMk/>
            <pc:sldMk cId="78019449" sldId="11539"/>
            <ac:spMk id="8" creationId="{AD94FED9-F443-08DB-41AF-00F97A6EFFDB}"/>
          </ac:spMkLst>
        </pc:spChg>
        <pc:spChg chg="mod">
          <ac:chgData name="Joao Cabral de Assis" userId="2e28f1b2-599c-43fa-9c22-5b7536e3b37b" providerId="ADAL" clId="{903218E2-C22B-4CC8-9AB6-343CA3DF934D}" dt="2023-06-19T01:36:47.048" v="11535" actId="790"/>
          <ac:spMkLst>
            <pc:docMk/>
            <pc:sldMk cId="78019449" sldId="11539"/>
            <ac:spMk id="54" creationId="{9357F614-660C-ACC0-D611-4C257A77FABB}"/>
          </ac:spMkLst>
        </pc:spChg>
        <pc:spChg chg="mod">
          <ac:chgData name="Joao Cabral de Assis" userId="2e28f1b2-599c-43fa-9c22-5b7536e3b37b" providerId="ADAL" clId="{903218E2-C22B-4CC8-9AB6-343CA3DF934D}" dt="2023-06-19T01:36:47.049" v="11536" actId="790"/>
          <ac:spMkLst>
            <pc:docMk/>
            <pc:sldMk cId="78019449" sldId="11539"/>
            <ac:spMk id="55" creationId="{6C12AA4F-B95D-0756-6FB9-FB0833C58737}"/>
          </ac:spMkLst>
        </pc:spChg>
        <pc:spChg chg="mod">
          <ac:chgData name="Joao Cabral de Assis" userId="2e28f1b2-599c-43fa-9c22-5b7536e3b37b" providerId="ADAL" clId="{903218E2-C22B-4CC8-9AB6-343CA3DF934D}" dt="2023-06-19T01:36:47.051" v="11537" actId="790"/>
          <ac:spMkLst>
            <pc:docMk/>
            <pc:sldMk cId="78019449" sldId="11539"/>
            <ac:spMk id="56" creationId="{57A7B300-3D4D-2260-0D85-083BEC0CDBC4}"/>
          </ac:spMkLst>
        </pc:spChg>
      </pc:sldChg>
      <pc:sldChg chg="modSp mod modNotes">
        <pc:chgData name="Joao Cabral de Assis" userId="2e28f1b2-599c-43fa-9c22-5b7536e3b37b" providerId="ADAL" clId="{903218E2-C22B-4CC8-9AB6-343CA3DF934D}" dt="2023-06-19T01:36:49.447" v="11875" actId="790"/>
        <pc:sldMkLst>
          <pc:docMk/>
          <pc:sldMk cId="3964707255" sldId="11540"/>
        </pc:sldMkLst>
        <pc:spChg chg="mod">
          <ac:chgData name="Joao Cabral de Assis" userId="2e28f1b2-599c-43fa-9c22-5b7536e3b37b" providerId="ADAL" clId="{903218E2-C22B-4CC8-9AB6-343CA3DF934D}" dt="2023-06-19T01:36:49.439" v="11870" actId="790"/>
          <ac:spMkLst>
            <pc:docMk/>
            <pc:sldMk cId="3964707255" sldId="11540"/>
            <ac:spMk id="2" creationId="{03F2FB01-A477-6959-31F9-78C04D960649}"/>
          </ac:spMkLst>
        </pc:spChg>
        <pc:spChg chg="mod">
          <ac:chgData name="Joao Cabral de Assis" userId="2e28f1b2-599c-43fa-9c22-5b7536e3b37b" providerId="ADAL" clId="{903218E2-C22B-4CC8-9AB6-343CA3DF934D}" dt="2023-06-19T01:36:49.441" v="11871" actId="790"/>
          <ac:spMkLst>
            <pc:docMk/>
            <pc:sldMk cId="3964707255" sldId="11540"/>
            <ac:spMk id="3" creationId="{57D24757-74F0-12DD-73F4-3EB558D00B22}"/>
          </ac:spMkLst>
        </pc:spChg>
        <pc:spChg chg="mod">
          <ac:chgData name="Joao Cabral de Assis" userId="2e28f1b2-599c-43fa-9c22-5b7536e3b37b" providerId="ADAL" clId="{903218E2-C22B-4CC8-9AB6-343CA3DF934D}" dt="2023-06-19T01:36:49.443" v="11872" actId="790"/>
          <ac:spMkLst>
            <pc:docMk/>
            <pc:sldMk cId="3964707255" sldId="11540"/>
            <ac:spMk id="5" creationId="{7DA0D1DA-A0E0-7407-1E81-B84D01596B4E}"/>
          </ac:spMkLst>
        </pc:spChg>
        <pc:spChg chg="mod">
          <ac:chgData name="Joao Cabral de Assis" userId="2e28f1b2-599c-43fa-9c22-5b7536e3b37b" providerId="ADAL" clId="{903218E2-C22B-4CC8-9AB6-343CA3DF934D}" dt="2023-06-19T01:36:49.444" v="11873" actId="790"/>
          <ac:spMkLst>
            <pc:docMk/>
            <pc:sldMk cId="3964707255" sldId="11540"/>
            <ac:spMk id="8" creationId="{E1C47933-FC38-1392-BC1F-62248A8B8EEB}"/>
          </ac:spMkLst>
        </pc:spChg>
        <pc:graphicFrameChg chg="mod">
          <ac:chgData name="Joao Cabral de Assis" userId="2e28f1b2-599c-43fa-9c22-5b7536e3b37b" providerId="ADAL" clId="{903218E2-C22B-4CC8-9AB6-343CA3DF934D}" dt="2023-06-19T00:34:42.557" v="8404" actId="403"/>
          <ac:graphicFrameMkLst>
            <pc:docMk/>
            <pc:sldMk cId="3964707255" sldId="11540"/>
            <ac:graphicFrameMk id="7" creationId="{4E77F2F7-60BC-41C2-92A8-7B7296774A88}"/>
          </ac:graphicFrameMkLst>
        </pc:graphicFrameChg>
      </pc:sldChg>
      <pc:sldChg chg="addSp delSp modSp mod modNotes">
        <pc:chgData name="Joao Cabral de Assis" userId="2e28f1b2-599c-43fa-9c22-5b7536e3b37b" providerId="ADAL" clId="{903218E2-C22B-4CC8-9AB6-343CA3DF934D}" dt="2023-06-19T01:36:49.436" v="11869" actId="790"/>
        <pc:sldMkLst>
          <pc:docMk/>
          <pc:sldMk cId="2916930920" sldId="11541"/>
        </pc:sldMkLst>
        <pc:spChg chg="mod">
          <ac:chgData name="Joao Cabral de Assis" userId="2e28f1b2-599c-43fa-9c22-5b7536e3b37b" providerId="ADAL" clId="{903218E2-C22B-4CC8-9AB6-343CA3DF934D}" dt="2023-06-19T01:36:49.418" v="11862" actId="790"/>
          <ac:spMkLst>
            <pc:docMk/>
            <pc:sldMk cId="2916930920" sldId="11541"/>
            <ac:spMk id="2" creationId="{DB9DF6AE-C90B-8800-9EAD-CC732CB40479}"/>
          </ac:spMkLst>
        </pc:spChg>
        <pc:spChg chg="mod">
          <ac:chgData name="Joao Cabral de Assis" userId="2e28f1b2-599c-43fa-9c22-5b7536e3b37b" providerId="ADAL" clId="{903218E2-C22B-4CC8-9AB6-343CA3DF934D}" dt="2023-06-19T01:36:49.421" v="11863" actId="790"/>
          <ac:spMkLst>
            <pc:docMk/>
            <pc:sldMk cId="2916930920" sldId="11541"/>
            <ac:spMk id="3" creationId="{4156C8A0-5FB7-1098-01CD-B22CD5820924}"/>
          </ac:spMkLst>
        </pc:spChg>
        <pc:spChg chg="add del mod modVis">
          <ac:chgData name="Joao Cabral de Assis" userId="2e28f1b2-599c-43fa-9c22-5b7536e3b37b" providerId="ADAL" clId="{903218E2-C22B-4CC8-9AB6-343CA3DF934D}" dt="2023-06-18T23:25:51.302" v="8374"/>
          <ac:spMkLst>
            <pc:docMk/>
            <pc:sldMk cId="2916930920" sldId="11541"/>
            <ac:spMk id="4" creationId="{473C7EBA-0A1D-C413-96D1-CABE87638728}"/>
          </ac:spMkLst>
        </pc:spChg>
        <pc:spChg chg="mod">
          <ac:chgData name="Joao Cabral de Assis" userId="2e28f1b2-599c-43fa-9c22-5b7536e3b37b" providerId="ADAL" clId="{903218E2-C22B-4CC8-9AB6-343CA3DF934D}" dt="2023-06-19T01:36:49.424" v="11864" actId="790"/>
          <ac:spMkLst>
            <pc:docMk/>
            <pc:sldMk cId="2916930920" sldId="11541"/>
            <ac:spMk id="5" creationId="{A84BF3F7-964C-B742-31E4-74E40E9B945A}"/>
          </ac:spMkLst>
        </pc:spChg>
        <pc:spChg chg="mod">
          <ac:chgData name="Joao Cabral de Assis" userId="2e28f1b2-599c-43fa-9c22-5b7536e3b37b" providerId="ADAL" clId="{903218E2-C22B-4CC8-9AB6-343CA3DF934D}" dt="2023-06-19T01:36:49.433" v="11867" actId="790"/>
          <ac:spMkLst>
            <pc:docMk/>
            <pc:sldMk cId="2916930920" sldId="11541"/>
            <ac:spMk id="6" creationId="{8C84DAE6-7129-3217-E0DA-AFA2C59A37FD}"/>
          </ac:spMkLst>
        </pc:spChg>
        <pc:spChg chg="mod">
          <ac:chgData name="Joao Cabral de Assis" userId="2e28f1b2-599c-43fa-9c22-5b7536e3b37b" providerId="ADAL" clId="{903218E2-C22B-4CC8-9AB6-343CA3DF934D}" dt="2023-06-19T01:36:49.427" v="11865" actId="790"/>
          <ac:spMkLst>
            <pc:docMk/>
            <pc:sldMk cId="2916930920" sldId="11541"/>
            <ac:spMk id="12" creationId="{AF66393F-95E3-11B5-76FD-925DEF768501}"/>
          </ac:spMkLst>
        </pc:spChg>
        <pc:spChg chg="mod">
          <ac:chgData name="Joao Cabral de Assis" userId="2e28f1b2-599c-43fa-9c22-5b7536e3b37b" providerId="ADAL" clId="{903218E2-C22B-4CC8-9AB6-343CA3DF934D}" dt="2023-06-19T01:36:49.430" v="11866" actId="790"/>
          <ac:spMkLst>
            <pc:docMk/>
            <pc:sldMk cId="2916930920" sldId="11541"/>
            <ac:spMk id="13" creationId="{A21EFBF9-30E2-2631-D1DE-7E8472D1B380}"/>
          </ac:spMkLst>
        </pc:spChg>
        <pc:graphicFrameChg chg="mod">
          <ac:chgData name="Joao Cabral de Assis" userId="2e28f1b2-599c-43fa-9c22-5b7536e3b37b" providerId="ADAL" clId="{903218E2-C22B-4CC8-9AB6-343CA3DF934D}" dt="2023-06-18T23:25:23.343" v="8340" actId="1036"/>
          <ac:graphicFrameMkLst>
            <pc:docMk/>
            <pc:sldMk cId="2916930920" sldId="11541"/>
            <ac:graphicFrameMk id="9" creationId="{E8C4F4B6-EF4C-4534-82D9-F934D77199B8}"/>
          </ac:graphicFrameMkLst>
        </pc:graphicFrameChg>
        <pc:graphicFrameChg chg="mod">
          <ac:chgData name="Joao Cabral de Assis" userId="2e28f1b2-599c-43fa-9c22-5b7536e3b37b" providerId="ADAL" clId="{903218E2-C22B-4CC8-9AB6-343CA3DF934D}" dt="2023-06-18T23:25:38.164" v="8347" actId="1076"/>
          <ac:graphicFrameMkLst>
            <pc:docMk/>
            <pc:sldMk cId="2916930920" sldId="11541"/>
            <ac:graphicFrameMk id="11" creationId="{66692DE0-FF99-46AD-88E5-B57AE1177F25}"/>
          </ac:graphicFrameMkLst>
        </pc:graphicFrameChg>
        <pc:graphicFrameChg chg="mod">
          <ac:chgData name="Joao Cabral de Assis" userId="2e28f1b2-599c-43fa-9c22-5b7536e3b37b" providerId="ADAL" clId="{903218E2-C22B-4CC8-9AB6-343CA3DF934D}" dt="2023-06-18T23:25:51.311" v="8376"/>
          <ac:graphicFrameMkLst>
            <pc:docMk/>
            <pc:sldMk cId="2916930920" sldId="11541"/>
            <ac:graphicFrameMk id="14" creationId="{45FCB1CB-779D-841B-FC4A-6C24667E70E9}"/>
          </ac:graphicFrameMkLst>
        </pc:graphicFrameChg>
      </pc:sldChg>
      <pc:sldChg chg="addSp modSp mod modNotes">
        <pc:chgData name="Joao Cabral de Assis" userId="2e28f1b2-599c-43fa-9c22-5b7536e3b37b" providerId="ADAL" clId="{903218E2-C22B-4CC8-9AB6-343CA3DF934D}" dt="2023-06-19T01:36:51.815" v="12332"/>
        <pc:sldMkLst>
          <pc:docMk/>
          <pc:sldMk cId="312654914" sldId="11542"/>
        </pc:sldMkLst>
        <pc:spChg chg="mod">
          <ac:chgData name="Joao Cabral de Assis" userId="2e28f1b2-599c-43fa-9c22-5b7536e3b37b" providerId="ADAL" clId="{903218E2-C22B-4CC8-9AB6-343CA3DF934D}" dt="2023-06-19T01:36:51.700" v="12311"/>
          <ac:spMkLst>
            <pc:docMk/>
            <pc:sldMk cId="312654914" sldId="11542"/>
            <ac:spMk id="12" creationId="{D2CFBEA7-A4E1-40A6-A816-02296D0B4887}"/>
          </ac:spMkLst>
        </pc:spChg>
        <pc:spChg chg="mod">
          <ac:chgData name="Joao Cabral de Assis" userId="2e28f1b2-599c-43fa-9c22-5b7536e3b37b" providerId="ADAL" clId="{903218E2-C22B-4CC8-9AB6-343CA3DF934D}" dt="2023-06-19T01:36:51.704" v="12313"/>
          <ac:spMkLst>
            <pc:docMk/>
            <pc:sldMk cId="312654914" sldId="11542"/>
            <ac:spMk id="15" creationId="{B586682B-CC45-40D6-AC29-8C5EC37BFAA2}"/>
          </ac:spMkLst>
        </pc:spChg>
        <pc:spChg chg="mod">
          <ac:chgData name="Joao Cabral de Assis" userId="2e28f1b2-599c-43fa-9c22-5b7536e3b37b" providerId="ADAL" clId="{903218E2-C22B-4CC8-9AB6-343CA3DF934D}" dt="2023-06-19T01:36:51.708" v="12315"/>
          <ac:spMkLst>
            <pc:docMk/>
            <pc:sldMk cId="312654914" sldId="11542"/>
            <ac:spMk id="16" creationId="{70504074-E145-4B4E-B7E8-1208178905FF}"/>
          </ac:spMkLst>
        </pc:spChg>
        <pc:graphicFrameChg chg="add mod ord modVis replST">
          <ac:chgData name="Joao Cabral de Assis" userId="2e28f1b2-599c-43fa-9c22-5b7536e3b37b" providerId="ADAL" clId="{903218E2-C22B-4CC8-9AB6-343CA3DF934D}" dt="2023-06-19T01:36:51.815" v="12332"/>
          <ac:graphicFrameMkLst>
            <pc:docMk/>
            <pc:sldMk cId="312654914" sldId="11542"/>
            <ac:graphicFrameMk id="2" creationId="{99C9E79E-D040-BF2E-D58F-6D88B61270D4}"/>
          </ac:graphicFrameMkLst>
        </pc:graphicFrameChg>
      </pc:sldChg>
      <pc:sldChg chg="addSp delSp modSp new add del mod">
        <pc:chgData name="Joao Cabral de Assis" userId="2e28f1b2-599c-43fa-9c22-5b7536e3b37b" providerId="ADAL" clId="{903218E2-C22B-4CC8-9AB6-343CA3DF934D}" dt="2023-06-12T15:39:52.060" v="2839" actId="47"/>
        <pc:sldMkLst>
          <pc:docMk/>
          <pc:sldMk cId="426990011" sldId="11543"/>
        </pc:sldMkLst>
        <pc:spChg chg="mod">
          <ac:chgData name="Joao Cabral de Assis" userId="2e28f1b2-599c-43fa-9c22-5b7536e3b37b" providerId="ADAL" clId="{903218E2-C22B-4CC8-9AB6-343CA3DF934D}" dt="2023-06-12T15:05:05.017" v="1141" actId="948"/>
          <ac:spMkLst>
            <pc:docMk/>
            <pc:sldMk cId="426990011" sldId="11543"/>
            <ac:spMk id="2" creationId="{8D814F62-62F3-9F44-64E4-0BC0C2C973D0}"/>
          </ac:spMkLst>
        </pc:spChg>
        <pc:spChg chg="add del mod modVis">
          <ac:chgData name="Joao Cabral de Assis" userId="2e28f1b2-599c-43fa-9c22-5b7536e3b37b" providerId="ADAL" clId="{903218E2-C22B-4CC8-9AB6-343CA3DF934D}" dt="2023-06-12T15:05:05.043" v="1165"/>
          <ac:spMkLst>
            <pc:docMk/>
            <pc:sldMk cId="426990011" sldId="11543"/>
            <ac:spMk id="5" creationId="{563FB02D-79C6-62B2-E02C-BA8A45D3D129}"/>
          </ac:spMkLst>
        </pc:spChg>
        <pc:graphicFrameChg chg="add mod ord modVis replST">
          <ac:chgData name="Joao Cabral de Assis" userId="2e28f1b2-599c-43fa-9c22-5b7536e3b37b" providerId="ADAL" clId="{903218E2-C22B-4CC8-9AB6-343CA3DF934D}" dt="2023-06-12T15:05:05.093" v="1180"/>
          <ac:graphicFrameMkLst>
            <pc:docMk/>
            <pc:sldMk cId="426990011" sldId="11543"/>
            <ac:graphicFrameMk id="6" creationId="{CAE85F4C-F166-A0DD-EA41-2A1506838977}"/>
          </ac:graphicFrameMkLst>
        </pc:graphicFrameChg>
      </pc:sldChg>
      <pc:sldChg chg="new add del">
        <pc:chgData name="Joao Cabral de Assis" userId="2e28f1b2-599c-43fa-9c22-5b7536e3b37b" providerId="ADAL" clId="{903218E2-C22B-4CC8-9AB6-343CA3DF934D}" dt="2023-06-12T15:39:55.587" v="2840" actId="47"/>
        <pc:sldMkLst>
          <pc:docMk/>
          <pc:sldMk cId="98530240" sldId="11544"/>
        </pc:sldMkLst>
      </pc:sldChg>
      <pc:sldChg chg="addSp delSp modSp new add mod modNotes">
        <pc:chgData name="Joao Cabral de Assis" userId="2e28f1b2-599c-43fa-9c22-5b7536e3b37b" providerId="ADAL" clId="{903218E2-C22B-4CC8-9AB6-343CA3DF934D}" dt="2023-06-19T01:36:44.215" v="10959" actId="790"/>
        <pc:sldMkLst>
          <pc:docMk/>
          <pc:sldMk cId="2756595916" sldId="11545"/>
        </pc:sldMkLst>
        <pc:spChg chg="mod">
          <ac:chgData name="Joao Cabral de Assis" userId="2e28f1b2-599c-43fa-9c22-5b7536e3b37b" providerId="ADAL" clId="{903218E2-C22B-4CC8-9AB6-343CA3DF934D}" dt="2023-06-19T01:36:44.200" v="10954" actId="790"/>
          <ac:spMkLst>
            <pc:docMk/>
            <pc:sldMk cId="2756595916" sldId="11545"/>
            <ac:spMk id="2" creationId="{1F1BF5F5-984A-CE49-7D55-BFCE0C415436}"/>
          </ac:spMkLst>
        </pc:spChg>
        <pc:spChg chg="mod">
          <ac:chgData name="Joao Cabral de Assis" userId="2e28f1b2-599c-43fa-9c22-5b7536e3b37b" providerId="ADAL" clId="{903218E2-C22B-4CC8-9AB6-343CA3DF934D}" dt="2023-06-19T01:36:44.207" v="10955" actId="790"/>
          <ac:spMkLst>
            <pc:docMk/>
            <pc:sldMk cId="2756595916" sldId="11545"/>
            <ac:spMk id="3" creationId="{4702627A-9B9F-5F21-9D01-C3D8BFFD0881}"/>
          </ac:spMkLst>
        </pc:spChg>
        <pc:spChg chg="del">
          <ac:chgData name="Joao Cabral de Assis" userId="2e28f1b2-599c-43fa-9c22-5b7536e3b37b" providerId="ADAL" clId="{903218E2-C22B-4CC8-9AB6-343CA3DF934D}" dt="2023-06-12T15:10:08.976" v="1697" actId="478"/>
          <ac:spMkLst>
            <pc:docMk/>
            <pc:sldMk cId="2756595916" sldId="11545"/>
            <ac:spMk id="4" creationId="{640A2F5D-4742-BB07-AAC8-C5009E201B07}"/>
          </ac:spMkLst>
        </pc:spChg>
        <pc:spChg chg="mod">
          <ac:chgData name="Joao Cabral de Assis" userId="2e28f1b2-599c-43fa-9c22-5b7536e3b37b" providerId="ADAL" clId="{903218E2-C22B-4CC8-9AB6-343CA3DF934D}" dt="2023-06-19T01:36:44.210" v="10956" actId="790"/>
          <ac:spMkLst>
            <pc:docMk/>
            <pc:sldMk cId="2756595916" sldId="11545"/>
            <ac:spMk id="5" creationId="{D5740DF4-0D02-E7FD-4E43-56946F0BE937}"/>
          </ac:spMkLst>
        </pc:spChg>
        <pc:spChg chg="add del mod modVis">
          <ac:chgData name="Joao Cabral de Assis" userId="2e28f1b2-599c-43fa-9c22-5b7536e3b37b" providerId="ADAL" clId="{903218E2-C22B-4CC8-9AB6-343CA3DF934D}" dt="2023-06-12T15:05:26.654" v="1231"/>
          <ac:spMkLst>
            <pc:docMk/>
            <pc:sldMk cId="2756595916" sldId="11545"/>
            <ac:spMk id="6" creationId="{BA5EC777-8671-99BB-63CB-D3804D91E314}"/>
          </ac:spMkLst>
        </pc:spChg>
        <pc:spChg chg="add del mod modVis">
          <ac:chgData name="Joao Cabral de Assis" userId="2e28f1b2-599c-43fa-9c22-5b7536e3b37b" providerId="ADAL" clId="{903218E2-C22B-4CC8-9AB6-343CA3DF934D}" dt="2023-06-12T15:05:27.992" v="1275"/>
          <ac:spMkLst>
            <pc:docMk/>
            <pc:sldMk cId="2756595916" sldId="11545"/>
            <ac:spMk id="8" creationId="{23783173-E3A3-BED2-221B-B556870EACF8}"/>
          </ac:spMkLst>
        </pc:spChg>
        <pc:spChg chg="add del mod modVis">
          <ac:chgData name="Joao Cabral de Assis" userId="2e28f1b2-599c-43fa-9c22-5b7536e3b37b" providerId="ADAL" clId="{903218E2-C22B-4CC8-9AB6-343CA3DF934D}" dt="2023-06-12T15:05:29.159" v="1304"/>
          <ac:spMkLst>
            <pc:docMk/>
            <pc:sldMk cId="2756595916" sldId="11545"/>
            <ac:spMk id="9" creationId="{CB31E76C-6973-13CE-9A9B-FC6334CFEF1C}"/>
          </ac:spMkLst>
        </pc:spChg>
        <pc:spChg chg="add del mod modVis">
          <ac:chgData name="Joao Cabral de Assis" userId="2e28f1b2-599c-43fa-9c22-5b7536e3b37b" providerId="ADAL" clId="{903218E2-C22B-4CC8-9AB6-343CA3DF934D}" dt="2023-06-12T15:05:30.864" v="1335"/>
          <ac:spMkLst>
            <pc:docMk/>
            <pc:sldMk cId="2756595916" sldId="11545"/>
            <ac:spMk id="10" creationId="{540B90F1-C68A-1895-CE8A-93E6659B0CA4}"/>
          </ac:spMkLst>
        </pc:spChg>
        <pc:spChg chg="add del mod modVis">
          <ac:chgData name="Joao Cabral de Assis" userId="2e28f1b2-599c-43fa-9c22-5b7536e3b37b" providerId="ADAL" clId="{903218E2-C22B-4CC8-9AB6-343CA3DF934D}" dt="2023-06-12T15:05:34.651" v="1363"/>
          <ac:spMkLst>
            <pc:docMk/>
            <pc:sldMk cId="2756595916" sldId="11545"/>
            <ac:spMk id="11" creationId="{7C373232-93AF-88DE-DD08-AC53D3A55A15}"/>
          </ac:spMkLst>
        </pc:spChg>
        <pc:spChg chg="add del mod modVis">
          <ac:chgData name="Joao Cabral de Assis" userId="2e28f1b2-599c-43fa-9c22-5b7536e3b37b" providerId="ADAL" clId="{903218E2-C22B-4CC8-9AB6-343CA3DF934D}" dt="2023-06-12T15:06:07.932" v="1435"/>
          <ac:spMkLst>
            <pc:docMk/>
            <pc:sldMk cId="2756595916" sldId="11545"/>
            <ac:spMk id="12" creationId="{5A09F296-C0B1-C083-9EC0-798CD6BAFFFD}"/>
          </ac:spMkLst>
        </pc:spChg>
        <pc:spChg chg="add del mod modVis">
          <ac:chgData name="Joao Cabral de Assis" userId="2e28f1b2-599c-43fa-9c22-5b7536e3b37b" providerId="ADAL" clId="{903218E2-C22B-4CC8-9AB6-343CA3DF934D}" dt="2023-06-12T15:06:21.558" v="1463"/>
          <ac:spMkLst>
            <pc:docMk/>
            <pc:sldMk cId="2756595916" sldId="11545"/>
            <ac:spMk id="13" creationId="{87901522-2147-987C-13F6-FE0135BDBBF8}"/>
          </ac:spMkLst>
        </pc:spChg>
        <pc:spChg chg="add del mod modVis">
          <ac:chgData name="Joao Cabral de Assis" userId="2e28f1b2-599c-43fa-9c22-5b7536e3b37b" providerId="ADAL" clId="{903218E2-C22B-4CC8-9AB6-343CA3DF934D}" dt="2023-06-12T15:10:15.459" v="1723"/>
          <ac:spMkLst>
            <pc:docMk/>
            <pc:sldMk cId="2756595916" sldId="11545"/>
            <ac:spMk id="14" creationId="{00163782-CDAE-BE47-0427-C1CE6D6B7E77}"/>
          </ac:spMkLst>
        </pc:spChg>
        <pc:spChg chg="add del mod modVis">
          <ac:chgData name="Joao Cabral de Assis" userId="2e28f1b2-599c-43fa-9c22-5b7536e3b37b" providerId="ADAL" clId="{903218E2-C22B-4CC8-9AB6-343CA3DF934D}" dt="2023-06-12T15:10:25.212" v="1756"/>
          <ac:spMkLst>
            <pc:docMk/>
            <pc:sldMk cId="2756595916" sldId="11545"/>
            <ac:spMk id="15" creationId="{FBDDDF75-D153-53F6-C7CF-2B996378849A}"/>
          </ac:spMkLst>
        </pc:spChg>
        <pc:spChg chg="add del mod modVis">
          <ac:chgData name="Joao Cabral de Assis" userId="2e28f1b2-599c-43fa-9c22-5b7536e3b37b" providerId="ADAL" clId="{903218E2-C22B-4CC8-9AB6-343CA3DF934D}" dt="2023-06-12T15:10:31.905" v="1796"/>
          <ac:spMkLst>
            <pc:docMk/>
            <pc:sldMk cId="2756595916" sldId="11545"/>
            <ac:spMk id="16" creationId="{C94821B4-80CC-3A83-710F-AF7F3E5CFAB6}"/>
          </ac:spMkLst>
        </pc:spChg>
        <pc:spChg chg="add del mod modVis">
          <ac:chgData name="Joao Cabral de Assis" userId="2e28f1b2-599c-43fa-9c22-5b7536e3b37b" providerId="ADAL" clId="{903218E2-C22B-4CC8-9AB6-343CA3DF934D}" dt="2023-06-12T15:10:35.503" v="1826"/>
          <ac:spMkLst>
            <pc:docMk/>
            <pc:sldMk cId="2756595916" sldId="11545"/>
            <ac:spMk id="17" creationId="{8684E6D6-4063-ED5B-0D4D-04F5133592E5}"/>
          </ac:spMkLst>
        </pc:spChg>
        <pc:spChg chg="add del mod modVis">
          <ac:chgData name="Joao Cabral de Assis" userId="2e28f1b2-599c-43fa-9c22-5b7536e3b37b" providerId="ADAL" clId="{903218E2-C22B-4CC8-9AB6-343CA3DF934D}" dt="2023-06-12T15:10:36.822" v="1857"/>
          <ac:spMkLst>
            <pc:docMk/>
            <pc:sldMk cId="2756595916" sldId="11545"/>
            <ac:spMk id="18" creationId="{98E3C446-0E99-9660-69CD-F3BE5083DE39}"/>
          </ac:spMkLst>
        </pc:spChg>
        <pc:spChg chg="add del mod modVis">
          <ac:chgData name="Joao Cabral de Assis" userId="2e28f1b2-599c-43fa-9c22-5b7536e3b37b" providerId="ADAL" clId="{903218E2-C22B-4CC8-9AB6-343CA3DF934D}" dt="2023-06-12T15:10:38.607" v="1885"/>
          <ac:spMkLst>
            <pc:docMk/>
            <pc:sldMk cId="2756595916" sldId="11545"/>
            <ac:spMk id="19" creationId="{D73F71A5-6119-2FA1-D663-551ACE97B470}"/>
          </ac:spMkLst>
        </pc:spChg>
        <pc:spChg chg="add del mod modVis">
          <ac:chgData name="Joao Cabral de Assis" userId="2e28f1b2-599c-43fa-9c22-5b7536e3b37b" providerId="ADAL" clId="{903218E2-C22B-4CC8-9AB6-343CA3DF934D}" dt="2023-06-12T15:10:39.353" v="1913"/>
          <ac:spMkLst>
            <pc:docMk/>
            <pc:sldMk cId="2756595916" sldId="11545"/>
            <ac:spMk id="20" creationId="{62620D40-4323-8C14-10EA-DFD7CD4C91C4}"/>
          </ac:spMkLst>
        </pc:spChg>
        <pc:spChg chg="add del mod modVis">
          <ac:chgData name="Joao Cabral de Assis" userId="2e28f1b2-599c-43fa-9c22-5b7536e3b37b" providerId="ADAL" clId="{903218E2-C22B-4CC8-9AB6-343CA3DF934D}" dt="2023-06-12T15:10:42.612" v="1956"/>
          <ac:spMkLst>
            <pc:docMk/>
            <pc:sldMk cId="2756595916" sldId="11545"/>
            <ac:spMk id="21" creationId="{0A7B5EA9-389A-C80B-1FAC-847D00756A61}"/>
          </ac:spMkLst>
        </pc:spChg>
        <pc:spChg chg="add del mod modVis">
          <ac:chgData name="Joao Cabral de Assis" userId="2e28f1b2-599c-43fa-9c22-5b7536e3b37b" providerId="ADAL" clId="{903218E2-C22B-4CC8-9AB6-343CA3DF934D}" dt="2023-06-12T15:10:44.688" v="1985"/>
          <ac:spMkLst>
            <pc:docMk/>
            <pc:sldMk cId="2756595916" sldId="11545"/>
            <ac:spMk id="22" creationId="{6897A644-5176-C530-F062-2F6EF45204CD}"/>
          </ac:spMkLst>
        </pc:spChg>
        <pc:spChg chg="add del mod modVis">
          <ac:chgData name="Joao Cabral de Assis" userId="2e28f1b2-599c-43fa-9c22-5b7536e3b37b" providerId="ADAL" clId="{903218E2-C22B-4CC8-9AB6-343CA3DF934D}" dt="2023-06-12T15:10:48.945" v="2013"/>
          <ac:spMkLst>
            <pc:docMk/>
            <pc:sldMk cId="2756595916" sldId="11545"/>
            <ac:spMk id="23" creationId="{E1C8A705-7A33-4AFD-DE04-E5A1BDAEAE4E}"/>
          </ac:spMkLst>
        </pc:spChg>
        <pc:spChg chg="add del mod modVis">
          <ac:chgData name="Joao Cabral de Assis" userId="2e28f1b2-599c-43fa-9c22-5b7536e3b37b" providerId="ADAL" clId="{903218E2-C22B-4CC8-9AB6-343CA3DF934D}" dt="2023-06-12T15:10:50.435" v="2043"/>
          <ac:spMkLst>
            <pc:docMk/>
            <pc:sldMk cId="2756595916" sldId="11545"/>
            <ac:spMk id="24" creationId="{5B283A54-344F-ACC9-323C-2D707B7E2BEF}"/>
          </ac:spMkLst>
        </pc:spChg>
        <pc:spChg chg="add del mod modVis">
          <ac:chgData name="Joao Cabral de Assis" userId="2e28f1b2-599c-43fa-9c22-5b7536e3b37b" providerId="ADAL" clId="{903218E2-C22B-4CC8-9AB6-343CA3DF934D}" dt="2023-06-12T15:10:51.351" v="2071"/>
          <ac:spMkLst>
            <pc:docMk/>
            <pc:sldMk cId="2756595916" sldId="11545"/>
            <ac:spMk id="25" creationId="{74DCA96B-50D8-E7E4-9A4E-11C48F63AB7A}"/>
          </ac:spMkLst>
        </pc:spChg>
        <pc:spChg chg="add del mod modVis">
          <ac:chgData name="Joao Cabral de Assis" userId="2e28f1b2-599c-43fa-9c22-5b7536e3b37b" providerId="ADAL" clId="{903218E2-C22B-4CC8-9AB6-343CA3DF934D}" dt="2023-06-12T15:10:53.047" v="2099"/>
          <ac:spMkLst>
            <pc:docMk/>
            <pc:sldMk cId="2756595916" sldId="11545"/>
            <ac:spMk id="26" creationId="{A4E672F0-6047-4AC8-ABE1-8198450E5C9F}"/>
          </ac:spMkLst>
        </pc:spChg>
        <pc:spChg chg="add del mod modVis">
          <ac:chgData name="Joao Cabral de Assis" userId="2e28f1b2-599c-43fa-9c22-5b7536e3b37b" providerId="ADAL" clId="{903218E2-C22B-4CC8-9AB6-343CA3DF934D}" dt="2023-06-12T15:10:54.712" v="2127"/>
          <ac:spMkLst>
            <pc:docMk/>
            <pc:sldMk cId="2756595916" sldId="11545"/>
            <ac:spMk id="27" creationId="{F36B1A64-8408-38D3-6B18-54D5198E9624}"/>
          </ac:spMkLst>
        </pc:spChg>
        <pc:spChg chg="add del mod modVis">
          <ac:chgData name="Joao Cabral de Assis" userId="2e28f1b2-599c-43fa-9c22-5b7536e3b37b" providerId="ADAL" clId="{903218E2-C22B-4CC8-9AB6-343CA3DF934D}" dt="2023-06-12T15:10:57.283" v="2156"/>
          <ac:spMkLst>
            <pc:docMk/>
            <pc:sldMk cId="2756595916" sldId="11545"/>
            <ac:spMk id="28" creationId="{AFA1FDDE-534A-4E27-A9E9-88A1A03D0F36}"/>
          </ac:spMkLst>
        </pc:spChg>
        <pc:spChg chg="add del mod modVis">
          <ac:chgData name="Joao Cabral de Assis" userId="2e28f1b2-599c-43fa-9c22-5b7536e3b37b" providerId="ADAL" clId="{903218E2-C22B-4CC8-9AB6-343CA3DF934D}" dt="2023-06-12T15:10:58.814" v="2184"/>
          <ac:spMkLst>
            <pc:docMk/>
            <pc:sldMk cId="2756595916" sldId="11545"/>
            <ac:spMk id="29" creationId="{0DCB5758-1BEC-CB58-0A50-04A2BF2F4C76}"/>
          </ac:spMkLst>
        </pc:spChg>
        <pc:spChg chg="add del mod modVis">
          <ac:chgData name="Joao Cabral de Assis" userId="2e28f1b2-599c-43fa-9c22-5b7536e3b37b" providerId="ADAL" clId="{903218E2-C22B-4CC8-9AB6-343CA3DF934D}" dt="2023-06-12T15:10:59.900" v="2212"/>
          <ac:spMkLst>
            <pc:docMk/>
            <pc:sldMk cId="2756595916" sldId="11545"/>
            <ac:spMk id="30" creationId="{102E998E-FD2C-BCE6-B68E-6E2A4A74A21D}"/>
          </ac:spMkLst>
        </pc:spChg>
        <pc:spChg chg="add del mod modVis">
          <ac:chgData name="Joao Cabral de Assis" userId="2e28f1b2-599c-43fa-9c22-5b7536e3b37b" providerId="ADAL" clId="{903218E2-C22B-4CC8-9AB6-343CA3DF934D}" dt="2023-06-12T15:11:07.217" v="2241"/>
          <ac:spMkLst>
            <pc:docMk/>
            <pc:sldMk cId="2756595916" sldId="11545"/>
            <ac:spMk id="31" creationId="{DBD19F61-2321-FC91-7C1F-CE0106D20D92}"/>
          </ac:spMkLst>
        </pc:spChg>
        <pc:spChg chg="add del mod modVis">
          <ac:chgData name="Joao Cabral de Assis" userId="2e28f1b2-599c-43fa-9c22-5b7536e3b37b" providerId="ADAL" clId="{903218E2-C22B-4CC8-9AB6-343CA3DF934D}" dt="2023-06-12T15:11:14.174" v="2269"/>
          <ac:spMkLst>
            <pc:docMk/>
            <pc:sldMk cId="2756595916" sldId="11545"/>
            <ac:spMk id="32" creationId="{1D7AF1DF-FF0F-30DA-1081-C7EFD4397E73}"/>
          </ac:spMkLst>
        </pc:spChg>
        <pc:spChg chg="add del mod modVis">
          <ac:chgData name="Joao Cabral de Assis" userId="2e28f1b2-599c-43fa-9c22-5b7536e3b37b" providerId="ADAL" clId="{903218E2-C22B-4CC8-9AB6-343CA3DF934D}" dt="2023-06-12T15:11:15.186" v="2297"/>
          <ac:spMkLst>
            <pc:docMk/>
            <pc:sldMk cId="2756595916" sldId="11545"/>
            <ac:spMk id="33" creationId="{963FB921-7225-ACDC-F68F-9D126E4589C6}"/>
          </ac:spMkLst>
        </pc:spChg>
        <pc:spChg chg="add del mod modVis">
          <ac:chgData name="Joao Cabral de Assis" userId="2e28f1b2-599c-43fa-9c22-5b7536e3b37b" providerId="ADAL" clId="{903218E2-C22B-4CC8-9AB6-343CA3DF934D}" dt="2023-06-12T15:11:18.873" v="2325"/>
          <ac:spMkLst>
            <pc:docMk/>
            <pc:sldMk cId="2756595916" sldId="11545"/>
            <ac:spMk id="34" creationId="{63D2C777-A7CA-E4E5-1562-66F0CE171653}"/>
          </ac:spMkLst>
        </pc:spChg>
        <pc:spChg chg="add mod">
          <ac:chgData name="Joao Cabral de Assis" userId="2e28f1b2-599c-43fa-9c22-5b7536e3b37b" providerId="ADAL" clId="{903218E2-C22B-4CC8-9AB6-343CA3DF934D}" dt="2023-06-19T01:36:44.212" v="10957" actId="790"/>
          <ac:spMkLst>
            <pc:docMk/>
            <pc:sldMk cId="2756595916" sldId="11545"/>
            <ac:spMk id="38" creationId="{2E44188D-CFAE-6A6E-A4A3-E6826BBC080C}"/>
          </ac:spMkLst>
        </pc:spChg>
        <pc:spChg chg="add del mod modVis">
          <ac:chgData name="Joao Cabral de Assis" userId="2e28f1b2-599c-43fa-9c22-5b7536e3b37b" providerId="ADAL" clId="{903218E2-C22B-4CC8-9AB6-343CA3DF934D}" dt="2023-06-12T17:52:23.439" v="5415"/>
          <ac:spMkLst>
            <pc:docMk/>
            <pc:sldMk cId="2756595916" sldId="11545"/>
            <ac:spMk id="39" creationId="{3BED5859-1BDA-B5C8-AD00-02CAEB153B56}"/>
          </ac:spMkLst>
        </pc:spChg>
        <pc:spChg chg="add del mod modVis">
          <ac:chgData name="Joao Cabral de Assis" userId="2e28f1b2-599c-43fa-9c22-5b7536e3b37b" providerId="ADAL" clId="{903218E2-C22B-4CC8-9AB6-343CA3DF934D}" dt="2023-06-12T17:52:25.832" v="5454"/>
          <ac:spMkLst>
            <pc:docMk/>
            <pc:sldMk cId="2756595916" sldId="11545"/>
            <ac:spMk id="40" creationId="{1CA9AE98-4390-F4A1-6D78-D1360BCDFCEB}"/>
          </ac:spMkLst>
        </pc:spChg>
        <pc:graphicFrameChg chg="add mod ord modVis replST">
          <ac:chgData name="Joao Cabral de Assis" userId="2e28f1b2-599c-43fa-9c22-5b7536e3b37b" providerId="ADAL" clId="{903218E2-C22B-4CC8-9AB6-343CA3DF934D}" dt="2023-06-12T17:54:07.286" v="5621"/>
          <ac:graphicFrameMkLst>
            <pc:docMk/>
            <pc:sldMk cId="2756595916" sldId="11545"/>
            <ac:graphicFrameMk id="7" creationId="{C0FA9723-6124-E6ED-4957-C0F4C221C01E}"/>
          </ac:graphicFrameMkLst>
        </pc:graphicFrameChg>
        <pc:graphicFrameChg chg="add del mod">
          <ac:chgData name="Joao Cabral de Assis" userId="2e28f1b2-599c-43fa-9c22-5b7536e3b37b" providerId="ADAL" clId="{903218E2-C22B-4CC8-9AB6-343CA3DF934D}" dt="2023-06-12T15:47:48.908" v="2854"/>
          <ac:graphicFrameMkLst>
            <pc:docMk/>
            <pc:sldMk cId="2756595916" sldId="11545"/>
            <ac:graphicFrameMk id="37" creationId="{4D998C91-5E4B-1FE1-82AB-7AF02B6EE556}"/>
          </ac:graphicFrameMkLst>
        </pc:graphicFrameChg>
        <pc:picChg chg="add mod modCrop">
          <ac:chgData name="Joao Cabral de Assis" userId="2e28f1b2-599c-43fa-9c22-5b7536e3b37b" providerId="ADAL" clId="{903218E2-C22B-4CC8-9AB6-343CA3DF934D}" dt="2023-06-12T15:34:52.661" v="2348" actId="1076"/>
          <ac:picMkLst>
            <pc:docMk/>
            <pc:sldMk cId="2756595916" sldId="11545"/>
            <ac:picMk id="36" creationId="{BA7C25B5-42A4-17BC-C433-C85592B24302}"/>
          </ac:picMkLst>
        </pc:picChg>
      </pc:sldChg>
      <pc:sldChg chg="modSp add mod modNotes">
        <pc:chgData name="Joao Cabral de Assis" userId="2e28f1b2-599c-43fa-9c22-5b7536e3b37b" providerId="ADAL" clId="{903218E2-C22B-4CC8-9AB6-343CA3DF934D}" dt="2023-06-19T01:36:44.904" v="11141" actId="790"/>
        <pc:sldMkLst>
          <pc:docMk/>
          <pc:sldMk cId="3257250610" sldId="11546"/>
        </pc:sldMkLst>
        <pc:spChg chg="mod">
          <ac:chgData name="Joao Cabral de Assis" userId="2e28f1b2-599c-43fa-9c22-5b7536e3b37b" providerId="ADAL" clId="{903218E2-C22B-4CC8-9AB6-343CA3DF934D}" dt="2023-06-19T01:36:44.878" v="11133" actId="790"/>
          <ac:spMkLst>
            <pc:docMk/>
            <pc:sldMk cId="3257250610" sldId="11546"/>
            <ac:spMk id="2" creationId="{927F54E9-522F-6E1B-5EB9-531C94F888E7}"/>
          </ac:spMkLst>
        </pc:spChg>
        <pc:spChg chg="mod">
          <ac:chgData name="Joao Cabral de Assis" userId="2e28f1b2-599c-43fa-9c22-5b7536e3b37b" providerId="ADAL" clId="{903218E2-C22B-4CC8-9AB6-343CA3DF934D}" dt="2023-06-19T01:36:44.881" v="11134" actId="790"/>
          <ac:spMkLst>
            <pc:docMk/>
            <pc:sldMk cId="3257250610" sldId="11546"/>
            <ac:spMk id="5" creationId="{F333A39D-5441-57F2-EBED-D7D1AF0FCE20}"/>
          </ac:spMkLst>
        </pc:spChg>
        <pc:spChg chg="mod">
          <ac:chgData name="Joao Cabral de Assis" userId="2e28f1b2-599c-43fa-9c22-5b7536e3b37b" providerId="ADAL" clId="{903218E2-C22B-4CC8-9AB6-343CA3DF934D}" dt="2023-06-19T01:36:44.883" v="11135" actId="790"/>
          <ac:spMkLst>
            <pc:docMk/>
            <pc:sldMk cId="3257250610" sldId="11546"/>
            <ac:spMk id="10" creationId="{E8FBF349-9B27-D08F-5286-548A09CD1491}"/>
          </ac:spMkLst>
        </pc:spChg>
        <pc:spChg chg="mod">
          <ac:chgData name="Joao Cabral de Assis" userId="2e28f1b2-599c-43fa-9c22-5b7536e3b37b" providerId="ADAL" clId="{903218E2-C22B-4CC8-9AB6-343CA3DF934D}" dt="2023-06-19T01:36:44.885" v="11136" actId="790"/>
          <ac:spMkLst>
            <pc:docMk/>
            <pc:sldMk cId="3257250610" sldId="11546"/>
            <ac:spMk id="13" creationId="{6BDC174A-7798-E78A-DED0-13572F756506}"/>
          </ac:spMkLst>
        </pc:spChg>
        <pc:spChg chg="mod">
          <ac:chgData name="Joao Cabral de Assis" userId="2e28f1b2-599c-43fa-9c22-5b7536e3b37b" providerId="ADAL" clId="{903218E2-C22B-4CC8-9AB6-343CA3DF934D}" dt="2023-06-19T01:36:44.887" v="11137"/>
          <ac:spMkLst>
            <pc:docMk/>
            <pc:sldMk cId="3257250610" sldId="11546"/>
            <ac:spMk id="14" creationId="{4B3C2019-49A1-9AC5-5FBB-75927AEF13C4}"/>
          </ac:spMkLst>
        </pc:spChg>
        <pc:spChg chg="mod">
          <ac:chgData name="Joao Cabral de Assis" userId="2e28f1b2-599c-43fa-9c22-5b7536e3b37b" providerId="ADAL" clId="{903218E2-C22B-4CC8-9AB6-343CA3DF934D}" dt="2023-06-19T01:36:44.889" v="11138"/>
          <ac:spMkLst>
            <pc:docMk/>
            <pc:sldMk cId="3257250610" sldId="11546"/>
            <ac:spMk id="15" creationId="{A11D0873-EE53-5AF2-A2DA-954A1B6D6AC3}"/>
          </ac:spMkLst>
        </pc:spChg>
        <pc:spChg chg="mod">
          <ac:chgData name="Joao Cabral de Assis" userId="2e28f1b2-599c-43fa-9c22-5b7536e3b37b" providerId="ADAL" clId="{903218E2-C22B-4CC8-9AB6-343CA3DF934D}" dt="2023-06-19T01:36:44.894" v="11139" actId="790"/>
          <ac:spMkLst>
            <pc:docMk/>
            <pc:sldMk cId="3257250610" sldId="11546"/>
            <ac:spMk id="16" creationId="{ABD20C92-657B-8A15-C1B7-036EB7D43F1C}"/>
          </ac:spMkLst>
        </pc:spChg>
      </pc:sldChg>
      <pc:sldChg chg="modSp add mod modNotes">
        <pc:chgData name="Joao Cabral de Assis" userId="2e28f1b2-599c-43fa-9c22-5b7536e3b37b" providerId="ADAL" clId="{903218E2-C22B-4CC8-9AB6-343CA3DF934D}" dt="2023-06-19T01:36:45.020" v="11200" actId="790"/>
        <pc:sldMkLst>
          <pc:docMk/>
          <pc:sldMk cId="3945515134" sldId="11547"/>
        </pc:sldMkLst>
        <pc:spChg chg="mod">
          <ac:chgData name="Joao Cabral de Assis" userId="2e28f1b2-599c-43fa-9c22-5b7536e3b37b" providerId="ADAL" clId="{903218E2-C22B-4CC8-9AB6-343CA3DF934D}" dt="2023-06-19T01:36:45.006" v="11195" actId="790"/>
          <ac:spMkLst>
            <pc:docMk/>
            <pc:sldMk cId="3945515134" sldId="11547"/>
            <ac:spMk id="2" creationId="{E7E0A3ED-D5B0-0EF2-1E58-2107C90B6FDA}"/>
          </ac:spMkLst>
        </pc:spChg>
        <pc:spChg chg="mod">
          <ac:chgData name="Joao Cabral de Assis" userId="2e28f1b2-599c-43fa-9c22-5b7536e3b37b" providerId="ADAL" clId="{903218E2-C22B-4CC8-9AB6-343CA3DF934D}" dt="2023-06-19T01:36:45.013" v="11197" actId="790"/>
          <ac:spMkLst>
            <pc:docMk/>
            <pc:sldMk cId="3945515134" sldId="11547"/>
            <ac:spMk id="5" creationId="{C5C74965-BAFF-3E48-3550-4764FE1D1B0E}"/>
          </ac:spMkLst>
        </pc:spChg>
        <pc:spChg chg="mod">
          <ac:chgData name="Joao Cabral de Assis" userId="2e28f1b2-599c-43fa-9c22-5b7536e3b37b" providerId="ADAL" clId="{903218E2-C22B-4CC8-9AB6-343CA3DF934D}" dt="2023-06-19T01:36:45.015" v="11198" actId="790"/>
          <ac:spMkLst>
            <pc:docMk/>
            <pc:sldMk cId="3945515134" sldId="11547"/>
            <ac:spMk id="7" creationId="{F963E834-C3B4-A60B-C532-E5B726427F43}"/>
          </ac:spMkLst>
        </pc:spChg>
        <pc:spChg chg="mod">
          <ac:chgData name="Joao Cabral de Assis" userId="2e28f1b2-599c-43fa-9c22-5b7536e3b37b" providerId="ADAL" clId="{903218E2-C22B-4CC8-9AB6-343CA3DF934D}" dt="2023-06-19T01:36:45.011" v="11196" actId="790"/>
          <ac:spMkLst>
            <pc:docMk/>
            <pc:sldMk cId="3945515134" sldId="11547"/>
            <ac:spMk id="24" creationId="{AC8ACFEC-1A72-7505-92A4-3B01E8FC34A4}"/>
          </ac:spMkLst>
        </pc:spChg>
      </pc:sldChg>
      <pc:sldChg chg="addSp delSp modSp add del mod">
        <pc:chgData name="Joao Cabral de Assis" userId="2e28f1b2-599c-43fa-9c22-5b7536e3b37b" providerId="ADAL" clId="{903218E2-C22B-4CC8-9AB6-343CA3DF934D}" dt="2023-06-12T17:44:50.892" v="5139" actId="47"/>
        <pc:sldMkLst>
          <pc:docMk/>
          <pc:sldMk cId="165943631" sldId="11548"/>
        </pc:sldMkLst>
        <pc:spChg chg="mod ord">
          <ac:chgData name="Joao Cabral de Assis" userId="2e28f1b2-599c-43fa-9c22-5b7536e3b37b" providerId="ADAL" clId="{903218E2-C22B-4CC8-9AB6-343CA3DF934D}" dt="2023-06-12T17:21:53.497" v="4426"/>
          <ac:spMkLst>
            <pc:docMk/>
            <pc:sldMk cId="165943631" sldId="11548"/>
            <ac:spMk id="2" creationId="{F0874468-05BE-48FC-910B-4C4BC7D0C101}"/>
          </ac:spMkLst>
        </pc:spChg>
        <pc:spChg chg="mod ord">
          <ac:chgData name="Joao Cabral de Assis" userId="2e28f1b2-599c-43fa-9c22-5b7536e3b37b" providerId="ADAL" clId="{903218E2-C22B-4CC8-9AB6-343CA3DF934D}" dt="2023-06-12T17:21:53.498" v="4428"/>
          <ac:spMkLst>
            <pc:docMk/>
            <pc:sldMk cId="165943631" sldId="11548"/>
            <ac:spMk id="3" creationId="{DADBC550-C32C-44CF-98CF-86E220087C06}"/>
          </ac:spMkLst>
        </pc:spChg>
        <pc:spChg chg="add del mod modVis">
          <ac:chgData name="Joao Cabral de Assis" userId="2e28f1b2-599c-43fa-9c22-5b7536e3b37b" providerId="ADAL" clId="{903218E2-C22B-4CC8-9AB6-343CA3DF934D}" dt="2023-06-12T16:17:22.968" v="2930"/>
          <ac:spMkLst>
            <pc:docMk/>
            <pc:sldMk cId="165943631" sldId="11548"/>
            <ac:spMk id="4" creationId="{BC28CA42-BF12-B6E1-10AF-DD817075AD76}"/>
          </ac:spMkLst>
        </pc:spChg>
        <pc:spChg chg="add del mod modVis">
          <ac:chgData name="Joao Cabral de Assis" userId="2e28f1b2-599c-43fa-9c22-5b7536e3b37b" providerId="ADAL" clId="{903218E2-C22B-4CC8-9AB6-343CA3DF934D}" dt="2023-06-12T16:19:15.958" v="3063"/>
          <ac:spMkLst>
            <pc:docMk/>
            <pc:sldMk cId="165943631" sldId="11548"/>
            <ac:spMk id="5" creationId="{B238EE50-C37A-BA22-5597-2B16F6499702}"/>
          </ac:spMkLst>
        </pc:spChg>
        <pc:spChg chg="add del mod modVis">
          <ac:chgData name="Joao Cabral de Assis" userId="2e28f1b2-599c-43fa-9c22-5b7536e3b37b" providerId="ADAL" clId="{903218E2-C22B-4CC8-9AB6-343CA3DF934D}" dt="2023-06-12T16:19:27.116" v="3095"/>
          <ac:spMkLst>
            <pc:docMk/>
            <pc:sldMk cId="165943631" sldId="11548"/>
            <ac:spMk id="6" creationId="{4DD0BC55-B417-23DB-96E7-D48ABE230871}"/>
          </ac:spMkLst>
        </pc:spChg>
        <pc:spChg chg="mod ord">
          <ac:chgData name="Joao Cabral de Assis" userId="2e28f1b2-599c-43fa-9c22-5b7536e3b37b" providerId="ADAL" clId="{903218E2-C22B-4CC8-9AB6-343CA3DF934D}" dt="2023-06-12T17:21:53.505" v="4436"/>
          <ac:spMkLst>
            <pc:docMk/>
            <pc:sldMk cId="165943631" sldId="11548"/>
            <ac:spMk id="8" creationId="{5A6AA7CF-E012-DF8A-44A5-72E26F21C5FE}"/>
          </ac:spMkLst>
        </pc:spChg>
        <pc:spChg chg="mod ord">
          <ac:chgData name="Joao Cabral de Assis" userId="2e28f1b2-599c-43fa-9c22-5b7536e3b37b" providerId="ADAL" clId="{903218E2-C22B-4CC8-9AB6-343CA3DF934D}" dt="2023-06-12T17:21:53.506" v="4438"/>
          <ac:spMkLst>
            <pc:docMk/>
            <pc:sldMk cId="165943631" sldId="11548"/>
            <ac:spMk id="9" creationId="{5BCFAAEF-B7AE-EC64-2E0B-76BE90E9E25F}"/>
          </ac:spMkLst>
        </pc:spChg>
        <pc:spChg chg="add del mod modVis">
          <ac:chgData name="Joao Cabral de Assis" userId="2e28f1b2-599c-43fa-9c22-5b7536e3b37b" providerId="ADAL" clId="{903218E2-C22B-4CC8-9AB6-343CA3DF934D}" dt="2023-06-12T16:19:28.474" v="3130"/>
          <ac:spMkLst>
            <pc:docMk/>
            <pc:sldMk cId="165943631" sldId="11548"/>
            <ac:spMk id="10" creationId="{8BC0D48C-F860-6E72-44FA-98A0C83757DB}"/>
          </ac:spMkLst>
        </pc:spChg>
        <pc:spChg chg="mod">
          <ac:chgData name="Joao Cabral de Assis" userId="2e28f1b2-599c-43fa-9c22-5b7536e3b37b" providerId="ADAL" clId="{903218E2-C22B-4CC8-9AB6-343CA3DF934D}" dt="2023-06-12T16:43:48.158" v="3726"/>
          <ac:spMkLst>
            <pc:docMk/>
            <pc:sldMk cId="165943631" sldId="11548"/>
            <ac:spMk id="14" creationId="{AA0F2E98-C768-9624-5F7F-8228426E29BB}"/>
          </ac:spMkLst>
        </pc:spChg>
        <pc:spChg chg="mod">
          <ac:chgData name="Joao Cabral de Assis" userId="2e28f1b2-599c-43fa-9c22-5b7536e3b37b" providerId="ADAL" clId="{903218E2-C22B-4CC8-9AB6-343CA3DF934D}" dt="2023-06-12T16:43:48.158" v="3726"/>
          <ac:spMkLst>
            <pc:docMk/>
            <pc:sldMk cId="165943631" sldId="11548"/>
            <ac:spMk id="16" creationId="{D60E1558-A285-ECA1-E57D-8ED82A261589}"/>
          </ac:spMkLst>
        </pc:spChg>
        <pc:spChg chg="mod">
          <ac:chgData name="Joao Cabral de Assis" userId="2e28f1b2-599c-43fa-9c22-5b7536e3b37b" providerId="ADAL" clId="{903218E2-C22B-4CC8-9AB6-343CA3DF934D}" dt="2023-06-12T16:43:48.158" v="3726"/>
          <ac:spMkLst>
            <pc:docMk/>
            <pc:sldMk cId="165943631" sldId="11548"/>
            <ac:spMk id="18" creationId="{DFD2072F-F725-5701-50FD-A880F3FBEC67}"/>
          </ac:spMkLst>
        </pc:spChg>
        <pc:spChg chg="mod">
          <ac:chgData name="Joao Cabral de Assis" userId="2e28f1b2-599c-43fa-9c22-5b7536e3b37b" providerId="ADAL" clId="{903218E2-C22B-4CC8-9AB6-343CA3DF934D}" dt="2023-06-12T16:43:48.158" v="3726"/>
          <ac:spMkLst>
            <pc:docMk/>
            <pc:sldMk cId="165943631" sldId="11548"/>
            <ac:spMk id="19" creationId="{14166F16-91FC-DA72-F1B2-4DBB1A8B9C94}"/>
          </ac:spMkLst>
        </pc:spChg>
        <pc:spChg chg="mod">
          <ac:chgData name="Joao Cabral de Assis" userId="2e28f1b2-599c-43fa-9c22-5b7536e3b37b" providerId="ADAL" clId="{903218E2-C22B-4CC8-9AB6-343CA3DF934D}" dt="2023-06-12T16:43:48.158" v="3726"/>
          <ac:spMkLst>
            <pc:docMk/>
            <pc:sldMk cId="165943631" sldId="11548"/>
            <ac:spMk id="20" creationId="{8F8757CF-ED00-0C88-E0A2-F624F84D3E21}"/>
          </ac:spMkLst>
        </pc:spChg>
        <pc:spChg chg="mod">
          <ac:chgData name="Joao Cabral de Assis" userId="2e28f1b2-599c-43fa-9c22-5b7536e3b37b" providerId="ADAL" clId="{903218E2-C22B-4CC8-9AB6-343CA3DF934D}" dt="2023-06-12T16:43:48.158" v="3726"/>
          <ac:spMkLst>
            <pc:docMk/>
            <pc:sldMk cId="165943631" sldId="11548"/>
            <ac:spMk id="21" creationId="{649B6EB1-5DDE-A2CB-746D-FC8C83A709DB}"/>
          </ac:spMkLst>
        </pc:spChg>
        <pc:spChg chg="del mod">
          <ac:chgData name="Joao Cabral de Assis" userId="2e28f1b2-599c-43fa-9c22-5b7536e3b37b" providerId="ADAL" clId="{903218E2-C22B-4CC8-9AB6-343CA3DF934D}" dt="2023-06-12T16:30:53.927" v="3309" actId="478"/>
          <ac:spMkLst>
            <pc:docMk/>
            <pc:sldMk cId="165943631" sldId="11548"/>
            <ac:spMk id="25" creationId="{6A7308EE-A6D8-B3AD-5A5D-7F01BE603FAC}"/>
          </ac:spMkLst>
        </pc:spChg>
        <pc:spChg chg="del mod">
          <ac:chgData name="Joao Cabral de Assis" userId="2e28f1b2-599c-43fa-9c22-5b7536e3b37b" providerId="ADAL" clId="{903218E2-C22B-4CC8-9AB6-343CA3DF934D}" dt="2023-06-12T16:30:47.486" v="3307" actId="478"/>
          <ac:spMkLst>
            <pc:docMk/>
            <pc:sldMk cId="165943631" sldId="11548"/>
            <ac:spMk id="26" creationId="{F07C6643-925F-370A-5B75-CC561D051004}"/>
          </ac:spMkLst>
        </pc:spChg>
        <pc:spChg chg="del mod">
          <ac:chgData name="Joao Cabral de Assis" userId="2e28f1b2-599c-43fa-9c22-5b7536e3b37b" providerId="ADAL" clId="{903218E2-C22B-4CC8-9AB6-343CA3DF934D}" dt="2023-06-12T16:30:38.697" v="3304" actId="478"/>
          <ac:spMkLst>
            <pc:docMk/>
            <pc:sldMk cId="165943631" sldId="11548"/>
            <ac:spMk id="28" creationId="{26AC7D06-658D-D8EC-DB11-3E2600C22284}"/>
          </ac:spMkLst>
        </pc:spChg>
        <pc:spChg chg="del mod">
          <ac:chgData name="Joao Cabral de Assis" userId="2e28f1b2-599c-43fa-9c22-5b7536e3b37b" providerId="ADAL" clId="{903218E2-C22B-4CC8-9AB6-343CA3DF934D}" dt="2023-06-12T16:30:56.895" v="3310" actId="478"/>
          <ac:spMkLst>
            <pc:docMk/>
            <pc:sldMk cId="165943631" sldId="11548"/>
            <ac:spMk id="29" creationId="{FADC9D07-5194-80F8-F65A-194F2736B5C7}"/>
          </ac:spMkLst>
        </pc:spChg>
        <pc:spChg chg="mod">
          <ac:chgData name="Joao Cabral de Assis" userId="2e28f1b2-599c-43fa-9c22-5b7536e3b37b" providerId="ADAL" clId="{903218E2-C22B-4CC8-9AB6-343CA3DF934D}" dt="2023-06-12T17:44:39.704" v="5138" actId="1076"/>
          <ac:spMkLst>
            <pc:docMk/>
            <pc:sldMk cId="165943631" sldId="11548"/>
            <ac:spMk id="30" creationId="{D23C72FB-F9CD-4149-ABB9-0304AAB1E673}"/>
          </ac:spMkLst>
        </pc:spChg>
        <pc:spChg chg="del mod">
          <ac:chgData name="Joao Cabral de Assis" userId="2e28f1b2-599c-43fa-9c22-5b7536e3b37b" providerId="ADAL" clId="{903218E2-C22B-4CC8-9AB6-343CA3DF934D}" dt="2023-06-12T16:30:50.786" v="3308" actId="478"/>
          <ac:spMkLst>
            <pc:docMk/>
            <pc:sldMk cId="165943631" sldId="11548"/>
            <ac:spMk id="31" creationId="{F517FBBA-A21E-3B11-F9F0-8C91D8F7F2C0}"/>
          </ac:spMkLst>
        </pc:spChg>
        <pc:spChg chg="mod">
          <ac:chgData name="Joao Cabral de Assis" userId="2e28f1b2-599c-43fa-9c22-5b7536e3b37b" providerId="ADAL" clId="{903218E2-C22B-4CC8-9AB6-343CA3DF934D}" dt="2023-06-12T17:21:53.500" v="4430"/>
          <ac:spMkLst>
            <pc:docMk/>
            <pc:sldMk cId="165943631" sldId="11548"/>
            <ac:spMk id="256" creationId="{107A7E7D-B768-4746-B6E9-1F5C3DC1FA79}"/>
          </ac:spMkLst>
        </pc:spChg>
        <pc:spChg chg="del mod">
          <ac:chgData name="Joao Cabral de Assis" userId="2e28f1b2-599c-43fa-9c22-5b7536e3b37b" providerId="ADAL" clId="{903218E2-C22B-4CC8-9AB6-343CA3DF934D}" dt="2023-06-12T16:30:44.855" v="3306" actId="478"/>
          <ac:spMkLst>
            <pc:docMk/>
            <pc:sldMk cId="165943631" sldId="11548"/>
            <ac:spMk id="257" creationId="{A19A5C87-FE61-B860-19AA-B41D7FDFA889}"/>
          </ac:spMkLst>
        </pc:spChg>
        <pc:spChg chg="mod">
          <ac:chgData name="Joao Cabral de Assis" userId="2e28f1b2-599c-43fa-9c22-5b7536e3b37b" providerId="ADAL" clId="{903218E2-C22B-4CC8-9AB6-343CA3DF934D}" dt="2023-06-12T17:21:53.501" v="4431"/>
          <ac:spMkLst>
            <pc:docMk/>
            <pc:sldMk cId="165943631" sldId="11548"/>
            <ac:spMk id="258" creationId="{84B59A0C-AD98-4AA0-807B-473F044F0C54}"/>
          </ac:spMkLst>
        </pc:spChg>
        <pc:spChg chg="del mod">
          <ac:chgData name="Joao Cabral de Assis" userId="2e28f1b2-599c-43fa-9c22-5b7536e3b37b" providerId="ADAL" clId="{903218E2-C22B-4CC8-9AB6-343CA3DF934D}" dt="2023-06-12T16:30:42.371" v="3305" actId="478"/>
          <ac:spMkLst>
            <pc:docMk/>
            <pc:sldMk cId="165943631" sldId="11548"/>
            <ac:spMk id="259" creationId="{F929119E-D7DC-B286-0732-C98613A1C0A6}"/>
          </ac:spMkLst>
        </pc:spChg>
        <pc:spChg chg="mod">
          <ac:chgData name="Joao Cabral de Assis" userId="2e28f1b2-599c-43fa-9c22-5b7536e3b37b" providerId="ADAL" clId="{903218E2-C22B-4CC8-9AB6-343CA3DF934D}" dt="2023-06-12T17:21:53.501" v="4432"/>
          <ac:spMkLst>
            <pc:docMk/>
            <pc:sldMk cId="165943631" sldId="11548"/>
            <ac:spMk id="260" creationId="{973E6AA6-2EF5-4A6F-A12A-14036F7A3E5A}"/>
          </ac:spMkLst>
        </pc:spChg>
        <pc:spChg chg="mod">
          <ac:chgData name="Joao Cabral de Assis" userId="2e28f1b2-599c-43fa-9c22-5b7536e3b37b" providerId="ADAL" clId="{903218E2-C22B-4CC8-9AB6-343CA3DF934D}" dt="2023-06-12T17:21:53.502" v="4433"/>
          <ac:spMkLst>
            <pc:docMk/>
            <pc:sldMk cId="165943631" sldId="11548"/>
            <ac:spMk id="261" creationId="{4568B675-04E3-48FF-9F9C-B93D19A0A9FF}"/>
          </ac:spMkLst>
        </pc:spChg>
        <pc:spChg chg="mod">
          <ac:chgData name="Joao Cabral de Assis" userId="2e28f1b2-599c-43fa-9c22-5b7536e3b37b" providerId="ADAL" clId="{903218E2-C22B-4CC8-9AB6-343CA3DF934D}" dt="2023-06-12T17:23:58.386" v="4509" actId="1076"/>
          <ac:spMkLst>
            <pc:docMk/>
            <pc:sldMk cId="165943631" sldId="11548"/>
            <ac:spMk id="262" creationId="{D44FF6F9-B22E-4AB5-937F-727097B58E40}"/>
          </ac:spMkLst>
        </pc:spChg>
        <pc:spChg chg="mod">
          <ac:chgData name="Joao Cabral de Assis" userId="2e28f1b2-599c-43fa-9c22-5b7536e3b37b" providerId="ADAL" clId="{903218E2-C22B-4CC8-9AB6-343CA3DF934D}" dt="2023-06-12T16:43:48.158" v="3726"/>
          <ac:spMkLst>
            <pc:docMk/>
            <pc:sldMk cId="165943631" sldId="11548"/>
            <ac:spMk id="264" creationId="{A14F8CB8-1291-9F4D-E6B6-123F3A29BA7D}"/>
          </ac:spMkLst>
        </pc:spChg>
        <pc:spChg chg="mod">
          <ac:chgData name="Joao Cabral de Assis" userId="2e28f1b2-599c-43fa-9c22-5b7536e3b37b" providerId="ADAL" clId="{903218E2-C22B-4CC8-9AB6-343CA3DF934D}" dt="2023-06-12T16:43:48.158" v="3726"/>
          <ac:spMkLst>
            <pc:docMk/>
            <pc:sldMk cId="165943631" sldId="11548"/>
            <ac:spMk id="265" creationId="{0E8969C4-90A6-6F22-A658-F677830E8D14}"/>
          </ac:spMkLst>
        </pc:spChg>
        <pc:spChg chg="mod">
          <ac:chgData name="Joao Cabral de Assis" userId="2e28f1b2-599c-43fa-9c22-5b7536e3b37b" providerId="ADAL" clId="{903218E2-C22B-4CC8-9AB6-343CA3DF934D}" dt="2023-06-12T16:43:48.158" v="3726"/>
          <ac:spMkLst>
            <pc:docMk/>
            <pc:sldMk cId="165943631" sldId="11548"/>
            <ac:spMk id="266" creationId="{6B94F580-6D0C-3501-48B3-AC40AEAC291D}"/>
          </ac:spMkLst>
        </pc:spChg>
        <pc:spChg chg="mod">
          <ac:chgData name="Joao Cabral de Assis" userId="2e28f1b2-599c-43fa-9c22-5b7536e3b37b" providerId="ADAL" clId="{903218E2-C22B-4CC8-9AB6-343CA3DF934D}" dt="2023-06-12T16:43:48.158" v="3726"/>
          <ac:spMkLst>
            <pc:docMk/>
            <pc:sldMk cId="165943631" sldId="11548"/>
            <ac:spMk id="267" creationId="{DB84929A-3966-1F9E-670B-17569790EAD9}"/>
          </ac:spMkLst>
        </pc:spChg>
        <pc:spChg chg="mod">
          <ac:chgData name="Joao Cabral de Assis" userId="2e28f1b2-599c-43fa-9c22-5b7536e3b37b" providerId="ADAL" clId="{903218E2-C22B-4CC8-9AB6-343CA3DF934D}" dt="2023-06-12T16:43:48.158" v="3726"/>
          <ac:spMkLst>
            <pc:docMk/>
            <pc:sldMk cId="165943631" sldId="11548"/>
            <ac:spMk id="268" creationId="{675A7BA8-98C1-60C4-4060-E235CFFC42C7}"/>
          </ac:spMkLst>
        </pc:spChg>
        <pc:spChg chg="mod">
          <ac:chgData name="Joao Cabral de Assis" userId="2e28f1b2-599c-43fa-9c22-5b7536e3b37b" providerId="ADAL" clId="{903218E2-C22B-4CC8-9AB6-343CA3DF934D}" dt="2023-06-12T16:43:48.158" v="3726"/>
          <ac:spMkLst>
            <pc:docMk/>
            <pc:sldMk cId="165943631" sldId="11548"/>
            <ac:spMk id="269" creationId="{995F03E0-0BB2-02A7-FB14-64672FB584CC}"/>
          </ac:spMkLst>
        </pc:spChg>
        <pc:spChg chg="mod">
          <ac:chgData name="Joao Cabral de Assis" userId="2e28f1b2-599c-43fa-9c22-5b7536e3b37b" providerId="ADAL" clId="{903218E2-C22B-4CC8-9AB6-343CA3DF934D}" dt="2023-06-12T16:43:48.158" v="3726"/>
          <ac:spMkLst>
            <pc:docMk/>
            <pc:sldMk cId="165943631" sldId="11548"/>
            <ac:spMk id="270" creationId="{7D5BB5B8-8C12-5636-2BDE-D03382360730}"/>
          </ac:spMkLst>
        </pc:spChg>
        <pc:spChg chg="add mod ord">
          <ac:chgData name="Joao Cabral de Assis" userId="2e28f1b2-599c-43fa-9c22-5b7536e3b37b" providerId="ADAL" clId="{903218E2-C22B-4CC8-9AB6-343CA3DF934D}" dt="2023-06-12T17:22:29.578" v="4490" actId="14100"/>
          <ac:spMkLst>
            <pc:docMk/>
            <pc:sldMk cId="165943631" sldId="11548"/>
            <ac:spMk id="271" creationId="{DA33D638-0F7D-D4C7-0018-B8435C55AA3D}"/>
          </ac:spMkLst>
        </pc:spChg>
        <pc:spChg chg="add mod ord">
          <ac:chgData name="Joao Cabral de Assis" userId="2e28f1b2-599c-43fa-9c22-5b7536e3b37b" providerId="ADAL" clId="{903218E2-C22B-4CC8-9AB6-343CA3DF934D}" dt="2023-06-12T17:21:53.509" v="4443"/>
          <ac:spMkLst>
            <pc:docMk/>
            <pc:sldMk cId="165943631" sldId="11548"/>
            <ac:spMk id="272" creationId="{D76D0C95-0B2C-DA6E-715C-62AB5E5474C3}"/>
          </ac:spMkLst>
        </pc:spChg>
        <pc:spChg chg="add mod ord">
          <ac:chgData name="Joao Cabral de Assis" userId="2e28f1b2-599c-43fa-9c22-5b7536e3b37b" providerId="ADAL" clId="{903218E2-C22B-4CC8-9AB6-343CA3DF934D}" dt="2023-06-12T17:21:53.513" v="4451"/>
          <ac:spMkLst>
            <pc:docMk/>
            <pc:sldMk cId="165943631" sldId="11548"/>
            <ac:spMk id="277" creationId="{54A0DCCE-70F7-E1A3-6733-FCF50D7B6CBF}"/>
          </ac:spMkLst>
        </pc:spChg>
        <pc:spChg chg="mod">
          <ac:chgData name="Joao Cabral de Assis" userId="2e28f1b2-599c-43fa-9c22-5b7536e3b37b" providerId="ADAL" clId="{903218E2-C22B-4CC8-9AB6-343CA3DF934D}" dt="2023-06-12T16:56:12.330" v="4037" actId="1076"/>
          <ac:spMkLst>
            <pc:docMk/>
            <pc:sldMk cId="165943631" sldId="11548"/>
            <ac:spMk id="281" creationId="{BCA405C5-ED80-ACDB-C88E-B8255C334278}"/>
          </ac:spMkLst>
        </pc:spChg>
        <pc:spChg chg="mod">
          <ac:chgData name="Joao Cabral de Assis" userId="2e28f1b2-599c-43fa-9c22-5b7536e3b37b" providerId="ADAL" clId="{903218E2-C22B-4CC8-9AB6-343CA3DF934D}" dt="2023-06-12T16:56:12.330" v="4037" actId="1076"/>
          <ac:spMkLst>
            <pc:docMk/>
            <pc:sldMk cId="165943631" sldId="11548"/>
            <ac:spMk id="283" creationId="{AAB2CD13-E495-F3C1-0512-9C144B9E8BE5}"/>
          </ac:spMkLst>
        </pc:spChg>
        <pc:spChg chg="mod">
          <ac:chgData name="Joao Cabral de Assis" userId="2e28f1b2-599c-43fa-9c22-5b7536e3b37b" providerId="ADAL" clId="{903218E2-C22B-4CC8-9AB6-343CA3DF934D}" dt="2023-06-12T16:56:12.330" v="4037" actId="1076"/>
          <ac:spMkLst>
            <pc:docMk/>
            <pc:sldMk cId="165943631" sldId="11548"/>
            <ac:spMk id="284" creationId="{516BB11A-00B4-B07F-35BC-5C817DA651C0}"/>
          </ac:spMkLst>
        </pc:spChg>
        <pc:spChg chg="mod">
          <ac:chgData name="Joao Cabral de Assis" userId="2e28f1b2-599c-43fa-9c22-5b7536e3b37b" providerId="ADAL" clId="{903218E2-C22B-4CC8-9AB6-343CA3DF934D}" dt="2023-06-12T16:56:12.330" v="4037" actId="1076"/>
          <ac:spMkLst>
            <pc:docMk/>
            <pc:sldMk cId="165943631" sldId="11548"/>
            <ac:spMk id="285" creationId="{DB93C024-3263-4480-A1F0-808061392911}"/>
          </ac:spMkLst>
        </pc:spChg>
        <pc:spChg chg="mod">
          <ac:chgData name="Joao Cabral de Assis" userId="2e28f1b2-599c-43fa-9c22-5b7536e3b37b" providerId="ADAL" clId="{903218E2-C22B-4CC8-9AB6-343CA3DF934D}" dt="2023-06-12T16:56:12.330" v="4037" actId="1076"/>
          <ac:spMkLst>
            <pc:docMk/>
            <pc:sldMk cId="165943631" sldId="11548"/>
            <ac:spMk id="286" creationId="{8DC20DD1-24D8-404C-DEEF-D6F3362A150F}"/>
          </ac:spMkLst>
        </pc:spChg>
        <pc:spChg chg="mod">
          <ac:chgData name="Joao Cabral de Assis" userId="2e28f1b2-599c-43fa-9c22-5b7536e3b37b" providerId="ADAL" clId="{903218E2-C22B-4CC8-9AB6-343CA3DF934D}" dt="2023-06-12T16:56:12.330" v="4037" actId="1076"/>
          <ac:spMkLst>
            <pc:docMk/>
            <pc:sldMk cId="165943631" sldId="11548"/>
            <ac:spMk id="287" creationId="{CDDDC077-CD44-CE96-71C8-08146322E601}"/>
          </ac:spMkLst>
        </pc:spChg>
        <pc:spChg chg="del mod">
          <ac:chgData name="Joao Cabral de Assis" userId="2e28f1b2-599c-43fa-9c22-5b7536e3b37b" providerId="ADAL" clId="{903218E2-C22B-4CC8-9AB6-343CA3DF934D}" dt="2023-06-12T16:44:03.850" v="3731" actId="478"/>
          <ac:spMkLst>
            <pc:docMk/>
            <pc:sldMk cId="165943631" sldId="11548"/>
            <ac:spMk id="290" creationId="{8FAB47AA-E219-808A-8E03-4FF4EA34159A}"/>
          </ac:spMkLst>
        </pc:spChg>
        <pc:spChg chg="del mod">
          <ac:chgData name="Joao Cabral de Assis" userId="2e28f1b2-599c-43fa-9c22-5b7536e3b37b" providerId="ADAL" clId="{903218E2-C22B-4CC8-9AB6-343CA3DF934D}" dt="2023-06-12T16:44:09.595" v="3733" actId="478"/>
          <ac:spMkLst>
            <pc:docMk/>
            <pc:sldMk cId="165943631" sldId="11548"/>
            <ac:spMk id="291" creationId="{89168BC4-DBF4-6223-822F-2F644BBE554C}"/>
          </ac:spMkLst>
        </pc:spChg>
        <pc:spChg chg="del mod">
          <ac:chgData name="Joao Cabral de Assis" userId="2e28f1b2-599c-43fa-9c22-5b7536e3b37b" providerId="ADAL" clId="{903218E2-C22B-4CC8-9AB6-343CA3DF934D}" dt="2023-06-12T16:44:15.027" v="3735" actId="478"/>
          <ac:spMkLst>
            <pc:docMk/>
            <pc:sldMk cId="165943631" sldId="11548"/>
            <ac:spMk id="292" creationId="{4149CF90-F736-EF3E-0F3E-064338681D0E}"/>
          </ac:spMkLst>
        </pc:spChg>
        <pc:spChg chg="del mod">
          <ac:chgData name="Joao Cabral de Assis" userId="2e28f1b2-599c-43fa-9c22-5b7536e3b37b" providerId="ADAL" clId="{903218E2-C22B-4CC8-9AB6-343CA3DF934D}" dt="2023-06-12T16:44:07.102" v="3732" actId="478"/>
          <ac:spMkLst>
            <pc:docMk/>
            <pc:sldMk cId="165943631" sldId="11548"/>
            <ac:spMk id="293" creationId="{2807D33E-F3D6-E52F-4E84-27FFB1ED078A}"/>
          </ac:spMkLst>
        </pc:spChg>
        <pc:spChg chg="del mod">
          <ac:chgData name="Joao Cabral de Assis" userId="2e28f1b2-599c-43fa-9c22-5b7536e3b37b" providerId="ADAL" clId="{903218E2-C22B-4CC8-9AB6-343CA3DF934D}" dt="2023-06-12T16:43:56.052" v="3728" actId="478"/>
          <ac:spMkLst>
            <pc:docMk/>
            <pc:sldMk cId="165943631" sldId="11548"/>
            <ac:spMk id="294" creationId="{1B9DFCD0-4BCC-61AB-B44A-E76F225D32DC}"/>
          </ac:spMkLst>
        </pc:spChg>
        <pc:spChg chg="del mod">
          <ac:chgData name="Joao Cabral de Assis" userId="2e28f1b2-599c-43fa-9c22-5b7536e3b37b" providerId="ADAL" clId="{903218E2-C22B-4CC8-9AB6-343CA3DF934D}" dt="2023-06-12T16:44:01.235" v="3730" actId="478"/>
          <ac:spMkLst>
            <pc:docMk/>
            <pc:sldMk cId="165943631" sldId="11548"/>
            <ac:spMk id="295" creationId="{78B69FF5-C0CE-B0DE-F08F-9BE8C3C291E6}"/>
          </ac:spMkLst>
        </pc:spChg>
        <pc:spChg chg="del mod">
          <ac:chgData name="Joao Cabral de Assis" userId="2e28f1b2-599c-43fa-9c22-5b7536e3b37b" providerId="ADAL" clId="{903218E2-C22B-4CC8-9AB6-343CA3DF934D}" dt="2023-06-12T16:44:12.389" v="3734" actId="478"/>
          <ac:spMkLst>
            <pc:docMk/>
            <pc:sldMk cId="165943631" sldId="11548"/>
            <ac:spMk id="296" creationId="{825B5B94-4D64-1718-1841-399B8F4EADFB}"/>
          </ac:spMkLst>
        </pc:spChg>
        <pc:spChg chg="add mod ord">
          <ac:chgData name="Joao Cabral de Assis" userId="2e28f1b2-599c-43fa-9c22-5b7536e3b37b" providerId="ADAL" clId="{903218E2-C22B-4CC8-9AB6-343CA3DF934D}" dt="2023-06-12T17:26:46.909" v="4528" actId="1076"/>
          <ac:spMkLst>
            <pc:docMk/>
            <pc:sldMk cId="165943631" sldId="11548"/>
            <ac:spMk id="300" creationId="{81E5C004-B1E0-8EA1-10FC-522443BB83B8}"/>
          </ac:spMkLst>
        </pc:spChg>
        <pc:spChg chg="add mod ord">
          <ac:chgData name="Joao Cabral de Assis" userId="2e28f1b2-599c-43fa-9c22-5b7536e3b37b" providerId="ADAL" clId="{903218E2-C22B-4CC8-9AB6-343CA3DF934D}" dt="2023-06-12T17:27:06.232" v="4530" actId="1076"/>
          <ac:spMkLst>
            <pc:docMk/>
            <pc:sldMk cId="165943631" sldId="11548"/>
            <ac:spMk id="301" creationId="{06463E68-787A-A211-8826-B4DB27910AB6}"/>
          </ac:spMkLst>
        </pc:spChg>
        <pc:spChg chg="add mod ord">
          <ac:chgData name="Joao Cabral de Assis" userId="2e28f1b2-599c-43fa-9c22-5b7536e3b37b" providerId="ADAL" clId="{903218E2-C22B-4CC8-9AB6-343CA3DF934D}" dt="2023-06-12T17:21:53.527" v="4469"/>
          <ac:spMkLst>
            <pc:docMk/>
            <pc:sldMk cId="165943631" sldId="11548"/>
            <ac:spMk id="305" creationId="{88F4C7F9-AA94-90AB-6DC3-F6051EC8D8A2}"/>
          </ac:spMkLst>
        </pc:spChg>
        <pc:spChg chg="add mod ord">
          <ac:chgData name="Joao Cabral de Assis" userId="2e28f1b2-599c-43fa-9c22-5b7536e3b37b" providerId="ADAL" clId="{903218E2-C22B-4CC8-9AB6-343CA3DF934D}" dt="2023-06-12T17:21:53.528" v="4471"/>
          <ac:spMkLst>
            <pc:docMk/>
            <pc:sldMk cId="165943631" sldId="11548"/>
            <ac:spMk id="306" creationId="{5BB397F3-D316-FFF2-4061-7FA7CF377BE7}"/>
          </ac:spMkLst>
        </pc:spChg>
        <pc:spChg chg="add mod ord">
          <ac:chgData name="Joao Cabral de Assis" userId="2e28f1b2-599c-43fa-9c22-5b7536e3b37b" providerId="ADAL" clId="{903218E2-C22B-4CC8-9AB6-343CA3DF934D}" dt="2023-06-12T17:26:23.246" v="4526" actId="1076"/>
          <ac:spMkLst>
            <pc:docMk/>
            <pc:sldMk cId="165943631" sldId="11548"/>
            <ac:spMk id="307" creationId="{A2D9C0CF-F1A7-3DCE-EA49-6BB90CA7D6F1}"/>
          </ac:spMkLst>
        </pc:spChg>
        <pc:spChg chg="add mod ord">
          <ac:chgData name="Joao Cabral de Assis" userId="2e28f1b2-599c-43fa-9c22-5b7536e3b37b" providerId="ADAL" clId="{903218E2-C22B-4CC8-9AB6-343CA3DF934D}" dt="2023-06-12T17:26:02.262" v="4523" actId="1076"/>
          <ac:spMkLst>
            <pc:docMk/>
            <pc:sldMk cId="165943631" sldId="11548"/>
            <ac:spMk id="308" creationId="{67202B4F-2057-69A3-99D6-EBFFD7847750}"/>
          </ac:spMkLst>
        </pc:spChg>
        <pc:spChg chg="add del mod">
          <ac:chgData name="Joao Cabral de Assis" userId="2e28f1b2-599c-43fa-9c22-5b7536e3b37b" providerId="ADAL" clId="{903218E2-C22B-4CC8-9AB6-343CA3DF934D}" dt="2023-06-12T17:17:49.642" v="4223" actId="478"/>
          <ac:spMkLst>
            <pc:docMk/>
            <pc:sldMk cId="165943631" sldId="11548"/>
            <ac:spMk id="309" creationId="{05E7119D-3F10-F353-A14E-3398EE061D4B}"/>
          </ac:spMkLst>
        </pc:spChg>
        <pc:spChg chg="add del mod ord">
          <ac:chgData name="Joao Cabral de Assis" userId="2e28f1b2-599c-43fa-9c22-5b7536e3b37b" providerId="ADAL" clId="{903218E2-C22B-4CC8-9AB6-343CA3DF934D}" dt="2023-06-12T17:22:21.660" v="4488" actId="478"/>
          <ac:spMkLst>
            <pc:docMk/>
            <pc:sldMk cId="165943631" sldId="11548"/>
            <ac:spMk id="310" creationId="{86285350-67F2-F69C-8489-B9D7C95DE273}"/>
          </ac:spMkLst>
        </pc:spChg>
        <pc:spChg chg="add del mod modVis">
          <ac:chgData name="Joao Cabral de Assis" userId="2e28f1b2-599c-43fa-9c22-5b7536e3b37b" providerId="ADAL" clId="{903218E2-C22B-4CC8-9AB6-343CA3DF934D}" dt="2023-06-12T17:21:28.384" v="4398"/>
          <ac:spMkLst>
            <pc:docMk/>
            <pc:sldMk cId="165943631" sldId="11548"/>
            <ac:spMk id="311" creationId="{26B518D9-DED6-2E0E-C55F-A7283EC47C0E}"/>
          </ac:spMkLst>
        </pc:spChg>
        <pc:spChg chg="add del mod modVis">
          <ac:chgData name="Joao Cabral de Assis" userId="2e28f1b2-599c-43fa-9c22-5b7536e3b37b" providerId="ADAL" clId="{903218E2-C22B-4CC8-9AB6-343CA3DF934D}" dt="2023-06-12T17:21:53.534" v="4481"/>
          <ac:spMkLst>
            <pc:docMk/>
            <pc:sldMk cId="165943631" sldId="11548"/>
            <ac:spMk id="312" creationId="{C209BB0D-DC5D-358C-041B-CC3DC203E206}"/>
          </ac:spMkLst>
        </pc:spChg>
        <pc:spChg chg="add mod">
          <ac:chgData name="Joao Cabral de Assis" userId="2e28f1b2-599c-43fa-9c22-5b7536e3b37b" providerId="ADAL" clId="{903218E2-C22B-4CC8-9AB6-343CA3DF934D}" dt="2023-06-12T17:23:17.896" v="4504" actId="1076"/>
          <ac:spMkLst>
            <pc:docMk/>
            <pc:sldMk cId="165943631" sldId="11548"/>
            <ac:spMk id="313" creationId="{AB4226FB-0F28-FDA3-4E0D-0D55AD3B6613}"/>
          </ac:spMkLst>
        </pc:spChg>
        <pc:grpChg chg="add del mod">
          <ac:chgData name="Joao Cabral de Assis" userId="2e28f1b2-599c-43fa-9c22-5b7536e3b37b" providerId="ADAL" clId="{903218E2-C22B-4CC8-9AB6-343CA3DF934D}" dt="2023-06-12T17:24:23.077" v="4514" actId="478"/>
          <ac:grpSpMkLst>
            <pc:docMk/>
            <pc:sldMk cId="165943631" sldId="11548"/>
            <ac:grpSpMk id="13" creationId="{341454A4-5F9E-DEAD-5E1C-97F3F82D82B4}"/>
          </ac:grpSpMkLst>
        </pc:grpChg>
        <pc:grpChg chg="mod">
          <ac:chgData name="Joao Cabral de Assis" userId="2e28f1b2-599c-43fa-9c22-5b7536e3b37b" providerId="ADAL" clId="{903218E2-C22B-4CC8-9AB6-343CA3DF934D}" dt="2023-06-12T16:43:48.158" v="3726"/>
          <ac:grpSpMkLst>
            <pc:docMk/>
            <pc:sldMk cId="165943631" sldId="11548"/>
            <ac:grpSpMk id="22" creationId="{468FC494-685A-3CE5-C5C6-F2CE2873E489}"/>
          </ac:grpSpMkLst>
        </pc:grpChg>
        <pc:grpChg chg="del mod">
          <ac:chgData name="Joao Cabral de Assis" userId="2e28f1b2-599c-43fa-9c22-5b7536e3b37b" providerId="ADAL" clId="{903218E2-C22B-4CC8-9AB6-343CA3DF934D}" dt="2023-06-12T16:30:53.927" v="3309" actId="478"/>
          <ac:grpSpMkLst>
            <pc:docMk/>
            <pc:sldMk cId="165943631" sldId="11548"/>
            <ac:grpSpMk id="23" creationId="{1506AF39-94F3-F485-A032-42E0FCDA0BF6}"/>
          </ac:grpSpMkLst>
        </pc:grpChg>
        <pc:grpChg chg="del mod">
          <ac:chgData name="Joao Cabral de Assis" userId="2e28f1b2-599c-43fa-9c22-5b7536e3b37b" providerId="ADAL" clId="{903218E2-C22B-4CC8-9AB6-343CA3DF934D}" dt="2023-06-12T16:30:50.786" v="3308" actId="478"/>
          <ac:grpSpMkLst>
            <pc:docMk/>
            <pc:sldMk cId="165943631" sldId="11548"/>
            <ac:grpSpMk id="24" creationId="{2EF52307-595F-4FC2-285A-9F402023C70F}"/>
          </ac:grpSpMkLst>
        </pc:grpChg>
        <pc:grpChg chg="add del mod">
          <ac:chgData name="Joao Cabral de Assis" userId="2e28f1b2-599c-43fa-9c22-5b7536e3b37b" providerId="ADAL" clId="{903218E2-C22B-4CC8-9AB6-343CA3DF934D}" dt="2023-06-12T17:24:14.715" v="4510" actId="478"/>
          <ac:grpSpMkLst>
            <pc:docMk/>
            <pc:sldMk cId="165943631" sldId="11548"/>
            <ac:grpSpMk id="280" creationId="{49565C75-F082-BEAF-BF3E-E44FD7693820}"/>
          </ac:grpSpMkLst>
        </pc:grpChg>
        <pc:grpChg chg="del mod">
          <ac:chgData name="Joao Cabral de Assis" userId="2e28f1b2-599c-43fa-9c22-5b7536e3b37b" providerId="ADAL" clId="{903218E2-C22B-4CC8-9AB6-343CA3DF934D}" dt="2023-06-12T16:44:12.389" v="3734" actId="478"/>
          <ac:grpSpMkLst>
            <pc:docMk/>
            <pc:sldMk cId="165943631" sldId="11548"/>
            <ac:grpSpMk id="288" creationId="{5C9967FA-8033-CE9E-4F5F-49711BF71D3E}"/>
          </ac:grpSpMkLst>
        </pc:grpChg>
        <pc:graphicFrameChg chg="mod">
          <ac:chgData name="Joao Cabral de Assis" userId="2e28f1b2-599c-43fa-9c22-5b7536e3b37b" providerId="ADAL" clId="{903218E2-C22B-4CC8-9AB6-343CA3DF934D}" dt="2023-06-12T17:21:53.540" v="4483"/>
          <ac:graphicFrameMkLst>
            <pc:docMk/>
            <pc:sldMk cId="165943631" sldId="11548"/>
            <ac:graphicFrameMk id="17" creationId="{96C0E511-F38F-457D-A27F-C08777AE8356}"/>
          </ac:graphicFrameMkLst>
        </pc:graphicFrameChg>
        <pc:picChg chg="del mod ord modCrop">
          <ac:chgData name="Joao Cabral de Assis" userId="2e28f1b2-599c-43fa-9c22-5b7536e3b37b" providerId="ADAL" clId="{903218E2-C22B-4CC8-9AB6-343CA3DF934D}" dt="2023-06-12T17:08:45.296" v="4053" actId="478"/>
          <ac:picMkLst>
            <pc:docMk/>
            <pc:sldMk cId="165943631" sldId="11548"/>
            <ac:picMk id="7" creationId="{924CF355-DBB6-A019-8CEF-01F6E0412EB5}"/>
          </ac:picMkLst>
        </pc:picChg>
        <pc:picChg chg="add mod ord modCrop">
          <ac:chgData name="Joao Cabral de Assis" userId="2e28f1b2-599c-43fa-9c22-5b7536e3b37b" providerId="ADAL" clId="{903218E2-C22B-4CC8-9AB6-343CA3DF934D}" dt="2023-06-12T17:27:42.496" v="4540" actId="1038"/>
          <ac:picMkLst>
            <pc:docMk/>
            <pc:sldMk cId="165943631" sldId="11548"/>
            <ac:picMk id="11" creationId="{C8BA64C7-A9B1-992D-4779-55B82C066F1A}"/>
          </ac:picMkLst>
        </pc:picChg>
        <pc:picChg chg="add mod ord modCrop">
          <ac:chgData name="Joao Cabral de Assis" userId="2e28f1b2-599c-43fa-9c22-5b7536e3b37b" providerId="ADAL" clId="{903218E2-C22B-4CC8-9AB6-343CA3DF934D}" dt="2023-06-12T17:27:17.767" v="4535" actId="1035"/>
          <ac:picMkLst>
            <pc:docMk/>
            <pc:sldMk cId="165943631" sldId="11548"/>
            <ac:picMk id="12" creationId="{04632DE0-FF7B-E96C-F572-56C7A280E710}"/>
          </ac:picMkLst>
        </pc:picChg>
        <pc:picChg chg="mod">
          <ac:chgData name="Joao Cabral de Assis" userId="2e28f1b2-599c-43fa-9c22-5b7536e3b37b" providerId="ADAL" clId="{903218E2-C22B-4CC8-9AB6-343CA3DF934D}" dt="2023-06-12T16:43:48.158" v="3726"/>
          <ac:picMkLst>
            <pc:docMk/>
            <pc:sldMk cId="165943631" sldId="11548"/>
            <ac:picMk id="15" creationId="{4189B184-5284-B5A6-F43B-28C204BECAEE}"/>
          </ac:picMkLst>
        </pc:picChg>
        <pc:picChg chg="del mod">
          <ac:chgData name="Joao Cabral de Assis" userId="2e28f1b2-599c-43fa-9c22-5b7536e3b37b" providerId="ADAL" clId="{903218E2-C22B-4CC8-9AB6-343CA3DF934D}" dt="2023-06-12T16:30:35.542" v="3303" actId="478"/>
          <ac:picMkLst>
            <pc:docMk/>
            <pc:sldMk cId="165943631" sldId="11548"/>
            <ac:picMk id="27" creationId="{68CAE0A8-F80B-B9C3-4684-B2DDB62B7F64}"/>
          </ac:picMkLst>
        </pc:picChg>
        <pc:picChg chg="mod">
          <ac:chgData name="Joao Cabral de Assis" userId="2e28f1b2-599c-43fa-9c22-5b7536e3b37b" providerId="ADAL" clId="{903218E2-C22B-4CC8-9AB6-343CA3DF934D}" dt="2023-06-12T16:43:48.158" v="3726"/>
          <ac:picMkLst>
            <pc:docMk/>
            <pc:sldMk cId="165943631" sldId="11548"/>
            <ac:picMk id="263" creationId="{6DFEEEA2-7A57-A1F7-4D50-63A377FDA227}"/>
          </ac:picMkLst>
        </pc:picChg>
        <pc:picChg chg="add mod ord">
          <ac:chgData name="Joao Cabral de Assis" userId="2e28f1b2-599c-43fa-9c22-5b7536e3b37b" providerId="ADAL" clId="{903218E2-C22B-4CC8-9AB6-343CA3DF934D}" dt="2023-06-12T17:21:53.510" v="4445"/>
          <ac:picMkLst>
            <pc:docMk/>
            <pc:sldMk cId="165943631" sldId="11548"/>
            <ac:picMk id="274" creationId="{7F8E7704-5624-3884-4106-A3488D2CC4CC}"/>
          </ac:picMkLst>
        </pc:picChg>
        <pc:picChg chg="add del mod ord">
          <ac:chgData name="Joao Cabral de Assis" userId="2e28f1b2-599c-43fa-9c22-5b7536e3b37b" providerId="ADAL" clId="{903218E2-C22B-4CC8-9AB6-343CA3DF934D}" dt="2023-06-12T17:24:16.611" v="4511" actId="478"/>
          <ac:picMkLst>
            <pc:docMk/>
            <pc:sldMk cId="165943631" sldId="11548"/>
            <ac:picMk id="276" creationId="{0151B373-853C-B2BC-C221-8B645BC5DA2E}"/>
          </ac:picMkLst>
        </pc:picChg>
        <pc:picChg chg="add del mod ord">
          <ac:chgData name="Joao Cabral de Assis" userId="2e28f1b2-599c-43fa-9c22-5b7536e3b37b" providerId="ADAL" clId="{903218E2-C22B-4CC8-9AB6-343CA3DF934D}" dt="2023-06-12T17:24:18.539" v="4512" actId="478"/>
          <ac:picMkLst>
            <pc:docMk/>
            <pc:sldMk cId="165943631" sldId="11548"/>
            <ac:picMk id="278" creationId="{341B3CF6-FE94-0D76-7F3C-9F6A63B486C6}"/>
          </ac:picMkLst>
        </pc:picChg>
        <pc:picChg chg="add del mod">
          <ac:chgData name="Joao Cabral de Assis" userId="2e28f1b2-599c-43fa-9c22-5b7536e3b37b" providerId="ADAL" clId="{903218E2-C22B-4CC8-9AB6-343CA3DF934D}" dt="2023-06-12T17:24:20.723" v="4513" actId="478"/>
          <ac:picMkLst>
            <pc:docMk/>
            <pc:sldMk cId="165943631" sldId="11548"/>
            <ac:picMk id="279" creationId="{5C0FD546-32A6-055D-187D-5E1523466152}"/>
          </ac:picMkLst>
        </pc:picChg>
        <pc:picChg chg="mod">
          <ac:chgData name="Joao Cabral de Assis" userId="2e28f1b2-599c-43fa-9c22-5b7536e3b37b" providerId="ADAL" clId="{903218E2-C22B-4CC8-9AB6-343CA3DF934D}" dt="2023-06-12T16:56:12.330" v="4037" actId="1076"/>
          <ac:picMkLst>
            <pc:docMk/>
            <pc:sldMk cId="165943631" sldId="11548"/>
            <ac:picMk id="282" creationId="{0E22FBA9-9951-8692-32F3-1A423F343F29}"/>
          </ac:picMkLst>
        </pc:picChg>
        <pc:picChg chg="del mod">
          <ac:chgData name="Joao Cabral de Assis" userId="2e28f1b2-599c-43fa-9c22-5b7536e3b37b" providerId="ADAL" clId="{903218E2-C22B-4CC8-9AB6-343CA3DF934D}" dt="2023-06-12T16:43:58.515" v="3729" actId="478"/>
          <ac:picMkLst>
            <pc:docMk/>
            <pc:sldMk cId="165943631" sldId="11548"/>
            <ac:picMk id="289" creationId="{08DBB070-71E7-79A8-D321-FB75A4F4C883}"/>
          </ac:picMkLst>
        </pc:picChg>
        <pc:picChg chg="add mod ord modCrop">
          <ac:chgData name="Joao Cabral de Assis" userId="2e28f1b2-599c-43fa-9c22-5b7536e3b37b" providerId="ADAL" clId="{903218E2-C22B-4CC8-9AB6-343CA3DF934D}" dt="2023-06-12T17:27:49.068" v="4541" actId="1037"/>
          <ac:picMkLst>
            <pc:docMk/>
            <pc:sldMk cId="165943631" sldId="11548"/>
            <ac:picMk id="298" creationId="{CE13E84C-867A-64D3-7A88-765C6C47EA1D}"/>
          </ac:picMkLst>
        </pc:picChg>
        <pc:picChg chg="add mod ord modCrop">
          <ac:chgData name="Joao Cabral de Assis" userId="2e28f1b2-599c-43fa-9c22-5b7536e3b37b" providerId="ADAL" clId="{903218E2-C22B-4CC8-9AB6-343CA3DF934D}" dt="2023-06-12T17:27:24.918" v="4536" actId="1035"/>
          <ac:picMkLst>
            <pc:docMk/>
            <pc:sldMk cId="165943631" sldId="11548"/>
            <ac:picMk id="299" creationId="{A5A3CF8E-D016-C447-FFAD-F24FBB0FEB44}"/>
          </ac:picMkLst>
        </pc:picChg>
        <pc:picChg chg="add mod ord modCrop">
          <ac:chgData name="Joao Cabral de Assis" userId="2e28f1b2-599c-43fa-9c22-5b7536e3b37b" providerId="ADAL" clId="{903218E2-C22B-4CC8-9AB6-343CA3DF934D}" dt="2023-06-12T17:26:14.142" v="4525" actId="1076"/>
          <ac:picMkLst>
            <pc:docMk/>
            <pc:sldMk cId="165943631" sldId="11548"/>
            <ac:picMk id="302" creationId="{86D16194-B2B7-CDC0-293D-F810FB61AF18}"/>
          </ac:picMkLst>
        </pc:picChg>
        <pc:picChg chg="add mod ord">
          <ac:chgData name="Joao Cabral de Assis" userId="2e28f1b2-599c-43fa-9c22-5b7536e3b37b" providerId="ADAL" clId="{903218E2-C22B-4CC8-9AB6-343CA3DF934D}" dt="2023-06-12T17:25:56.762" v="4522" actId="1076"/>
          <ac:picMkLst>
            <pc:docMk/>
            <pc:sldMk cId="165943631" sldId="11548"/>
            <ac:picMk id="304" creationId="{D717D1FC-FA4A-D527-CA6F-74E2EC213B67}"/>
          </ac:picMkLst>
        </pc:picChg>
        <pc:picChg chg="add">
          <ac:chgData name="Joao Cabral de Assis" userId="2e28f1b2-599c-43fa-9c22-5b7536e3b37b" providerId="ADAL" clId="{903218E2-C22B-4CC8-9AB6-343CA3DF934D}" dt="2023-06-12T17:28:32.770" v="4545"/>
          <ac:picMkLst>
            <pc:docMk/>
            <pc:sldMk cId="165943631" sldId="11548"/>
            <ac:picMk id="317" creationId="{3F17F7D3-0234-90BA-E95C-1964196D3ECA}"/>
          </ac:picMkLst>
        </pc:picChg>
        <pc:cxnChg chg="add del mod">
          <ac:chgData name="Joao Cabral de Assis" userId="2e28f1b2-599c-43fa-9c22-5b7536e3b37b" providerId="ADAL" clId="{903218E2-C22B-4CC8-9AB6-343CA3DF934D}" dt="2023-06-12T17:28:06.157" v="4543" actId="478"/>
          <ac:cxnSpMkLst>
            <pc:docMk/>
            <pc:sldMk cId="165943631" sldId="11548"/>
            <ac:cxnSpMk id="315" creationId="{A184513C-88E1-AFDA-7C90-AE94AF5BE4E2}"/>
          </ac:cxnSpMkLst>
        </pc:cxnChg>
      </pc:sldChg>
      <pc:sldChg chg="delSp modSp add mod modNotes">
        <pc:chgData name="Joao Cabral de Assis" userId="2e28f1b2-599c-43fa-9c22-5b7536e3b37b" providerId="ADAL" clId="{903218E2-C22B-4CC8-9AB6-343CA3DF934D}" dt="2023-06-19T01:36:45.663" v="11324" actId="790"/>
        <pc:sldMkLst>
          <pc:docMk/>
          <pc:sldMk cId="4279412441" sldId="11549"/>
        </pc:sldMkLst>
        <pc:spChg chg="mod">
          <ac:chgData name="Joao Cabral de Assis" userId="2e28f1b2-599c-43fa-9c22-5b7536e3b37b" providerId="ADAL" clId="{903218E2-C22B-4CC8-9AB6-343CA3DF934D}" dt="2023-06-19T01:36:45.639" v="11313" actId="790"/>
          <ac:spMkLst>
            <pc:docMk/>
            <pc:sldMk cId="4279412441" sldId="11549"/>
            <ac:spMk id="2" creationId="{F0874468-05BE-48FC-910B-4C4BC7D0C101}"/>
          </ac:spMkLst>
        </pc:spChg>
        <pc:spChg chg="mod">
          <ac:chgData name="Joao Cabral de Assis" userId="2e28f1b2-599c-43fa-9c22-5b7536e3b37b" providerId="ADAL" clId="{903218E2-C22B-4CC8-9AB6-343CA3DF934D}" dt="2023-06-19T01:36:45.643" v="11314" actId="790"/>
          <ac:spMkLst>
            <pc:docMk/>
            <pc:sldMk cId="4279412441" sldId="11549"/>
            <ac:spMk id="3" creationId="{DADBC550-C32C-44CF-98CF-86E220087C06}"/>
          </ac:spMkLst>
        </pc:spChg>
        <pc:spChg chg="mod">
          <ac:chgData name="Joao Cabral de Assis" userId="2e28f1b2-599c-43fa-9c22-5b7536e3b37b" providerId="ADAL" clId="{903218E2-C22B-4CC8-9AB6-343CA3DF934D}" dt="2023-06-19T01:36:45.656" v="11321" actId="790"/>
          <ac:spMkLst>
            <pc:docMk/>
            <pc:sldMk cId="4279412441" sldId="11549"/>
            <ac:spMk id="8" creationId="{5A6AA7CF-E012-DF8A-44A5-72E26F21C5FE}"/>
          </ac:spMkLst>
        </pc:spChg>
        <pc:spChg chg="mod">
          <ac:chgData name="Joao Cabral de Assis" userId="2e28f1b2-599c-43fa-9c22-5b7536e3b37b" providerId="ADAL" clId="{903218E2-C22B-4CC8-9AB6-343CA3DF934D}" dt="2023-06-19T01:36:45.659" v="11322" actId="790"/>
          <ac:spMkLst>
            <pc:docMk/>
            <pc:sldMk cId="4279412441" sldId="11549"/>
            <ac:spMk id="9" creationId="{5BCFAAEF-B7AE-EC64-2E0B-76BE90E9E25F}"/>
          </ac:spMkLst>
        </pc:spChg>
        <pc:spChg chg="mod">
          <ac:chgData name="Joao Cabral de Assis" userId="2e28f1b2-599c-43fa-9c22-5b7536e3b37b" providerId="ADAL" clId="{903218E2-C22B-4CC8-9AB6-343CA3DF934D}" dt="2023-06-19T01:36:45.644" v="11315"/>
          <ac:spMkLst>
            <pc:docMk/>
            <pc:sldMk cId="4279412441" sldId="11549"/>
            <ac:spMk id="30" creationId="{D23C72FB-F9CD-4149-ABB9-0304AAB1E673}"/>
          </ac:spMkLst>
        </pc:spChg>
        <pc:spChg chg="mod">
          <ac:chgData name="Joao Cabral de Assis" userId="2e28f1b2-599c-43fa-9c22-5b7536e3b37b" providerId="ADAL" clId="{903218E2-C22B-4CC8-9AB6-343CA3DF934D}" dt="2023-06-19T01:36:45.646" v="11316"/>
          <ac:spMkLst>
            <pc:docMk/>
            <pc:sldMk cId="4279412441" sldId="11549"/>
            <ac:spMk id="256" creationId="{107A7E7D-B768-4746-B6E9-1F5C3DC1FA79}"/>
          </ac:spMkLst>
        </pc:spChg>
        <pc:spChg chg="mod">
          <ac:chgData name="Joao Cabral de Assis" userId="2e28f1b2-599c-43fa-9c22-5b7536e3b37b" providerId="ADAL" clId="{903218E2-C22B-4CC8-9AB6-343CA3DF934D}" dt="2023-06-19T01:36:45.649" v="11317"/>
          <ac:spMkLst>
            <pc:docMk/>
            <pc:sldMk cId="4279412441" sldId="11549"/>
            <ac:spMk id="258" creationId="{84B59A0C-AD98-4AA0-807B-473F044F0C54}"/>
          </ac:spMkLst>
        </pc:spChg>
        <pc:spChg chg="mod">
          <ac:chgData name="Joao Cabral de Assis" userId="2e28f1b2-599c-43fa-9c22-5b7536e3b37b" providerId="ADAL" clId="{903218E2-C22B-4CC8-9AB6-343CA3DF934D}" dt="2023-06-19T01:36:45.651" v="11318"/>
          <ac:spMkLst>
            <pc:docMk/>
            <pc:sldMk cId="4279412441" sldId="11549"/>
            <ac:spMk id="260" creationId="{973E6AA6-2EF5-4A6F-A12A-14036F7A3E5A}"/>
          </ac:spMkLst>
        </pc:spChg>
        <pc:spChg chg="mod">
          <ac:chgData name="Joao Cabral de Assis" userId="2e28f1b2-599c-43fa-9c22-5b7536e3b37b" providerId="ADAL" clId="{903218E2-C22B-4CC8-9AB6-343CA3DF934D}" dt="2023-06-19T01:36:45.652" v="11319"/>
          <ac:spMkLst>
            <pc:docMk/>
            <pc:sldMk cId="4279412441" sldId="11549"/>
            <ac:spMk id="261" creationId="{4568B675-04E3-48FF-9F9C-B93D19A0A9FF}"/>
          </ac:spMkLst>
        </pc:spChg>
        <pc:spChg chg="mod">
          <ac:chgData name="Joao Cabral de Assis" userId="2e28f1b2-599c-43fa-9c22-5b7536e3b37b" providerId="ADAL" clId="{903218E2-C22B-4CC8-9AB6-343CA3DF934D}" dt="2023-06-19T01:36:45.654" v="11320"/>
          <ac:spMkLst>
            <pc:docMk/>
            <pc:sldMk cId="4279412441" sldId="11549"/>
            <ac:spMk id="262" creationId="{D44FF6F9-B22E-4AB5-937F-727097B58E40}"/>
          </ac:spMkLst>
        </pc:spChg>
        <pc:spChg chg="del">
          <ac:chgData name="Joao Cabral de Assis" userId="2e28f1b2-599c-43fa-9c22-5b7536e3b37b" providerId="ADAL" clId="{903218E2-C22B-4CC8-9AB6-343CA3DF934D}" dt="2023-06-12T17:28:53.600" v="4548" actId="478"/>
          <ac:spMkLst>
            <pc:docMk/>
            <pc:sldMk cId="4279412441" sldId="11549"/>
            <ac:spMk id="271" creationId="{DA33D638-0F7D-D4C7-0018-B8435C55AA3D}"/>
          </ac:spMkLst>
        </pc:spChg>
        <pc:spChg chg="del">
          <ac:chgData name="Joao Cabral de Assis" userId="2e28f1b2-599c-43fa-9c22-5b7536e3b37b" providerId="ADAL" clId="{903218E2-C22B-4CC8-9AB6-343CA3DF934D}" dt="2023-06-12T17:28:53.600" v="4548" actId="478"/>
          <ac:spMkLst>
            <pc:docMk/>
            <pc:sldMk cId="4279412441" sldId="11549"/>
            <ac:spMk id="272" creationId="{D76D0C95-0B2C-DA6E-715C-62AB5E5474C3}"/>
          </ac:spMkLst>
        </pc:spChg>
        <pc:spChg chg="del">
          <ac:chgData name="Joao Cabral de Assis" userId="2e28f1b2-599c-43fa-9c22-5b7536e3b37b" providerId="ADAL" clId="{903218E2-C22B-4CC8-9AB6-343CA3DF934D}" dt="2023-06-12T17:28:53.600" v="4548" actId="478"/>
          <ac:spMkLst>
            <pc:docMk/>
            <pc:sldMk cId="4279412441" sldId="11549"/>
            <ac:spMk id="277" creationId="{54A0DCCE-70F7-E1A3-6733-FCF50D7B6CBF}"/>
          </ac:spMkLst>
        </pc:spChg>
        <pc:spChg chg="del">
          <ac:chgData name="Joao Cabral de Assis" userId="2e28f1b2-599c-43fa-9c22-5b7536e3b37b" providerId="ADAL" clId="{903218E2-C22B-4CC8-9AB6-343CA3DF934D}" dt="2023-06-12T17:28:53.600" v="4548" actId="478"/>
          <ac:spMkLst>
            <pc:docMk/>
            <pc:sldMk cId="4279412441" sldId="11549"/>
            <ac:spMk id="300" creationId="{81E5C004-B1E0-8EA1-10FC-522443BB83B8}"/>
          </ac:spMkLst>
        </pc:spChg>
        <pc:spChg chg="del">
          <ac:chgData name="Joao Cabral de Assis" userId="2e28f1b2-599c-43fa-9c22-5b7536e3b37b" providerId="ADAL" clId="{903218E2-C22B-4CC8-9AB6-343CA3DF934D}" dt="2023-06-12T17:28:53.600" v="4548" actId="478"/>
          <ac:spMkLst>
            <pc:docMk/>
            <pc:sldMk cId="4279412441" sldId="11549"/>
            <ac:spMk id="301" creationId="{06463E68-787A-A211-8826-B4DB27910AB6}"/>
          </ac:spMkLst>
        </pc:spChg>
        <pc:spChg chg="del">
          <ac:chgData name="Joao Cabral de Assis" userId="2e28f1b2-599c-43fa-9c22-5b7536e3b37b" providerId="ADAL" clId="{903218E2-C22B-4CC8-9AB6-343CA3DF934D}" dt="2023-06-12T17:28:53.600" v="4548" actId="478"/>
          <ac:spMkLst>
            <pc:docMk/>
            <pc:sldMk cId="4279412441" sldId="11549"/>
            <ac:spMk id="305" creationId="{88F4C7F9-AA94-90AB-6DC3-F6051EC8D8A2}"/>
          </ac:spMkLst>
        </pc:spChg>
        <pc:spChg chg="del">
          <ac:chgData name="Joao Cabral de Assis" userId="2e28f1b2-599c-43fa-9c22-5b7536e3b37b" providerId="ADAL" clId="{903218E2-C22B-4CC8-9AB6-343CA3DF934D}" dt="2023-06-12T17:28:53.600" v="4548" actId="478"/>
          <ac:spMkLst>
            <pc:docMk/>
            <pc:sldMk cId="4279412441" sldId="11549"/>
            <ac:spMk id="306" creationId="{5BB397F3-D316-FFF2-4061-7FA7CF377BE7}"/>
          </ac:spMkLst>
        </pc:spChg>
        <pc:spChg chg="del">
          <ac:chgData name="Joao Cabral de Assis" userId="2e28f1b2-599c-43fa-9c22-5b7536e3b37b" providerId="ADAL" clId="{903218E2-C22B-4CC8-9AB6-343CA3DF934D}" dt="2023-06-12T17:28:53.600" v="4548" actId="478"/>
          <ac:spMkLst>
            <pc:docMk/>
            <pc:sldMk cId="4279412441" sldId="11549"/>
            <ac:spMk id="307" creationId="{A2D9C0CF-F1A7-3DCE-EA49-6BB90CA7D6F1}"/>
          </ac:spMkLst>
        </pc:spChg>
        <pc:spChg chg="del">
          <ac:chgData name="Joao Cabral de Assis" userId="2e28f1b2-599c-43fa-9c22-5b7536e3b37b" providerId="ADAL" clId="{903218E2-C22B-4CC8-9AB6-343CA3DF934D}" dt="2023-06-12T17:28:53.600" v="4548" actId="478"/>
          <ac:spMkLst>
            <pc:docMk/>
            <pc:sldMk cId="4279412441" sldId="11549"/>
            <ac:spMk id="308" creationId="{67202B4F-2057-69A3-99D6-EBFFD7847750}"/>
          </ac:spMkLst>
        </pc:spChg>
        <pc:spChg chg="del">
          <ac:chgData name="Joao Cabral de Assis" userId="2e28f1b2-599c-43fa-9c22-5b7536e3b37b" providerId="ADAL" clId="{903218E2-C22B-4CC8-9AB6-343CA3DF934D}" dt="2023-06-12T17:28:53.600" v="4548" actId="478"/>
          <ac:spMkLst>
            <pc:docMk/>
            <pc:sldMk cId="4279412441" sldId="11549"/>
            <ac:spMk id="313" creationId="{AB4226FB-0F28-FDA3-4E0D-0D55AD3B6613}"/>
          </ac:spMkLst>
        </pc:spChg>
        <pc:picChg chg="del">
          <ac:chgData name="Joao Cabral de Assis" userId="2e28f1b2-599c-43fa-9c22-5b7536e3b37b" providerId="ADAL" clId="{903218E2-C22B-4CC8-9AB6-343CA3DF934D}" dt="2023-06-12T17:28:53.600" v="4548" actId="478"/>
          <ac:picMkLst>
            <pc:docMk/>
            <pc:sldMk cId="4279412441" sldId="11549"/>
            <ac:picMk id="11" creationId="{C8BA64C7-A9B1-992D-4779-55B82C066F1A}"/>
          </ac:picMkLst>
        </pc:picChg>
        <pc:picChg chg="del">
          <ac:chgData name="Joao Cabral de Assis" userId="2e28f1b2-599c-43fa-9c22-5b7536e3b37b" providerId="ADAL" clId="{903218E2-C22B-4CC8-9AB6-343CA3DF934D}" dt="2023-06-12T17:28:53.600" v="4548" actId="478"/>
          <ac:picMkLst>
            <pc:docMk/>
            <pc:sldMk cId="4279412441" sldId="11549"/>
            <ac:picMk id="12" creationId="{04632DE0-FF7B-E96C-F572-56C7A280E710}"/>
          </ac:picMkLst>
        </pc:picChg>
        <pc:picChg chg="del">
          <ac:chgData name="Joao Cabral de Assis" userId="2e28f1b2-599c-43fa-9c22-5b7536e3b37b" providerId="ADAL" clId="{903218E2-C22B-4CC8-9AB6-343CA3DF934D}" dt="2023-06-12T17:28:53.600" v="4548" actId="478"/>
          <ac:picMkLst>
            <pc:docMk/>
            <pc:sldMk cId="4279412441" sldId="11549"/>
            <ac:picMk id="274" creationId="{7F8E7704-5624-3884-4106-A3488D2CC4CC}"/>
          </ac:picMkLst>
        </pc:picChg>
        <pc:picChg chg="del">
          <ac:chgData name="Joao Cabral de Assis" userId="2e28f1b2-599c-43fa-9c22-5b7536e3b37b" providerId="ADAL" clId="{903218E2-C22B-4CC8-9AB6-343CA3DF934D}" dt="2023-06-12T17:28:53.600" v="4548" actId="478"/>
          <ac:picMkLst>
            <pc:docMk/>
            <pc:sldMk cId="4279412441" sldId="11549"/>
            <ac:picMk id="298" creationId="{CE13E84C-867A-64D3-7A88-765C6C47EA1D}"/>
          </ac:picMkLst>
        </pc:picChg>
        <pc:picChg chg="del">
          <ac:chgData name="Joao Cabral de Assis" userId="2e28f1b2-599c-43fa-9c22-5b7536e3b37b" providerId="ADAL" clId="{903218E2-C22B-4CC8-9AB6-343CA3DF934D}" dt="2023-06-12T17:28:53.600" v="4548" actId="478"/>
          <ac:picMkLst>
            <pc:docMk/>
            <pc:sldMk cId="4279412441" sldId="11549"/>
            <ac:picMk id="299" creationId="{A5A3CF8E-D016-C447-FFAD-F24FBB0FEB44}"/>
          </ac:picMkLst>
        </pc:picChg>
        <pc:picChg chg="del">
          <ac:chgData name="Joao Cabral de Assis" userId="2e28f1b2-599c-43fa-9c22-5b7536e3b37b" providerId="ADAL" clId="{903218E2-C22B-4CC8-9AB6-343CA3DF934D}" dt="2023-06-12T17:28:53.600" v="4548" actId="478"/>
          <ac:picMkLst>
            <pc:docMk/>
            <pc:sldMk cId="4279412441" sldId="11549"/>
            <ac:picMk id="302" creationId="{86D16194-B2B7-CDC0-293D-F810FB61AF18}"/>
          </ac:picMkLst>
        </pc:picChg>
        <pc:picChg chg="del">
          <ac:chgData name="Joao Cabral de Assis" userId="2e28f1b2-599c-43fa-9c22-5b7536e3b37b" providerId="ADAL" clId="{903218E2-C22B-4CC8-9AB6-343CA3DF934D}" dt="2023-06-12T17:28:53.600" v="4548" actId="478"/>
          <ac:picMkLst>
            <pc:docMk/>
            <pc:sldMk cId="4279412441" sldId="11549"/>
            <ac:picMk id="304" creationId="{D717D1FC-FA4A-D527-CA6F-74E2EC213B67}"/>
          </ac:picMkLst>
        </pc:picChg>
        <pc:picChg chg="mod">
          <ac:chgData name="Joao Cabral de Assis" userId="2e28f1b2-599c-43fa-9c22-5b7536e3b37b" providerId="ADAL" clId="{903218E2-C22B-4CC8-9AB6-343CA3DF934D}" dt="2023-06-12T17:33:38.644" v="4644" actId="1076"/>
          <ac:picMkLst>
            <pc:docMk/>
            <pc:sldMk cId="4279412441" sldId="11549"/>
            <ac:picMk id="317" creationId="{3F17F7D3-0234-90BA-E95C-1964196D3ECA}"/>
          </ac:picMkLst>
        </pc:picChg>
      </pc:sldChg>
      <pc:sldChg chg="modSp add del mod">
        <pc:chgData name="Joao Cabral de Assis" userId="2e28f1b2-599c-43fa-9c22-5b7536e3b37b" providerId="ADAL" clId="{903218E2-C22B-4CC8-9AB6-343CA3DF934D}" dt="2023-06-19T00:22:51.328" v="8395" actId="47"/>
        <pc:sldMkLst>
          <pc:docMk/>
          <pc:sldMk cId="4005985481" sldId="11550"/>
        </pc:sldMkLst>
        <pc:graphicFrameChg chg="mod">
          <ac:chgData name="Joao Cabral de Assis" userId="2e28f1b2-599c-43fa-9c22-5b7536e3b37b" providerId="ADAL" clId="{903218E2-C22B-4CC8-9AB6-343CA3DF934D}" dt="2023-06-18T23:59:05.586" v="8385" actId="1038"/>
          <ac:graphicFrameMkLst>
            <pc:docMk/>
            <pc:sldMk cId="4005985481" sldId="11550"/>
            <ac:graphicFrameMk id="5" creationId="{FA09122B-4564-430C-A247-4B2576229BA0}"/>
          </ac:graphicFrameMkLst>
        </pc:graphicFrameChg>
      </pc:sldChg>
      <pc:sldChg chg="modSp add mod delCm modNotes">
        <pc:chgData name="Joao Cabral de Assis" userId="2e28f1b2-599c-43fa-9c22-5b7536e3b37b" providerId="ADAL" clId="{903218E2-C22B-4CC8-9AB6-343CA3DF934D}" dt="2023-06-19T01:42:19.040" v="12348" actId="1076"/>
        <pc:sldMkLst>
          <pc:docMk/>
          <pc:sldMk cId="129504810" sldId="11551"/>
        </pc:sldMkLst>
        <pc:spChg chg="mod">
          <ac:chgData name="Joao Cabral de Assis" userId="2e28f1b2-599c-43fa-9c22-5b7536e3b37b" providerId="ADAL" clId="{903218E2-C22B-4CC8-9AB6-343CA3DF934D}" dt="2023-06-19T01:36:49.345" v="11834" actId="790"/>
          <ac:spMkLst>
            <pc:docMk/>
            <pc:sldMk cId="129504810" sldId="11551"/>
            <ac:spMk id="2" creationId="{621EE3CB-88A6-9846-0273-B29487B6AAC0}"/>
          </ac:spMkLst>
        </pc:spChg>
        <pc:spChg chg="mod">
          <ac:chgData name="Joao Cabral de Assis" userId="2e28f1b2-599c-43fa-9c22-5b7536e3b37b" providerId="ADAL" clId="{903218E2-C22B-4CC8-9AB6-343CA3DF934D}" dt="2023-06-19T01:36:49.350" v="11836" actId="790"/>
          <ac:spMkLst>
            <pc:docMk/>
            <pc:sldMk cId="129504810" sldId="11551"/>
            <ac:spMk id="4" creationId="{02B46B7E-F0D8-B93D-ABC1-E18A4C1A13DC}"/>
          </ac:spMkLst>
        </pc:spChg>
        <pc:spChg chg="mod">
          <ac:chgData name="Joao Cabral de Assis" userId="2e28f1b2-599c-43fa-9c22-5b7536e3b37b" providerId="ADAL" clId="{903218E2-C22B-4CC8-9AB6-343CA3DF934D}" dt="2023-06-19T01:36:49.348" v="11835" actId="790"/>
          <ac:spMkLst>
            <pc:docMk/>
            <pc:sldMk cId="129504810" sldId="11551"/>
            <ac:spMk id="6" creationId="{B66EA8C9-77CE-B963-7AC6-F60B658910B8}"/>
          </ac:spMkLst>
        </pc:spChg>
        <pc:spChg chg="mod">
          <ac:chgData name="Joao Cabral de Assis" userId="2e28f1b2-599c-43fa-9c22-5b7536e3b37b" providerId="ADAL" clId="{903218E2-C22B-4CC8-9AB6-343CA3DF934D}" dt="2023-06-19T01:36:49.358" v="11838" actId="790"/>
          <ac:spMkLst>
            <pc:docMk/>
            <pc:sldMk cId="129504810" sldId="11551"/>
            <ac:spMk id="13" creationId="{806A4221-0BAF-4F22-EB81-E13E289084E7}"/>
          </ac:spMkLst>
        </pc:spChg>
        <pc:spChg chg="mod">
          <ac:chgData name="Joao Cabral de Assis" userId="2e28f1b2-599c-43fa-9c22-5b7536e3b37b" providerId="ADAL" clId="{903218E2-C22B-4CC8-9AB6-343CA3DF934D}" dt="2023-06-19T01:42:19.040" v="12348" actId="1076"/>
          <ac:spMkLst>
            <pc:docMk/>
            <pc:sldMk cId="129504810" sldId="11551"/>
            <ac:spMk id="15" creationId="{B96FDC7E-1F71-9747-58CE-F7845CFBE252}"/>
          </ac:spMkLst>
        </pc:spChg>
      </pc:sldChg>
      <pc:sldChg chg="addSp delSp modSp add mod delCm modNotes">
        <pc:chgData name="Joao Cabral de Assis" userId="2e28f1b2-599c-43fa-9c22-5b7536e3b37b" providerId="ADAL" clId="{903218E2-C22B-4CC8-9AB6-343CA3DF934D}" dt="2023-06-19T01:41:21.385" v="12345" actId="1076"/>
        <pc:sldMkLst>
          <pc:docMk/>
          <pc:sldMk cId="4271509132" sldId="11552"/>
        </pc:sldMkLst>
        <pc:spChg chg="mod">
          <ac:chgData name="Joao Cabral de Assis" userId="2e28f1b2-599c-43fa-9c22-5b7536e3b37b" providerId="ADAL" clId="{903218E2-C22B-4CC8-9AB6-343CA3DF934D}" dt="2023-06-19T01:36:49.364" v="11841" actId="790"/>
          <ac:spMkLst>
            <pc:docMk/>
            <pc:sldMk cId="4271509132" sldId="11552"/>
            <ac:spMk id="2" creationId="{621EE3CB-88A6-9846-0273-B29487B6AAC0}"/>
          </ac:spMkLst>
        </pc:spChg>
        <pc:spChg chg="add del mod modVis">
          <ac:chgData name="Joao Cabral de Assis" userId="2e28f1b2-599c-43fa-9c22-5b7536e3b37b" providerId="ADAL" clId="{903218E2-C22B-4CC8-9AB6-343CA3DF934D}" dt="2023-06-19T01:18:00.478" v="10771"/>
          <ac:spMkLst>
            <pc:docMk/>
            <pc:sldMk cId="4271509132" sldId="11552"/>
            <ac:spMk id="3" creationId="{89B7B16E-5911-CBD8-E4A1-9816072D177C}"/>
          </ac:spMkLst>
        </pc:spChg>
        <pc:spChg chg="mod">
          <ac:chgData name="Joao Cabral de Assis" userId="2e28f1b2-599c-43fa-9c22-5b7536e3b37b" providerId="ADAL" clId="{903218E2-C22B-4CC8-9AB6-343CA3DF934D}" dt="2023-06-19T01:36:49.367" v="11843" actId="790"/>
          <ac:spMkLst>
            <pc:docMk/>
            <pc:sldMk cId="4271509132" sldId="11552"/>
            <ac:spMk id="4" creationId="{02B46B7E-F0D8-B93D-ABC1-E18A4C1A13DC}"/>
          </ac:spMkLst>
        </pc:spChg>
        <pc:spChg chg="mod">
          <ac:chgData name="Joao Cabral de Assis" userId="2e28f1b2-599c-43fa-9c22-5b7536e3b37b" providerId="ADAL" clId="{903218E2-C22B-4CC8-9AB6-343CA3DF934D}" dt="2023-06-19T01:36:49.366" v="11842" actId="790"/>
          <ac:spMkLst>
            <pc:docMk/>
            <pc:sldMk cId="4271509132" sldId="11552"/>
            <ac:spMk id="6" creationId="{B66EA8C9-77CE-B963-7AC6-F60B658910B8}"/>
          </ac:spMkLst>
        </pc:spChg>
        <pc:spChg chg="mod">
          <ac:chgData name="Joao Cabral de Assis" userId="2e28f1b2-599c-43fa-9c22-5b7536e3b37b" providerId="ADAL" clId="{903218E2-C22B-4CC8-9AB6-343CA3DF934D}" dt="2023-06-19T01:36:49.373" v="11845" actId="790"/>
          <ac:spMkLst>
            <pc:docMk/>
            <pc:sldMk cId="4271509132" sldId="11552"/>
            <ac:spMk id="11" creationId="{00E7F5B4-C953-0952-0BFC-F8312CE458EB}"/>
          </ac:spMkLst>
        </pc:spChg>
        <pc:spChg chg="mod">
          <ac:chgData name="Joao Cabral de Assis" userId="2e28f1b2-599c-43fa-9c22-5b7536e3b37b" providerId="ADAL" clId="{903218E2-C22B-4CC8-9AB6-343CA3DF934D}" dt="2023-06-19T01:41:21.385" v="12345" actId="1076"/>
          <ac:spMkLst>
            <pc:docMk/>
            <pc:sldMk cId="4271509132" sldId="11552"/>
            <ac:spMk id="15" creationId="{B96FDC7E-1F71-9747-58CE-F7845CFBE252}"/>
          </ac:spMkLst>
        </pc:spChg>
        <pc:graphicFrameChg chg="mod">
          <ac:chgData name="Joao Cabral de Assis" userId="2e28f1b2-599c-43fa-9c22-5b7536e3b37b" providerId="ADAL" clId="{903218E2-C22B-4CC8-9AB6-343CA3DF934D}" dt="2023-06-19T01:18:00.482" v="10773"/>
          <ac:graphicFrameMkLst>
            <pc:docMk/>
            <pc:sldMk cId="4271509132" sldId="11552"/>
            <ac:graphicFrameMk id="9" creationId="{29DE6DF5-3000-8541-5649-4B59703621E9}"/>
          </ac:graphicFrameMkLst>
        </pc:graphicFrameChg>
      </pc:sldChg>
      <pc:sldMasterChg chg="modSldLayout">
        <pc:chgData name="Joao Cabral de Assis" userId="2e28f1b2-599c-43fa-9c22-5b7536e3b37b" providerId="ADAL" clId="{903218E2-C22B-4CC8-9AB6-343CA3DF934D}" dt="2023-06-19T01:36:51.690" v="12309" actId="790"/>
        <pc:sldMasterMkLst>
          <pc:docMk/>
          <pc:sldMasterMk cId="1939416038" sldId="2147483733"/>
        </pc:sldMasterMkLst>
        <pc:sldLayoutChg chg="modSp mod">
          <pc:chgData name="Joao Cabral de Assis" userId="2e28f1b2-599c-43fa-9c22-5b7536e3b37b" providerId="ADAL" clId="{903218E2-C22B-4CC8-9AB6-343CA3DF934D}" dt="2023-06-19T01:36:51.690" v="12309" actId="790"/>
          <pc:sldLayoutMkLst>
            <pc:docMk/>
            <pc:sldMasterMk cId="1939416038" sldId="2147483733"/>
            <pc:sldLayoutMk cId="3397279603" sldId="2147483734"/>
          </pc:sldLayoutMkLst>
          <pc:spChg chg="mod">
            <ac:chgData name="Joao Cabral de Assis" userId="2e28f1b2-599c-43fa-9c22-5b7536e3b37b" providerId="ADAL" clId="{903218E2-C22B-4CC8-9AB6-343CA3DF934D}" dt="2023-06-19T01:36:51.684" v="12307" actId="790"/>
            <ac:spMkLst>
              <pc:docMk/>
              <pc:sldMasterMk cId="1939416038" sldId="2147483733"/>
              <pc:sldLayoutMk cId="3397279603" sldId="2147483734"/>
              <ac:spMk id="2" creationId="{B3968A1E-5774-4FBF-B33D-33246827FA2C}"/>
            </ac:spMkLst>
          </pc:spChg>
          <pc:spChg chg="mod">
            <ac:chgData name="Joao Cabral de Assis" userId="2e28f1b2-599c-43fa-9c22-5b7536e3b37b" providerId="ADAL" clId="{903218E2-C22B-4CC8-9AB6-343CA3DF934D}" dt="2023-06-19T01:36:51.687" v="12308" actId="790"/>
            <ac:spMkLst>
              <pc:docMk/>
              <pc:sldMasterMk cId="1939416038" sldId="2147483733"/>
              <pc:sldLayoutMk cId="3397279603" sldId="2147483734"/>
              <ac:spMk id="3" creationId="{9B814E2C-65A8-4B4C-A488-296B14440993}"/>
            </ac:spMkLst>
          </pc:spChg>
          <pc:spChg chg="mod">
            <ac:chgData name="Joao Cabral de Assis" userId="2e28f1b2-599c-43fa-9c22-5b7536e3b37b" providerId="ADAL" clId="{903218E2-C22B-4CC8-9AB6-343CA3DF934D}" dt="2023-06-19T01:36:51.690" v="12309" actId="790"/>
            <ac:spMkLst>
              <pc:docMk/>
              <pc:sldMasterMk cId="1939416038" sldId="2147483733"/>
              <pc:sldLayoutMk cId="3397279603" sldId="2147483734"/>
              <ac:spMk id="4" creationId="{5E58CEEC-917F-4652-8701-CCABB57CFC37}"/>
            </ac:spMkLst>
          </pc:sp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oleObject" Target="file:///\\basfad.basf.net\global\GLOBAL\0050-BASF\LUDWIGSHAFEN\Nutrition_and_Health\PTS\Lulab\08%20Presentations\E%20Illustrations\Kollicoat%20Smartseal\Tg%20Smartseal%20and%20Plasticiser%20(2).xls"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https://basf-my.sharepoint.com/personal/punnoos_basfad_basf_net/Documents/Desktop/Santhosh/Vardenafil%20ODT/Solidlab%20Batches/Dissolution/Batch%20#02-25% &amp; 30% Dissolution of pellets - Uncured- Solidlab (3units) .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https://basf-my.sharepoint.com/personal/punnoos_basfad_basf_net/Documents/Desktop/Santhosh/Vardenafil%20ODT/Solidlab%20Batches/Dissolution/Kollicoat%20with%20BHT/From%2030%25%20Dissolution%20of%20pellets%20Uncured%20and%202%20Hr%20Cured-%20Solidlab%20(3units)"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https://basf-my.sharepoint.com/personal/punnoos_basfad_basf_net/Documents/Desktop/Santhosh/Vardenafil%20ODT/Solidlab%20Batches/Dissolution/Kollicoat%20with%20BHT/Batch%20#03- 30% Dissolution of pellets - 1Hr and 2 Hr Cured- Solidlab%" TargetMode="Externa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https://basf-my.sharepoint.com/personal/punnoos_basfad_basf_net/Documents/Desktop/Santhosh/Vardenafil%20ODT/Solidlab%20Batches/Dissolution/0.1N%20HCl/Batch%20#02-25% &amp; 30% Dissolution of pellets in 0.1N HCl - Cured- Solidlab (3un" TargetMode="Externa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5.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3.xml"/><Relationship Id="rId1" Type="http://schemas.microsoft.com/office/2011/relationships/chartStyle" Target="style13.xml"/><Relationship Id="rId5" Type="http://schemas.openxmlformats.org/officeDocument/2006/relationships/chartUserShapes" Target="../drawings/drawing2.xml"/><Relationship Id="rId4" Type="http://schemas.openxmlformats.org/officeDocument/2006/relationships/package" Target="../embeddings/Microsoft_Excel_Worksheet6.xlsx"/></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7.xlsx"/></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5.xml"/><Relationship Id="rId1" Type="http://schemas.microsoft.com/office/2011/relationships/chartStyle" Target="style15.xml"/><Relationship Id="rId5" Type="http://schemas.openxmlformats.org/officeDocument/2006/relationships/chartUserShapes" Target="../drawings/drawing3.xml"/><Relationship Id="rId4" Type="http://schemas.openxmlformats.org/officeDocument/2006/relationships/oleObject" Target="https://basf-my.sharepoint.com/personal/punnoos_basfad_basf_net/Documents/Desktop/Santhosh/Vardenafil%20ODT/PPTs/1.%206.8%20Buffer.xlsx" TargetMode="Externa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8.xlsx"/></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9.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18.xml"/><Relationship Id="rId1" Type="http://schemas.microsoft.com/office/2011/relationships/chartStyle" Target="style18.xml"/><Relationship Id="rId5" Type="http://schemas.openxmlformats.org/officeDocument/2006/relationships/chartUserShapes" Target="../drawings/drawing4.xml"/><Relationship Id="rId4" Type="http://schemas.openxmlformats.org/officeDocument/2006/relationships/oleObject" Target="https://basf-my.sharepoint.com/personal/punnoos_basfad_basf_net/Documents/Microsoft%20Teams%20Chat%20Files/Vardenafil%20ODT%201.xlsx" TargetMode="Externa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17.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9.xml"/><Relationship Id="rId1" Type="http://schemas.microsoft.com/office/2011/relationships/chartStyle" Target="style19.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18.xml"/></Relationships>
</file>

<file path=ppt/charts/_rels/chart24.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oleObject" Target="file:///\\NWLU5-DE-GR37.BASF.NET\GR37\078\GROUPS\Pharmalab\03%20Publications\Posters\06%20Poster%20Figures\2013%2062\Zeta%20Potential.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NWLU5-DE-GR37.BASF.NET\GR37\078\GROUPS\Pharmalab\03%20Presentations\A%20internal%20presentations\Presentations%20-%20Data\BASF_107_E%20(TC)\Elongation%20at%20break.xls" TargetMode="External"/></Relationships>
</file>

<file path=ppt/charts/_rels/chart4.xml.rels><?xml version="1.0" encoding="UTF-8" standalone="yes"?>
<Relationships xmlns="http://schemas.openxmlformats.org/package/2006/relationships"><Relationship Id="rId3" Type="http://schemas.openxmlformats.org/officeDocument/2006/relationships/oleObject" Target="file:///\\BASFAD.BASF.NET\GLOBAL\GLOBAL\0050-BASF\LUDWIGSHAFEN\Nutrition_and_Health\GRF\G-ENP-MT_PR-PR_471_Global_D_TM\Di%20Nunno%20in%20Bearbeitung\Diagramm%20%20Vgl%2015%25wg.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1.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2.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3.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4.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https://basf-my.sharepoint.com/personal/punnoos_basfad_basf_net/Documents/Desktop/Santhosh/Vardenafil%20ODT/Solidlab%20Batches/Dissolution/Batch%20#02- 30% Dissolution of pellets - 1Hr and 3 Hr Cured- Solidlab (3unit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tx>
            <c:strRef>
              <c:f>Tabelle1!$B$1</c:f>
              <c:strCache>
                <c:ptCount val="1"/>
                <c:pt idx="0">
                  <c:v>Tg2</c:v>
                </c:pt>
              </c:strCache>
            </c:strRef>
          </c:tx>
          <c:spPr>
            <a:solidFill>
              <a:schemeClr val="accent1"/>
            </a:solidFill>
          </c:spPr>
          <c:invertIfNegative val="0"/>
          <c:dLbls>
            <c:numFmt formatCode="#,##0" sourceLinked="0"/>
            <c:spPr>
              <a:solidFill>
                <a:schemeClr val="bg1"/>
              </a:solidFill>
              <a:ln>
                <a:noFill/>
              </a:ln>
              <a:effectLst/>
            </c:spPr>
            <c:txPr>
              <a:bodyPr/>
              <a:lstStyle/>
              <a:p>
                <a:pPr>
                  <a:defRPr sz="900" b="1">
                    <a:solidFill>
                      <a:schemeClr val="tx1"/>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fixedVal"/>
            <c:noEndCap val="0"/>
            <c:val val="1"/>
          </c:errBars>
          <c:cat>
            <c:strRef>
              <c:f>Tabelle1!$A$2:$A$16</c:f>
              <c:strCache>
                <c:ptCount val="15"/>
                <c:pt idx="0">
                  <c:v>Kollisolv® GTA (TAC)</c:v>
                </c:pt>
                <c:pt idx="1">
                  <c:v>Triethyl citrate (TEC)</c:v>
                </c:pt>
                <c:pt idx="2">
                  <c:v>Acetyl triethyl citrate (ATEC)</c:v>
                </c:pt>
                <c:pt idx="3">
                  <c:v>Tributyl citrate (TBC)</c:v>
                </c:pt>
                <c:pt idx="4">
                  <c:v>Acetyl tributyl citrate (ATBC)</c:v>
                </c:pt>
                <c:pt idx="5">
                  <c:v>Dibutylsebacate (DBS)</c:v>
                </c:pt>
                <c:pt idx="6">
                  <c:v>Diethylsebacate (DES)</c:v>
                </c:pt>
                <c:pt idx="7">
                  <c:v>Kollisolv® PEG 400</c:v>
                </c:pt>
                <c:pt idx="8">
                  <c:v>PEG 6000</c:v>
                </c:pt>
                <c:pt idx="9">
                  <c:v>Kollisolv® P 124</c:v>
                </c:pt>
                <c:pt idx="10">
                  <c:v>Kolliphor® HS15</c:v>
                </c:pt>
                <c:pt idx="11">
                  <c:v>Kolliphor® EL</c:v>
                </c:pt>
                <c:pt idx="12">
                  <c:v>TPGS</c:v>
                </c:pt>
                <c:pt idx="13">
                  <c:v>Kolliwax® HCO</c:v>
                </c:pt>
                <c:pt idx="14">
                  <c:v>Kolliwax® S</c:v>
                </c:pt>
              </c:strCache>
            </c:strRef>
          </c:cat>
          <c:val>
            <c:numRef>
              <c:f>Tabelle1!$B$2:$B$16</c:f>
              <c:numCache>
                <c:formatCode>General</c:formatCode>
                <c:ptCount val="15"/>
                <c:pt idx="0">
                  <c:v>32.6</c:v>
                </c:pt>
                <c:pt idx="1">
                  <c:v>31.2</c:v>
                </c:pt>
                <c:pt idx="2">
                  <c:v>33.299999999999997</c:v>
                </c:pt>
                <c:pt idx="3">
                  <c:v>31.9</c:v>
                </c:pt>
                <c:pt idx="4">
                  <c:v>32.4</c:v>
                </c:pt>
                <c:pt idx="5">
                  <c:v>26.9</c:v>
                </c:pt>
                <c:pt idx="6">
                  <c:v>26</c:v>
                </c:pt>
                <c:pt idx="7">
                  <c:v>27</c:v>
                </c:pt>
                <c:pt idx="9">
                  <c:v>33.799999999999997</c:v>
                </c:pt>
                <c:pt idx="10">
                  <c:v>28</c:v>
                </c:pt>
                <c:pt idx="11">
                  <c:v>32</c:v>
                </c:pt>
                <c:pt idx="12">
                  <c:v>30</c:v>
                </c:pt>
                <c:pt idx="14">
                  <c:v>30</c:v>
                </c:pt>
              </c:numCache>
            </c:numRef>
          </c:val>
          <c:extLst>
            <c:ext xmlns:c16="http://schemas.microsoft.com/office/drawing/2014/chart" uri="{C3380CC4-5D6E-409C-BE32-E72D297353CC}">
              <c16:uniqueId val="{00000000-DF60-496F-807E-478DE4601EAB}"/>
            </c:ext>
          </c:extLst>
        </c:ser>
        <c:ser>
          <c:idx val="1"/>
          <c:order val="1"/>
          <c:tx>
            <c:strRef>
              <c:f>Tabelle1!$C$1</c:f>
              <c:strCache>
                <c:ptCount val="1"/>
                <c:pt idx="0">
                  <c:v>Tm2</c:v>
                </c:pt>
              </c:strCache>
            </c:strRef>
          </c:tx>
          <c:spPr>
            <a:solidFill>
              <a:srgbClr val="F4A134"/>
            </a:solidFill>
          </c:spPr>
          <c:invertIfNegative val="0"/>
          <c:dLbls>
            <c:numFmt formatCode="#,##0" sourceLinked="0"/>
            <c:spPr>
              <a:solidFill>
                <a:schemeClr val="bg1"/>
              </a:solidFill>
              <a:ln>
                <a:noFill/>
              </a:ln>
              <a:effectLst/>
            </c:spPr>
            <c:txPr>
              <a:bodyPr/>
              <a:lstStyle/>
              <a:p>
                <a:pPr>
                  <a:defRPr sz="900" b="1"/>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fixedVal"/>
            <c:noEndCap val="0"/>
            <c:val val="1"/>
          </c:errBars>
          <c:cat>
            <c:strRef>
              <c:f>Tabelle1!$A$2:$A$16</c:f>
              <c:strCache>
                <c:ptCount val="15"/>
                <c:pt idx="0">
                  <c:v>Kollisolv® GTA (TAC)</c:v>
                </c:pt>
                <c:pt idx="1">
                  <c:v>Triethyl citrate (TEC)</c:v>
                </c:pt>
                <c:pt idx="2">
                  <c:v>Acetyl triethyl citrate (ATEC)</c:v>
                </c:pt>
                <c:pt idx="3">
                  <c:v>Tributyl citrate (TBC)</c:v>
                </c:pt>
                <c:pt idx="4">
                  <c:v>Acetyl tributyl citrate (ATBC)</c:v>
                </c:pt>
                <c:pt idx="5">
                  <c:v>Dibutylsebacate (DBS)</c:v>
                </c:pt>
                <c:pt idx="6">
                  <c:v>Diethylsebacate (DES)</c:v>
                </c:pt>
                <c:pt idx="7">
                  <c:v>Kollisolv® PEG 400</c:v>
                </c:pt>
                <c:pt idx="8">
                  <c:v>PEG 6000</c:v>
                </c:pt>
                <c:pt idx="9">
                  <c:v>Kollisolv® P 124</c:v>
                </c:pt>
                <c:pt idx="10">
                  <c:v>Kolliphor® HS15</c:v>
                </c:pt>
                <c:pt idx="11">
                  <c:v>Kolliphor® EL</c:v>
                </c:pt>
                <c:pt idx="12">
                  <c:v>TPGS</c:v>
                </c:pt>
                <c:pt idx="13">
                  <c:v>Kolliwax® HCO</c:v>
                </c:pt>
                <c:pt idx="14">
                  <c:v>Kolliwax® S</c:v>
                </c:pt>
              </c:strCache>
            </c:strRef>
          </c:cat>
          <c:val>
            <c:numRef>
              <c:f>Tabelle1!$C$2:$C$16</c:f>
              <c:numCache>
                <c:formatCode>General</c:formatCode>
                <c:ptCount val="15"/>
                <c:pt idx="8">
                  <c:v>59.7</c:v>
                </c:pt>
                <c:pt idx="13">
                  <c:v>73.5</c:v>
                </c:pt>
              </c:numCache>
            </c:numRef>
          </c:val>
          <c:extLst>
            <c:ext xmlns:c16="http://schemas.microsoft.com/office/drawing/2014/chart" uri="{C3380CC4-5D6E-409C-BE32-E72D297353CC}">
              <c16:uniqueId val="{00000001-DF60-496F-807E-478DE4601EAB}"/>
            </c:ext>
          </c:extLst>
        </c:ser>
        <c:dLbls>
          <c:showLegendKey val="0"/>
          <c:showVal val="0"/>
          <c:showCatName val="0"/>
          <c:showSerName val="0"/>
          <c:showPercent val="0"/>
          <c:showBubbleSize val="0"/>
        </c:dLbls>
        <c:gapWidth val="20"/>
        <c:axId val="459422112"/>
        <c:axId val="1"/>
      </c:barChart>
      <c:scatterChart>
        <c:scatterStyle val="lineMarker"/>
        <c:varyColors val="0"/>
        <c:ser>
          <c:idx val="2"/>
          <c:order val="2"/>
          <c:tx>
            <c:v>Kollicoat® Smartseal 30 D</c:v>
          </c:tx>
          <c:spPr>
            <a:ln w="12700">
              <a:solidFill>
                <a:srgbClr val="FFFF00"/>
              </a:solidFill>
              <a:prstDash val="solid"/>
            </a:ln>
          </c:spPr>
          <c:marker>
            <c:spPr>
              <a:noFill/>
              <a:ln>
                <a:noFill/>
              </a:ln>
            </c:spPr>
          </c:marker>
          <c:dPt>
            <c:idx val="1"/>
            <c:bubble3D val="0"/>
            <c:spPr>
              <a:ln w="22225">
                <a:solidFill>
                  <a:schemeClr val="tx1"/>
                </a:solidFill>
                <a:prstDash val="solid"/>
              </a:ln>
            </c:spPr>
            <c:extLst>
              <c:ext xmlns:c16="http://schemas.microsoft.com/office/drawing/2014/chart" uri="{C3380CC4-5D6E-409C-BE32-E72D297353CC}">
                <c16:uniqueId val="{00000003-DF60-496F-807E-478DE4601EAB}"/>
              </c:ext>
            </c:extLst>
          </c:dPt>
          <c:xVal>
            <c:numLit>
              <c:formatCode>General</c:formatCode>
              <c:ptCount val="2"/>
              <c:pt idx="0">
                <c:v>63</c:v>
              </c:pt>
              <c:pt idx="1">
                <c:v>63</c:v>
              </c:pt>
            </c:numLit>
          </c:xVal>
          <c:yVal>
            <c:numLit>
              <c:formatCode>General</c:formatCode>
              <c:ptCount val="2"/>
              <c:pt idx="0">
                <c:v>0</c:v>
              </c:pt>
              <c:pt idx="1">
                <c:v>1</c:v>
              </c:pt>
            </c:numLit>
          </c:yVal>
          <c:smooth val="0"/>
          <c:extLst>
            <c:ext xmlns:c16="http://schemas.microsoft.com/office/drawing/2014/chart" uri="{C3380CC4-5D6E-409C-BE32-E72D297353CC}">
              <c16:uniqueId val="{00000004-DF60-496F-807E-478DE4601EAB}"/>
            </c:ext>
          </c:extLst>
        </c:ser>
        <c:dLbls>
          <c:showLegendKey val="0"/>
          <c:showVal val="0"/>
          <c:showCatName val="0"/>
          <c:showSerName val="0"/>
          <c:showPercent val="0"/>
          <c:showBubbleSize val="0"/>
        </c:dLbls>
        <c:axId val="3"/>
        <c:axId val="4"/>
      </c:scatterChart>
      <c:catAx>
        <c:axId val="459422112"/>
        <c:scaling>
          <c:orientation val="minMax"/>
        </c:scaling>
        <c:delete val="0"/>
        <c:axPos val="l"/>
        <c:numFmt formatCode="General" sourceLinked="1"/>
        <c:majorTickMark val="out"/>
        <c:minorTickMark val="none"/>
        <c:tickLblPos val="nextTo"/>
        <c:spPr>
          <a:ln>
            <a:solidFill>
              <a:schemeClr val="tx1"/>
            </a:solidFill>
          </a:ln>
        </c:spPr>
        <c:txPr>
          <a:bodyPr/>
          <a:lstStyle/>
          <a:p>
            <a:pPr>
              <a:defRPr sz="1200"/>
            </a:pPr>
            <a:endParaRPr lang="en-US"/>
          </a:p>
        </c:txPr>
        <c:crossAx val="1"/>
        <c:crosses val="autoZero"/>
        <c:auto val="1"/>
        <c:lblAlgn val="ctr"/>
        <c:lblOffset val="100"/>
        <c:noMultiLvlLbl val="0"/>
      </c:catAx>
      <c:valAx>
        <c:axId val="1"/>
        <c:scaling>
          <c:orientation val="minMax"/>
        </c:scaling>
        <c:delete val="0"/>
        <c:axPos val="b"/>
        <c:title>
          <c:tx>
            <c:rich>
              <a:bodyPr/>
              <a:lstStyle/>
              <a:p>
                <a:pPr>
                  <a:defRPr sz="1200"/>
                </a:pPr>
                <a:r>
                  <a:rPr lang="en-US" sz="1200" dirty="0"/>
                  <a:t>Tg</a:t>
                </a:r>
                <a:r>
                  <a:rPr lang="en-US" sz="1200" baseline="-25000" dirty="0"/>
                  <a:t>2</a:t>
                </a:r>
                <a:r>
                  <a:rPr lang="en-US" sz="1200" dirty="0"/>
                  <a:t> / Tm</a:t>
                </a:r>
                <a:r>
                  <a:rPr lang="en-US" sz="1200" baseline="-25000" dirty="0"/>
                  <a:t>2</a:t>
                </a:r>
                <a:r>
                  <a:rPr lang="en-US" sz="1200" dirty="0"/>
                  <a:t> [°C]</a:t>
                </a:r>
              </a:p>
            </c:rich>
          </c:tx>
          <c:overlay val="0"/>
        </c:title>
        <c:numFmt formatCode="General" sourceLinked="1"/>
        <c:majorTickMark val="out"/>
        <c:minorTickMark val="none"/>
        <c:tickLblPos val="nextTo"/>
        <c:spPr>
          <a:ln>
            <a:solidFill>
              <a:schemeClr val="tx1"/>
            </a:solidFill>
          </a:ln>
        </c:spPr>
        <c:crossAx val="459422112"/>
        <c:crosses val="autoZero"/>
        <c:crossBetween val="between"/>
      </c:valAx>
      <c:valAx>
        <c:axId val="3"/>
        <c:scaling>
          <c:orientation val="minMax"/>
        </c:scaling>
        <c:delete val="1"/>
        <c:axPos val="b"/>
        <c:numFmt formatCode="General" sourceLinked="1"/>
        <c:majorTickMark val="out"/>
        <c:minorTickMark val="none"/>
        <c:tickLblPos val="nextTo"/>
        <c:crossAx val="4"/>
        <c:crosses val="autoZero"/>
        <c:crossBetween val="midCat"/>
      </c:valAx>
      <c:valAx>
        <c:axId val="4"/>
        <c:scaling>
          <c:orientation val="minMax"/>
          <c:max val="1"/>
        </c:scaling>
        <c:delete val="0"/>
        <c:axPos val="r"/>
        <c:numFmt formatCode="General" sourceLinked="1"/>
        <c:majorTickMark val="none"/>
        <c:minorTickMark val="none"/>
        <c:tickLblPos val="none"/>
        <c:spPr>
          <a:ln>
            <a:noFill/>
          </a:ln>
        </c:spPr>
        <c:crossAx val="3"/>
        <c:crosses val="max"/>
        <c:crossBetween val="midCat"/>
      </c:valAx>
    </c:plotArea>
    <c:legend>
      <c:legendPos val="b"/>
      <c:legendEntry>
        <c:idx val="2"/>
        <c:delete val="1"/>
      </c:legendEntry>
      <c:layout>
        <c:manualLayout>
          <c:xMode val="edge"/>
          <c:yMode val="edge"/>
          <c:x val="1.2933570059167213E-2"/>
          <c:y val="0.93592932808702234"/>
          <c:w val="0.25508864399682085"/>
          <c:h val="5.1903368618512885E-2"/>
        </c:manualLayout>
      </c:layout>
      <c:overlay val="1"/>
      <c:txPr>
        <a:bodyPr/>
        <a:lstStyle/>
        <a:p>
          <a:pPr>
            <a:defRPr sz="1200"/>
          </a:pPr>
          <a:endParaRPr lang="en-US"/>
        </a:p>
      </c:txPr>
    </c:legend>
    <c:plotVisOnly val="1"/>
    <c:dispBlanksAs val="gap"/>
    <c:showDLblsOverMax val="0"/>
  </c:chart>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sz="1800" b="1" i="0" baseline="0" dirty="0">
                <a:solidFill>
                  <a:schemeClr val="tx1"/>
                </a:solidFill>
                <a:effectLst/>
              </a:rPr>
              <a:t>Vardenafil pellets coated with Kollicoat</a:t>
            </a:r>
            <a:r>
              <a:rPr lang="en-US" sz="1800" b="0" i="0" baseline="30000" dirty="0">
                <a:effectLst/>
              </a:rPr>
              <a:t>® </a:t>
            </a:r>
            <a:r>
              <a:rPr lang="en-US" sz="1800" b="1" i="0" baseline="0" dirty="0">
                <a:solidFill>
                  <a:schemeClr val="tx1"/>
                </a:solidFill>
                <a:effectLst/>
              </a:rPr>
              <a:t>Smartseal. Dissolution Phosphate Buffer pH 6.8, 900 ml, basket at 100rpm </a:t>
            </a:r>
            <a:endParaRPr lang="en-US" sz="1800" dirty="0">
              <a:solidFill>
                <a:schemeClr val="tx1"/>
              </a:solidFill>
              <a:effectLst/>
            </a:endParaRPr>
          </a:p>
        </c:rich>
      </c:tx>
      <c:layout>
        <c:manualLayout>
          <c:xMode val="edge"/>
          <c:yMode val="edge"/>
          <c:x val="0.18406121790522986"/>
          <c:y val="4.1770260279466065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endParaRPr lang="en-US"/>
        </a:p>
      </c:txPr>
    </c:title>
    <c:autoTitleDeleted val="0"/>
    <c:plotArea>
      <c:layout>
        <c:manualLayout>
          <c:layoutTarget val="inner"/>
          <c:xMode val="edge"/>
          <c:yMode val="edge"/>
          <c:x val="0.14199258902614989"/>
          <c:y val="0.13912809162769399"/>
          <c:w val="0.81862729658792655"/>
          <c:h val="0.54507655293088364"/>
        </c:manualLayout>
      </c:layout>
      <c:scatterChart>
        <c:scatterStyle val="lineMarker"/>
        <c:varyColors val="0"/>
        <c:ser>
          <c:idx val="0"/>
          <c:order val="0"/>
          <c:tx>
            <c:strRef>
              <c:f>Sheet2!$I$4</c:f>
              <c:strCache>
                <c:ptCount val="1"/>
                <c:pt idx="0">
                  <c:v>25% wt. gain Uncured</c:v>
                </c:pt>
              </c:strCache>
            </c:strRef>
          </c:tx>
          <c:spPr>
            <a:ln w="19050" cap="rnd">
              <a:solidFill>
                <a:srgbClr val="0070C0"/>
              </a:solidFill>
              <a:round/>
            </a:ln>
            <a:effectLst/>
          </c:spPr>
          <c:marker>
            <c:symbol val="circle"/>
            <c:size val="5"/>
            <c:spPr>
              <a:solidFill>
                <a:srgbClr val="0070C0"/>
              </a:solidFill>
              <a:ln w="9525">
                <a:solidFill>
                  <a:srgbClr val="0070C0"/>
                </a:solidFill>
              </a:ln>
              <a:effectLst/>
            </c:spPr>
          </c:marker>
          <c:errBars>
            <c:errDir val="y"/>
            <c:errBarType val="both"/>
            <c:errValType val="stdErr"/>
            <c:noEndCap val="0"/>
            <c:spPr>
              <a:noFill/>
              <a:ln w="9525" cap="flat" cmpd="sng" algn="ctr">
                <a:solidFill>
                  <a:schemeClr val="tx1">
                    <a:lumMod val="65000"/>
                    <a:lumOff val="35000"/>
                  </a:schemeClr>
                </a:solidFill>
                <a:round/>
              </a:ln>
              <a:effectLst/>
            </c:spPr>
          </c:errBars>
          <c:xVal>
            <c:numRef>
              <c:f>Sheet2!$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I$6:$I$18</c:f>
              <c:numCache>
                <c:formatCode>0.00</c:formatCode>
                <c:ptCount val="13"/>
                <c:pt idx="0">
                  <c:v>0</c:v>
                </c:pt>
                <c:pt idx="1">
                  <c:v>24.965084535816633</c:v>
                </c:pt>
                <c:pt idx="2">
                  <c:v>32.377937437753026</c:v>
                </c:pt>
                <c:pt idx="3">
                  <c:v>35.98504914498492</c:v>
                </c:pt>
                <c:pt idx="4">
                  <c:v>37.96675080146418</c:v>
                </c:pt>
                <c:pt idx="5">
                  <c:v>37.13626238511214</c:v>
                </c:pt>
                <c:pt idx="6">
                  <c:v>40.039122245857918</c:v>
                </c:pt>
                <c:pt idx="7">
                  <c:v>40.857726616206236</c:v>
                </c:pt>
                <c:pt idx="8">
                  <c:v>42.70781127447588</c:v>
                </c:pt>
                <c:pt idx="9">
                  <c:v>44.317388202440817</c:v>
                </c:pt>
                <c:pt idx="10">
                  <c:v>46.910047010153811</c:v>
                </c:pt>
                <c:pt idx="11">
                  <c:v>49.791450105326817</c:v>
                </c:pt>
                <c:pt idx="12">
                  <c:v>52.526985183559994</c:v>
                </c:pt>
              </c:numCache>
            </c:numRef>
          </c:yVal>
          <c:smooth val="0"/>
          <c:extLst>
            <c:ext xmlns:c16="http://schemas.microsoft.com/office/drawing/2014/chart" uri="{C3380CC4-5D6E-409C-BE32-E72D297353CC}">
              <c16:uniqueId val="{00000000-A91B-4A78-8504-ED6E14978472}"/>
            </c:ext>
          </c:extLst>
        </c:ser>
        <c:ser>
          <c:idx val="1"/>
          <c:order val="1"/>
          <c:tx>
            <c:strRef>
              <c:f>Sheet2!$J$4</c:f>
              <c:strCache>
                <c:ptCount val="1"/>
                <c:pt idx="0">
                  <c:v>30% wt. gain Uncured </c:v>
                </c:pt>
              </c:strCache>
            </c:strRef>
          </c:tx>
          <c:spPr>
            <a:ln w="19050" cap="rnd">
              <a:solidFill>
                <a:srgbClr val="00B050"/>
              </a:solidFill>
              <a:round/>
            </a:ln>
            <a:effectLst/>
          </c:spPr>
          <c:marker>
            <c:symbol val="diamond"/>
            <c:size val="5"/>
            <c:spPr>
              <a:solidFill>
                <a:srgbClr val="70AD47">
                  <a:lumMod val="75000"/>
                </a:srgbClr>
              </a:solidFill>
              <a:ln w="9525">
                <a:solidFill>
                  <a:srgbClr val="00B050"/>
                </a:solidFill>
              </a:ln>
              <a:effectLst/>
            </c:spPr>
          </c:marker>
          <c:errBars>
            <c:errDir val="y"/>
            <c:errBarType val="both"/>
            <c:errValType val="stdErr"/>
            <c:noEndCap val="0"/>
            <c:spPr>
              <a:noFill/>
              <a:ln w="9525" cap="flat" cmpd="sng" algn="ctr">
                <a:solidFill>
                  <a:schemeClr val="tx1">
                    <a:lumMod val="65000"/>
                    <a:lumOff val="35000"/>
                  </a:schemeClr>
                </a:solidFill>
                <a:round/>
              </a:ln>
              <a:effectLst/>
            </c:spPr>
          </c:errBars>
          <c:xVal>
            <c:numRef>
              <c:f>Sheet2!$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J$6:$J$18</c:f>
              <c:numCache>
                <c:formatCode>0.00</c:formatCode>
                <c:ptCount val="13"/>
                <c:pt idx="0">
                  <c:v>0</c:v>
                </c:pt>
                <c:pt idx="1">
                  <c:v>5.6380849299085511</c:v>
                </c:pt>
                <c:pt idx="2">
                  <c:v>9.0906035382763246</c:v>
                </c:pt>
                <c:pt idx="3">
                  <c:v>12.092133489999716</c:v>
                </c:pt>
                <c:pt idx="4">
                  <c:v>14.516351791804475</c:v>
                </c:pt>
                <c:pt idx="5">
                  <c:v>17.544217071444354</c:v>
                </c:pt>
                <c:pt idx="6">
                  <c:v>20.719439472153709</c:v>
                </c:pt>
                <c:pt idx="7">
                  <c:v>20.273650326661166</c:v>
                </c:pt>
                <c:pt idx="8">
                  <c:v>21.885754240700987</c:v>
                </c:pt>
                <c:pt idx="9">
                  <c:v>23.175071307637086</c:v>
                </c:pt>
                <c:pt idx="10">
                  <c:v>25.321098303491016</c:v>
                </c:pt>
                <c:pt idx="11">
                  <c:v>26.549310369442434</c:v>
                </c:pt>
                <c:pt idx="12">
                  <c:v>28.122714134550773</c:v>
                </c:pt>
              </c:numCache>
            </c:numRef>
          </c:yVal>
          <c:smooth val="0"/>
          <c:extLst>
            <c:ext xmlns:c16="http://schemas.microsoft.com/office/drawing/2014/chart" uri="{C3380CC4-5D6E-409C-BE32-E72D297353CC}">
              <c16:uniqueId val="{00000001-A91B-4A78-8504-ED6E14978472}"/>
            </c:ext>
          </c:extLst>
        </c:ser>
        <c:ser>
          <c:idx val="2"/>
          <c:order val="2"/>
          <c:tx>
            <c:strRef>
              <c:f>Sheet2!$K$4</c:f>
              <c:strCache>
                <c:ptCount val="1"/>
                <c:pt idx="0">
                  <c:v>25% wt. gain Cured</c:v>
                </c:pt>
              </c:strCache>
            </c:strRef>
          </c:tx>
          <c:spPr>
            <a:ln w="19050" cap="rnd">
              <a:solidFill>
                <a:srgbClr val="FF0000"/>
              </a:solidFill>
              <a:round/>
            </a:ln>
            <a:effectLst/>
          </c:spPr>
          <c:marker>
            <c:symbol val="circle"/>
            <c:size val="5"/>
            <c:spPr>
              <a:solidFill>
                <a:srgbClr val="FF0000"/>
              </a:solidFill>
              <a:ln w="9525">
                <a:solidFill>
                  <a:srgbClr val="FF0000"/>
                </a:solidFill>
              </a:ln>
              <a:effectLst/>
            </c:spPr>
          </c:marker>
          <c:errBars>
            <c:errDir val="y"/>
            <c:errBarType val="both"/>
            <c:errValType val="cust"/>
            <c:noEndCap val="0"/>
            <c:plus>
              <c:numRef>
                <c:f>Sheet2!$O$6:$O$18</c:f>
                <c:numCache>
                  <c:formatCode>General</c:formatCode>
                  <c:ptCount val="13"/>
                  <c:pt idx="0">
                    <c:v>0</c:v>
                  </c:pt>
                  <c:pt idx="1">
                    <c:v>1.0080288513268687</c:v>
                  </c:pt>
                  <c:pt idx="2">
                    <c:v>1.3908331949953627</c:v>
                  </c:pt>
                  <c:pt idx="3">
                    <c:v>1.6157093635923223</c:v>
                  </c:pt>
                  <c:pt idx="4">
                    <c:v>1.732160060996456</c:v>
                  </c:pt>
                  <c:pt idx="5">
                    <c:v>1.8854998837126848</c:v>
                  </c:pt>
                  <c:pt idx="6">
                    <c:v>2.2396841383865964</c:v>
                  </c:pt>
                  <c:pt idx="7">
                    <c:v>2.7929052860374051</c:v>
                  </c:pt>
                  <c:pt idx="8">
                    <c:v>3.1805273908346785</c:v>
                  </c:pt>
                  <c:pt idx="9">
                    <c:v>3.8451442927016499</c:v>
                  </c:pt>
                  <c:pt idx="10">
                    <c:v>4.414781499803718</c:v>
                  </c:pt>
                  <c:pt idx="11">
                    <c:v>4.7128599689489512</c:v>
                  </c:pt>
                  <c:pt idx="12">
                    <c:v>4.8979795101000096</c:v>
                  </c:pt>
                </c:numCache>
              </c:numRef>
            </c:plus>
            <c:minus>
              <c:numRef>
                <c:f>Sheet2!$O$6:$O$18</c:f>
                <c:numCache>
                  <c:formatCode>General</c:formatCode>
                  <c:ptCount val="13"/>
                  <c:pt idx="0">
                    <c:v>0</c:v>
                  </c:pt>
                  <c:pt idx="1">
                    <c:v>1.0080288513268687</c:v>
                  </c:pt>
                  <c:pt idx="2">
                    <c:v>1.3908331949953627</c:v>
                  </c:pt>
                  <c:pt idx="3">
                    <c:v>1.6157093635923223</c:v>
                  </c:pt>
                  <c:pt idx="4">
                    <c:v>1.732160060996456</c:v>
                  </c:pt>
                  <c:pt idx="5">
                    <c:v>1.8854998837126848</c:v>
                  </c:pt>
                  <c:pt idx="6">
                    <c:v>2.2396841383865964</c:v>
                  </c:pt>
                  <c:pt idx="7">
                    <c:v>2.7929052860374051</c:v>
                  </c:pt>
                  <c:pt idx="8">
                    <c:v>3.1805273908346785</c:v>
                  </c:pt>
                  <c:pt idx="9">
                    <c:v>3.8451442927016499</c:v>
                  </c:pt>
                  <c:pt idx="10">
                    <c:v>4.414781499803718</c:v>
                  </c:pt>
                  <c:pt idx="11">
                    <c:v>4.7128599689489512</c:v>
                  </c:pt>
                  <c:pt idx="12">
                    <c:v>4.8979795101000096</c:v>
                  </c:pt>
                </c:numCache>
              </c:numRef>
            </c:minus>
            <c:spPr>
              <a:noFill/>
              <a:ln w="9525" cap="flat" cmpd="sng" algn="ctr">
                <a:solidFill>
                  <a:schemeClr val="tx1">
                    <a:lumMod val="65000"/>
                    <a:lumOff val="35000"/>
                  </a:schemeClr>
                </a:solidFill>
                <a:round/>
              </a:ln>
              <a:effectLst/>
            </c:spPr>
          </c:errBars>
          <c:xVal>
            <c:numRef>
              <c:f>Sheet2!$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K$6:$K$18</c:f>
              <c:numCache>
                <c:formatCode>0.00</c:formatCode>
                <c:ptCount val="13"/>
                <c:pt idx="0">
                  <c:v>0</c:v>
                </c:pt>
                <c:pt idx="1">
                  <c:v>4.0591861839592802</c:v>
                </c:pt>
                <c:pt idx="2">
                  <c:v>5.0071956096428192</c:v>
                </c:pt>
                <c:pt idx="3">
                  <c:v>5.6481711098792475</c:v>
                </c:pt>
                <c:pt idx="4">
                  <c:v>6.0958945387134733</c:v>
                </c:pt>
                <c:pt idx="5">
                  <c:v>6.600205841010971</c:v>
                </c:pt>
                <c:pt idx="6">
                  <c:v>8.0151309863250102</c:v>
                </c:pt>
                <c:pt idx="7">
                  <c:v>9.5991103631020565</c:v>
                </c:pt>
                <c:pt idx="8">
                  <c:v>10.756640738365483</c:v>
                </c:pt>
                <c:pt idx="9">
                  <c:v>12.334008263796433</c:v>
                </c:pt>
                <c:pt idx="10">
                  <c:v>14.035239039592954</c:v>
                </c:pt>
                <c:pt idx="11">
                  <c:v>15.076512869233838</c:v>
                </c:pt>
                <c:pt idx="12">
                  <c:v>15.925662757767769</c:v>
                </c:pt>
              </c:numCache>
            </c:numRef>
          </c:yVal>
          <c:smooth val="0"/>
          <c:extLst>
            <c:ext xmlns:c16="http://schemas.microsoft.com/office/drawing/2014/chart" uri="{C3380CC4-5D6E-409C-BE32-E72D297353CC}">
              <c16:uniqueId val="{00000002-A91B-4A78-8504-ED6E14978472}"/>
            </c:ext>
          </c:extLst>
        </c:ser>
        <c:ser>
          <c:idx val="3"/>
          <c:order val="3"/>
          <c:tx>
            <c:strRef>
              <c:f>Sheet2!$L$4</c:f>
              <c:strCache>
                <c:ptCount val="1"/>
                <c:pt idx="0">
                  <c:v>30% wt. gain Cured </c:v>
                </c:pt>
              </c:strCache>
            </c:strRef>
          </c:tx>
          <c:spPr>
            <a:ln w="19050" cap="rnd">
              <a:solidFill>
                <a:schemeClr val="accent4"/>
              </a:solidFill>
              <a:round/>
            </a:ln>
            <a:effectLst/>
          </c:spPr>
          <c:marker>
            <c:symbol val="circle"/>
            <c:size val="5"/>
            <c:spPr>
              <a:solidFill>
                <a:schemeClr val="accent4"/>
              </a:solidFill>
              <a:ln w="9525">
                <a:solidFill>
                  <a:schemeClr val="accent4"/>
                </a:solidFill>
              </a:ln>
              <a:effectLst/>
            </c:spPr>
          </c:marker>
          <c:errBars>
            <c:errDir val="y"/>
            <c:errBarType val="both"/>
            <c:errValType val="cust"/>
            <c:noEndCap val="0"/>
            <c:plus>
              <c:numRef>
                <c:f>Sheet2!$P$6:$P$18</c:f>
                <c:numCache>
                  <c:formatCode>General</c:formatCode>
                  <c:ptCount val="13"/>
                  <c:pt idx="0">
                    <c:v>0</c:v>
                  </c:pt>
                  <c:pt idx="1">
                    <c:v>0.95713345928765503</c:v>
                  </c:pt>
                  <c:pt idx="2">
                    <c:v>0.89888564918179237</c:v>
                  </c:pt>
                  <c:pt idx="3">
                    <c:v>0.91427540750540892</c:v>
                  </c:pt>
                  <c:pt idx="4">
                    <c:v>0.80420973241464122</c:v>
                  </c:pt>
                  <c:pt idx="5">
                    <c:v>0.79486722962979295</c:v>
                  </c:pt>
                  <c:pt idx="6">
                    <c:v>0.78023229796690319</c:v>
                  </c:pt>
                  <c:pt idx="7">
                    <c:v>0.74460236056193241</c:v>
                  </c:pt>
                  <c:pt idx="8">
                    <c:v>0.806249975375807</c:v>
                  </c:pt>
                  <c:pt idx="9">
                    <c:v>0.82892181781739205</c:v>
                  </c:pt>
                  <c:pt idx="10">
                    <c:v>0.84879008800606848</c:v>
                  </c:pt>
                  <c:pt idx="11">
                    <c:v>0.88526085914905361</c:v>
                  </c:pt>
                  <c:pt idx="12">
                    <c:v>0.90482845028240122</c:v>
                  </c:pt>
                </c:numCache>
              </c:numRef>
            </c:plus>
            <c:minus>
              <c:numRef>
                <c:f>Sheet2!$P$6:$P$18</c:f>
                <c:numCache>
                  <c:formatCode>General</c:formatCode>
                  <c:ptCount val="13"/>
                  <c:pt idx="0">
                    <c:v>0</c:v>
                  </c:pt>
                  <c:pt idx="1">
                    <c:v>0.95713345928765503</c:v>
                  </c:pt>
                  <c:pt idx="2">
                    <c:v>0.89888564918179237</c:v>
                  </c:pt>
                  <c:pt idx="3">
                    <c:v>0.91427540750540892</c:v>
                  </c:pt>
                  <c:pt idx="4">
                    <c:v>0.80420973241464122</c:v>
                  </c:pt>
                  <c:pt idx="5">
                    <c:v>0.79486722962979295</c:v>
                  </c:pt>
                  <c:pt idx="6">
                    <c:v>0.78023229796690319</c:v>
                  </c:pt>
                  <c:pt idx="7">
                    <c:v>0.74460236056193241</c:v>
                  </c:pt>
                  <c:pt idx="8">
                    <c:v>0.806249975375807</c:v>
                  </c:pt>
                  <c:pt idx="9">
                    <c:v>0.82892181781739205</c:v>
                  </c:pt>
                  <c:pt idx="10">
                    <c:v>0.84879008800606848</c:v>
                  </c:pt>
                  <c:pt idx="11">
                    <c:v>0.88526085914905361</c:v>
                  </c:pt>
                  <c:pt idx="12">
                    <c:v>0.90482845028240122</c:v>
                  </c:pt>
                </c:numCache>
              </c:numRef>
            </c:minus>
            <c:spPr>
              <a:noFill/>
              <a:ln w="9525" cap="flat" cmpd="sng" algn="ctr">
                <a:solidFill>
                  <a:schemeClr val="tx1">
                    <a:lumMod val="65000"/>
                    <a:lumOff val="35000"/>
                  </a:schemeClr>
                </a:solidFill>
                <a:round/>
              </a:ln>
              <a:effectLst/>
            </c:spPr>
          </c:errBars>
          <c:xVal>
            <c:numRef>
              <c:f>Sheet2!$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L$6:$L$18</c:f>
              <c:numCache>
                <c:formatCode>0.00</c:formatCode>
                <c:ptCount val="13"/>
                <c:pt idx="0">
                  <c:v>0</c:v>
                </c:pt>
                <c:pt idx="1">
                  <c:v>1.0378289421190219</c:v>
                </c:pt>
                <c:pt idx="2">
                  <c:v>1.2308133431101909</c:v>
                </c:pt>
                <c:pt idx="3">
                  <c:v>1.4200234899324682</c:v>
                </c:pt>
                <c:pt idx="4">
                  <c:v>1.778724346237049</c:v>
                </c:pt>
                <c:pt idx="5">
                  <c:v>2.0310978691409449</c:v>
                </c:pt>
                <c:pt idx="6">
                  <c:v>2.7520757346541909</c:v>
                </c:pt>
                <c:pt idx="7">
                  <c:v>3.23930548962027</c:v>
                </c:pt>
                <c:pt idx="8">
                  <c:v>3.5307334140519711</c:v>
                </c:pt>
                <c:pt idx="9">
                  <c:v>3.860417176712216</c:v>
                </c:pt>
                <c:pt idx="10">
                  <c:v>4.4205259043616785</c:v>
                </c:pt>
                <c:pt idx="11">
                  <c:v>4.8406623280308612</c:v>
                </c:pt>
                <c:pt idx="12">
                  <c:v>5.2979776820959614</c:v>
                </c:pt>
              </c:numCache>
            </c:numRef>
          </c:yVal>
          <c:smooth val="0"/>
          <c:extLst>
            <c:ext xmlns:c16="http://schemas.microsoft.com/office/drawing/2014/chart" uri="{C3380CC4-5D6E-409C-BE32-E72D297353CC}">
              <c16:uniqueId val="{00000003-A91B-4A78-8504-ED6E14978472}"/>
            </c:ext>
          </c:extLst>
        </c:ser>
        <c:dLbls>
          <c:showLegendKey val="0"/>
          <c:showVal val="0"/>
          <c:showCatName val="0"/>
          <c:showSerName val="0"/>
          <c:showPercent val="0"/>
          <c:showBubbleSize val="0"/>
        </c:dLbls>
        <c:axId val="500909551"/>
        <c:axId val="500906223"/>
      </c:scatterChart>
      <c:valAx>
        <c:axId val="500909551"/>
        <c:scaling>
          <c:orientation val="minMax"/>
          <c:max val="60"/>
        </c:scaling>
        <c:delete val="0"/>
        <c:axPos val="b"/>
        <c:title>
          <c:tx>
            <c:rich>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Time in Min</a:t>
                </a:r>
              </a:p>
            </c:rich>
          </c:tx>
          <c:layout>
            <c:manualLayout>
              <c:xMode val="edge"/>
              <c:yMode val="edge"/>
              <c:x val="0.43846920748987256"/>
              <c:y val="0.77426956665351854"/>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solidFill>
            <a:srgbClr val="FFFFFF"/>
          </a:solid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6223"/>
        <c:crosses val="autoZero"/>
        <c:crossBetween val="midCat"/>
        <c:majorUnit val="5"/>
      </c:valAx>
      <c:valAx>
        <c:axId val="500906223"/>
        <c:scaling>
          <c:orientation val="minMax"/>
          <c:max val="100"/>
          <c:min val="0"/>
        </c:scaling>
        <c:delete val="0"/>
        <c:axPos val="l"/>
        <c:title>
          <c:tx>
            <c:rich>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 drug released</a:t>
                </a:r>
              </a:p>
            </c:rich>
          </c:tx>
          <c:layout>
            <c:manualLayout>
              <c:xMode val="edge"/>
              <c:yMode val="edge"/>
              <c:x val="1.5879426538196073E-2"/>
              <c:y val="0.23408307583228655"/>
            </c:manualLayout>
          </c:layout>
          <c:overlay val="0"/>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9551"/>
        <c:crosses val="autoZero"/>
        <c:crossBetween val="midCat"/>
        <c:majorUnit val="20"/>
      </c:valAx>
      <c:spPr>
        <a:noFill/>
        <a:ln w="25400">
          <a:noFill/>
        </a:ln>
        <a:effectLst/>
      </c:spPr>
    </c:plotArea>
    <c:legend>
      <c:legendPos val="b"/>
      <c:layout>
        <c:manualLayout>
          <c:xMode val="edge"/>
          <c:yMode val="edge"/>
          <c:x val="0.11055622842329467"/>
          <c:y val="0.85329899307360757"/>
          <c:w val="0.85188686080653087"/>
          <c:h val="0.14670100692639249"/>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9050">
      <a:solidFill>
        <a:srgbClr val="000000"/>
      </a:solid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sz="1800" b="1" i="0" baseline="0" dirty="0">
                <a:solidFill>
                  <a:schemeClr val="tx1"/>
                </a:solidFill>
                <a:effectLst/>
              </a:rPr>
              <a:t>Vardenafil pellets coated with Kollicoat</a:t>
            </a:r>
            <a:r>
              <a:rPr lang="en-US" sz="1800" b="0" i="0" baseline="30000" dirty="0">
                <a:effectLst/>
              </a:rPr>
              <a:t>® </a:t>
            </a:r>
            <a:r>
              <a:rPr lang="en-US" sz="1800" b="1" i="0" baseline="0" dirty="0">
                <a:solidFill>
                  <a:schemeClr val="tx1"/>
                </a:solidFill>
                <a:effectLst/>
              </a:rPr>
              <a:t>Smartseal + BHT cured and uncured. Dissolution in Phosphate Buffer pH 6.8, 900 ml, basket at 100 rpm</a:t>
            </a:r>
            <a:endParaRPr lang="en-US" sz="1800" b="1" dirty="0">
              <a:solidFill>
                <a:schemeClr val="tx1"/>
              </a:solidFill>
              <a:effectLst/>
            </a:endParaRPr>
          </a:p>
        </c:rich>
      </c:tx>
      <c:layout>
        <c:manualLayout>
          <c:xMode val="edge"/>
          <c:yMode val="edge"/>
          <c:x val="0.16686129880832079"/>
          <c:y val="2.2759786708284564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endParaRPr lang="en-US"/>
        </a:p>
      </c:txPr>
    </c:title>
    <c:autoTitleDeleted val="0"/>
    <c:plotArea>
      <c:layout>
        <c:manualLayout>
          <c:layoutTarget val="inner"/>
          <c:xMode val="edge"/>
          <c:yMode val="edge"/>
          <c:x val="0.13815048118985127"/>
          <c:y val="0.14807888597258675"/>
          <c:w val="0.81862729658792655"/>
          <c:h val="0.54507655293088364"/>
        </c:manualLayout>
      </c:layout>
      <c:scatterChart>
        <c:scatterStyle val="lineMarker"/>
        <c:varyColors val="0"/>
        <c:ser>
          <c:idx val="0"/>
          <c:order val="0"/>
          <c:tx>
            <c:v>30% UnCured withBHT</c:v>
          </c:tx>
          <c:spPr>
            <a:ln w="19050" cap="rnd">
              <a:solidFill>
                <a:srgbClr val="4472C4"/>
              </a:solidFill>
              <a:round/>
            </a:ln>
            <a:effectLst/>
          </c:spPr>
          <c:marker>
            <c:symbol val="circle"/>
            <c:size val="5"/>
            <c:spPr>
              <a:solidFill>
                <a:srgbClr val="4472C4"/>
              </a:solidFill>
              <a:ln w="9525">
                <a:solidFill>
                  <a:srgbClr val="4472C4"/>
                </a:solidFill>
              </a:ln>
              <a:effectLst/>
            </c:spPr>
          </c:marker>
          <c:errBars>
            <c:errDir val="y"/>
            <c:errBarType val="both"/>
            <c:errValType val="cust"/>
            <c:noEndCap val="0"/>
            <c:plus>
              <c:numRef>
                <c:f>'[From 30% Dissolution of pellets Uncured and 2 Hr Cured- Solidlab (3units) .xlsx]Sheet1'!$K$6:$K$18</c:f>
                <c:numCache>
                  <c:formatCode>General</c:formatCode>
                  <c:ptCount val="13"/>
                  <c:pt idx="0">
                    <c:v>0</c:v>
                  </c:pt>
                  <c:pt idx="1">
                    <c:v>1.2246630121943851</c:v>
                  </c:pt>
                  <c:pt idx="2">
                    <c:v>2.491693625379757</c:v>
                  </c:pt>
                  <c:pt idx="3">
                    <c:v>2.3721174278261596</c:v>
                  </c:pt>
                  <c:pt idx="4">
                    <c:v>2.5737817059634214</c:v>
                  </c:pt>
                  <c:pt idx="5">
                    <c:v>2.5511214282186025</c:v>
                  </c:pt>
                  <c:pt idx="6">
                    <c:v>2.3678362301487978</c:v>
                  </c:pt>
                  <c:pt idx="7">
                    <c:v>2.8182531417055028</c:v>
                  </c:pt>
                  <c:pt idx="8">
                    <c:v>2.7729469799863913</c:v>
                  </c:pt>
                  <c:pt idx="9">
                    <c:v>2.8182721373156991</c:v>
                  </c:pt>
                  <c:pt idx="10">
                    <c:v>2.9837365065496368</c:v>
                  </c:pt>
                  <c:pt idx="11">
                    <c:v>3.097467174141916</c:v>
                  </c:pt>
                  <c:pt idx="12">
                    <c:v>3.1762124923898427</c:v>
                  </c:pt>
                </c:numCache>
              </c:numRef>
            </c:plus>
            <c:minus>
              <c:numRef>
                <c:f>'[From 30% Dissolution of pellets Uncured and 2 Hr Cured- Solidlab (3units) .xlsx]Sheet1'!$K$6:$K$18</c:f>
                <c:numCache>
                  <c:formatCode>General</c:formatCode>
                  <c:ptCount val="13"/>
                  <c:pt idx="0">
                    <c:v>0</c:v>
                  </c:pt>
                  <c:pt idx="1">
                    <c:v>1.2246630121943851</c:v>
                  </c:pt>
                  <c:pt idx="2">
                    <c:v>2.491693625379757</c:v>
                  </c:pt>
                  <c:pt idx="3">
                    <c:v>2.3721174278261596</c:v>
                  </c:pt>
                  <c:pt idx="4">
                    <c:v>2.5737817059634214</c:v>
                  </c:pt>
                  <c:pt idx="5">
                    <c:v>2.5511214282186025</c:v>
                  </c:pt>
                  <c:pt idx="6">
                    <c:v>2.3678362301487978</c:v>
                  </c:pt>
                  <c:pt idx="7">
                    <c:v>2.8182531417055028</c:v>
                  </c:pt>
                  <c:pt idx="8">
                    <c:v>2.7729469799863913</c:v>
                  </c:pt>
                  <c:pt idx="9">
                    <c:v>2.8182721373156991</c:v>
                  </c:pt>
                  <c:pt idx="10">
                    <c:v>2.9837365065496368</c:v>
                  </c:pt>
                  <c:pt idx="11">
                    <c:v>3.097467174141916</c:v>
                  </c:pt>
                  <c:pt idx="12">
                    <c:v>3.1762124923898427</c:v>
                  </c:pt>
                </c:numCache>
              </c:numRef>
            </c:minus>
            <c:spPr>
              <a:noFill/>
              <a:ln w="9525" cap="flat" cmpd="sng" algn="ctr">
                <a:solidFill>
                  <a:schemeClr val="tx1">
                    <a:lumMod val="65000"/>
                    <a:lumOff val="35000"/>
                  </a:schemeClr>
                </a:solidFill>
                <a:round/>
              </a:ln>
              <a:effectLst/>
            </c:spPr>
          </c:errBars>
          <c:xVal>
            <c:numRef>
              <c:f>'[From 30% Dissolution of pellets Uncured and 2 Hr Cured- Solidlab (3units) .xlsx]Sheet1'!$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From 30% Dissolution of pellets Uncured and 2 Hr Cured- Solidlab (3units) .xlsx]Sheet1'!$I$6:$I$18</c:f>
              <c:numCache>
                <c:formatCode>0.00</c:formatCode>
                <c:ptCount val="13"/>
                <c:pt idx="0">
                  <c:v>0</c:v>
                </c:pt>
                <c:pt idx="1">
                  <c:v>14.306752096434481</c:v>
                </c:pt>
                <c:pt idx="2">
                  <c:v>18.879886632594037</c:v>
                </c:pt>
                <c:pt idx="3">
                  <c:v>20.77358524752491</c:v>
                </c:pt>
                <c:pt idx="4">
                  <c:v>22.242914863345039</c:v>
                </c:pt>
                <c:pt idx="5">
                  <c:v>23.684630095384858</c:v>
                </c:pt>
                <c:pt idx="6">
                  <c:v>26.688448155261892</c:v>
                </c:pt>
                <c:pt idx="7">
                  <c:v>29.283338129061519</c:v>
                </c:pt>
                <c:pt idx="8">
                  <c:v>31.184139607593234</c:v>
                </c:pt>
                <c:pt idx="9">
                  <c:v>32.843627737999881</c:v>
                </c:pt>
                <c:pt idx="10">
                  <c:v>35.540253032888728</c:v>
                </c:pt>
                <c:pt idx="11">
                  <c:v>37.766537802914698</c:v>
                </c:pt>
                <c:pt idx="12">
                  <c:v>39.740783569442563</c:v>
                </c:pt>
              </c:numCache>
            </c:numRef>
          </c:yVal>
          <c:smooth val="0"/>
          <c:extLst>
            <c:ext xmlns:c16="http://schemas.microsoft.com/office/drawing/2014/chart" uri="{C3380CC4-5D6E-409C-BE32-E72D297353CC}">
              <c16:uniqueId val="{00000000-BFB5-4D4C-8A60-70D4C641ECA8}"/>
            </c:ext>
          </c:extLst>
        </c:ser>
        <c:ser>
          <c:idx val="1"/>
          <c:order val="1"/>
          <c:tx>
            <c:v>30% Cured with BHT</c:v>
          </c:tx>
          <c:spPr>
            <a:ln w="19050" cap="rnd">
              <a:solidFill>
                <a:srgbClr val="00B050"/>
              </a:solidFill>
              <a:round/>
            </a:ln>
            <a:effectLst/>
          </c:spPr>
          <c:marker>
            <c:symbol val="circle"/>
            <c:size val="5"/>
            <c:spPr>
              <a:solidFill>
                <a:srgbClr val="00B050"/>
              </a:solidFill>
              <a:ln w="9525">
                <a:solidFill>
                  <a:srgbClr val="00B050"/>
                </a:solidFill>
              </a:ln>
              <a:effectLst/>
            </c:spPr>
          </c:marker>
          <c:errBars>
            <c:errDir val="y"/>
            <c:errBarType val="both"/>
            <c:errValType val="cust"/>
            <c:noEndCap val="0"/>
            <c:plus>
              <c:numRef>
                <c:f>'[From 30% Dissolution of pellets Uncured and 2 Hr Cured- Solidlab (3units) .xlsx]Sheet1'!$L$6:$L$17</c:f>
                <c:numCache>
                  <c:formatCode>General</c:formatCode>
                  <c:ptCount val="12"/>
                  <c:pt idx="0">
                    <c:v>0</c:v>
                  </c:pt>
                  <c:pt idx="1">
                    <c:v>0.61218609895837672</c:v>
                  </c:pt>
                  <c:pt idx="2">
                    <c:v>0.57804994813569577</c:v>
                  </c:pt>
                  <c:pt idx="3">
                    <c:v>0.47038911119527388</c:v>
                  </c:pt>
                  <c:pt idx="4">
                    <c:v>0.41737019449321494</c:v>
                  </c:pt>
                  <c:pt idx="5">
                    <c:v>0.64680193948520071</c:v>
                  </c:pt>
                  <c:pt idx="6">
                    <c:v>0.97017065391442248</c:v>
                  </c:pt>
                  <c:pt idx="7">
                    <c:v>2.3549541953678146</c:v>
                  </c:pt>
                  <c:pt idx="8">
                    <c:v>1.0492031188428068</c:v>
                  </c:pt>
                  <c:pt idx="9">
                    <c:v>1.1836597740090957</c:v>
                  </c:pt>
                  <c:pt idx="10">
                    <c:v>1.3993480410202883</c:v>
                  </c:pt>
                  <c:pt idx="11">
                    <c:v>1.6222812398024531</c:v>
                  </c:pt>
                </c:numCache>
              </c:numRef>
            </c:plus>
            <c:minus>
              <c:numRef>
                <c:f>'[From 30% Dissolution of pellets Uncured and 2 Hr Cured- Solidlab (3units) .xlsx]Sheet1'!$L$6:$L$17</c:f>
                <c:numCache>
                  <c:formatCode>General</c:formatCode>
                  <c:ptCount val="12"/>
                  <c:pt idx="0">
                    <c:v>0</c:v>
                  </c:pt>
                  <c:pt idx="1">
                    <c:v>0.61218609895837672</c:v>
                  </c:pt>
                  <c:pt idx="2">
                    <c:v>0.57804994813569577</c:v>
                  </c:pt>
                  <c:pt idx="3">
                    <c:v>0.47038911119527388</c:v>
                  </c:pt>
                  <c:pt idx="4">
                    <c:v>0.41737019449321494</c:v>
                  </c:pt>
                  <c:pt idx="5">
                    <c:v>0.64680193948520071</c:v>
                  </c:pt>
                  <c:pt idx="6">
                    <c:v>0.97017065391442248</c:v>
                  </c:pt>
                  <c:pt idx="7">
                    <c:v>2.3549541953678146</c:v>
                  </c:pt>
                  <c:pt idx="8">
                    <c:v>1.0492031188428068</c:v>
                  </c:pt>
                  <c:pt idx="9">
                    <c:v>1.1836597740090957</c:v>
                  </c:pt>
                  <c:pt idx="10">
                    <c:v>1.3993480410202883</c:v>
                  </c:pt>
                  <c:pt idx="11">
                    <c:v>1.6222812398024531</c:v>
                  </c:pt>
                </c:numCache>
              </c:numRef>
            </c:minus>
            <c:spPr>
              <a:noFill/>
              <a:ln w="9525" cap="flat" cmpd="sng" algn="ctr">
                <a:solidFill>
                  <a:schemeClr val="tx1">
                    <a:lumMod val="65000"/>
                    <a:lumOff val="35000"/>
                  </a:schemeClr>
                </a:solidFill>
                <a:round/>
              </a:ln>
              <a:effectLst/>
            </c:spPr>
          </c:errBars>
          <c:xVal>
            <c:numRef>
              <c:f>'[From 30% Dissolution of pellets Uncured and 2 Hr Cured- Solidlab (3units) .xlsx]Sheet1'!$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From 30% Dissolution of pellets Uncured and 2 Hr Cured- Solidlab (3units) .xlsx]Sheet1'!$J$6:$J$18</c:f>
              <c:numCache>
                <c:formatCode>0.00</c:formatCode>
                <c:ptCount val="13"/>
                <c:pt idx="0">
                  <c:v>0</c:v>
                </c:pt>
                <c:pt idx="1">
                  <c:v>7.1475588131695087</c:v>
                </c:pt>
                <c:pt idx="2">
                  <c:v>8.2327081871981544</c:v>
                </c:pt>
                <c:pt idx="3">
                  <c:v>8.9194665742122954</c:v>
                </c:pt>
                <c:pt idx="4">
                  <c:v>9.3569367090490907</c:v>
                </c:pt>
                <c:pt idx="5">
                  <c:v>10.081572916764877</c:v>
                </c:pt>
                <c:pt idx="6">
                  <c:v>11.166108194941128</c:v>
                </c:pt>
                <c:pt idx="7">
                  <c:v>12.767213451975316</c:v>
                </c:pt>
                <c:pt idx="8">
                  <c:v>13.853324468015394</c:v>
                </c:pt>
                <c:pt idx="9">
                  <c:v>14.844174601726351</c:v>
                </c:pt>
                <c:pt idx="10">
                  <c:v>16.633714518188341</c:v>
                </c:pt>
                <c:pt idx="11">
                  <c:v>18.083159352200479</c:v>
                </c:pt>
                <c:pt idx="12">
                  <c:v>19.379066004933307</c:v>
                </c:pt>
              </c:numCache>
            </c:numRef>
          </c:yVal>
          <c:smooth val="0"/>
          <c:extLst>
            <c:ext xmlns:c16="http://schemas.microsoft.com/office/drawing/2014/chart" uri="{C3380CC4-5D6E-409C-BE32-E72D297353CC}">
              <c16:uniqueId val="{00000001-BFB5-4D4C-8A60-70D4C641ECA8}"/>
            </c:ext>
          </c:extLst>
        </c:ser>
        <c:dLbls>
          <c:showLegendKey val="0"/>
          <c:showVal val="0"/>
          <c:showCatName val="0"/>
          <c:showSerName val="0"/>
          <c:showPercent val="0"/>
          <c:showBubbleSize val="0"/>
        </c:dLbls>
        <c:axId val="500909551"/>
        <c:axId val="500906223"/>
      </c:scatterChart>
      <c:valAx>
        <c:axId val="500909551"/>
        <c:scaling>
          <c:orientation val="minMax"/>
          <c:max val="60"/>
        </c:scaling>
        <c:delete val="0"/>
        <c:axPos val="b"/>
        <c:title>
          <c:tx>
            <c:rich>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Time in Min</a:t>
                </a:r>
              </a:p>
            </c:rich>
          </c:tx>
          <c:layout>
            <c:manualLayout>
              <c:xMode val="edge"/>
              <c:yMode val="edge"/>
              <c:x val="0.41912521783353685"/>
              <c:y val="0.79455618671934447"/>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6223"/>
        <c:crosses val="autoZero"/>
        <c:crossBetween val="midCat"/>
        <c:majorUnit val="5"/>
      </c:valAx>
      <c:valAx>
        <c:axId val="500906223"/>
        <c:scaling>
          <c:orientation val="minMax"/>
          <c:max val="100"/>
        </c:scaling>
        <c:delete val="0"/>
        <c:axPos val="l"/>
        <c:title>
          <c:tx>
            <c:rich>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 drug released</a:t>
                </a:r>
              </a:p>
            </c:rich>
          </c:tx>
          <c:overlay val="0"/>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9551"/>
        <c:crosses val="autoZero"/>
        <c:crossBetween val="midCat"/>
        <c:majorUnit val="20"/>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9050">
      <a:solidFill>
        <a:srgbClr val="000000"/>
      </a:solidFill>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tx1"/>
                </a:solidFill>
                <a:latin typeface="+mn-lt"/>
                <a:ea typeface="+mn-ea"/>
                <a:cs typeface="+mn-cs"/>
              </a:defRPr>
            </a:pPr>
            <a:r>
              <a:rPr lang="en-US" sz="1800" b="1" i="0" baseline="0" dirty="0">
                <a:solidFill>
                  <a:schemeClr val="tx1"/>
                </a:solidFill>
                <a:effectLst/>
              </a:rPr>
              <a:t>Vardenafil pellets coated Smartseal Coated with BHT, 30 % w/g. Dissolution in pH 6.8 Phosphate Buffer pH 6.8, 900ml, basket at 100 rpm</a:t>
            </a:r>
            <a:endParaRPr lang="en-US" sz="1800" b="1" dirty="0">
              <a:solidFill>
                <a:schemeClr val="tx1"/>
              </a:solidFill>
              <a:effectLst/>
            </a:endParaRPr>
          </a:p>
        </c:rich>
      </c:tx>
      <c:layout>
        <c:manualLayout>
          <c:xMode val="edge"/>
          <c:yMode val="edge"/>
          <c:x val="0.17057166570179341"/>
          <c:y val="2.0103306447863015E-2"/>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2639167985877728"/>
          <c:y val="0.1741195789664233"/>
          <c:w val="0.81862729658792655"/>
          <c:h val="0.54507655293088364"/>
        </c:manualLayout>
      </c:layout>
      <c:scatterChart>
        <c:scatterStyle val="lineMarker"/>
        <c:varyColors val="0"/>
        <c:ser>
          <c:idx val="0"/>
          <c:order val="0"/>
          <c:tx>
            <c:strRef>
              <c:f>'[Batch #03- 30% Dissolution of pellets - 1Hr and 2 Hr Cured- Solidlab (3units).xlsx]Sheet2'!$I$4</c:f>
              <c:strCache>
                <c:ptCount val="1"/>
                <c:pt idx="0">
                  <c:v>30% wt. gain 1 Hr Cured</c:v>
                </c:pt>
              </c:strCache>
            </c:strRef>
          </c:tx>
          <c:spPr>
            <a:ln w="19050" cap="rnd">
              <a:solidFill>
                <a:srgbClr val="0070C0"/>
              </a:solidFill>
              <a:round/>
            </a:ln>
            <a:effectLst/>
          </c:spPr>
          <c:marker>
            <c:symbol val="x"/>
            <c:size val="5"/>
            <c:spPr>
              <a:solidFill>
                <a:srgbClr val="0070C0"/>
              </a:solidFill>
              <a:ln w="9525">
                <a:solidFill>
                  <a:srgbClr val="0070C0"/>
                </a:solidFill>
              </a:ln>
              <a:effectLst/>
            </c:spPr>
          </c:marker>
          <c:errBars>
            <c:errDir val="y"/>
            <c:errBarType val="both"/>
            <c:errValType val="cust"/>
            <c:noEndCap val="0"/>
            <c:plus>
              <c:numRef>
                <c:f>'[Batch #03- 30% Dissolution of pellets - 1Hr and 2 Hr Cured- Solidlab (3units).xlsx]Sheet2'!$K$6:$K$18</c:f>
                <c:numCache>
                  <c:formatCode>General</c:formatCode>
                  <c:ptCount val="13"/>
                  <c:pt idx="0">
                    <c:v>0</c:v>
                  </c:pt>
                  <c:pt idx="1">
                    <c:v>0.44918092692897627</c:v>
                  </c:pt>
                  <c:pt idx="2">
                    <c:v>0.53629802317727948</c:v>
                  </c:pt>
                  <c:pt idx="3">
                    <c:v>0.48012320502388395</c:v>
                  </c:pt>
                  <c:pt idx="4">
                    <c:v>0.55884873448858796</c:v>
                  </c:pt>
                  <c:pt idx="5">
                    <c:v>0.7471141055349042</c:v>
                  </c:pt>
                  <c:pt idx="6">
                    <c:v>0.91455860898113706</c:v>
                  </c:pt>
                  <c:pt idx="7">
                    <c:v>1.2320578693612907</c:v>
                  </c:pt>
                  <c:pt idx="8">
                    <c:v>0.81396212475428587</c:v>
                  </c:pt>
                  <c:pt idx="9">
                    <c:v>0.99500987825933218</c:v>
                  </c:pt>
                  <c:pt idx="10">
                    <c:v>1.1942834616485063</c:v>
                  </c:pt>
                  <c:pt idx="11">
                    <c:v>1.3453550118653523</c:v>
                  </c:pt>
                  <c:pt idx="12">
                    <c:v>1.4596558952833716</c:v>
                  </c:pt>
                </c:numCache>
              </c:numRef>
            </c:plus>
            <c:minus>
              <c:numRef>
                <c:f>'[Batch #03- 30% Dissolution of pellets - 1Hr and 2 Hr Cured- Solidlab (3units).xlsx]Sheet2'!$K$6:$K$18</c:f>
                <c:numCache>
                  <c:formatCode>General</c:formatCode>
                  <c:ptCount val="13"/>
                  <c:pt idx="0">
                    <c:v>0</c:v>
                  </c:pt>
                  <c:pt idx="1">
                    <c:v>0.44918092692897627</c:v>
                  </c:pt>
                  <c:pt idx="2">
                    <c:v>0.53629802317727948</c:v>
                  </c:pt>
                  <c:pt idx="3">
                    <c:v>0.48012320502388395</c:v>
                  </c:pt>
                  <c:pt idx="4">
                    <c:v>0.55884873448858796</c:v>
                  </c:pt>
                  <c:pt idx="5">
                    <c:v>0.7471141055349042</c:v>
                  </c:pt>
                  <c:pt idx="6">
                    <c:v>0.91455860898113706</c:v>
                  </c:pt>
                  <c:pt idx="7">
                    <c:v>1.2320578693612907</c:v>
                  </c:pt>
                  <c:pt idx="8">
                    <c:v>0.81396212475428587</c:v>
                  </c:pt>
                  <c:pt idx="9">
                    <c:v>0.99500987825933218</c:v>
                  </c:pt>
                  <c:pt idx="10">
                    <c:v>1.1942834616485063</c:v>
                  </c:pt>
                  <c:pt idx="11">
                    <c:v>1.3453550118653523</c:v>
                  </c:pt>
                  <c:pt idx="12">
                    <c:v>1.4596558952833716</c:v>
                  </c:pt>
                </c:numCache>
              </c:numRef>
            </c:minus>
            <c:spPr>
              <a:noFill/>
              <a:ln w="9525" cap="flat" cmpd="sng" algn="ctr">
                <a:solidFill>
                  <a:schemeClr val="tx1">
                    <a:lumMod val="65000"/>
                    <a:lumOff val="35000"/>
                  </a:schemeClr>
                </a:solidFill>
                <a:round/>
              </a:ln>
              <a:effectLst/>
            </c:spPr>
          </c:errBars>
          <c:xVal>
            <c:numRef>
              <c:f>'[Batch #03- 30% Dissolution of pellets - 1Hr and 2 Hr Cured- Solidlab (3units).xlsx]Sheet2'!$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Batch #03- 30% Dissolution of pellets - 1Hr and 2 Hr Cured- Solidlab (3units).xlsx]Sheet2'!$I$6:$I$18</c:f>
              <c:numCache>
                <c:formatCode>0.00</c:formatCode>
                <c:ptCount val="13"/>
                <c:pt idx="0" formatCode="General">
                  <c:v>0</c:v>
                </c:pt>
                <c:pt idx="1">
                  <c:v>6.5501212291203581</c:v>
                </c:pt>
                <c:pt idx="2">
                  <c:v>7.7605198932193105</c:v>
                </c:pt>
                <c:pt idx="3">
                  <c:v>8.5089199493623973</c:v>
                </c:pt>
                <c:pt idx="4">
                  <c:v>8.9983316208777548</c:v>
                </c:pt>
                <c:pt idx="5">
                  <c:v>9.388939355841643</c:v>
                </c:pt>
                <c:pt idx="6">
                  <c:v>10.610378564266812</c:v>
                </c:pt>
                <c:pt idx="7">
                  <c:v>11.398341193664244</c:v>
                </c:pt>
                <c:pt idx="8">
                  <c:v>12.863675776660278</c:v>
                </c:pt>
                <c:pt idx="9">
                  <c:v>13.708012147265057</c:v>
                </c:pt>
                <c:pt idx="10">
                  <c:v>15.05379477290205</c:v>
                </c:pt>
                <c:pt idx="11">
                  <c:v>16.138885599836488</c:v>
                </c:pt>
                <c:pt idx="12">
                  <c:v>17.032506454673214</c:v>
                </c:pt>
              </c:numCache>
            </c:numRef>
          </c:yVal>
          <c:smooth val="0"/>
          <c:extLst>
            <c:ext xmlns:c16="http://schemas.microsoft.com/office/drawing/2014/chart" uri="{C3380CC4-5D6E-409C-BE32-E72D297353CC}">
              <c16:uniqueId val="{00000000-9D17-413C-B4E5-EF3626017C20}"/>
            </c:ext>
          </c:extLst>
        </c:ser>
        <c:ser>
          <c:idx val="1"/>
          <c:order val="1"/>
          <c:tx>
            <c:strRef>
              <c:f>'[Batch #03- 30% Dissolution of pellets - 1Hr and 2 Hr Cured- Solidlab (3units).xlsx]Sheet2'!$J$4</c:f>
              <c:strCache>
                <c:ptCount val="1"/>
                <c:pt idx="0">
                  <c:v>30% wt. gain 2 Hr Cured </c:v>
                </c:pt>
              </c:strCache>
            </c:strRef>
          </c:tx>
          <c:spPr>
            <a:ln w="19050" cap="rnd">
              <a:solidFill>
                <a:srgbClr val="00B050"/>
              </a:solidFill>
              <a:round/>
            </a:ln>
            <a:effectLst/>
          </c:spPr>
          <c:marker>
            <c:symbol val="circle"/>
            <c:size val="5"/>
            <c:spPr>
              <a:solidFill>
                <a:srgbClr val="00B050"/>
              </a:solidFill>
              <a:ln w="9525">
                <a:solidFill>
                  <a:srgbClr val="00B050"/>
                </a:solidFill>
              </a:ln>
              <a:effectLst/>
            </c:spPr>
          </c:marker>
          <c:errBars>
            <c:errDir val="y"/>
            <c:errBarType val="both"/>
            <c:errValType val="cust"/>
            <c:noEndCap val="0"/>
            <c:plus>
              <c:numRef>
                <c:f>'[Batch #03- 30% Dissolution of pellets - 1Hr and 2 Hr Cured- Solidlab (3units).xlsx]Sheet2'!$L$6:$L$18</c:f>
                <c:numCache>
                  <c:formatCode>General</c:formatCode>
                  <c:ptCount val="13"/>
                  <c:pt idx="0">
                    <c:v>0</c:v>
                  </c:pt>
                  <c:pt idx="1">
                    <c:v>0.61218609895837672</c:v>
                  </c:pt>
                  <c:pt idx="2">
                    <c:v>0.57804994813569577</c:v>
                  </c:pt>
                  <c:pt idx="3">
                    <c:v>0.47038911119527388</c:v>
                  </c:pt>
                  <c:pt idx="4">
                    <c:v>0.41737019449321494</c:v>
                  </c:pt>
                  <c:pt idx="5">
                    <c:v>0.64680193948520071</c:v>
                  </c:pt>
                  <c:pt idx="6">
                    <c:v>0.97017065391442248</c:v>
                  </c:pt>
                  <c:pt idx="7">
                    <c:v>2.3549541953678146</c:v>
                  </c:pt>
                  <c:pt idx="8">
                    <c:v>1.0492031188428068</c:v>
                  </c:pt>
                  <c:pt idx="9">
                    <c:v>1.1836597740090957</c:v>
                  </c:pt>
                  <c:pt idx="10">
                    <c:v>1.3993480410202883</c:v>
                  </c:pt>
                  <c:pt idx="11">
                    <c:v>1.6222812398024531</c:v>
                  </c:pt>
                  <c:pt idx="12">
                    <c:v>1.8969876356657345</c:v>
                  </c:pt>
                </c:numCache>
              </c:numRef>
            </c:plus>
            <c:minus>
              <c:numRef>
                <c:f>'[Batch #03- 30% Dissolution of pellets - 1Hr and 2 Hr Cured- Solidlab (3units).xlsx]Sheet2'!$L$6:$L$18</c:f>
                <c:numCache>
                  <c:formatCode>General</c:formatCode>
                  <c:ptCount val="13"/>
                  <c:pt idx="0">
                    <c:v>0</c:v>
                  </c:pt>
                  <c:pt idx="1">
                    <c:v>0.61218609895837672</c:v>
                  </c:pt>
                  <c:pt idx="2">
                    <c:v>0.57804994813569577</c:v>
                  </c:pt>
                  <c:pt idx="3">
                    <c:v>0.47038911119527388</c:v>
                  </c:pt>
                  <c:pt idx="4">
                    <c:v>0.41737019449321494</c:v>
                  </c:pt>
                  <c:pt idx="5">
                    <c:v>0.64680193948520071</c:v>
                  </c:pt>
                  <c:pt idx="6">
                    <c:v>0.97017065391442248</c:v>
                  </c:pt>
                  <c:pt idx="7">
                    <c:v>2.3549541953678146</c:v>
                  </c:pt>
                  <c:pt idx="8">
                    <c:v>1.0492031188428068</c:v>
                  </c:pt>
                  <c:pt idx="9">
                    <c:v>1.1836597740090957</c:v>
                  </c:pt>
                  <c:pt idx="10">
                    <c:v>1.3993480410202883</c:v>
                  </c:pt>
                  <c:pt idx="11">
                    <c:v>1.6222812398024531</c:v>
                  </c:pt>
                  <c:pt idx="12">
                    <c:v>1.8969876356657345</c:v>
                  </c:pt>
                </c:numCache>
              </c:numRef>
            </c:minus>
            <c:spPr>
              <a:noFill/>
              <a:ln w="9525" cap="flat" cmpd="sng" algn="ctr">
                <a:solidFill>
                  <a:schemeClr val="tx1">
                    <a:lumMod val="65000"/>
                    <a:lumOff val="35000"/>
                  </a:schemeClr>
                </a:solidFill>
                <a:round/>
              </a:ln>
              <a:effectLst/>
            </c:spPr>
          </c:errBars>
          <c:xVal>
            <c:numRef>
              <c:f>'[Batch #03- 30% Dissolution of pellets - 1Hr and 2 Hr Cured- Solidlab (3units).xlsx]Sheet2'!$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Batch #03- 30% Dissolution of pellets - 1Hr and 2 Hr Cured- Solidlab (3units).xlsx]Sheet2'!$J$6:$J$18</c:f>
              <c:numCache>
                <c:formatCode>0.00</c:formatCode>
                <c:ptCount val="13"/>
                <c:pt idx="0" formatCode="General">
                  <c:v>0</c:v>
                </c:pt>
                <c:pt idx="1">
                  <c:v>7.1475588131695078</c:v>
                </c:pt>
                <c:pt idx="2">
                  <c:v>8.2327081871981544</c:v>
                </c:pt>
                <c:pt idx="3">
                  <c:v>8.9194665742122954</c:v>
                </c:pt>
                <c:pt idx="4">
                  <c:v>9.3569367090490889</c:v>
                </c:pt>
                <c:pt idx="5">
                  <c:v>10.081572916764877</c:v>
                </c:pt>
                <c:pt idx="6">
                  <c:v>11.166108194941126</c:v>
                </c:pt>
                <c:pt idx="7">
                  <c:v>12.767213451975314</c:v>
                </c:pt>
                <c:pt idx="8">
                  <c:v>13.853324468015396</c:v>
                </c:pt>
                <c:pt idx="9">
                  <c:v>14.844174601726351</c:v>
                </c:pt>
                <c:pt idx="10">
                  <c:v>16.633714518188341</c:v>
                </c:pt>
                <c:pt idx="11">
                  <c:v>18.083159352200479</c:v>
                </c:pt>
                <c:pt idx="12">
                  <c:v>19.379066004933307</c:v>
                </c:pt>
              </c:numCache>
            </c:numRef>
          </c:yVal>
          <c:smooth val="0"/>
          <c:extLst>
            <c:ext xmlns:c16="http://schemas.microsoft.com/office/drawing/2014/chart" uri="{C3380CC4-5D6E-409C-BE32-E72D297353CC}">
              <c16:uniqueId val="{00000001-9D17-413C-B4E5-EF3626017C20}"/>
            </c:ext>
          </c:extLst>
        </c:ser>
        <c:dLbls>
          <c:showLegendKey val="0"/>
          <c:showVal val="0"/>
          <c:showCatName val="0"/>
          <c:showSerName val="0"/>
          <c:showPercent val="0"/>
          <c:showBubbleSize val="0"/>
        </c:dLbls>
        <c:axId val="500909551"/>
        <c:axId val="500906223"/>
      </c:scatterChart>
      <c:valAx>
        <c:axId val="500909551"/>
        <c:scaling>
          <c:orientation val="minMax"/>
          <c:max val="60"/>
        </c:scaling>
        <c:delete val="0"/>
        <c:axPos val="b"/>
        <c:title>
          <c:tx>
            <c:rich>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Time in Min</a:t>
                </a:r>
              </a:p>
            </c:rich>
          </c:tx>
          <c:layout>
            <c:manualLayout>
              <c:xMode val="edge"/>
              <c:yMode val="edge"/>
              <c:x val="0.43232292303286723"/>
              <c:y val="0.83031345273940127"/>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6223"/>
        <c:crosses val="autoZero"/>
        <c:crossBetween val="midCat"/>
        <c:majorUnit val="5"/>
      </c:valAx>
      <c:valAx>
        <c:axId val="500906223"/>
        <c:scaling>
          <c:orientation val="minMax"/>
          <c:max val="100"/>
        </c:scaling>
        <c:delete val="0"/>
        <c:axPos val="l"/>
        <c:title>
          <c:tx>
            <c:rich>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 drug released</a:t>
                </a:r>
              </a:p>
            </c:rich>
          </c:tx>
          <c:overlay val="0"/>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9551"/>
        <c:crosses val="autoZero"/>
        <c:crossBetween val="midCat"/>
        <c:majorUnit val="20"/>
      </c:valAx>
      <c:spPr>
        <a:noFill/>
        <a:ln>
          <a:noFill/>
        </a:ln>
        <a:effectLst/>
      </c:spPr>
    </c:plotArea>
    <c:legend>
      <c:legendPos val="b"/>
      <c:layout>
        <c:manualLayout>
          <c:xMode val="edge"/>
          <c:yMode val="edge"/>
          <c:x val="0.13849936002616281"/>
          <c:y val="0.92681403725570843"/>
          <c:w val="0.76857090279625273"/>
          <c:h val="7.3185962744291566E-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w="19050">
      <a:solidFill>
        <a:srgbClr val="000000"/>
      </a:solidFill>
    </a:ln>
    <a:effectLst/>
  </c:spPr>
  <c:txPr>
    <a:bodyPr/>
    <a:lstStyle/>
    <a:p>
      <a:pPr>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tx1"/>
                </a:solidFill>
                <a:latin typeface="+mn-lt"/>
                <a:ea typeface="+mn-ea"/>
                <a:cs typeface="+mn-cs"/>
              </a:defRPr>
            </a:pPr>
            <a:r>
              <a:rPr lang="en-US" sz="1800" b="1" i="0" baseline="0" dirty="0">
                <a:solidFill>
                  <a:schemeClr val="tx1"/>
                </a:solidFill>
                <a:effectLst/>
              </a:rPr>
              <a:t>Vardenafil pellets coated with Smartseal (with and without BHT), 30 % w/g. Dissolution in 0.1N HCl, </a:t>
            </a:r>
            <a:r>
              <a:rPr lang="en-US" sz="1800" b="1" i="0" u="none" strike="noStrike" baseline="0" dirty="0">
                <a:solidFill>
                  <a:schemeClr val="tx1"/>
                </a:solidFill>
                <a:effectLst/>
              </a:rPr>
              <a:t>900ml, basket at 100 rpm </a:t>
            </a:r>
            <a:endParaRPr lang="en-US" sz="1800" dirty="0">
              <a:solidFill>
                <a:schemeClr val="tx1"/>
              </a:solidFill>
              <a:effectLst/>
            </a:endParaRPr>
          </a:p>
        </c:rich>
      </c:tx>
      <c:layout>
        <c:manualLayout>
          <c:xMode val="edge"/>
          <c:yMode val="edge"/>
          <c:x val="0.14163745669384906"/>
          <c:y val="2.1584145146456558E-2"/>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5190011994745159"/>
          <c:y val="0.22611191642912656"/>
          <c:w val="0.81862729658792655"/>
          <c:h val="0.54507655293088364"/>
        </c:manualLayout>
      </c:layout>
      <c:scatterChart>
        <c:scatterStyle val="lineMarker"/>
        <c:varyColors val="0"/>
        <c:ser>
          <c:idx val="0"/>
          <c:order val="0"/>
          <c:tx>
            <c:strRef>
              <c:f>'[Batch #02-25% &amp; 30% Dissolution of pellets in 0.1N HCl - Cured- Solidlab (3units).xlsx]Sheet2'!$J$4</c:f>
              <c:strCache>
                <c:ptCount val="1"/>
                <c:pt idx="0">
                  <c:v>30% wt. gain Cured (Without BHT) </c:v>
                </c:pt>
              </c:strCache>
            </c:strRef>
          </c:tx>
          <c:spPr>
            <a:ln w="19050" cap="rnd">
              <a:solidFill>
                <a:srgbClr val="0070C0"/>
              </a:solidFill>
              <a:round/>
            </a:ln>
            <a:effectLst/>
          </c:spPr>
          <c:marker>
            <c:symbol val="diamond"/>
            <c:size val="5"/>
            <c:spPr>
              <a:solidFill>
                <a:srgbClr val="0070C0"/>
              </a:solidFill>
              <a:ln w="9525">
                <a:solidFill>
                  <a:srgbClr val="0070C0"/>
                </a:solidFill>
              </a:ln>
              <a:effectLst/>
            </c:spPr>
          </c:marker>
          <c:errBars>
            <c:errDir val="y"/>
            <c:errBarType val="both"/>
            <c:errValType val="cust"/>
            <c:noEndCap val="0"/>
            <c:plus>
              <c:numRef>
                <c:f>'[Batch #02-25% &amp; 30% Dissolution of pellets in 0.1N HCl - Cured- Solidlab (3units).xlsx]Sheet2'!$M$6:$M$18</c:f>
                <c:numCache>
                  <c:formatCode>General</c:formatCode>
                  <c:ptCount val="13"/>
                  <c:pt idx="0">
                    <c:v>0</c:v>
                  </c:pt>
                  <c:pt idx="1">
                    <c:v>6.7128156689409648</c:v>
                  </c:pt>
                  <c:pt idx="2">
                    <c:v>1.2286323866183992</c:v>
                  </c:pt>
                  <c:pt idx="3">
                    <c:v>1.5708925204252022</c:v>
                  </c:pt>
                  <c:pt idx="4">
                    <c:v>0.53726302331464015</c:v>
                  </c:pt>
                  <c:pt idx="5">
                    <c:v>0.84917418592577187</c:v>
                  </c:pt>
                  <c:pt idx="6">
                    <c:v>1.6241632335965255</c:v>
                  </c:pt>
                  <c:pt idx="7">
                    <c:v>1.736965602746686</c:v>
                  </c:pt>
                  <c:pt idx="8">
                    <c:v>1.5346663472017383</c:v>
                  </c:pt>
                  <c:pt idx="9">
                    <c:v>1.5091880353898719</c:v>
                  </c:pt>
                  <c:pt idx="10">
                    <c:v>1.5843516277406977</c:v>
                  </c:pt>
                  <c:pt idx="11">
                    <c:v>1.5113243260440992</c:v>
                  </c:pt>
                  <c:pt idx="12">
                    <c:v>1.5858638425252356</c:v>
                  </c:pt>
                </c:numCache>
              </c:numRef>
            </c:plus>
            <c:minus>
              <c:numRef>
                <c:f>'[Batch #02-25% &amp; 30% Dissolution of pellets in 0.1N HCl - Cured- Solidlab (3units).xlsx]Sheet2'!$M$6:$M$18</c:f>
                <c:numCache>
                  <c:formatCode>General</c:formatCode>
                  <c:ptCount val="13"/>
                  <c:pt idx="0">
                    <c:v>0</c:v>
                  </c:pt>
                  <c:pt idx="1">
                    <c:v>6.7128156689409648</c:v>
                  </c:pt>
                  <c:pt idx="2">
                    <c:v>1.2286323866183992</c:v>
                  </c:pt>
                  <c:pt idx="3">
                    <c:v>1.5708925204252022</c:v>
                  </c:pt>
                  <c:pt idx="4">
                    <c:v>0.53726302331464015</c:v>
                  </c:pt>
                  <c:pt idx="5">
                    <c:v>0.84917418592577187</c:v>
                  </c:pt>
                  <c:pt idx="6">
                    <c:v>1.6241632335965255</c:v>
                  </c:pt>
                  <c:pt idx="7">
                    <c:v>1.736965602746686</c:v>
                  </c:pt>
                  <c:pt idx="8">
                    <c:v>1.5346663472017383</c:v>
                  </c:pt>
                  <c:pt idx="9">
                    <c:v>1.5091880353898719</c:v>
                  </c:pt>
                  <c:pt idx="10">
                    <c:v>1.5843516277406977</c:v>
                  </c:pt>
                  <c:pt idx="11">
                    <c:v>1.5113243260440992</c:v>
                  </c:pt>
                  <c:pt idx="12">
                    <c:v>1.5858638425252356</c:v>
                  </c:pt>
                </c:numCache>
              </c:numRef>
            </c:minus>
            <c:spPr>
              <a:noFill/>
              <a:ln w="9525" cap="flat" cmpd="sng" algn="ctr">
                <a:solidFill>
                  <a:schemeClr val="tx1">
                    <a:lumMod val="65000"/>
                    <a:lumOff val="35000"/>
                  </a:schemeClr>
                </a:solidFill>
                <a:round/>
              </a:ln>
              <a:effectLst/>
            </c:spPr>
          </c:errBars>
          <c:xVal>
            <c:numRef>
              <c:f>'[Batch #02-25% &amp; 30% Dissolution of pellets in 0.1N HCl - Cured- Solidlab (3units).xlsx]Sheet2'!$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Batch #02-25% &amp; 30% Dissolution of pellets in 0.1N HCl - Cured- Solidlab (3units).xlsx]Sheet2'!$J$6:$J$18</c:f>
              <c:numCache>
                <c:formatCode>0.00</c:formatCode>
                <c:ptCount val="13"/>
                <c:pt idx="0">
                  <c:v>0</c:v>
                </c:pt>
                <c:pt idx="1">
                  <c:v>72.24937720666199</c:v>
                </c:pt>
                <c:pt idx="2">
                  <c:v>88.442030742376005</c:v>
                </c:pt>
                <c:pt idx="3">
                  <c:v>95.850702033085611</c:v>
                </c:pt>
                <c:pt idx="4">
                  <c:v>98.790543050004601</c:v>
                </c:pt>
                <c:pt idx="5">
                  <c:v>100.30799403203227</c:v>
                </c:pt>
                <c:pt idx="6">
                  <c:v>100.99510403596334</c:v>
                </c:pt>
                <c:pt idx="7">
                  <c:v>101.12430823956041</c:v>
                </c:pt>
                <c:pt idx="8">
                  <c:v>101.5586486780515</c:v>
                </c:pt>
                <c:pt idx="9">
                  <c:v>101.6240628451267</c:v>
                </c:pt>
                <c:pt idx="10">
                  <c:v>101.83258669642743</c:v>
                </c:pt>
                <c:pt idx="11">
                  <c:v>102.32664470462424</c:v>
                </c:pt>
                <c:pt idx="12">
                  <c:v>102.57042981881224</c:v>
                </c:pt>
              </c:numCache>
            </c:numRef>
          </c:yVal>
          <c:smooth val="0"/>
          <c:extLst>
            <c:ext xmlns:c16="http://schemas.microsoft.com/office/drawing/2014/chart" uri="{C3380CC4-5D6E-409C-BE32-E72D297353CC}">
              <c16:uniqueId val="{00000000-61B0-4717-A52D-A60C30329C29}"/>
            </c:ext>
          </c:extLst>
        </c:ser>
        <c:ser>
          <c:idx val="1"/>
          <c:order val="1"/>
          <c:tx>
            <c:strRef>
              <c:f>'[Batch #02-25% &amp; 30% Dissolution of pellets in 0.1N HCl - Cured- Solidlab (3units).xlsx]Sheet2'!$K$4</c:f>
              <c:strCache>
                <c:ptCount val="1"/>
                <c:pt idx="0">
                  <c:v>30% wt. gain Cured (With BHT) </c:v>
                </c:pt>
              </c:strCache>
            </c:strRef>
          </c:tx>
          <c:spPr>
            <a:ln w="19050" cap="rnd">
              <a:solidFill>
                <a:srgbClr val="00B050"/>
              </a:solidFill>
              <a:round/>
            </a:ln>
            <a:effectLst/>
          </c:spPr>
          <c:marker>
            <c:symbol val="circle"/>
            <c:size val="5"/>
            <c:spPr>
              <a:solidFill>
                <a:srgbClr val="00B050"/>
              </a:solidFill>
              <a:ln w="9525">
                <a:solidFill>
                  <a:srgbClr val="00B050"/>
                </a:solidFill>
              </a:ln>
              <a:effectLst/>
            </c:spPr>
          </c:marker>
          <c:errBars>
            <c:errDir val="y"/>
            <c:errBarType val="both"/>
            <c:errValType val="cust"/>
            <c:noEndCap val="0"/>
            <c:plus>
              <c:numRef>
                <c:f>'[Batch #02-25% &amp; 30% Dissolution of pellets in 0.1N HCl - Cured- Solidlab (3units).xlsx]Sheet2'!$N$6:$N$18</c:f>
                <c:numCache>
                  <c:formatCode>General</c:formatCode>
                  <c:ptCount val="13"/>
                  <c:pt idx="0">
                    <c:v>0</c:v>
                  </c:pt>
                  <c:pt idx="1">
                    <c:v>1.7423615787734341</c:v>
                  </c:pt>
                  <c:pt idx="2">
                    <c:v>2.6117790533367526</c:v>
                  </c:pt>
                  <c:pt idx="3">
                    <c:v>0.91365946986996549</c:v>
                  </c:pt>
                  <c:pt idx="4">
                    <c:v>2.4511934015012802</c:v>
                  </c:pt>
                  <c:pt idx="5">
                    <c:v>3.5325008976081707</c:v>
                  </c:pt>
                  <c:pt idx="6">
                    <c:v>1.8531547250249127</c:v>
                  </c:pt>
                  <c:pt idx="7">
                    <c:v>3.025459251843317</c:v>
                  </c:pt>
                  <c:pt idx="8">
                    <c:v>2.7750016169562928</c:v>
                  </c:pt>
                  <c:pt idx="9">
                    <c:v>2.6409542819753238</c:v>
                  </c:pt>
                  <c:pt idx="10">
                    <c:v>3.6096050098438841</c:v>
                  </c:pt>
                  <c:pt idx="11">
                    <c:v>3.8616937933293127</c:v>
                  </c:pt>
                  <c:pt idx="12">
                    <c:v>3.8578530417902059</c:v>
                  </c:pt>
                </c:numCache>
              </c:numRef>
            </c:plus>
            <c:minus>
              <c:numRef>
                <c:f>'[Batch #02-25% &amp; 30% Dissolution of pellets in 0.1N HCl - Cured- Solidlab (3units).xlsx]Sheet2'!$N$6:$N$18</c:f>
                <c:numCache>
                  <c:formatCode>General</c:formatCode>
                  <c:ptCount val="13"/>
                  <c:pt idx="0">
                    <c:v>0</c:v>
                  </c:pt>
                  <c:pt idx="1">
                    <c:v>1.7423615787734341</c:v>
                  </c:pt>
                  <c:pt idx="2">
                    <c:v>2.6117790533367526</c:v>
                  </c:pt>
                  <c:pt idx="3">
                    <c:v>0.91365946986996549</c:v>
                  </c:pt>
                  <c:pt idx="4">
                    <c:v>2.4511934015012802</c:v>
                  </c:pt>
                  <c:pt idx="5">
                    <c:v>3.5325008976081707</c:v>
                  </c:pt>
                  <c:pt idx="6">
                    <c:v>1.8531547250249127</c:v>
                  </c:pt>
                  <c:pt idx="7">
                    <c:v>3.025459251843317</c:v>
                  </c:pt>
                  <c:pt idx="8">
                    <c:v>2.7750016169562928</c:v>
                  </c:pt>
                  <c:pt idx="9">
                    <c:v>2.6409542819753238</c:v>
                  </c:pt>
                  <c:pt idx="10">
                    <c:v>3.6096050098438841</c:v>
                  </c:pt>
                  <c:pt idx="11">
                    <c:v>3.8616937933293127</c:v>
                  </c:pt>
                  <c:pt idx="12">
                    <c:v>3.8578530417902059</c:v>
                  </c:pt>
                </c:numCache>
              </c:numRef>
            </c:minus>
            <c:spPr>
              <a:noFill/>
              <a:ln w="9525" cap="flat" cmpd="sng" algn="ctr">
                <a:solidFill>
                  <a:schemeClr val="tx1">
                    <a:lumMod val="65000"/>
                    <a:lumOff val="35000"/>
                  </a:schemeClr>
                </a:solidFill>
                <a:round/>
              </a:ln>
              <a:effectLst/>
            </c:spPr>
          </c:errBars>
          <c:xVal>
            <c:numRef>
              <c:f>'[Batch #02-25% &amp; 30% Dissolution of pellets in 0.1N HCl - Cured- Solidlab (3units).xlsx]Sheet2'!$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Batch #02-25% &amp; 30% Dissolution of pellets in 0.1N HCl - Cured- Solidlab (3units).xlsx]Sheet2'!$K$6:$K$18</c:f>
              <c:numCache>
                <c:formatCode>0.00</c:formatCode>
                <c:ptCount val="13"/>
                <c:pt idx="0">
                  <c:v>0</c:v>
                </c:pt>
                <c:pt idx="1">
                  <c:v>78.194373919670454</c:v>
                </c:pt>
                <c:pt idx="2">
                  <c:v>91.373651235902955</c:v>
                </c:pt>
                <c:pt idx="3">
                  <c:v>97.964673586422307</c:v>
                </c:pt>
                <c:pt idx="4">
                  <c:v>100.39280890141329</c:v>
                </c:pt>
                <c:pt idx="5">
                  <c:v>102.33480625622443</c:v>
                </c:pt>
                <c:pt idx="6">
                  <c:v>102.86679810041203</c:v>
                </c:pt>
                <c:pt idx="7">
                  <c:v>103.18179635417451</c:v>
                </c:pt>
                <c:pt idx="8">
                  <c:v>103.50365342677344</c:v>
                </c:pt>
                <c:pt idx="9">
                  <c:v>103.49880675037579</c:v>
                </c:pt>
                <c:pt idx="10">
                  <c:v>103.71340017921325</c:v>
                </c:pt>
                <c:pt idx="11">
                  <c:v>104.06831921396966</c:v>
                </c:pt>
                <c:pt idx="12">
                  <c:v>104.29043292935536</c:v>
                </c:pt>
              </c:numCache>
            </c:numRef>
          </c:yVal>
          <c:smooth val="0"/>
          <c:extLst>
            <c:ext xmlns:c16="http://schemas.microsoft.com/office/drawing/2014/chart" uri="{C3380CC4-5D6E-409C-BE32-E72D297353CC}">
              <c16:uniqueId val="{00000001-61B0-4717-A52D-A60C30329C29}"/>
            </c:ext>
          </c:extLst>
        </c:ser>
        <c:dLbls>
          <c:showLegendKey val="0"/>
          <c:showVal val="0"/>
          <c:showCatName val="0"/>
          <c:showSerName val="0"/>
          <c:showPercent val="0"/>
          <c:showBubbleSize val="0"/>
        </c:dLbls>
        <c:axId val="500909551"/>
        <c:axId val="500906223"/>
      </c:scatterChart>
      <c:valAx>
        <c:axId val="500909551"/>
        <c:scaling>
          <c:orientation val="minMax"/>
          <c:max val="60"/>
        </c:scaling>
        <c:delete val="0"/>
        <c:axPos val="b"/>
        <c:title>
          <c:tx>
            <c:rich>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Time in Min</a:t>
                </a:r>
              </a:p>
            </c:rich>
          </c:tx>
          <c:layout>
            <c:manualLayout>
              <c:xMode val="edge"/>
              <c:yMode val="edge"/>
              <c:x val="0.40168379435741453"/>
              <c:y val="0.8778965027897756"/>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6223"/>
        <c:crosses val="autoZero"/>
        <c:crossBetween val="midCat"/>
        <c:majorUnit val="5"/>
      </c:valAx>
      <c:valAx>
        <c:axId val="500906223"/>
        <c:scaling>
          <c:orientation val="minMax"/>
          <c:max val="110"/>
          <c:min val="0"/>
        </c:scaling>
        <c:delete val="0"/>
        <c:axPos val="l"/>
        <c:title>
          <c:tx>
            <c:rich>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 drug released</a:t>
                </a:r>
              </a:p>
            </c:rich>
          </c:tx>
          <c:overlay val="0"/>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9551"/>
        <c:crosses val="autoZero"/>
        <c:crossBetween val="midCat"/>
        <c:majorUnit val="20"/>
      </c:valAx>
      <c:spPr>
        <a:noFill/>
        <a:ln>
          <a:noFill/>
        </a:ln>
        <a:effectLst/>
      </c:spPr>
    </c:plotArea>
    <c:legend>
      <c:legendPos val="b"/>
      <c:layout>
        <c:manualLayout>
          <c:xMode val="edge"/>
          <c:yMode val="edge"/>
          <c:x val="0.23554705426259892"/>
          <c:y val="0.46945894918041886"/>
          <c:w val="0.76168437210102369"/>
          <c:h val="0.10724581846968871"/>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9050">
      <a:solidFill>
        <a:srgbClr val="000000"/>
      </a:solidFill>
    </a:ln>
    <a:effectLst/>
  </c:spPr>
  <c:txPr>
    <a:bodyPr/>
    <a:lstStyle/>
    <a:p>
      <a:pPr>
        <a:defRPr/>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sz="1800" b="1" i="0" baseline="0" dirty="0">
                <a:effectLst/>
              </a:rPr>
              <a:t>Vardenafil pellets coated with Kollicoat</a:t>
            </a:r>
            <a:r>
              <a:rPr lang="en-US" sz="1800" b="0" i="0" baseline="30000" dirty="0">
                <a:effectLst/>
              </a:rPr>
              <a:t>® </a:t>
            </a:r>
            <a:r>
              <a:rPr lang="en-US" sz="1800" b="1" i="0" baseline="0" dirty="0">
                <a:effectLst/>
              </a:rPr>
              <a:t>Smartseal with BHT and vardenafil MUPS (different fillers). Dissolution in 0.1N HCl, 900ml, basket at 100rpm</a:t>
            </a:r>
            <a:endParaRPr lang="en-US" dirty="0">
              <a:effectLst/>
            </a:endParaRPr>
          </a:p>
        </c:rich>
      </c:tx>
      <c:layout>
        <c:manualLayout>
          <c:xMode val="edge"/>
          <c:yMode val="edge"/>
          <c:x val="0.13220101010101012"/>
          <c:y val="0"/>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endParaRPr lang="en-US"/>
        </a:p>
      </c:txPr>
    </c:title>
    <c:autoTitleDeleted val="0"/>
    <c:plotArea>
      <c:layout>
        <c:manualLayout>
          <c:layoutTarget val="inner"/>
          <c:xMode val="edge"/>
          <c:yMode val="edge"/>
          <c:x val="0.11106249999999999"/>
          <c:y val="0.18159249425539345"/>
          <c:w val="0.86335416666666676"/>
          <c:h val="0.46258150033696277"/>
        </c:manualLayout>
      </c:layout>
      <c:scatterChart>
        <c:scatterStyle val="lineMarker"/>
        <c:varyColors val="0"/>
        <c:ser>
          <c:idx val="1"/>
          <c:order val="0"/>
          <c:tx>
            <c:strRef>
              <c:f>Sheet2!$I$4</c:f>
              <c:strCache>
                <c:ptCount val="1"/>
                <c:pt idx="0">
                  <c:v>Coated Pellets - Initial</c:v>
                </c:pt>
              </c:strCache>
            </c:strRef>
          </c:tx>
          <c:spPr>
            <a:ln w="19050" cap="rnd">
              <a:solidFill>
                <a:srgbClr val="92D050"/>
              </a:solidFill>
              <a:round/>
            </a:ln>
            <a:effectLst/>
          </c:spPr>
          <c:marker>
            <c:symbol val="circle"/>
            <c:size val="5"/>
            <c:spPr>
              <a:solidFill>
                <a:srgbClr val="92D050"/>
              </a:solidFill>
              <a:ln w="9525">
                <a:solidFill>
                  <a:srgbClr val="92D050"/>
                </a:solidFill>
              </a:ln>
              <a:effectLst/>
            </c:spPr>
          </c:marker>
          <c:errBars>
            <c:errDir val="y"/>
            <c:errBarType val="both"/>
            <c:errValType val="cust"/>
            <c:noEndCap val="0"/>
            <c:plus>
              <c:numRef>
                <c:f>Sheet2!$P$6:$P$18</c:f>
                <c:numCache>
                  <c:formatCode>General</c:formatCode>
                  <c:ptCount val="13"/>
                  <c:pt idx="0">
                    <c:v>0</c:v>
                  </c:pt>
                  <c:pt idx="1">
                    <c:v>1.7423615787734341</c:v>
                  </c:pt>
                  <c:pt idx="2">
                    <c:v>2.6117790533367526</c:v>
                  </c:pt>
                  <c:pt idx="3">
                    <c:v>0.91365946986996549</c:v>
                  </c:pt>
                  <c:pt idx="4">
                    <c:v>2.4511934015012802</c:v>
                  </c:pt>
                  <c:pt idx="5">
                    <c:v>3.5325008976081707</c:v>
                  </c:pt>
                  <c:pt idx="6">
                    <c:v>1.8531547250249127</c:v>
                  </c:pt>
                  <c:pt idx="7">
                    <c:v>3.025459251843317</c:v>
                  </c:pt>
                  <c:pt idx="8">
                    <c:v>2.7750016169562928</c:v>
                  </c:pt>
                  <c:pt idx="9">
                    <c:v>2.6409542819753238</c:v>
                  </c:pt>
                  <c:pt idx="10">
                    <c:v>3.6096050098438841</c:v>
                  </c:pt>
                  <c:pt idx="11">
                    <c:v>3.8616937933293127</c:v>
                  </c:pt>
                  <c:pt idx="12">
                    <c:v>3.8578530417902059</c:v>
                  </c:pt>
                </c:numCache>
              </c:numRef>
            </c:plus>
            <c:minus>
              <c:numRef>
                <c:f>Sheet2!$P$6:$P$18</c:f>
                <c:numCache>
                  <c:formatCode>General</c:formatCode>
                  <c:ptCount val="13"/>
                  <c:pt idx="0">
                    <c:v>0</c:v>
                  </c:pt>
                  <c:pt idx="1">
                    <c:v>1.7423615787734341</c:v>
                  </c:pt>
                  <c:pt idx="2">
                    <c:v>2.6117790533367526</c:v>
                  </c:pt>
                  <c:pt idx="3">
                    <c:v>0.91365946986996549</c:v>
                  </c:pt>
                  <c:pt idx="4">
                    <c:v>2.4511934015012802</c:v>
                  </c:pt>
                  <c:pt idx="5">
                    <c:v>3.5325008976081707</c:v>
                  </c:pt>
                  <c:pt idx="6">
                    <c:v>1.8531547250249127</c:v>
                  </c:pt>
                  <c:pt idx="7">
                    <c:v>3.025459251843317</c:v>
                  </c:pt>
                  <c:pt idx="8">
                    <c:v>2.7750016169562928</c:v>
                  </c:pt>
                  <c:pt idx="9">
                    <c:v>2.6409542819753238</c:v>
                  </c:pt>
                  <c:pt idx="10">
                    <c:v>3.6096050098438841</c:v>
                  </c:pt>
                  <c:pt idx="11">
                    <c:v>3.8616937933293127</c:v>
                  </c:pt>
                  <c:pt idx="12">
                    <c:v>3.8578530417902059</c:v>
                  </c:pt>
                </c:numCache>
              </c:numRef>
            </c:minus>
            <c:spPr>
              <a:noFill/>
              <a:ln w="9525" cap="flat" cmpd="sng" algn="ctr">
                <a:solidFill>
                  <a:schemeClr val="tx1">
                    <a:lumMod val="65000"/>
                    <a:lumOff val="35000"/>
                  </a:schemeClr>
                </a:solidFill>
                <a:round/>
              </a:ln>
              <a:effectLst/>
            </c:spPr>
          </c:errBars>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I$6:$I$18</c:f>
              <c:numCache>
                <c:formatCode>0.00</c:formatCode>
                <c:ptCount val="13"/>
                <c:pt idx="0" formatCode="General">
                  <c:v>0</c:v>
                </c:pt>
                <c:pt idx="1">
                  <c:v>65.666701054026973</c:v>
                </c:pt>
                <c:pt idx="2">
                  <c:v>84.413530489852178</c:v>
                </c:pt>
                <c:pt idx="3">
                  <c:v>92.676969615978408</c:v>
                </c:pt>
                <c:pt idx="4">
                  <c:v>98.556921685431462</c:v>
                </c:pt>
                <c:pt idx="5">
                  <c:v>102.10985347142871</c:v>
                </c:pt>
                <c:pt idx="6">
                  <c:v>103.94858870859709</c:v>
                </c:pt>
                <c:pt idx="7">
                  <c:v>105.80420160483891</c:v>
                </c:pt>
                <c:pt idx="8">
                  <c:v>106.19897289922774</c:v>
                </c:pt>
                <c:pt idx="9">
                  <c:v>106.78244864702059</c:v>
                </c:pt>
                <c:pt idx="10">
                  <c:v>108.34201887163157</c:v>
                </c:pt>
                <c:pt idx="11">
                  <c:v>109.2844385336429</c:v>
                </c:pt>
                <c:pt idx="12">
                  <c:v>110.1974822933751</c:v>
                </c:pt>
              </c:numCache>
            </c:numRef>
          </c:yVal>
          <c:smooth val="0"/>
          <c:extLst>
            <c:ext xmlns:c16="http://schemas.microsoft.com/office/drawing/2014/chart" uri="{C3380CC4-5D6E-409C-BE32-E72D297353CC}">
              <c16:uniqueId val="{00000000-B58A-4D45-BF9F-A1AE5D182CFA}"/>
            </c:ext>
          </c:extLst>
        </c:ser>
        <c:ser>
          <c:idx val="0"/>
          <c:order val="1"/>
          <c:tx>
            <c:strRef>
              <c:f>Sheet2!$J$4</c:f>
              <c:strCache>
                <c:ptCount val="1"/>
                <c:pt idx="0">
                  <c:v>Coated pellets stress study</c:v>
                </c:pt>
              </c:strCache>
            </c:strRef>
          </c:tx>
          <c:spPr>
            <a:ln w="19050" cap="rnd">
              <a:solidFill>
                <a:srgbClr val="7030A0"/>
              </a:solidFill>
              <a:round/>
            </a:ln>
            <a:effectLst/>
          </c:spPr>
          <c:marker>
            <c:symbol val="circle"/>
            <c:size val="5"/>
            <c:spPr>
              <a:solidFill>
                <a:srgbClr val="7030A0"/>
              </a:solidFill>
              <a:ln w="9525">
                <a:solidFill>
                  <a:srgbClr val="7030A0"/>
                </a:solidFill>
              </a:ln>
              <a:effectLst/>
            </c:spPr>
          </c:marker>
          <c:errBars>
            <c:errDir val="y"/>
            <c:errBarType val="both"/>
            <c:errValType val="cust"/>
            <c:noEndCap val="0"/>
            <c:plus>
              <c:numRef>
                <c:f>Sheet2!$Q$6:$Q$18</c:f>
                <c:numCache>
                  <c:formatCode>General</c:formatCode>
                  <c:ptCount val="13"/>
                  <c:pt idx="0">
                    <c:v>0</c:v>
                  </c:pt>
                  <c:pt idx="1">
                    <c:v>3.4459297282669339</c:v>
                  </c:pt>
                  <c:pt idx="2">
                    <c:v>4.8146257081913424</c:v>
                  </c:pt>
                  <c:pt idx="3">
                    <c:v>4.3783895167483315</c:v>
                  </c:pt>
                  <c:pt idx="4">
                    <c:v>3.9495418421715205</c:v>
                  </c:pt>
                  <c:pt idx="5">
                    <c:v>4.4798504738194103</c:v>
                  </c:pt>
                  <c:pt idx="6">
                    <c:v>4.841022035100945</c:v>
                  </c:pt>
                  <c:pt idx="7">
                    <c:v>5.1162808089323679</c:v>
                  </c:pt>
                  <c:pt idx="8">
                    <c:v>4.3064397716664269</c:v>
                  </c:pt>
                  <c:pt idx="9">
                    <c:v>5.289850034467265</c:v>
                  </c:pt>
                  <c:pt idx="10">
                    <c:v>4.0136120246393627</c:v>
                  </c:pt>
                  <c:pt idx="11">
                    <c:v>3.456694777501379</c:v>
                  </c:pt>
                  <c:pt idx="12">
                    <c:v>3.1603130449962</c:v>
                  </c:pt>
                </c:numCache>
              </c:numRef>
            </c:plus>
            <c:minus>
              <c:numRef>
                <c:f>Sheet2!$Q$6:$Q$18</c:f>
                <c:numCache>
                  <c:formatCode>General</c:formatCode>
                  <c:ptCount val="13"/>
                  <c:pt idx="0">
                    <c:v>0</c:v>
                  </c:pt>
                  <c:pt idx="1">
                    <c:v>3.4459297282669339</c:v>
                  </c:pt>
                  <c:pt idx="2">
                    <c:v>4.8146257081913424</c:v>
                  </c:pt>
                  <c:pt idx="3">
                    <c:v>4.3783895167483315</c:v>
                  </c:pt>
                  <c:pt idx="4">
                    <c:v>3.9495418421715205</c:v>
                  </c:pt>
                  <c:pt idx="5">
                    <c:v>4.4798504738194103</c:v>
                  </c:pt>
                  <c:pt idx="6">
                    <c:v>4.841022035100945</c:v>
                  </c:pt>
                  <c:pt idx="7">
                    <c:v>5.1162808089323679</c:v>
                  </c:pt>
                  <c:pt idx="8">
                    <c:v>4.3064397716664269</c:v>
                  </c:pt>
                  <c:pt idx="9">
                    <c:v>5.289850034467265</c:v>
                  </c:pt>
                  <c:pt idx="10">
                    <c:v>4.0136120246393627</c:v>
                  </c:pt>
                  <c:pt idx="11">
                    <c:v>3.456694777501379</c:v>
                  </c:pt>
                  <c:pt idx="12">
                    <c:v>3.1603130449962</c:v>
                  </c:pt>
                </c:numCache>
              </c:numRef>
            </c:minus>
            <c:spPr>
              <a:noFill/>
              <a:ln w="9525" cap="flat" cmpd="sng" algn="ctr">
                <a:solidFill>
                  <a:schemeClr val="tx1">
                    <a:lumMod val="65000"/>
                    <a:lumOff val="35000"/>
                  </a:schemeClr>
                </a:solidFill>
                <a:round/>
              </a:ln>
              <a:effectLst/>
            </c:spPr>
          </c:errBars>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J$6:$J$18</c:f>
              <c:numCache>
                <c:formatCode>General</c:formatCode>
                <c:ptCount val="13"/>
                <c:pt idx="0">
                  <c:v>0</c:v>
                </c:pt>
                <c:pt idx="1">
                  <c:v>76.7</c:v>
                </c:pt>
                <c:pt idx="2">
                  <c:v>86.66</c:v>
                </c:pt>
                <c:pt idx="3">
                  <c:v>92.84</c:v>
                </c:pt>
                <c:pt idx="4">
                  <c:v>97.03</c:v>
                </c:pt>
                <c:pt idx="5">
                  <c:v>99.26</c:v>
                </c:pt>
                <c:pt idx="6">
                  <c:v>101.16</c:v>
                </c:pt>
                <c:pt idx="7">
                  <c:v>101.92</c:v>
                </c:pt>
                <c:pt idx="8">
                  <c:v>101.61</c:v>
                </c:pt>
                <c:pt idx="9">
                  <c:v>100.64</c:v>
                </c:pt>
                <c:pt idx="10">
                  <c:v>102.68</c:v>
                </c:pt>
                <c:pt idx="11">
                  <c:v>105.88</c:v>
                </c:pt>
                <c:pt idx="12">
                  <c:v>106.81</c:v>
                </c:pt>
              </c:numCache>
            </c:numRef>
          </c:yVal>
          <c:smooth val="0"/>
          <c:extLst>
            <c:ext xmlns:c16="http://schemas.microsoft.com/office/drawing/2014/chart" uri="{C3380CC4-5D6E-409C-BE32-E72D297353CC}">
              <c16:uniqueId val="{00000001-B58A-4D45-BF9F-A1AE5D182CFA}"/>
            </c:ext>
          </c:extLst>
        </c:ser>
        <c:ser>
          <c:idx val="2"/>
          <c:order val="2"/>
          <c:tx>
            <c:strRef>
              <c:f>Sheet2!$K$4</c:f>
              <c:strCache>
                <c:ptCount val="1"/>
                <c:pt idx="0">
                  <c:v>Tablets with Ludiflash®
Initial</c:v>
                </c:pt>
              </c:strCache>
            </c:strRef>
          </c:tx>
          <c:spPr>
            <a:ln w="19050" cap="rnd">
              <a:solidFill>
                <a:srgbClr val="ED7D31"/>
              </a:solidFill>
              <a:round/>
            </a:ln>
            <a:effectLst/>
          </c:spPr>
          <c:marker>
            <c:symbol val="circle"/>
            <c:size val="5"/>
            <c:spPr>
              <a:solidFill>
                <a:srgbClr val="ED7D31"/>
              </a:solidFill>
              <a:ln w="9525">
                <a:solidFill>
                  <a:srgbClr val="ED7D31"/>
                </a:solidFill>
              </a:ln>
              <a:effectLst/>
            </c:spPr>
          </c:marker>
          <c:errBars>
            <c:errDir val="y"/>
            <c:errBarType val="both"/>
            <c:errValType val="cust"/>
            <c:noEndCap val="0"/>
            <c:plus>
              <c:numRef>
                <c:f>Sheet2!$R$6:$R$18</c:f>
                <c:numCache>
                  <c:formatCode>General</c:formatCode>
                  <c:ptCount val="13"/>
                  <c:pt idx="0">
                    <c:v>0</c:v>
                  </c:pt>
                  <c:pt idx="1">
                    <c:v>4.5614923031245871</c:v>
                  </c:pt>
                  <c:pt idx="2">
                    <c:v>0.93527332800962359</c:v>
                  </c:pt>
                  <c:pt idx="3">
                    <c:v>1.1784770475293669</c:v>
                  </c:pt>
                  <c:pt idx="4">
                    <c:v>1.3397654874129721</c:v>
                  </c:pt>
                  <c:pt idx="5">
                    <c:v>0.84631571213674817</c:v>
                  </c:pt>
                  <c:pt idx="6">
                    <c:v>2.1857269389601313</c:v>
                  </c:pt>
                  <c:pt idx="7">
                    <c:v>3.3025327277179195</c:v>
                  </c:pt>
                  <c:pt idx="8">
                    <c:v>4.2553891080504691</c:v>
                  </c:pt>
                  <c:pt idx="9">
                    <c:v>4.3261829318257661</c:v>
                  </c:pt>
                  <c:pt idx="10">
                    <c:v>4.2801374213467032</c:v>
                  </c:pt>
                  <c:pt idx="11">
                    <c:v>5.1930548890145589</c:v>
                  </c:pt>
                  <c:pt idx="12">
                    <c:v>0.58775199958168678</c:v>
                  </c:pt>
                </c:numCache>
              </c:numRef>
            </c:plus>
            <c:minus>
              <c:numRef>
                <c:f>Sheet2!$R$6:$R$18</c:f>
                <c:numCache>
                  <c:formatCode>General</c:formatCode>
                  <c:ptCount val="13"/>
                  <c:pt idx="0">
                    <c:v>0</c:v>
                  </c:pt>
                  <c:pt idx="1">
                    <c:v>4.5614923031245871</c:v>
                  </c:pt>
                  <c:pt idx="2">
                    <c:v>0.93527332800962359</c:v>
                  </c:pt>
                  <c:pt idx="3">
                    <c:v>1.1784770475293669</c:v>
                  </c:pt>
                  <c:pt idx="4">
                    <c:v>1.3397654874129721</c:v>
                  </c:pt>
                  <c:pt idx="5">
                    <c:v>0.84631571213674817</c:v>
                  </c:pt>
                  <c:pt idx="6">
                    <c:v>2.1857269389601313</c:v>
                  </c:pt>
                  <c:pt idx="7">
                    <c:v>3.3025327277179195</c:v>
                  </c:pt>
                  <c:pt idx="8">
                    <c:v>4.2553891080504691</c:v>
                  </c:pt>
                  <c:pt idx="9">
                    <c:v>4.3261829318257661</c:v>
                  </c:pt>
                  <c:pt idx="10">
                    <c:v>4.2801374213467032</c:v>
                  </c:pt>
                  <c:pt idx="11">
                    <c:v>5.1930548890145589</c:v>
                  </c:pt>
                  <c:pt idx="12">
                    <c:v>0.58775199958168678</c:v>
                  </c:pt>
                </c:numCache>
              </c:numRef>
            </c:minus>
            <c:spPr>
              <a:noFill/>
              <a:ln w="9525" cap="flat" cmpd="sng" algn="ctr">
                <a:solidFill>
                  <a:schemeClr val="tx1">
                    <a:lumMod val="65000"/>
                    <a:lumOff val="35000"/>
                  </a:schemeClr>
                </a:solidFill>
                <a:round/>
              </a:ln>
              <a:effectLst/>
            </c:spPr>
          </c:errBars>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K$6:$K$18</c:f>
              <c:numCache>
                <c:formatCode>0.00</c:formatCode>
                <c:ptCount val="13"/>
                <c:pt idx="0">
                  <c:v>0</c:v>
                </c:pt>
                <c:pt idx="1">
                  <c:v>96.829032961579216</c:v>
                </c:pt>
                <c:pt idx="2">
                  <c:v>102.81352253377177</c:v>
                </c:pt>
                <c:pt idx="3">
                  <c:v>102.81365500605234</c:v>
                </c:pt>
                <c:pt idx="4">
                  <c:v>102.93221284566486</c:v>
                </c:pt>
                <c:pt idx="5">
                  <c:v>102.4776847775333</c:v>
                </c:pt>
                <c:pt idx="6">
                  <c:v>101.4559037286574</c:v>
                </c:pt>
                <c:pt idx="7">
                  <c:v>103.653429872537</c:v>
                </c:pt>
                <c:pt idx="8">
                  <c:v>105.58322150480001</c:v>
                </c:pt>
                <c:pt idx="9">
                  <c:v>105.3733391939431</c:v>
                </c:pt>
                <c:pt idx="10">
                  <c:v>105.62569919804913</c:v>
                </c:pt>
                <c:pt idx="11">
                  <c:v>105.13079395898554</c:v>
                </c:pt>
                <c:pt idx="12">
                  <c:v>103.36530289737692</c:v>
                </c:pt>
              </c:numCache>
            </c:numRef>
          </c:yVal>
          <c:smooth val="0"/>
          <c:extLst>
            <c:ext xmlns:c16="http://schemas.microsoft.com/office/drawing/2014/chart" uri="{C3380CC4-5D6E-409C-BE32-E72D297353CC}">
              <c16:uniqueId val="{00000002-B58A-4D45-BF9F-A1AE5D182CFA}"/>
            </c:ext>
          </c:extLst>
        </c:ser>
        <c:ser>
          <c:idx val="3"/>
          <c:order val="3"/>
          <c:tx>
            <c:strRef>
              <c:f>Sheet2!$L$4</c:f>
              <c:strCache>
                <c:ptCount val="1"/>
                <c:pt idx="0">
                  <c:v>Tablets with Ludipress®
Initial</c:v>
                </c:pt>
              </c:strCache>
            </c:strRef>
          </c:tx>
          <c:spPr>
            <a:ln w="19050" cap="rnd">
              <a:solidFill>
                <a:schemeClr val="accent4"/>
              </a:solidFill>
              <a:round/>
            </a:ln>
            <a:effectLst/>
          </c:spPr>
          <c:marker>
            <c:symbol val="circle"/>
            <c:size val="5"/>
            <c:spPr>
              <a:solidFill>
                <a:schemeClr val="accent4"/>
              </a:solidFill>
              <a:ln w="9525">
                <a:solidFill>
                  <a:schemeClr val="accent4"/>
                </a:solidFill>
              </a:ln>
              <a:effectLst/>
            </c:spPr>
          </c:marker>
          <c:errBars>
            <c:errDir val="y"/>
            <c:errBarType val="both"/>
            <c:errValType val="cust"/>
            <c:noEndCap val="0"/>
            <c:plus>
              <c:numRef>
                <c:f>Sheet2!$S$6:$S$18</c:f>
                <c:numCache>
                  <c:formatCode>General</c:formatCode>
                  <c:ptCount val="13"/>
                  <c:pt idx="0">
                    <c:v>0</c:v>
                  </c:pt>
                  <c:pt idx="1">
                    <c:v>3.3710106194492653</c:v>
                  </c:pt>
                  <c:pt idx="2">
                    <c:v>4.9783586993007347</c:v>
                  </c:pt>
                  <c:pt idx="3">
                    <c:v>8.0038674832266921</c:v>
                  </c:pt>
                  <c:pt idx="4">
                    <c:v>7.7697424211959323</c:v>
                  </c:pt>
                  <c:pt idx="5">
                    <c:v>6.9729099007930477</c:v>
                  </c:pt>
                  <c:pt idx="6">
                    <c:v>11.363893899656729</c:v>
                  </c:pt>
                  <c:pt idx="7">
                    <c:v>11.932469599972745</c:v>
                  </c:pt>
                  <c:pt idx="8">
                    <c:v>4.0851012858619473</c:v>
                  </c:pt>
                  <c:pt idx="9">
                    <c:v>1.8392351709393091</c:v>
                  </c:pt>
                  <c:pt idx="10">
                    <c:v>4.8718533229509298</c:v>
                  </c:pt>
                  <c:pt idx="11">
                    <c:v>0.89864034791034586</c:v>
                  </c:pt>
                  <c:pt idx="12">
                    <c:v>0.70656034188534</c:v>
                  </c:pt>
                </c:numCache>
              </c:numRef>
            </c:plus>
            <c:minus>
              <c:numRef>
                <c:f>Sheet2!$S$6:$S$18</c:f>
                <c:numCache>
                  <c:formatCode>General</c:formatCode>
                  <c:ptCount val="13"/>
                  <c:pt idx="0">
                    <c:v>0</c:v>
                  </c:pt>
                  <c:pt idx="1">
                    <c:v>3.3710106194492653</c:v>
                  </c:pt>
                  <c:pt idx="2">
                    <c:v>4.9783586993007347</c:v>
                  </c:pt>
                  <c:pt idx="3">
                    <c:v>8.0038674832266921</c:v>
                  </c:pt>
                  <c:pt idx="4">
                    <c:v>7.7697424211959323</c:v>
                  </c:pt>
                  <c:pt idx="5">
                    <c:v>6.9729099007930477</c:v>
                  </c:pt>
                  <c:pt idx="6">
                    <c:v>11.363893899656729</c:v>
                  </c:pt>
                  <c:pt idx="7">
                    <c:v>11.932469599972745</c:v>
                  </c:pt>
                  <c:pt idx="8">
                    <c:v>4.0851012858619473</c:v>
                  </c:pt>
                  <c:pt idx="9">
                    <c:v>1.8392351709393091</c:v>
                  </c:pt>
                  <c:pt idx="10">
                    <c:v>4.8718533229509298</c:v>
                  </c:pt>
                  <c:pt idx="11">
                    <c:v>0.89864034791034586</c:v>
                  </c:pt>
                  <c:pt idx="12">
                    <c:v>0.70656034188534</c:v>
                  </c:pt>
                </c:numCache>
              </c:numRef>
            </c:minus>
            <c:spPr>
              <a:noFill/>
              <a:ln w="9525" cap="flat" cmpd="sng" algn="ctr">
                <a:solidFill>
                  <a:schemeClr val="tx1">
                    <a:lumMod val="65000"/>
                    <a:lumOff val="35000"/>
                  </a:schemeClr>
                </a:solidFill>
                <a:round/>
              </a:ln>
              <a:effectLst/>
            </c:spPr>
          </c:errBars>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L$6:$L$18</c:f>
              <c:numCache>
                <c:formatCode>0.00</c:formatCode>
                <c:ptCount val="13"/>
                <c:pt idx="0">
                  <c:v>0</c:v>
                </c:pt>
                <c:pt idx="1">
                  <c:v>32.145293312751527</c:v>
                </c:pt>
                <c:pt idx="2">
                  <c:v>41.521313515439225</c:v>
                </c:pt>
                <c:pt idx="3">
                  <c:v>52.175925123352414</c:v>
                </c:pt>
                <c:pt idx="4">
                  <c:v>60.45664006886679</c:v>
                </c:pt>
                <c:pt idx="5">
                  <c:v>69.45382369306175</c:v>
                </c:pt>
                <c:pt idx="6">
                  <c:v>83.073498847950006</c:v>
                </c:pt>
                <c:pt idx="7">
                  <c:v>95.35937474384157</c:v>
                </c:pt>
                <c:pt idx="8">
                  <c:v>105.3944658111355</c:v>
                </c:pt>
                <c:pt idx="9">
                  <c:v>107.93806160006484</c:v>
                </c:pt>
                <c:pt idx="10">
                  <c:v>107.30364594585707</c:v>
                </c:pt>
                <c:pt idx="11">
                  <c:v>106.52501987285434</c:v>
                </c:pt>
                <c:pt idx="12">
                  <c:v>106.66224616687673</c:v>
                </c:pt>
              </c:numCache>
            </c:numRef>
          </c:yVal>
          <c:smooth val="0"/>
          <c:extLst>
            <c:ext xmlns:c16="http://schemas.microsoft.com/office/drawing/2014/chart" uri="{C3380CC4-5D6E-409C-BE32-E72D297353CC}">
              <c16:uniqueId val="{00000003-B58A-4D45-BF9F-A1AE5D182CFA}"/>
            </c:ext>
          </c:extLst>
        </c:ser>
        <c:ser>
          <c:idx val="4"/>
          <c:order val="4"/>
          <c:tx>
            <c:strRef>
              <c:f>Sheet2!$M$4</c:f>
              <c:strCache>
                <c:ptCount val="1"/>
                <c:pt idx="0">
                  <c:v>Tablets with MCC 102
Initial</c:v>
                </c:pt>
              </c:strCache>
            </c:strRef>
          </c:tx>
          <c:spPr>
            <a:ln w="19050" cap="rnd">
              <a:solidFill>
                <a:schemeClr val="accent5"/>
              </a:solidFill>
              <a:round/>
            </a:ln>
            <a:effectLst/>
          </c:spPr>
          <c:marker>
            <c:symbol val="circle"/>
            <c:size val="5"/>
            <c:spPr>
              <a:solidFill>
                <a:schemeClr val="accent5"/>
              </a:solidFill>
              <a:ln w="9525">
                <a:solidFill>
                  <a:schemeClr val="accent5"/>
                </a:solidFill>
              </a:ln>
              <a:effectLst/>
            </c:spPr>
          </c:marker>
          <c:errBars>
            <c:errDir val="y"/>
            <c:errBarType val="both"/>
            <c:errValType val="cust"/>
            <c:noEndCap val="0"/>
            <c:plus>
              <c:numRef>
                <c:f>Sheet2!$T$6:$T$18</c:f>
                <c:numCache>
                  <c:formatCode>General</c:formatCode>
                  <c:ptCount val="13"/>
                  <c:pt idx="0">
                    <c:v>0</c:v>
                  </c:pt>
                  <c:pt idx="1">
                    <c:v>1.128223458096909</c:v>
                  </c:pt>
                  <c:pt idx="2">
                    <c:v>2.5495299193425485</c:v>
                  </c:pt>
                  <c:pt idx="3">
                    <c:v>2.3059634420750523</c:v>
                  </c:pt>
                  <c:pt idx="4">
                    <c:v>3.2213393951108977</c:v>
                  </c:pt>
                  <c:pt idx="5">
                    <c:v>3.5081938644530668</c:v>
                  </c:pt>
                  <c:pt idx="6">
                    <c:v>2.6975246317960928</c:v>
                  </c:pt>
                  <c:pt idx="7">
                    <c:v>1.7938041667103541</c:v>
                  </c:pt>
                  <c:pt idx="8">
                    <c:v>3.4240276666609821</c:v>
                  </c:pt>
                  <c:pt idx="9">
                    <c:v>5.7165367755397085</c:v>
                  </c:pt>
                  <c:pt idx="10">
                    <c:v>7.5071927170844468</c:v>
                  </c:pt>
                  <c:pt idx="11">
                    <c:v>5.0362157097616471</c:v>
                  </c:pt>
                  <c:pt idx="12">
                    <c:v>3.5719348360831837</c:v>
                  </c:pt>
                </c:numCache>
              </c:numRef>
            </c:plus>
            <c:minus>
              <c:numRef>
                <c:f>Sheet2!$T$6:$T$18</c:f>
                <c:numCache>
                  <c:formatCode>General</c:formatCode>
                  <c:ptCount val="13"/>
                  <c:pt idx="0">
                    <c:v>0</c:v>
                  </c:pt>
                  <c:pt idx="1">
                    <c:v>1.128223458096909</c:v>
                  </c:pt>
                  <c:pt idx="2">
                    <c:v>2.5495299193425485</c:v>
                  </c:pt>
                  <c:pt idx="3">
                    <c:v>2.3059634420750523</c:v>
                  </c:pt>
                  <c:pt idx="4">
                    <c:v>3.2213393951108977</c:v>
                  </c:pt>
                  <c:pt idx="5">
                    <c:v>3.5081938644530668</c:v>
                  </c:pt>
                  <c:pt idx="6">
                    <c:v>2.6975246317960928</c:v>
                  </c:pt>
                  <c:pt idx="7">
                    <c:v>1.7938041667103541</c:v>
                  </c:pt>
                  <c:pt idx="8">
                    <c:v>3.4240276666609821</c:v>
                  </c:pt>
                  <c:pt idx="9">
                    <c:v>5.7165367755397085</c:v>
                  </c:pt>
                  <c:pt idx="10">
                    <c:v>7.5071927170844468</c:v>
                  </c:pt>
                  <c:pt idx="11">
                    <c:v>5.0362157097616471</c:v>
                  </c:pt>
                  <c:pt idx="12">
                    <c:v>3.5719348360831837</c:v>
                  </c:pt>
                </c:numCache>
              </c:numRef>
            </c:minus>
            <c:spPr>
              <a:noFill/>
              <a:ln w="9525" cap="flat" cmpd="sng" algn="ctr">
                <a:solidFill>
                  <a:schemeClr val="tx1">
                    <a:lumMod val="65000"/>
                    <a:lumOff val="35000"/>
                  </a:schemeClr>
                </a:solidFill>
                <a:round/>
              </a:ln>
              <a:effectLst/>
            </c:spPr>
          </c:errBars>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M$6:$M$18</c:f>
              <c:numCache>
                <c:formatCode>0.00</c:formatCode>
                <c:ptCount val="13"/>
                <c:pt idx="0">
                  <c:v>0</c:v>
                </c:pt>
                <c:pt idx="1">
                  <c:v>89.857761773889919</c:v>
                </c:pt>
                <c:pt idx="2">
                  <c:v>98.561412851864887</c:v>
                </c:pt>
                <c:pt idx="3">
                  <c:v>100.18875299312775</c:v>
                </c:pt>
                <c:pt idx="4">
                  <c:v>98.442552176046505</c:v>
                </c:pt>
                <c:pt idx="5">
                  <c:v>98.149509574531677</c:v>
                </c:pt>
                <c:pt idx="6">
                  <c:v>97.840934719305935</c:v>
                </c:pt>
                <c:pt idx="7">
                  <c:v>99.451803448851976</c:v>
                </c:pt>
                <c:pt idx="8">
                  <c:v>98.163073439592495</c:v>
                </c:pt>
                <c:pt idx="9">
                  <c:v>97.913077919054118</c:v>
                </c:pt>
                <c:pt idx="10">
                  <c:v>106.31522975794353</c:v>
                </c:pt>
                <c:pt idx="11">
                  <c:v>104.69887680054102</c:v>
                </c:pt>
                <c:pt idx="12">
                  <c:v>105.4761901318462</c:v>
                </c:pt>
              </c:numCache>
            </c:numRef>
          </c:yVal>
          <c:smooth val="0"/>
          <c:extLst>
            <c:ext xmlns:c16="http://schemas.microsoft.com/office/drawing/2014/chart" uri="{C3380CC4-5D6E-409C-BE32-E72D297353CC}">
              <c16:uniqueId val="{00000004-B58A-4D45-BF9F-A1AE5D182CFA}"/>
            </c:ext>
          </c:extLst>
        </c:ser>
        <c:ser>
          <c:idx val="5"/>
          <c:order val="5"/>
          <c:tx>
            <c:strRef>
              <c:f>Sheet2!$N$4</c:f>
              <c:strCache>
                <c:ptCount val="1"/>
                <c:pt idx="0">
                  <c:v>Tablets with Ludipress®
Stress Study</c:v>
                </c:pt>
              </c:strCache>
            </c:strRef>
          </c:tx>
          <c:spPr>
            <a:ln w="19050" cap="rnd">
              <a:solidFill>
                <a:schemeClr val="accent6"/>
              </a:solidFill>
              <a:round/>
            </a:ln>
            <a:effectLst/>
          </c:spPr>
          <c:marker>
            <c:symbol val="circle"/>
            <c:size val="5"/>
            <c:spPr>
              <a:solidFill>
                <a:schemeClr val="accent6"/>
              </a:solidFill>
              <a:ln w="9525">
                <a:solidFill>
                  <a:schemeClr val="accent6"/>
                </a:solidFill>
              </a:ln>
              <a:effectLst/>
            </c:spPr>
          </c:marker>
          <c:errBars>
            <c:errDir val="y"/>
            <c:errBarType val="both"/>
            <c:errValType val="cust"/>
            <c:noEndCap val="0"/>
            <c:plus>
              <c:numRef>
                <c:f>Sheet2!$U$6:$U$18</c:f>
                <c:numCache>
                  <c:formatCode>General</c:formatCode>
                  <c:ptCount val="13"/>
                  <c:pt idx="0">
                    <c:v>0</c:v>
                  </c:pt>
                  <c:pt idx="1">
                    <c:v>5.2272280936558682</c:v>
                  </c:pt>
                  <c:pt idx="2">
                    <c:v>5.4810755487651575</c:v>
                  </c:pt>
                  <c:pt idx="3">
                    <c:v>9.3901384260601617</c:v>
                  </c:pt>
                  <c:pt idx="4">
                    <c:v>8.6183844625985682</c:v>
                  </c:pt>
                  <c:pt idx="5">
                    <c:v>9.5085826035865111</c:v>
                  </c:pt>
                  <c:pt idx="6">
                    <c:v>9.0583122032107752</c:v>
                  </c:pt>
                  <c:pt idx="7">
                    <c:v>6.7456136829732554</c:v>
                  </c:pt>
                  <c:pt idx="8">
                    <c:v>5.6214072772873704</c:v>
                  </c:pt>
                  <c:pt idx="9">
                    <c:v>4.4096299655240037</c:v>
                  </c:pt>
                  <c:pt idx="10">
                    <c:v>3.5674094792470745</c:v>
                  </c:pt>
                  <c:pt idx="11">
                    <c:v>5.4700395336025833</c:v>
                  </c:pt>
                  <c:pt idx="12">
                    <c:v>2.8577415655682503</c:v>
                  </c:pt>
                </c:numCache>
              </c:numRef>
            </c:plus>
            <c:minus>
              <c:numRef>
                <c:f>Sheet2!$U$6:$U$18</c:f>
                <c:numCache>
                  <c:formatCode>General</c:formatCode>
                  <c:ptCount val="13"/>
                  <c:pt idx="0">
                    <c:v>0</c:v>
                  </c:pt>
                  <c:pt idx="1">
                    <c:v>5.2272280936558682</c:v>
                  </c:pt>
                  <c:pt idx="2">
                    <c:v>5.4810755487651575</c:v>
                  </c:pt>
                  <c:pt idx="3">
                    <c:v>9.3901384260601617</c:v>
                  </c:pt>
                  <c:pt idx="4">
                    <c:v>8.6183844625985682</c:v>
                  </c:pt>
                  <c:pt idx="5">
                    <c:v>9.5085826035865111</c:v>
                  </c:pt>
                  <c:pt idx="6">
                    <c:v>9.0583122032107752</c:v>
                  </c:pt>
                  <c:pt idx="7">
                    <c:v>6.7456136829732554</c:v>
                  </c:pt>
                  <c:pt idx="8">
                    <c:v>5.6214072772873704</c:v>
                  </c:pt>
                  <c:pt idx="9">
                    <c:v>4.4096299655240037</c:v>
                  </c:pt>
                  <c:pt idx="10">
                    <c:v>3.5674094792470745</c:v>
                  </c:pt>
                  <c:pt idx="11">
                    <c:v>5.4700395336025833</c:v>
                  </c:pt>
                  <c:pt idx="12">
                    <c:v>2.8577415655682503</c:v>
                  </c:pt>
                </c:numCache>
              </c:numRef>
            </c:minus>
            <c:spPr>
              <a:noFill/>
              <a:ln w="9525" cap="flat" cmpd="sng" algn="ctr">
                <a:solidFill>
                  <a:schemeClr val="tx1">
                    <a:lumMod val="65000"/>
                    <a:lumOff val="35000"/>
                  </a:schemeClr>
                </a:solidFill>
                <a:round/>
              </a:ln>
              <a:effectLst/>
            </c:spPr>
          </c:errBars>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N$6:$N$18</c:f>
              <c:numCache>
                <c:formatCode>0.00</c:formatCode>
                <c:ptCount val="13"/>
                <c:pt idx="0">
                  <c:v>0</c:v>
                </c:pt>
                <c:pt idx="1">
                  <c:v>31.3844646129849</c:v>
                </c:pt>
                <c:pt idx="2">
                  <c:v>43.518824793736762</c:v>
                </c:pt>
                <c:pt idx="3">
                  <c:v>56.158514590611183</c:v>
                </c:pt>
                <c:pt idx="4">
                  <c:v>67.000665400902548</c:v>
                </c:pt>
                <c:pt idx="5">
                  <c:v>75.026501679237526</c:v>
                </c:pt>
                <c:pt idx="6">
                  <c:v>89.058563766385262</c:v>
                </c:pt>
                <c:pt idx="7">
                  <c:v>97.663569066006275</c:v>
                </c:pt>
                <c:pt idx="8">
                  <c:v>101.64118842755964</c:v>
                </c:pt>
                <c:pt idx="9">
                  <c:v>102.82492167378389</c:v>
                </c:pt>
                <c:pt idx="10">
                  <c:v>106.63860958959953</c:v>
                </c:pt>
                <c:pt idx="11">
                  <c:v>107.46386477437953</c:v>
                </c:pt>
                <c:pt idx="12">
                  <c:v>106.64093635518498</c:v>
                </c:pt>
              </c:numCache>
            </c:numRef>
          </c:yVal>
          <c:smooth val="0"/>
          <c:extLst>
            <c:ext xmlns:c16="http://schemas.microsoft.com/office/drawing/2014/chart" uri="{C3380CC4-5D6E-409C-BE32-E72D297353CC}">
              <c16:uniqueId val="{00000005-B58A-4D45-BF9F-A1AE5D182CFA}"/>
            </c:ext>
          </c:extLst>
        </c:ser>
        <c:ser>
          <c:idx val="6"/>
          <c:order val="6"/>
          <c:tx>
            <c:strRef>
              <c:f>Sheet2!$O$4</c:f>
              <c:strCache>
                <c:ptCount val="1"/>
                <c:pt idx="0">
                  <c:v>Tablets with MCC 102
Stress Study</c:v>
                </c:pt>
              </c:strCache>
            </c:strRef>
          </c:tx>
          <c:spPr>
            <a:ln w="19050"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errBars>
            <c:errDir val="y"/>
            <c:errBarType val="both"/>
            <c:errValType val="cust"/>
            <c:noEndCap val="0"/>
            <c:plus>
              <c:numRef>
                <c:f>Sheet2!$V$6:$V$18</c:f>
                <c:numCache>
                  <c:formatCode>General</c:formatCode>
                  <c:ptCount val="13"/>
                  <c:pt idx="0">
                    <c:v>0</c:v>
                  </c:pt>
                  <c:pt idx="1">
                    <c:v>2.6134022086151547</c:v>
                  </c:pt>
                  <c:pt idx="2">
                    <c:v>2.6042388080248196</c:v>
                  </c:pt>
                  <c:pt idx="3">
                    <c:v>2.1832123566451571</c:v>
                  </c:pt>
                  <c:pt idx="4">
                    <c:v>4.9865371185388154</c:v>
                  </c:pt>
                  <c:pt idx="5">
                    <c:v>6.9438184132699856</c:v>
                  </c:pt>
                  <c:pt idx="6">
                    <c:v>6.7692804576711634</c:v>
                  </c:pt>
                  <c:pt idx="7">
                    <c:v>7.138318064657903</c:v>
                  </c:pt>
                  <c:pt idx="8">
                    <c:v>8.6969069458401549</c:v>
                  </c:pt>
                  <c:pt idx="9">
                    <c:v>8.8754563106251858</c:v>
                  </c:pt>
                  <c:pt idx="10">
                    <c:v>7.6397480725763831</c:v>
                  </c:pt>
                  <c:pt idx="11">
                    <c:v>5.0828338289279493</c:v>
                  </c:pt>
                  <c:pt idx="12">
                    <c:v>4.5612165389498509</c:v>
                  </c:pt>
                </c:numCache>
              </c:numRef>
            </c:plus>
            <c:minus>
              <c:numRef>
                <c:f>Sheet2!$V$6:$V$18</c:f>
                <c:numCache>
                  <c:formatCode>General</c:formatCode>
                  <c:ptCount val="13"/>
                  <c:pt idx="0">
                    <c:v>0</c:v>
                  </c:pt>
                  <c:pt idx="1">
                    <c:v>2.6134022086151547</c:v>
                  </c:pt>
                  <c:pt idx="2">
                    <c:v>2.6042388080248196</c:v>
                  </c:pt>
                  <c:pt idx="3">
                    <c:v>2.1832123566451571</c:v>
                  </c:pt>
                  <c:pt idx="4">
                    <c:v>4.9865371185388154</c:v>
                  </c:pt>
                  <c:pt idx="5">
                    <c:v>6.9438184132699856</c:v>
                  </c:pt>
                  <c:pt idx="6">
                    <c:v>6.7692804576711634</c:v>
                  </c:pt>
                  <c:pt idx="7">
                    <c:v>7.138318064657903</c:v>
                  </c:pt>
                  <c:pt idx="8">
                    <c:v>8.6969069458401549</c:v>
                  </c:pt>
                  <c:pt idx="9">
                    <c:v>8.8754563106251858</c:v>
                  </c:pt>
                  <c:pt idx="10">
                    <c:v>7.6397480725763831</c:v>
                  </c:pt>
                  <c:pt idx="11">
                    <c:v>5.0828338289279493</c:v>
                  </c:pt>
                  <c:pt idx="12">
                    <c:v>4.5612165389498509</c:v>
                  </c:pt>
                </c:numCache>
              </c:numRef>
            </c:minus>
            <c:spPr>
              <a:noFill/>
              <a:ln w="9525" cap="flat" cmpd="sng" algn="ctr">
                <a:solidFill>
                  <a:schemeClr val="tx1">
                    <a:lumMod val="65000"/>
                    <a:lumOff val="35000"/>
                  </a:schemeClr>
                </a:solidFill>
                <a:round/>
              </a:ln>
              <a:effectLst/>
            </c:spPr>
          </c:errBars>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O$6:$O$18</c:f>
              <c:numCache>
                <c:formatCode>0.00</c:formatCode>
                <c:ptCount val="13"/>
                <c:pt idx="0">
                  <c:v>0</c:v>
                </c:pt>
                <c:pt idx="1">
                  <c:v>86.408590722653869</c:v>
                </c:pt>
                <c:pt idx="2">
                  <c:v>94.967988266981251</c:v>
                </c:pt>
                <c:pt idx="3">
                  <c:v>98.925182398360562</c:v>
                </c:pt>
                <c:pt idx="4">
                  <c:v>101.45083251072879</c:v>
                </c:pt>
                <c:pt idx="5">
                  <c:v>103.10467423133775</c:v>
                </c:pt>
                <c:pt idx="6">
                  <c:v>102.46522043363287</c:v>
                </c:pt>
                <c:pt idx="7">
                  <c:v>104.00710005519066</c:v>
                </c:pt>
                <c:pt idx="8">
                  <c:v>104.97356865707384</c:v>
                </c:pt>
                <c:pt idx="9">
                  <c:v>105.73045553240091</c:v>
                </c:pt>
                <c:pt idx="10">
                  <c:v>105.44707970259645</c:v>
                </c:pt>
                <c:pt idx="11">
                  <c:v>106.9341701363599</c:v>
                </c:pt>
                <c:pt idx="12">
                  <c:v>106.60474976073061</c:v>
                </c:pt>
              </c:numCache>
            </c:numRef>
          </c:yVal>
          <c:smooth val="0"/>
          <c:extLst>
            <c:ext xmlns:c16="http://schemas.microsoft.com/office/drawing/2014/chart" uri="{C3380CC4-5D6E-409C-BE32-E72D297353CC}">
              <c16:uniqueId val="{00000006-B58A-4D45-BF9F-A1AE5D182CFA}"/>
            </c:ext>
          </c:extLst>
        </c:ser>
        <c:dLbls>
          <c:showLegendKey val="0"/>
          <c:showVal val="0"/>
          <c:showCatName val="0"/>
          <c:showSerName val="0"/>
          <c:showPercent val="0"/>
          <c:showBubbleSize val="0"/>
        </c:dLbls>
        <c:axId val="500909551"/>
        <c:axId val="500906223"/>
      </c:scatterChart>
      <c:valAx>
        <c:axId val="500909551"/>
        <c:scaling>
          <c:orientation val="minMax"/>
          <c:max val="60"/>
        </c:scaling>
        <c:delete val="0"/>
        <c:axPos val="b"/>
        <c:title>
          <c:tx>
            <c:rich>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r>
                  <a:rPr lang="en-US" sz="1600" b="1" dirty="0">
                    <a:solidFill>
                      <a:schemeClr val="tx1"/>
                    </a:solidFill>
                  </a:rPr>
                  <a:t>Time in Min</a:t>
                </a:r>
              </a:p>
            </c:rich>
          </c:tx>
          <c:layout>
            <c:manualLayout>
              <c:xMode val="edge"/>
              <c:yMode val="edge"/>
              <c:x val="0.4568181818181819"/>
              <c:y val="0.7116826622496123"/>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6223"/>
        <c:crosses val="autoZero"/>
        <c:crossBetween val="midCat"/>
        <c:majorUnit val="5"/>
      </c:valAx>
      <c:valAx>
        <c:axId val="500906223"/>
        <c:scaling>
          <c:orientation val="minMax"/>
          <c:max val="110"/>
          <c:min val="0"/>
        </c:scaling>
        <c:delete val="0"/>
        <c:axPos val="l"/>
        <c:title>
          <c:tx>
            <c:rich>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 drug released</a:t>
                </a:r>
              </a:p>
            </c:rich>
          </c:tx>
          <c:overlay val="0"/>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9551"/>
        <c:crosses val="autoZero"/>
        <c:crossBetween val="midCat"/>
        <c:majorUnit val="20"/>
      </c:valAx>
      <c:spPr>
        <a:noFill/>
        <a:ln>
          <a:noFill/>
        </a:ln>
        <a:effectLst/>
      </c:spPr>
    </c:plotArea>
    <c:legend>
      <c:legendPos val="b"/>
      <c:layout>
        <c:manualLayout>
          <c:xMode val="edge"/>
          <c:yMode val="edge"/>
          <c:x val="1.0987373737373737E-2"/>
          <c:y val="0.78477740157032772"/>
          <c:w val="0.95674961575121409"/>
          <c:h val="0.20465962698625353"/>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9050">
      <a:solidFill>
        <a:srgbClr val="000000"/>
      </a:solidFill>
    </a:ln>
    <a:effectLst/>
  </c:spPr>
  <c:txPr>
    <a:bodyPr/>
    <a:lstStyle/>
    <a:p>
      <a:pPr>
        <a:defRPr/>
      </a:pPr>
      <a:endParaRPr lang="en-US"/>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sz="1800" b="1" i="0" baseline="0" dirty="0">
                <a:effectLst/>
              </a:rPr>
              <a:t>Vardenafil pellets coated with Kollicoat</a:t>
            </a:r>
            <a:r>
              <a:rPr lang="en-US" sz="1800" b="0" i="0" baseline="30000" dirty="0">
                <a:effectLst/>
              </a:rPr>
              <a:t>® </a:t>
            </a:r>
            <a:r>
              <a:rPr lang="en-US" sz="1800" b="1" i="0" baseline="0" dirty="0">
                <a:effectLst/>
              </a:rPr>
              <a:t>Smartseal with BHT and vardenafil MUPS (different fillers). Dissolution in Phosphate buffer pH 6.8, 900ml, basket at 100rpm</a:t>
            </a:r>
            <a:endParaRPr lang="en-US" dirty="0">
              <a:effectLst/>
            </a:endParaRPr>
          </a:p>
        </c:rich>
      </c:tx>
      <c:layout>
        <c:manualLayout>
          <c:xMode val="edge"/>
          <c:yMode val="edge"/>
          <c:x val="0.15171657094058463"/>
          <c:y val="2.8357657247472221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endParaRPr lang="en-US"/>
        </a:p>
      </c:txPr>
    </c:title>
    <c:autoTitleDeleted val="0"/>
    <c:plotArea>
      <c:layout>
        <c:manualLayout>
          <c:layoutTarget val="inner"/>
          <c:xMode val="edge"/>
          <c:yMode val="edge"/>
          <c:x val="0.10271679292929294"/>
          <c:y val="0.13434884666892799"/>
          <c:w val="0.87169987373737379"/>
          <c:h val="0.47897585214557037"/>
        </c:manualLayout>
      </c:layout>
      <c:scatterChart>
        <c:scatterStyle val="lineMarker"/>
        <c:varyColors val="0"/>
        <c:ser>
          <c:idx val="1"/>
          <c:order val="0"/>
          <c:tx>
            <c:strRef>
              <c:f>Sheet2!$I$4</c:f>
              <c:strCache>
                <c:ptCount val="1"/>
                <c:pt idx="0">
                  <c:v>Coated Pellets - Initial</c:v>
                </c:pt>
              </c:strCache>
            </c:strRef>
          </c:tx>
          <c:spPr>
            <a:ln w="19050" cap="rnd">
              <a:solidFill>
                <a:srgbClr val="92D050"/>
              </a:solidFill>
              <a:round/>
            </a:ln>
            <a:effectLst/>
          </c:spPr>
          <c:marker>
            <c:symbol val="circle"/>
            <c:size val="5"/>
            <c:spPr>
              <a:solidFill>
                <a:srgbClr val="92D050"/>
              </a:solidFill>
              <a:ln w="9525">
                <a:solidFill>
                  <a:srgbClr val="92D050"/>
                </a:solidFill>
              </a:ln>
              <a:effectLst/>
            </c:spPr>
          </c:marker>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I$6:$I$18</c:f>
              <c:numCache>
                <c:formatCode>General</c:formatCode>
                <c:ptCount val="13"/>
                <c:pt idx="0">
                  <c:v>0</c:v>
                </c:pt>
                <c:pt idx="1">
                  <c:v>7.15</c:v>
                </c:pt>
                <c:pt idx="2">
                  <c:v>8.23</c:v>
                </c:pt>
                <c:pt idx="3">
                  <c:v>8.92</c:v>
                </c:pt>
                <c:pt idx="4">
                  <c:v>9.36</c:v>
                </c:pt>
                <c:pt idx="5">
                  <c:v>10.08</c:v>
                </c:pt>
                <c:pt idx="6">
                  <c:v>11.17</c:v>
                </c:pt>
                <c:pt idx="7">
                  <c:v>12.77</c:v>
                </c:pt>
                <c:pt idx="8">
                  <c:v>13.85</c:v>
                </c:pt>
                <c:pt idx="9">
                  <c:v>14.84</c:v>
                </c:pt>
                <c:pt idx="10">
                  <c:v>16.63</c:v>
                </c:pt>
                <c:pt idx="11">
                  <c:v>18.079999999999998</c:v>
                </c:pt>
                <c:pt idx="12">
                  <c:v>19.38</c:v>
                </c:pt>
              </c:numCache>
            </c:numRef>
          </c:yVal>
          <c:smooth val="0"/>
          <c:extLst>
            <c:ext xmlns:c16="http://schemas.microsoft.com/office/drawing/2014/chart" uri="{C3380CC4-5D6E-409C-BE32-E72D297353CC}">
              <c16:uniqueId val="{00000000-13A2-4338-A19D-F9E886239C44}"/>
            </c:ext>
          </c:extLst>
        </c:ser>
        <c:ser>
          <c:idx val="0"/>
          <c:order val="1"/>
          <c:tx>
            <c:strRef>
              <c:f>Sheet2!$J$4</c:f>
              <c:strCache>
                <c:ptCount val="1"/>
                <c:pt idx="0">
                  <c:v>Coated pellets  Stress study</c:v>
                </c:pt>
              </c:strCache>
            </c:strRef>
          </c:tx>
          <c:spPr>
            <a:ln w="19050" cap="rnd">
              <a:solidFill>
                <a:srgbClr val="7030A0"/>
              </a:solidFill>
              <a:round/>
            </a:ln>
            <a:effectLst/>
          </c:spPr>
          <c:marker>
            <c:symbol val="circle"/>
            <c:size val="5"/>
            <c:spPr>
              <a:solidFill>
                <a:srgbClr val="7030A0"/>
              </a:solidFill>
              <a:ln w="9525">
                <a:solidFill>
                  <a:srgbClr val="7030A0"/>
                </a:solidFill>
              </a:ln>
              <a:effectLst/>
            </c:spPr>
          </c:marker>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J$6:$J$18</c:f>
              <c:numCache>
                <c:formatCode>General</c:formatCode>
                <c:ptCount val="13"/>
                <c:pt idx="0">
                  <c:v>0</c:v>
                </c:pt>
                <c:pt idx="1">
                  <c:v>0.75</c:v>
                </c:pt>
                <c:pt idx="2">
                  <c:v>0.9</c:v>
                </c:pt>
                <c:pt idx="3">
                  <c:v>1.06</c:v>
                </c:pt>
                <c:pt idx="4">
                  <c:v>1</c:v>
                </c:pt>
                <c:pt idx="5">
                  <c:v>0.88</c:v>
                </c:pt>
                <c:pt idx="6">
                  <c:v>1.08</c:v>
                </c:pt>
                <c:pt idx="7">
                  <c:v>1.57</c:v>
                </c:pt>
                <c:pt idx="8">
                  <c:v>1.68</c:v>
                </c:pt>
                <c:pt idx="9">
                  <c:v>1.73</c:v>
                </c:pt>
                <c:pt idx="10">
                  <c:v>1.66</c:v>
                </c:pt>
                <c:pt idx="11">
                  <c:v>2.02</c:v>
                </c:pt>
                <c:pt idx="12">
                  <c:v>2.58</c:v>
                </c:pt>
              </c:numCache>
            </c:numRef>
          </c:yVal>
          <c:smooth val="0"/>
          <c:extLst>
            <c:ext xmlns:c16="http://schemas.microsoft.com/office/drawing/2014/chart" uri="{C3380CC4-5D6E-409C-BE32-E72D297353CC}">
              <c16:uniqueId val="{00000001-13A2-4338-A19D-F9E886239C44}"/>
            </c:ext>
          </c:extLst>
        </c:ser>
        <c:ser>
          <c:idx val="2"/>
          <c:order val="2"/>
          <c:tx>
            <c:strRef>
              <c:f>Sheet2!$K$4</c:f>
              <c:strCache>
                <c:ptCount val="1"/>
                <c:pt idx="0">
                  <c:v>Tablets with Ludiflash®
Initial</c:v>
                </c:pt>
              </c:strCache>
            </c:strRef>
          </c:tx>
          <c:spPr>
            <a:ln w="19050" cap="rnd">
              <a:solidFill>
                <a:srgbClr val="ED7D31"/>
              </a:solidFill>
              <a:round/>
            </a:ln>
            <a:effectLst/>
          </c:spPr>
          <c:marker>
            <c:symbol val="circle"/>
            <c:size val="5"/>
            <c:spPr>
              <a:solidFill>
                <a:srgbClr val="ED7D31"/>
              </a:solidFill>
              <a:ln w="9525">
                <a:solidFill>
                  <a:srgbClr val="ED7D31"/>
                </a:solidFill>
              </a:ln>
              <a:effectLst/>
            </c:spPr>
          </c:marker>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K$6:$K$18</c:f>
              <c:numCache>
                <c:formatCode>General</c:formatCode>
                <c:ptCount val="13"/>
                <c:pt idx="0">
                  <c:v>0</c:v>
                </c:pt>
                <c:pt idx="1">
                  <c:v>5.42</c:v>
                </c:pt>
                <c:pt idx="2">
                  <c:v>7.02</c:v>
                </c:pt>
                <c:pt idx="3">
                  <c:v>9.4</c:v>
                </c:pt>
                <c:pt idx="4">
                  <c:v>10.28</c:v>
                </c:pt>
                <c:pt idx="5">
                  <c:v>11.45</c:v>
                </c:pt>
                <c:pt idx="6">
                  <c:v>13.09</c:v>
                </c:pt>
                <c:pt idx="7">
                  <c:v>12.35</c:v>
                </c:pt>
                <c:pt idx="8">
                  <c:v>13.41</c:v>
                </c:pt>
                <c:pt idx="9">
                  <c:v>14</c:v>
                </c:pt>
                <c:pt idx="10">
                  <c:v>16.38</c:v>
                </c:pt>
                <c:pt idx="11">
                  <c:v>17.489999999999998</c:v>
                </c:pt>
                <c:pt idx="12">
                  <c:v>18.600000000000001</c:v>
                </c:pt>
              </c:numCache>
            </c:numRef>
          </c:yVal>
          <c:smooth val="0"/>
          <c:extLst>
            <c:ext xmlns:c16="http://schemas.microsoft.com/office/drawing/2014/chart" uri="{C3380CC4-5D6E-409C-BE32-E72D297353CC}">
              <c16:uniqueId val="{00000002-13A2-4338-A19D-F9E886239C44}"/>
            </c:ext>
          </c:extLst>
        </c:ser>
        <c:ser>
          <c:idx val="3"/>
          <c:order val="3"/>
          <c:tx>
            <c:strRef>
              <c:f>Sheet2!$L$4</c:f>
              <c:strCache>
                <c:ptCount val="1"/>
                <c:pt idx="0">
                  <c:v>Tablets with Ludipress®
Initial</c:v>
                </c:pt>
              </c:strCache>
            </c:strRef>
          </c:tx>
          <c:spPr>
            <a:ln w="19050" cap="rnd">
              <a:solidFill>
                <a:schemeClr val="accent4"/>
              </a:solidFill>
              <a:round/>
            </a:ln>
            <a:effectLst/>
          </c:spPr>
          <c:marker>
            <c:symbol val="circle"/>
            <c:size val="5"/>
            <c:spPr>
              <a:solidFill>
                <a:schemeClr val="accent4"/>
              </a:solidFill>
              <a:ln w="9525">
                <a:solidFill>
                  <a:schemeClr val="accent4"/>
                </a:solidFill>
              </a:ln>
              <a:effectLst/>
            </c:spPr>
          </c:marker>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L$6:$L$18</c:f>
              <c:numCache>
                <c:formatCode>General</c:formatCode>
                <c:ptCount val="13"/>
                <c:pt idx="0">
                  <c:v>0</c:v>
                </c:pt>
                <c:pt idx="1">
                  <c:v>3.18</c:v>
                </c:pt>
                <c:pt idx="2">
                  <c:v>4.24</c:v>
                </c:pt>
                <c:pt idx="3">
                  <c:v>4.75</c:v>
                </c:pt>
                <c:pt idx="4">
                  <c:v>4.99</c:v>
                </c:pt>
                <c:pt idx="5">
                  <c:v>5.22</c:v>
                </c:pt>
                <c:pt idx="6">
                  <c:v>13.17</c:v>
                </c:pt>
                <c:pt idx="7">
                  <c:v>13.8</c:v>
                </c:pt>
                <c:pt idx="8">
                  <c:v>13.58</c:v>
                </c:pt>
                <c:pt idx="9">
                  <c:v>13.86</c:v>
                </c:pt>
                <c:pt idx="10">
                  <c:v>19.18</c:v>
                </c:pt>
                <c:pt idx="11">
                  <c:v>17.39</c:v>
                </c:pt>
                <c:pt idx="12">
                  <c:v>18.97</c:v>
                </c:pt>
              </c:numCache>
            </c:numRef>
          </c:yVal>
          <c:smooth val="0"/>
          <c:extLst>
            <c:ext xmlns:c16="http://schemas.microsoft.com/office/drawing/2014/chart" uri="{C3380CC4-5D6E-409C-BE32-E72D297353CC}">
              <c16:uniqueId val="{00000003-13A2-4338-A19D-F9E886239C44}"/>
            </c:ext>
          </c:extLst>
        </c:ser>
        <c:ser>
          <c:idx val="4"/>
          <c:order val="4"/>
          <c:tx>
            <c:strRef>
              <c:f>Sheet2!$M$4</c:f>
              <c:strCache>
                <c:ptCount val="1"/>
                <c:pt idx="0">
                  <c:v>Tablets with MCC 102
Initial</c:v>
                </c:pt>
              </c:strCache>
            </c:strRef>
          </c:tx>
          <c:spPr>
            <a:ln w="19050" cap="rnd">
              <a:solidFill>
                <a:schemeClr val="accent5"/>
              </a:solidFill>
              <a:round/>
            </a:ln>
            <a:effectLst/>
          </c:spPr>
          <c:marker>
            <c:symbol val="circle"/>
            <c:size val="5"/>
            <c:spPr>
              <a:solidFill>
                <a:schemeClr val="accent5"/>
              </a:solidFill>
              <a:ln w="9525">
                <a:solidFill>
                  <a:schemeClr val="accent5"/>
                </a:solidFill>
              </a:ln>
              <a:effectLst/>
            </c:spPr>
          </c:marker>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M$6:$M$18</c:f>
              <c:numCache>
                <c:formatCode>General</c:formatCode>
                <c:ptCount val="13"/>
                <c:pt idx="0">
                  <c:v>0</c:v>
                </c:pt>
                <c:pt idx="1">
                  <c:v>6.99</c:v>
                </c:pt>
                <c:pt idx="2">
                  <c:v>8.8000000000000007</c:v>
                </c:pt>
                <c:pt idx="3">
                  <c:v>10.039999999999999</c:v>
                </c:pt>
                <c:pt idx="4">
                  <c:v>10.89</c:v>
                </c:pt>
                <c:pt idx="5">
                  <c:v>11.23</c:v>
                </c:pt>
                <c:pt idx="6">
                  <c:v>12.92</c:v>
                </c:pt>
                <c:pt idx="7">
                  <c:v>14.38</c:v>
                </c:pt>
                <c:pt idx="8">
                  <c:v>16.100000000000001</c:v>
                </c:pt>
                <c:pt idx="9">
                  <c:v>17.260000000000002</c:v>
                </c:pt>
                <c:pt idx="10">
                  <c:v>19.47</c:v>
                </c:pt>
                <c:pt idx="11">
                  <c:v>21.24</c:v>
                </c:pt>
                <c:pt idx="12">
                  <c:v>22.57</c:v>
                </c:pt>
              </c:numCache>
            </c:numRef>
          </c:yVal>
          <c:smooth val="0"/>
          <c:extLst>
            <c:ext xmlns:c16="http://schemas.microsoft.com/office/drawing/2014/chart" uri="{C3380CC4-5D6E-409C-BE32-E72D297353CC}">
              <c16:uniqueId val="{00000004-13A2-4338-A19D-F9E886239C44}"/>
            </c:ext>
          </c:extLst>
        </c:ser>
        <c:ser>
          <c:idx val="5"/>
          <c:order val="5"/>
          <c:tx>
            <c:strRef>
              <c:f>Sheet2!$N$4</c:f>
              <c:strCache>
                <c:ptCount val="1"/>
                <c:pt idx="0">
                  <c:v>Tablets with Ludipress®
Stress Study</c:v>
                </c:pt>
              </c:strCache>
            </c:strRef>
          </c:tx>
          <c:spPr>
            <a:ln w="19050" cap="rnd">
              <a:solidFill>
                <a:schemeClr val="accent6"/>
              </a:solidFill>
              <a:round/>
            </a:ln>
            <a:effectLst/>
          </c:spPr>
          <c:marker>
            <c:symbol val="circle"/>
            <c:size val="5"/>
            <c:spPr>
              <a:solidFill>
                <a:schemeClr val="accent6"/>
              </a:solidFill>
              <a:ln w="9525">
                <a:solidFill>
                  <a:schemeClr val="accent6"/>
                </a:solidFill>
              </a:ln>
              <a:effectLst/>
            </c:spPr>
          </c:marker>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N$6:$N$18</c:f>
              <c:numCache>
                <c:formatCode>0.00</c:formatCode>
                <c:ptCount val="13"/>
                <c:pt idx="0">
                  <c:v>0</c:v>
                </c:pt>
                <c:pt idx="1">
                  <c:v>2.3810453507892912</c:v>
                </c:pt>
                <c:pt idx="2">
                  <c:v>1.6476275419582334</c:v>
                </c:pt>
                <c:pt idx="3">
                  <c:v>1.4748401463622933</c:v>
                </c:pt>
                <c:pt idx="4">
                  <c:v>1.2899356202614254</c:v>
                </c:pt>
                <c:pt idx="5">
                  <c:v>0</c:v>
                </c:pt>
                <c:pt idx="6">
                  <c:v>0</c:v>
                </c:pt>
                <c:pt idx="7">
                  <c:v>0</c:v>
                </c:pt>
                <c:pt idx="8">
                  <c:v>0</c:v>
                </c:pt>
                <c:pt idx="9">
                  <c:v>0</c:v>
                </c:pt>
                <c:pt idx="10">
                  <c:v>0</c:v>
                </c:pt>
                <c:pt idx="11">
                  <c:v>2.0931025346938803</c:v>
                </c:pt>
                <c:pt idx="12">
                  <c:v>2.2824178036613594</c:v>
                </c:pt>
              </c:numCache>
            </c:numRef>
          </c:yVal>
          <c:smooth val="0"/>
          <c:extLst>
            <c:ext xmlns:c16="http://schemas.microsoft.com/office/drawing/2014/chart" uri="{C3380CC4-5D6E-409C-BE32-E72D297353CC}">
              <c16:uniqueId val="{00000005-13A2-4338-A19D-F9E886239C44}"/>
            </c:ext>
          </c:extLst>
        </c:ser>
        <c:ser>
          <c:idx val="6"/>
          <c:order val="6"/>
          <c:tx>
            <c:strRef>
              <c:f>Sheet2!$O$4</c:f>
              <c:strCache>
                <c:ptCount val="1"/>
                <c:pt idx="0">
                  <c:v>Tablets with MCC 102
Stress Study</c:v>
                </c:pt>
              </c:strCache>
            </c:strRef>
          </c:tx>
          <c:spPr>
            <a:ln w="19050"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O$6:$O$18</c:f>
              <c:numCache>
                <c:formatCode>0.00</c:formatCode>
                <c:ptCount val="13"/>
                <c:pt idx="0">
                  <c:v>0</c:v>
                </c:pt>
                <c:pt idx="1">
                  <c:v>0.53227406903630814</c:v>
                </c:pt>
                <c:pt idx="2">
                  <c:v>0</c:v>
                </c:pt>
                <c:pt idx="3">
                  <c:v>0</c:v>
                </c:pt>
                <c:pt idx="4">
                  <c:v>1.6851319564413307</c:v>
                </c:pt>
                <c:pt idx="5">
                  <c:v>1.366789911834287</c:v>
                </c:pt>
                <c:pt idx="6">
                  <c:v>1.3005563368037869</c:v>
                </c:pt>
                <c:pt idx="7">
                  <c:v>3.4389129219195911</c:v>
                </c:pt>
                <c:pt idx="8">
                  <c:v>6.502619319337434</c:v>
                </c:pt>
                <c:pt idx="9">
                  <c:v>7.891957412661502</c:v>
                </c:pt>
                <c:pt idx="10">
                  <c:v>8.8007127027709515</c:v>
                </c:pt>
                <c:pt idx="11">
                  <c:v>5.6672567582587199</c:v>
                </c:pt>
                <c:pt idx="12">
                  <c:v>6.6977228424197737</c:v>
                </c:pt>
              </c:numCache>
            </c:numRef>
          </c:yVal>
          <c:smooth val="0"/>
          <c:extLst>
            <c:ext xmlns:c16="http://schemas.microsoft.com/office/drawing/2014/chart" uri="{C3380CC4-5D6E-409C-BE32-E72D297353CC}">
              <c16:uniqueId val="{00000006-13A2-4338-A19D-F9E886239C44}"/>
            </c:ext>
          </c:extLst>
        </c:ser>
        <c:dLbls>
          <c:showLegendKey val="0"/>
          <c:showVal val="0"/>
          <c:showCatName val="0"/>
          <c:showSerName val="0"/>
          <c:showPercent val="0"/>
          <c:showBubbleSize val="0"/>
        </c:dLbls>
        <c:axId val="500909551"/>
        <c:axId val="500906223"/>
      </c:scatterChart>
      <c:valAx>
        <c:axId val="500909551"/>
        <c:scaling>
          <c:orientation val="minMax"/>
          <c:max val="60"/>
        </c:scaling>
        <c:delete val="0"/>
        <c:axPos val="b"/>
        <c:title>
          <c:tx>
            <c:rich>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Time (min)</a:t>
                </a:r>
              </a:p>
            </c:rich>
          </c:tx>
          <c:layout>
            <c:manualLayout>
              <c:xMode val="edge"/>
              <c:yMode val="edge"/>
              <c:x val="0.43735353535353527"/>
              <c:y val="0.68083345123650141"/>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6223"/>
        <c:crosses val="autoZero"/>
        <c:crossBetween val="midCat"/>
        <c:majorUnit val="5"/>
      </c:valAx>
      <c:valAx>
        <c:axId val="500906223"/>
        <c:scaling>
          <c:orientation val="minMax"/>
          <c:max val="110"/>
          <c:min val="0"/>
        </c:scaling>
        <c:delete val="0"/>
        <c:axPos val="l"/>
        <c:title>
          <c:tx>
            <c:rich>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 drug released</a:t>
                </a:r>
              </a:p>
            </c:rich>
          </c:tx>
          <c:overlay val="0"/>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9551"/>
        <c:crosses val="autoZero"/>
        <c:crossBetween val="midCat"/>
        <c:majorUnit val="20"/>
      </c:valAx>
      <c:spPr>
        <a:noFill/>
        <a:ln>
          <a:noFill/>
        </a:ln>
        <a:effectLst/>
      </c:spPr>
    </c:plotArea>
    <c:legend>
      <c:legendPos val="b"/>
      <c:layout>
        <c:manualLayout>
          <c:xMode val="edge"/>
          <c:yMode val="edge"/>
          <c:x val="3.7114898989899E-3"/>
          <c:y val="0.77714413423788242"/>
          <c:w val="0.99064204545454548"/>
          <c:h val="0.22280044958152664"/>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9050">
      <a:solidFill>
        <a:srgbClr val="000000"/>
      </a:solidFill>
    </a:ln>
    <a:effectLst/>
  </c:spPr>
  <c:txPr>
    <a:bodyPr/>
    <a:lstStyle/>
    <a:p>
      <a:pPr>
        <a:defRPr/>
      </a:pPr>
      <a:endParaRPr lang="en-US"/>
    </a:p>
  </c:txPr>
  <c:externalData r:id="rId4">
    <c:autoUpdate val="0"/>
  </c:externalData>
  <c:userShapes r:id="rId5"/>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sz="1800" b="1" i="0" baseline="0" dirty="0">
                <a:solidFill>
                  <a:schemeClr val="tx1"/>
                </a:solidFill>
                <a:effectLst/>
              </a:rPr>
              <a:t>Vardenafil pellets coated with Kollicoat</a:t>
            </a:r>
            <a:r>
              <a:rPr lang="en-US" sz="1800" baseline="30000" dirty="0">
                <a:effectLst/>
              </a:rPr>
              <a:t>®</a:t>
            </a:r>
            <a:endParaRPr lang="en-US" sz="1800" dirty="0">
              <a:effectLst/>
            </a:endParaRPr>
          </a:p>
          <a:p>
            <a:pPr marL="0" marR="0" lvl="0" indent="0" algn="ctr" defTabSz="914400" rtl="0" eaLnBrk="1" fontAlgn="auto" latinLnBrk="0" hangingPunct="1">
              <a:lnSpc>
                <a:spcPct val="100000"/>
              </a:lnSpc>
              <a:spcBef>
                <a:spcPts val="0"/>
              </a:spcBef>
              <a:spcAft>
                <a:spcPts val="0"/>
              </a:spcAft>
              <a:buClrTx/>
              <a:buSzTx/>
              <a:buFontTx/>
              <a:buNone/>
              <a:tabLst/>
              <a:defRPr sz="1800" b="1">
                <a:solidFill>
                  <a:prstClr val="black"/>
                </a:solidFill>
              </a:defRPr>
            </a:pPr>
            <a:r>
              <a:rPr lang="en-US" sz="1800" b="1" i="0" baseline="0" dirty="0">
                <a:solidFill>
                  <a:schemeClr val="tx1"/>
                </a:solidFill>
                <a:effectLst/>
              </a:rPr>
              <a:t>Smartseal without BHT and vardenafil MUPS (different fillers). Dissolution in 0.1N HCl, 900ml, basket at 100rpm</a:t>
            </a:r>
            <a:endParaRPr lang="en-US" sz="1800" b="1" dirty="0">
              <a:solidFill>
                <a:schemeClr val="tx1"/>
              </a:solidFill>
              <a:effectLst/>
            </a:endParaRPr>
          </a:p>
        </c:rich>
      </c:tx>
      <c:layout>
        <c:manualLayout>
          <c:xMode val="edge"/>
          <c:yMode val="edge"/>
          <c:x val="0.1705215812799438"/>
          <c:y val="0"/>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endParaRPr lang="en-US"/>
        </a:p>
      </c:txPr>
    </c:title>
    <c:autoTitleDeleted val="0"/>
    <c:plotArea>
      <c:layout>
        <c:manualLayout>
          <c:layoutTarget val="inner"/>
          <c:xMode val="edge"/>
          <c:yMode val="edge"/>
          <c:x val="0.12390523645187224"/>
          <c:y val="0.20444580732297993"/>
          <c:w val="0.806532860826631"/>
          <c:h val="0.44051398486409188"/>
        </c:manualLayout>
      </c:layout>
      <c:scatterChart>
        <c:scatterStyle val="lineMarker"/>
        <c:varyColors val="0"/>
        <c:ser>
          <c:idx val="1"/>
          <c:order val="0"/>
          <c:tx>
            <c:strRef>
              <c:f>'Sheet2 (4)'!$I$4</c:f>
              <c:strCache>
                <c:ptCount val="1"/>
                <c:pt idx="0">
                  <c:v>Coated Pellets - Initial</c:v>
                </c:pt>
              </c:strCache>
            </c:strRef>
          </c:tx>
          <c:spPr>
            <a:ln w="19050" cap="rnd">
              <a:solidFill>
                <a:srgbClr val="92D050"/>
              </a:solidFill>
              <a:round/>
            </a:ln>
            <a:effectLst/>
          </c:spPr>
          <c:marker>
            <c:symbol val="circle"/>
            <c:size val="5"/>
            <c:spPr>
              <a:solidFill>
                <a:srgbClr val="92D050"/>
              </a:solidFill>
              <a:ln w="9525">
                <a:solidFill>
                  <a:srgbClr val="92D050"/>
                </a:solidFill>
              </a:ln>
              <a:effectLst/>
            </c:spPr>
          </c:marker>
          <c:errBars>
            <c:errDir val="y"/>
            <c:errBarType val="both"/>
            <c:errValType val="cust"/>
            <c:noEndCap val="0"/>
            <c:plus>
              <c:numRef>
                <c:f>'Sheet2 (4)'!$P$6:$P$18</c:f>
                <c:numCache>
                  <c:formatCode>General</c:formatCode>
                  <c:ptCount val="13"/>
                  <c:pt idx="0">
                    <c:v>0</c:v>
                  </c:pt>
                  <c:pt idx="1">
                    <c:v>6.7128156689409648</c:v>
                  </c:pt>
                  <c:pt idx="2">
                    <c:v>1.2286323866183992</c:v>
                  </c:pt>
                  <c:pt idx="3">
                    <c:v>1.5708925204252022</c:v>
                  </c:pt>
                  <c:pt idx="4">
                    <c:v>0.53726302331464015</c:v>
                  </c:pt>
                  <c:pt idx="5">
                    <c:v>0.84917418592577187</c:v>
                  </c:pt>
                  <c:pt idx="6">
                    <c:v>1.6241632335965255</c:v>
                  </c:pt>
                  <c:pt idx="7">
                    <c:v>1.736965602746686</c:v>
                  </c:pt>
                  <c:pt idx="8">
                    <c:v>1.5346663472017383</c:v>
                  </c:pt>
                  <c:pt idx="9">
                    <c:v>1.5091880353898719</c:v>
                  </c:pt>
                  <c:pt idx="10">
                    <c:v>1.5843516277406977</c:v>
                  </c:pt>
                  <c:pt idx="11">
                    <c:v>1.5113243260440992</c:v>
                  </c:pt>
                  <c:pt idx="12">
                    <c:v>1.5858638425252356</c:v>
                  </c:pt>
                </c:numCache>
              </c:numRef>
            </c:plus>
            <c:minus>
              <c:numRef>
                <c:f>'Sheet2 (4)'!$P$6:$P$18</c:f>
                <c:numCache>
                  <c:formatCode>General</c:formatCode>
                  <c:ptCount val="13"/>
                  <c:pt idx="0">
                    <c:v>0</c:v>
                  </c:pt>
                  <c:pt idx="1">
                    <c:v>6.7128156689409648</c:v>
                  </c:pt>
                  <c:pt idx="2">
                    <c:v>1.2286323866183992</c:v>
                  </c:pt>
                  <c:pt idx="3">
                    <c:v>1.5708925204252022</c:v>
                  </c:pt>
                  <c:pt idx="4">
                    <c:v>0.53726302331464015</c:v>
                  </c:pt>
                  <c:pt idx="5">
                    <c:v>0.84917418592577187</c:v>
                  </c:pt>
                  <c:pt idx="6">
                    <c:v>1.6241632335965255</c:v>
                  </c:pt>
                  <c:pt idx="7">
                    <c:v>1.736965602746686</c:v>
                  </c:pt>
                  <c:pt idx="8">
                    <c:v>1.5346663472017383</c:v>
                  </c:pt>
                  <c:pt idx="9">
                    <c:v>1.5091880353898719</c:v>
                  </c:pt>
                  <c:pt idx="10">
                    <c:v>1.5843516277406977</c:v>
                  </c:pt>
                  <c:pt idx="11">
                    <c:v>1.5113243260440992</c:v>
                  </c:pt>
                  <c:pt idx="12">
                    <c:v>1.5858638425252356</c:v>
                  </c:pt>
                </c:numCache>
              </c:numRef>
            </c:minus>
            <c:spPr>
              <a:noFill/>
              <a:ln w="9525" cap="flat" cmpd="sng" algn="ctr">
                <a:solidFill>
                  <a:schemeClr val="tx1">
                    <a:lumMod val="65000"/>
                    <a:lumOff val="35000"/>
                  </a:schemeClr>
                </a:solidFill>
                <a:round/>
              </a:ln>
              <a:effectLst/>
            </c:spPr>
          </c:errBars>
          <c:xVal>
            <c:numRef>
              <c:f>'Sheet2 (4)'!$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 (4)'!$I$6:$I$18</c:f>
              <c:numCache>
                <c:formatCode>0.00</c:formatCode>
                <c:ptCount val="13"/>
                <c:pt idx="0">
                  <c:v>0</c:v>
                </c:pt>
                <c:pt idx="1">
                  <c:v>72.25</c:v>
                </c:pt>
                <c:pt idx="2">
                  <c:v>88.44</c:v>
                </c:pt>
                <c:pt idx="3">
                  <c:v>95.85</c:v>
                </c:pt>
                <c:pt idx="4">
                  <c:v>98.79</c:v>
                </c:pt>
                <c:pt idx="5">
                  <c:v>100.31</c:v>
                </c:pt>
                <c:pt idx="6">
                  <c:v>101</c:v>
                </c:pt>
                <c:pt idx="7">
                  <c:v>101.12</c:v>
                </c:pt>
                <c:pt idx="8">
                  <c:v>101.56</c:v>
                </c:pt>
                <c:pt idx="9">
                  <c:v>101.62</c:v>
                </c:pt>
                <c:pt idx="10">
                  <c:v>101.83</c:v>
                </c:pt>
                <c:pt idx="11">
                  <c:v>102.33</c:v>
                </c:pt>
                <c:pt idx="12">
                  <c:v>102.57</c:v>
                </c:pt>
              </c:numCache>
            </c:numRef>
          </c:yVal>
          <c:smooth val="0"/>
          <c:extLst>
            <c:ext xmlns:c16="http://schemas.microsoft.com/office/drawing/2014/chart" uri="{C3380CC4-5D6E-409C-BE32-E72D297353CC}">
              <c16:uniqueId val="{00000000-8A23-4737-921D-E0371DEF8843}"/>
            </c:ext>
          </c:extLst>
        </c:ser>
        <c:ser>
          <c:idx val="0"/>
          <c:order val="1"/>
          <c:tx>
            <c:strRef>
              <c:f>'Sheet2 (4)'!$J$4</c:f>
              <c:strCache>
                <c:ptCount val="1"/>
                <c:pt idx="0">
                  <c:v>Coated pellets  stress study</c:v>
                </c:pt>
              </c:strCache>
            </c:strRef>
          </c:tx>
          <c:spPr>
            <a:ln w="19050" cap="rnd">
              <a:solidFill>
                <a:srgbClr val="7030A0"/>
              </a:solidFill>
              <a:round/>
            </a:ln>
            <a:effectLst/>
          </c:spPr>
          <c:marker>
            <c:symbol val="circle"/>
            <c:size val="5"/>
            <c:spPr>
              <a:solidFill>
                <a:srgbClr val="7030A0"/>
              </a:solidFill>
              <a:ln w="9525">
                <a:solidFill>
                  <a:srgbClr val="7030A0"/>
                </a:solidFill>
              </a:ln>
              <a:effectLst/>
            </c:spPr>
          </c:marker>
          <c:errBars>
            <c:errDir val="y"/>
            <c:errBarType val="both"/>
            <c:errValType val="cust"/>
            <c:noEndCap val="0"/>
            <c:plus>
              <c:numRef>
                <c:f>'Sheet2 (4)'!$Q$6:$Q$18</c:f>
                <c:numCache>
                  <c:formatCode>General</c:formatCode>
                  <c:ptCount val="13"/>
                  <c:pt idx="0">
                    <c:v>0</c:v>
                  </c:pt>
                  <c:pt idx="1">
                    <c:v>3.7477813730875345</c:v>
                  </c:pt>
                  <c:pt idx="2">
                    <c:v>2.0207034818051062</c:v>
                  </c:pt>
                  <c:pt idx="3">
                    <c:v>1.975884842011483</c:v>
                  </c:pt>
                  <c:pt idx="4">
                    <c:v>1.3362985518712451</c:v>
                  </c:pt>
                  <c:pt idx="5">
                    <c:v>1.2536437990750791</c:v>
                  </c:pt>
                  <c:pt idx="6">
                    <c:v>0.84458785812714421</c:v>
                  </c:pt>
                  <c:pt idx="7">
                    <c:v>0.10956979308886396</c:v>
                  </c:pt>
                  <c:pt idx="8">
                    <c:v>0.44587879826202287</c:v>
                  </c:pt>
                  <c:pt idx="9">
                    <c:v>0.48430987191537261</c:v>
                  </c:pt>
                  <c:pt idx="10">
                    <c:v>0.54643981105352601</c:v>
                  </c:pt>
                  <c:pt idx="11">
                    <c:v>0.54454660449699888</c:v>
                  </c:pt>
                  <c:pt idx="12">
                    <c:v>0.55790437582654984</c:v>
                  </c:pt>
                </c:numCache>
              </c:numRef>
            </c:plus>
            <c:minus>
              <c:numRef>
                <c:f>'Sheet2 (4)'!$Q$6:$Q$18</c:f>
                <c:numCache>
                  <c:formatCode>General</c:formatCode>
                  <c:ptCount val="13"/>
                  <c:pt idx="0">
                    <c:v>0</c:v>
                  </c:pt>
                  <c:pt idx="1">
                    <c:v>3.7477813730875345</c:v>
                  </c:pt>
                  <c:pt idx="2">
                    <c:v>2.0207034818051062</c:v>
                  </c:pt>
                  <c:pt idx="3">
                    <c:v>1.975884842011483</c:v>
                  </c:pt>
                  <c:pt idx="4">
                    <c:v>1.3362985518712451</c:v>
                  </c:pt>
                  <c:pt idx="5">
                    <c:v>1.2536437990750791</c:v>
                  </c:pt>
                  <c:pt idx="6">
                    <c:v>0.84458785812714421</c:v>
                  </c:pt>
                  <c:pt idx="7">
                    <c:v>0.10956979308886396</c:v>
                  </c:pt>
                  <c:pt idx="8">
                    <c:v>0.44587879826202287</c:v>
                  </c:pt>
                  <c:pt idx="9">
                    <c:v>0.48430987191537261</c:v>
                  </c:pt>
                  <c:pt idx="10">
                    <c:v>0.54643981105352601</c:v>
                  </c:pt>
                  <c:pt idx="11">
                    <c:v>0.54454660449699888</c:v>
                  </c:pt>
                  <c:pt idx="12">
                    <c:v>0.55790437582654984</c:v>
                  </c:pt>
                </c:numCache>
              </c:numRef>
            </c:minus>
            <c:spPr>
              <a:noFill/>
              <a:ln w="9525" cap="flat" cmpd="sng" algn="ctr">
                <a:solidFill>
                  <a:schemeClr val="tx1">
                    <a:lumMod val="65000"/>
                    <a:lumOff val="35000"/>
                  </a:schemeClr>
                </a:solidFill>
                <a:round/>
              </a:ln>
              <a:effectLst/>
            </c:spPr>
          </c:errBars>
          <c:xVal>
            <c:numRef>
              <c:f>'Sheet2 (4)'!$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 (4)'!$J$6:$J$18</c:f>
              <c:numCache>
                <c:formatCode>0.00</c:formatCode>
                <c:ptCount val="13"/>
                <c:pt idx="0">
                  <c:v>0</c:v>
                </c:pt>
                <c:pt idx="1">
                  <c:v>81.967707711914628</c:v>
                </c:pt>
                <c:pt idx="2">
                  <c:v>89.876122387586364</c:v>
                </c:pt>
                <c:pt idx="3">
                  <c:v>92.182496533286226</c:v>
                </c:pt>
                <c:pt idx="4">
                  <c:v>93.638795285418965</c:v>
                </c:pt>
                <c:pt idx="5">
                  <c:v>94.255022793055318</c:v>
                </c:pt>
                <c:pt idx="6">
                  <c:v>95.384406989440762</c:v>
                </c:pt>
                <c:pt idx="7">
                  <c:v>96.301742729372748</c:v>
                </c:pt>
                <c:pt idx="8">
                  <c:v>96.732541297359447</c:v>
                </c:pt>
                <c:pt idx="9">
                  <c:v>96.816529605305789</c:v>
                </c:pt>
                <c:pt idx="10">
                  <c:v>96.990536295573307</c:v>
                </c:pt>
                <c:pt idx="11">
                  <c:v>97.003924130157273</c:v>
                </c:pt>
                <c:pt idx="12">
                  <c:v>97.008516891593104</c:v>
                </c:pt>
              </c:numCache>
            </c:numRef>
          </c:yVal>
          <c:smooth val="0"/>
          <c:extLst>
            <c:ext xmlns:c16="http://schemas.microsoft.com/office/drawing/2014/chart" uri="{C3380CC4-5D6E-409C-BE32-E72D297353CC}">
              <c16:uniqueId val="{00000001-8A23-4737-921D-E0371DEF8843}"/>
            </c:ext>
          </c:extLst>
        </c:ser>
        <c:ser>
          <c:idx val="2"/>
          <c:order val="2"/>
          <c:tx>
            <c:strRef>
              <c:f>'Sheet2 (4)'!$K$4</c:f>
              <c:strCache>
                <c:ptCount val="1"/>
                <c:pt idx="0">
                  <c:v>Tablets with Ludiflash®
Initial</c:v>
                </c:pt>
              </c:strCache>
            </c:strRef>
          </c:tx>
          <c:spPr>
            <a:ln w="19050" cap="rnd">
              <a:solidFill>
                <a:srgbClr val="ED7D31"/>
              </a:solidFill>
              <a:round/>
            </a:ln>
            <a:effectLst/>
          </c:spPr>
          <c:marker>
            <c:symbol val="circle"/>
            <c:size val="5"/>
            <c:spPr>
              <a:solidFill>
                <a:srgbClr val="ED7D31"/>
              </a:solidFill>
              <a:ln w="9525">
                <a:solidFill>
                  <a:srgbClr val="ED7D31"/>
                </a:solidFill>
              </a:ln>
              <a:effectLst/>
            </c:spPr>
          </c:marker>
          <c:errBars>
            <c:errDir val="y"/>
            <c:errBarType val="both"/>
            <c:errValType val="cust"/>
            <c:noEndCap val="0"/>
            <c:plus>
              <c:numRef>
                <c:f>'Sheet2 (4)'!$R$6:$R$18</c:f>
                <c:numCache>
                  <c:formatCode>General</c:formatCode>
                  <c:ptCount val="13"/>
                  <c:pt idx="0">
                    <c:v>0</c:v>
                  </c:pt>
                  <c:pt idx="1">
                    <c:v>0.96547194103748091</c:v>
                  </c:pt>
                  <c:pt idx="2">
                    <c:v>3.5031944532114219</c:v>
                  </c:pt>
                  <c:pt idx="3">
                    <c:v>3.8164965866907741</c:v>
                  </c:pt>
                  <c:pt idx="4">
                    <c:v>4.7591698823993687</c:v>
                  </c:pt>
                  <c:pt idx="5">
                    <c:v>6.3442917309595268</c:v>
                  </c:pt>
                  <c:pt idx="6">
                    <c:v>0.59498693495728394</c:v>
                  </c:pt>
                  <c:pt idx="7">
                    <c:v>1.9234681898069332</c:v>
                  </c:pt>
                  <c:pt idx="8">
                    <c:v>3.4865128777687113</c:v>
                  </c:pt>
                  <c:pt idx="9">
                    <c:v>4.4488341668812259</c:v>
                  </c:pt>
                  <c:pt idx="10">
                    <c:v>4.0102569069861209</c:v>
                  </c:pt>
                  <c:pt idx="11">
                    <c:v>4.4816984837850802</c:v>
                  </c:pt>
                  <c:pt idx="12">
                    <c:v>1.505937759893198</c:v>
                  </c:pt>
                </c:numCache>
              </c:numRef>
            </c:plus>
            <c:minus>
              <c:numRef>
                <c:f>'Sheet2 (4)'!$R$6:$R$18</c:f>
                <c:numCache>
                  <c:formatCode>General</c:formatCode>
                  <c:ptCount val="13"/>
                  <c:pt idx="0">
                    <c:v>0</c:v>
                  </c:pt>
                  <c:pt idx="1">
                    <c:v>0.96547194103748091</c:v>
                  </c:pt>
                  <c:pt idx="2">
                    <c:v>3.5031944532114219</c:v>
                  </c:pt>
                  <c:pt idx="3">
                    <c:v>3.8164965866907741</c:v>
                  </c:pt>
                  <c:pt idx="4">
                    <c:v>4.7591698823993687</c:v>
                  </c:pt>
                  <c:pt idx="5">
                    <c:v>6.3442917309595268</c:v>
                  </c:pt>
                  <c:pt idx="6">
                    <c:v>0.59498693495728394</c:v>
                  </c:pt>
                  <c:pt idx="7">
                    <c:v>1.9234681898069332</c:v>
                  </c:pt>
                  <c:pt idx="8">
                    <c:v>3.4865128777687113</c:v>
                  </c:pt>
                  <c:pt idx="9">
                    <c:v>4.4488341668812259</c:v>
                  </c:pt>
                  <c:pt idx="10">
                    <c:v>4.0102569069861209</c:v>
                  </c:pt>
                  <c:pt idx="11">
                    <c:v>4.4816984837850802</c:v>
                  </c:pt>
                  <c:pt idx="12">
                    <c:v>1.505937759893198</c:v>
                  </c:pt>
                </c:numCache>
              </c:numRef>
            </c:minus>
            <c:spPr>
              <a:noFill/>
              <a:ln w="9525" cap="flat" cmpd="sng" algn="ctr">
                <a:solidFill>
                  <a:schemeClr val="tx1">
                    <a:lumMod val="65000"/>
                    <a:lumOff val="35000"/>
                  </a:schemeClr>
                </a:solidFill>
                <a:round/>
              </a:ln>
              <a:effectLst/>
            </c:spPr>
          </c:errBars>
          <c:xVal>
            <c:numRef>
              <c:f>'Sheet2 (4)'!$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 (4)'!$K$6:$K$18</c:f>
              <c:numCache>
                <c:formatCode>0.00</c:formatCode>
                <c:ptCount val="13"/>
                <c:pt idx="0">
                  <c:v>0</c:v>
                </c:pt>
                <c:pt idx="1">
                  <c:v>94.799923913116658</c:v>
                </c:pt>
                <c:pt idx="2">
                  <c:v>105.93996352693625</c:v>
                </c:pt>
                <c:pt idx="3">
                  <c:v>106.13906229524224</c:v>
                </c:pt>
                <c:pt idx="4">
                  <c:v>106.8726983027282</c:v>
                </c:pt>
                <c:pt idx="5">
                  <c:v>105.92050838618553</c:v>
                </c:pt>
                <c:pt idx="6">
                  <c:v>102.57960682635922</c:v>
                </c:pt>
                <c:pt idx="7">
                  <c:v>103.57011621574821</c:v>
                </c:pt>
                <c:pt idx="8">
                  <c:v>100.14851880349983</c:v>
                </c:pt>
                <c:pt idx="9">
                  <c:v>100.06311549794981</c:v>
                </c:pt>
                <c:pt idx="10">
                  <c:v>101.82185619993207</c:v>
                </c:pt>
                <c:pt idx="11">
                  <c:v>100.95469815553817</c:v>
                </c:pt>
                <c:pt idx="12">
                  <c:v>104.86643741109712</c:v>
                </c:pt>
              </c:numCache>
            </c:numRef>
          </c:yVal>
          <c:smooth val="0"/>
          <c:extLst>
            <c:ext xmlns:c16="http://schemas.microsoft.com/office/drawing/2014/chart" uri="{C3380CC4-5D6E-409C-BE32-E72D297353CC}">
              <c16:uniqueId val="{00000002-8A23-4737-921D-E0371DEF8843}"/>
            </c:ext>
          </c:extLst>
        </c:ser>
        <c:ser>
          <c:idx val="3"/>
          <c:order val="3"/>
          <c:tx>
            <c:strRef>
              <c:f>'Sheet2 (4)'!$L$4</c:f>
              <c:strCache>
                <c:ptCount val="1"/>
                <c:pt idx="0">
                  <c:v>Tablets with Ludipress®
Initial</c:v>
                </c:pt>
              </c:strCache>
            </c:strRef>
          </c:tx>
          <c:spPr>
            <a:ln w="19050" cap="rnd">
              <a:solidFill>
                <a:schemeClr val="accent4"/>
              </a:solidFill>
              <a:round/>
            </a:ln>
            <a:effectLst/>
          </c:spPr>
          <c:marker>
            <c:symbol val="circle"/>
            <c:size val="5"/>
            <c:spPr>
              <a:solidFill>
                <a:schemeClr val="accent4"/>
              </a:solidFill>
              <a:ln w="9525">
                <a:solidFill>
                  <a:schemeClr val="accent4"/>
                </a:solidFill>
              </a:ln>
              <a:effectLst/>
            </c:spPr>
          </c:marker>
          <c:errBars>
            <c:errDir val="y"/>
            <c:errBarType val="both"/>
            <c:errValType val="cust"/>
            <c:noEndCap val="0"/>
            <c:plus>
              <c:numRef>
                <c:f>'Sheet2 (4)'!$S$6:$S$18</c:f>
                <c:numCache>
                  <c:formatCode>General</c:formatCode>
                  <c:ptCount val="13"/>
                  <c:pt idx="0">
                    <c:v>0</c:v>
                  </c:pt>
                  <c:pt idx="1">
                    <c:v>3.2464919450832248</c:v>
                  </c:pt>
                  <c:pt idx="2">
                    <c:v>3.7471432926373982</c:v>
                  </c:pt>
                  <c:pt idx="3">
                    <c:v>5.0726427311463373</c:v>
                  </c:pt>
                  <c:pt idx="4">
                    <c:v>6.4815678659481941</c:v>
                  </c:pt>
                  <c:pt idx="5">
                    <c:v>7.784865008235534</c:v>
                  </c:pt>
                  <c:pt idx="6">
                    <c:v>4.1020197509743115</c:v>
                  </c:pt>
                  <c:pt idx="7">
                    <c:v>8.1323088930327661</c:v>
                  </c:pt>
                  <c:pt idx="8">
                    <c:v>2.723243668280352</c:v>
                  </c:pt>
                  <c:pt idx="9">
                    <c:v>0.15559683154662293</c:v>
                  </c:pt>
                  <c:pt idx="10">
                    <c:v>1.8624835829244415</c:v>
                  </c:pt>
                  <c:pt idx="11">
                    <c:v>3.9209202208928065</c:v>
                  </c:pt>
                  <c:pt idx="12">
                    <c:v>3.3306331135126555</c:v>
                  </c:pt>
                </c:numCache>
              </c:numRef>
            </c:plus>
            <c:minus>
              <c:numRef>
                <c:f>'Sheet2 (4)'!$S$6:$S$18</c:f>
                <c:numCache>
                  <c:formatCode>General</c:formatCode>
                  <c:ptCount val="13"/>
                  <c:pt idx="0">
                    <c:v>0</c:v>
                  </c:pt>
                  <c:pt idx="1">
                    <c:v>3.2464919450832248</c:v>
                  </c:pt>
                  <c:pt idx="2">
                    <c:v>3.7471432926373982</c:v>
                  </c:pt>
                  <c:pt idx="3">
                    <c:v>5.0726427311463373</c:v>
                  </c:pt>
                  <c:pt idx="4">
                    <c:v>6.4815678659481941</c:v>
                  </c:pt>
                  <c:pt idx="5">
                    <c:v>7.784865008235534</c:v>
                  </c:pt>
                  <c:pt idx="6">
                    <c:v>4.1020197509743115</c:v>
                  </c:pt>
                  <c:pt idx="7">
                    <c:v>8.1323088930327661</c:v>
                  </c:pt>
                  <c:pt idx="8">
                    <c:v>2.723243668280352</c:v>
                  </c:pt>
                  <c:pt idx="9">
                    <c:v>0.15559683154662293</c:v>
                  </c:pt>
                  <c:pt idx="10">
                    <c:v>1.8624835829244415</c:v>
                  </c:pt>
                  <c:pt idx="11">
                    <c:v>3.9209202208928065</c:v>
                  </c:pt>
                  <c:pt idx="12">
                    <c:v>3.3306331135126555</c:v>
                  </c:pt>
                </c:numCache>
              </c:numRef>
            </c:minus>
            <c:spPr>
              <a:noFill/>
              <a:ln w="9525" cap="flat" cmpd="sng" algn="ctr">
                <a:solidFill>
                  <a:schemeClr val="tx1">
                    <a:lumMod val="65000"/>
                    <a:lumOff val="35000"/>
                  </a:schemeClr>
                </a:solidFill>
                <a:round/>
              </a:ln>
              <a:effectLst/>
            </c:spPr>
          </c:errBars>
          <c:xVal>
            <c:numRef>
              <c:f>'Sheet2 (4)'!$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 (4)'!$L$6:$L$18</c:f>
              <c:numCache>
                <c:formatCode>0.00</c:formatCode>
                <c:ptCount val="13"/>
                <c:pt idx="0">
                  <c:v>0</c:v>
                </c:pt>
                <c:pt idx="1">
                  <c:v>35.23333551164972</c:v>
                </c:pt>
                <c:pt idx="2">
                  <c:v>44.201933610344476</c:v>
                </c:pt>
                <c:pt idx="3">
                  <c:v>52.816082683662017</c:v>
                </c:pt>
                <c:pt idx="4">
                  <c:v>60.261727884636592</c:v>
                </c:pt>
                <c:pt idx="5">
                  <c:v>65.978613185789399</c:v>
                </c:pt>
                <c:pt idx="6">
                  <c:v>82.053005022249195</c:v>
                </c:pt>
                <c:pt idx="7">
                  <c:v>94.346197005156952</c:v>
                </c:pt>
                <c:pt idx="8">
                  <c:v>101.26911183455881</c:v>
                </c:pt>
                <c:pt idx="9">
                  <c:v>102.7003486567139</c:v>
                </c:pt>
                <c:pt idx="10">
                  <c:v>103.48318689609728</c:v>
                </c:pt>
                <c:pt idx="11">
                  <c:v>104.51601083782636</c:v>
                </c:pt>
                <c:pt idx="12">
                  <c:v>103.50399430592665</c:v>
                </c:pt>
              </c:numCache>
            </c:numRef>
          </c:yVal>
          <c:smooth val="0"/>
          <c:extLst>
            <c:ext xmlns:c16="http://schemas.microsoft.com/office/drawing/2014/chart" uri="{C3380CC4-5D6E-409C-BE32-E72D297353CC}">
              <c16:uniqueId val="{00000003-8A23-4737-921D-E0371DEF8843}"/>
            </c:ext>
          </c:extLst>
        </c:ser>
        <c:ser>
          <c:idx val="4"/>
          <c:order val="4"/>
          <c:tx>
            <c:strRef>
              <c:f>'Sheet2 (4)'!$M$4</c:f>
              <c:strCache>
                <c:ptCount val="1"/>
                <c:pt idx="0">
                  <c:v>Tablets with MCC 102
Initial</c:v>
                </c:pt>
              </c:strCache>
            </c:strRef>
          </c:tx>
          <c:spPr>
            <a:ln w="19050" cap="rnd">
              <a:solidFill>
                <a:schemeClr val="accent5"/>
              </a:solidFill>
              <a:round/>
            </a:ln>
            <a:effectLst/>
          </c:spPr>
          <c:marker>
            <c:symbol val="circle"/>
            <c:size val="5"/>
            <c:spPr>
              <a:solidFill>
                <a:schemeClr val="accent5"/>
              </a:solidFill>
              <a:ln w="9525">
                <a:solidFill>
                  <a:schemeClr val="accent5"/>
                </a:solidFill>
              </a:ln>
              <a:effectLst/>
            </c:spPr>
          </c:marker>
          <c:errBars>
            <c:errDir val="y"/>
            <c:errBarType val="both"/>
            <c:errValType val="cust"/>
            <c:noEndCap val="0"/>
            <c:plus>
              <c:numRef>
                <c:f>'Sheet2 (4)'!$T$6:$T$18</c:f>
                <c:numCache>
                  <c:formatCode>General</c:formatCode>
                  <c:ptCount val="13"/>
                  <c:pt idx="0">
                    <c:v>0</c:v>
                  </c:pt>
                  <c:pt idx="1">
                    <c:v>4.5896748593595538</c:v>
                  </c:pt>
                  <c:pt idx="2">
                    <c:v>4.126141499561423</c:v>
                  </c:pt>
                  <c:pt idx="3">
                    <c:v>3.8401586063381044</c:v>
                  </c:pt>
                  <c:pt idx="4">
                    <c:v>3.9175244154794577</c:v>
                  </c:pt>
                  <c:pt idx="5">
                    <c:v>2.8264812793997773</c:v>
                  </c:pt>
                  <c:pt idx="6">
                    <c:v>2.9160518398390369</c:v>
                  </c:pt>
                  <c:pt idx="7">
                    <c:v>1.5304731859165122</c:v>
                  </c:pt>
                  <c:pt idx="8">
                    <c:v>3.4911233573111837</c:v>
                  </c:pt>
                  <c:pt idx="9">
                    <c:v>3.6155678443994783</c:v>
                  </c:pt>
                  <c:pt idx="10">
                    <c:v>2.9828265620925847</c:v>
                  </c:pt>
                  <c:pt idx="11">
                    <c:v>2.592807796533716</c:v>
                  </c:pt>
                  <c:pt idx="12">
                    <c:v>2.1380257595486021</c:v>
                  </c:pt>
                </c:numCache>
              </c:numRef>
            </c:plus>
            <c:minus>
              <c:numRef>
                <c:f>'Sheet2 (4)'!$T$6:$T$18</c:f>
                <c:numCache>
                  <c:formatCode>General</c:formatCode>
                  <c:ptCount val="13"/>
                  <c:pt idx="0">
                    <c:v>0</c:v>
                  </c:pt>
                  <c:pt idx="1">
                    <c:v>4.5896748593595538</c:v>
                  </c:pt>
                  <c:pt idx="2">
                    <c:v>4.126141499561423</c:v>
                  </c:pt>
                  <c:pt idx="3">
                    <c:v>3.8401586063381044</c:v>
                  </c:pt>
                  <c:pt idx="4">
                    <c:v>3.9175244154794577</c:v>
                  </c:pt>
                  <c:pt idx="5">
                    <c:v>2.8264812793997773</c:v>
                  </c:pt>
                  <c:pt idx="6">
                    <c:v>2.9160518398390369</c:v>
                  </c:pt>
                  <c:pt idx="7">
                    <c:v>1.5304731859165122</c:v>
                  </c:pt>
                  <c:pt idx="8">
                    <c:v>3.4911233573111837</c:v>
                  </c:pt>
                  <c:pt idx="9">
                    <c:v>3.6155678443994783</c:v>
                  </c:pt>
                  <c:pt idx="10">
                    <c:v>2.9828265620925847</c:v>
                  </c:pt>
                  <c:pt idx="11">
                    <c:v>2.592807796533716</c:v>
                  </c:pt>
                  <c:pt idx="12">
                    <c:v>2.1380257595486021</c:v>
                  </c:pt>
                </c:numCache>
              </c:numRef>
            </c:minus>
            <c:spPr>
              <a:noFill/>
              <a:ln w="9525" cap="flat" cmpd="sng" algn="ctr">
                <a:solidFill>
                  <a:schemeClr val="tx1">
                    <a:lumMod val="65000"/>
                    <a:lumOff val="35000"/>
                  </a:schemeClr>
                </a:solidFill>
                <a:round/>
              </a:ln>
              <a:effectLst/>
            </c:spPr>
          </c:errBars>
          <c:xVal>
            <c:numRef>
              <c:f>'Sheet2 (4)'!$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 (4)'!$M$6:$M$18</c:f>
              <c:numCache>
                <c:formatCode>0.00</c:formatCode>
                <c:ptCount val="13"/>
                <c:pt idx="0">
                  <c:v>0</c:v>
                </c:pt>
                <c:pt idx="1">
                  <c:v>99.647808660925065</c:v>
                </c:pt>
                <c:pt idx="2">
                  <c:v>101.14957174501374</c:v>
                </c:pt>
                <c:pt idx="3">
                  <c:v>100.94883719624907</c:v>
                </c:pt>
                <c:pt idx="4">
                  <c:v>102.36685527467046</c:v>
                </c:pt>
                <c:pt idx="5">
                  <c:v>104.58040069282499</c:v>
                </c:pt>
                <c:pt idx="6">
                  <c:v>107.87958075104588</c:v>
                </c:pt>
                <c:pt idx="7">
                  <c:v>104.57351367011456</c:v>
                </c:pt>
                <c:pt idx="8">
                  <c:v>106.9102306697671</c:v>
                </c:pt>
                <c:pt idx="9">
                  <c:v>106.16057183459556</c:v>
                </c:pt>
                <c:pt idx="10">
                  <c:v>104.99944383814552</c:v>
                </c:pt>
                <c:pt idx="11">
                  <c:v>105.92185990215172</c:v>
                </c:pt>
                <c:pt idx="12">
                  <c:v>106.50269479684317</c:v>
                </c:pt>
              </c:numCache>
            </c:numRef>
          </c:yVal>
          <c:smooth val="0"/>
          <c:extLst>
            <c:ext xmlns:c16="http://schemas.microsoft.com/office/drawing/2014/chart" uri="{C3380CC4-5D6E-409C-BE32-E72D297353CC}">
              <c16:uniqueId val="{00000004-8A23-4737-921D-E0371DEF8843}"/>
            </c:ext>
          </c:extLst>
        </c:ser>
        <c:ser>
          <c:idx val="5"/>
          <c:order val="5"/>
          <c:tx>
            <c:strRef>
              <c:f>'Sheet2 (4)'!$N$4</c:f>
              <c:strCache>
                <c:ptCount val="1"/>
                <c:pt idx="0">
                  <c:v>Tablets with Ludipress®
Stress study</c:v>
                </c:pt>
              </c:strCache>
            </c:strRef>
          </c:tx>
          <c:spPr>
            <a:ln w="19050" cap="rnd">
              <a:solidFill>
                <a:schemeClr val="accent6"/>
              </a:solidFill>
              <a:round/>
            </a:ln>
            <a:effectLst/>
          </c:spPr>
          <c:marker>
            <c:symbol val="circle"/>
            <c:size val="5"/>
            <c:spPr>
              <a:solidFill>
                <a:schemeClr val="accent6"/>
              </a:solidFill>
              <a:ln w="9525">
                <a:solidFill>
                  <a:schemeClr val="accent6"/>
                </a:solidFill>
              </a:ln>
              <a:effectLst/>
            </c:spPr>
          </c:marker>
          <c:errBars>
            <c:errDir val="y"/>
            <c:errBarType val="both"/>
            <c:errValType val="cust"/>
            <c:noEndCap val="0"/>
            <c:plus>
              <c:numRef>
                <c:f>'Sheet2 (4)'!$U$6:$U$18</c:f>
                <c:numCache>
                  <c:formatCode>General</c:formatCode>
                  <c:ptCount val="13"/>
                  <c:pt idx="0">
                    <c:v>0</c:v>
                  </c:pt>
                  <c:pt idx="1">
                    <c:v>1.2879866405638796</c:v>
                  </c:pt>
                  <c:pt idx="2">
                    <c:v>2.7204923814297919</c:v>
                  </c:pt>
                  <c:pt idx="3">
                    <c:v>2.9078924018772767</c:v>
                  </c:pt>
                  <c:pt idx="4">
                    <c:v>2.976579728566624</c:v>
                  </c:pt>
                  <c:pt idx="5">
                    <c:v>3.6638705673976508</c:v>
                  </c:pt>
                  <c:pt idx="6">
                    <c:v>4.1021460267069561</c:v>
                  </c:pt>
                  <c:pt idx="7">
                    <c:v>4.8477287012902455</c:v>
                  </c:pt>
                  <c:pt idx="8">
                    <c:v>6.038011653013033</c:v>
                  </c:pt>
                  <c:pt idx="9">
                    <c:v>2.3749088610877096</c:v>
                  </c:pt>
                  <c:pt idx="10">
                    <c:v>2.9707755965693958</c:v>
                  </c:pt>
                  <c:pt idx="11">
                    <c:v>3.0799930323518434</c:v>
                  </c:pt>
                  <c:pt idx="12">
                    <c:v>1.4788945396256887</c:v>
                  </c:pt>
                </c:numCache>
              </c:numRef>
            </c:plus>
            <c:minus>
              <c:numRef>
                <c:f>'Sheet2 (4)'!$U$6:$U$18</c:f>
                <c:numCache>
                  <c:formatCode>General</c:formatCode>
                  <c:ptCount val="13"/>
                  <c:pt idx="0">
                    <c:v>0</c:v>
                  </c:pt>
                  <c:pt idx="1">
                    <c:v>1.2879866405638796</c:v>
                  </c:pt>
                  <c:pt idx="2">
                    <c:v>2.7204923814297919</c:v>
                  </c:pt>
                  <c:pt idx="3">
                    <c:v>2.9078924018772767</c:v>
                  </c:pt>
                  <c:pt idx="4">
                    <c:v>2.976579728566624</c:v>
                  </c:pt>
                  <c:pt idx="5">
                    <c:v>3.6638705673976508</c:v>
                  </c:pt>
                  <c:pt idx="6">
                    <c:v>4.1021460267069561</c:v>
                  </c:pt>
                  <c:pt idx="7">
                    <c:v>4.8477287012902455</c:v>
                  </c:pt>
                  <c:pt idx="8">
                    <c:v>6.038011653013033</c:v>
                  </c:pt>
                  <c:pt idx="9">
                    <c:v>2.3749088610877096</c:v>
                  </c:pt>
                  <c:pt idx="10">
                    <c:v>2.9707755965693958</c:v>
                  </c:pt>
                  <c:pt idx="11">
                    <c:v>3.0799930323518434</c:v>
                  </c:pt>
                  <c:pt idx="12">
                    <c:v>1.4788945396256887</c:v>
                  </c:pt>
                </c:numCache>
              </c:numRef>
            </c:minus>
            <c:spPr>
              <a:noFill/>
              <a:ln w="9525" cap="flat" cmpd="sng" algn="ctr">
                <a:solidFill>
                  <a:schemeClr val="tx1">
                    <a:lumMod val="65000"/>
                    <a:lumOff val="35000"/>
                  </a:schemeClr>
                </a:solidFill>
                <a:round/>
              </a:ln>
              <a:effectLst/>
            </c:spPr>
          </c:errBars>
          <c:xVal>
            <c:numRef>
              <c:f>'Sheet2 (4)'!$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 (4)'!$N$6:$N$18</c:f>
              <c:numCache>
                <c:formatCode>0.00</c:formatCode>
                <c:ptCount val="13"/>
                <c:pt idx="0">
                  <c:v>0</c:v>
                </c:pt>
                <c:pt idx="1">
                  <c:v>97.290634312003746</c:v>
                </c:pt>
                <c:pt idx="2">
                  <c:v>101.2027744902033</c:v>
                </c:pt>
                <c:pt idx="3">
                  <c:v>101.69964520273591</c:v>
                </c:pt>
                <c:pt idx="4">
                  <c:v>102.06188900919244</c:v>
                </c:pt>
                <c:pt idx="5">
                  <c:v>102.37228523994963</c:v>
                </c:pt>
                <c:pt idx="6">
                  <c:v>102.52583809337828</c:v>
                </c:pt>
                <c:pt idx="7">
                  <c:v>104.89663282238995</c:v>
                </c:pt>
                <c:pt idx="8">
                  <c:v>105.06754298901502</c:v>
                </c:pt>
                <c:pt idx="9">
                  <c:v>101.91689279974294</c:v>
                </c:pt>
                <c:pt idx="10">
                  <c:v>101.25254379969311</c:v>
                </c:pt>
                <c:pt idx="11">
                  <c:v>101.04892937239539</c:v>
                </c:pt>
                <c:pt idx="12">
                  <c:v>102.14512784533143</c:v>
                </c:pt>
              </c:numCache>
            </c:numRef>
          </c:yVal>
          <c:smooth val="0"/>
          <c:extLst>
            <c:ext xmlns:c16="http://schemas.microsoft.com/office/drawing/2014/chart" uri="{C3380CC4-5D6E-409C-BE32-E72D297353CC}">
              <c16:uniqueId val="{00000005-8A23-4737-921D-E0371DEF8843}"/>
            </c:ext>
          </c:extLst>
        </c:ser>
        <c:ser>
          <c:idx val="6"/>
          <c:order val="6"/>
          <c:tx>
            <c:strRef>
              <c:f>'Sheet2 (4)'!$O$4</c:f>
              <c:strCache>
                <c:ptCount val="1"/>
                <c:pt idx="0">
                  <c:v>Tablets with MCC 102
Stress study</c:v>
                </c:pt>
              </c:strCache>
            </c:strRef>
          </c:tx>
          <c:spPr>
            <a:ln w="19050"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errBars>
            <c:errDir val="y"/>
            <c:errBarType val="both"/>
            <c:errValType val="cust"/>
            <c:noEndCap val="0"/>
            <c:plus>
              <c:numRef>
                <c:f>'Sheet2 (4)'!$V$6:$V$18</c:f>
                <c:numCache>
                  <c:formatCode>General</c:formatCode>
                  <c:ptCount val="13"/>
                  <c:pt idx="0">
                    <c:v>0</c:v>
                  </c:pt>
                  <c:pt idx="1">
                    <c:v>2.0900189404103902</c:v>
                  </c:pt>
                  <c:pt idx="2">
                    <c:v>1.8497439185366447</c:v>
                  </c:pt>
                  <c:pt idx="3">
                    <c:v>1.5365554448880425</c:v>
                  </c:pt>
                  <c:pt idx="4">
                    <c:v>0.81861217477281378</c:v>
                  </c:pt>
                  <c:pt idx="5">
                    <c:v>1.0275765603145581</c:v>
                  </c:pt>
                  <c:pt idx="6">
                    <c:v>3.7576446442670708</c:v>
                  </c:pt>
                  <c:pt idx="7">
                    <c:v>3.0820788821727283</c:v>
                  </c:pt>
                  <c:pt idx="8">
                    <c:v>3.6319546034951902</c:v>
                  </c:pt>
                  <c:pt idx="9">
                    <c:v>4.3041771047833226</c:v>
                  </c:pt>
                  <c:pt idx="10">
                    <c:v>5.4760973265930541</c:v>
                  </c:pt>
                  <c:pt idx="11">
                    <c:v>3.5750591054901153</c:v>
                  </c:pt>
                  <c:pt idx="12">
                    <c:v>3.0650225057882978</c:v>
                  </c:pt>
                </c:numCache>
              </c:numRef>
            </c:plus>
            <c:minus>
              <c:numRef>
                <c:f>'Sheet2 (4)'!$V$6:$V$18</c:f>
                <c:numCache>
                  <c:formatCode>General</c:formatCode>
                  <c:ptCount val="13"/>
                  <c:pt idx="0">
                    <c:v>0</c:v>
                  </c:pt>
                  <c:pt idx="1">
                    <c:v>2.0900189404103902</c:v>
                  </c:pt>
                  <c:pt idx="2">
                    <c:v>1.8497439185366447</c:v>
                  </c:pt>
                  <c:pt idx="3">
                    <c:v>1.5365554448880425</c:v>
                  </c:pt>
                  <c:pt idx="4">
                    <c:v>0.81861217477281378</c:v>
                  </c:pt>
                  <c:pt idx="5">
                    <c:v>1.0275765603145581</c:v>
                  </c:pt>
                  <c:pt idx="6">
                    <c:v>3.7576446442670708</c:v>
                  </c:pt>
                  <c:pt idx="7">
                    <c:v>3.0820788821727283</c:v>
                  </c:pt>
                  <c:pt idx="8">
                    <c:v>3.6319546034951902</c:v>
                  </c:pt>
                  <c:pt idx="9">
                    <c:v>4.3041771047833226</c:v>
                  </c:pt>
                  <c:pt idx="10">
                    <c:v>5.4760973265930541</c:v>
                  </c:pt>
                  <c:pt idx="11">
                    <c:v>3.5750591054901153</c:v>
                  </c:pt>
                  <c:pt idx="12">
                    <c:v>3.0650225057882978</c:v>
                  </c:pt>
                </c:numCache>
              </c:numRef>
            </c:minus>
            <c:spPr>
              <a:noFill/>
              <a:ln w="9525" cap="flat" cmpd="sng" algn="ctr">
                <a:solidFill>
                  <a:schemeClr val="tx1">
                    <a:lumMod val="65000"/>
                    <a:lumOff val="35000"/>
                  </a:schemeClr>
                </a:solidFill>
                <a:round/>
              </a:ln>
              <a:effectLst/>
            </c:spPr>
          </c:errBars>
          <c:xVal>
            <c:numRef>
              <c:f>'Sheet2 (4)'!$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 (4)'!$O$6:$O$18</c:f>
              <c:numCache>
                <c:formatCode>0.00</c:formatCode>
                <c:ptCount val="13"/>
                <c:pt idx="0">
                  <c:v>0</c:v>
                </c:pt>
                <c:pt idx="1">
                  <c:v>97.295529202841195</c:v>
                </c:pt>
                <c:pt idx="2">
                  <c:v>99.05124109964494</c:v>
                </c:pt>
                <c:pt idx="3">
                  <c:v>98.75266118658574</c:v>
                </c:pt>
                <c:pt idx="4">
                  <c:v>98.576068844699009</c:v>
                </c:pt>
                <c:pt idx="5">
                  <c:v>98.059390064402052</c:v>
                </c:pt>
                <c:pt idx="6">
                  <c:v>101.21311358014684</c:v>
                </c:pt>
                <c:pt idx="7">
                  <c:v>102.41567773224897</c:v>
                </c:pt>
                <c:pt idx="8">
                  <c:v>101.85456106797892</c:v>
                </c:pt>
                <c:pt idx="9">
                  <c:v>102.04257588311408</c:v>
                </c:pt>
                <c:pt idx="10">
                  <c:v>103.99102388743165</c:v>
                </c:pt>
                <c:pt idx="11">
                  <c:v>101.05635445540499</c:v>
                </c:pt>
                <c:pt idx="12">
                  <c:v>101.41574383561112</c:v>
                </c:pt>
              </c:numCache>
            </c:numRef>
          </c:yVal>
          <c:smooth val="0"/>
          <c:extLst>
            <c:ext xmlns:c16="http://schemas.microsoft.com/office/drawing/2014/chart" uri="{C3380CC4-5D6E-409C-BE32-E72D297353CC}">
              <c16:uniqueId val="{00000006-8A23-4737-921D-E0371DEF8843}"/>
            </c:ext>
          </c:extLst>
        </c:ser>
        <c:dLbls>
          <c:showLegendKey val="0"/>
          <c:showVal val="0"/>
          <c:showCatName val="0"/>
          <c:showSerName val="0"/>
          <c:showPercent val="0"/>
          <c:showBubbleSize val="0"/>
        </c:dLbls>
        <c:axId val="500909551"/>
        <c:axId val="500906223"/>
      </c:scatterChart>
      <c:valAx>
        <c:axId val="500909551"/>
        <c:scaling>
          <c:orientation val="minMax"/>
          <c:max val="60"/>
        </c:scaling>
        <c:delete val="0"/>
        <c:axPos val="b"/>
        <c:title>
          <c:tx>
            <c:rich>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Time (min)</a:t>
                </a:r>
              </a:p>
            </c:rich>
          </c:tx>
          <c:layout>
            <c:manualLayout>
              <c:xMode val="edge"/>
              <c:yMode val="edge"/>
              <c:x val="0.42703659262231891"/>
              <c:y val="0.71413833663026061"/>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6223"/>
        <c:crosses val="autoZero"/>
        <c:crossBetween val="midCat"/>
        <c:majorUnit val="5"/>
      </c:valAx>
      <c:valAx>
        <c:axId val="500906223"/>
        <c:scaling>
          <c:orientation val="minMax"/>
          <c:max val="110"/>
          <c:min val="0"/>
        </c:scaling>
        <c:delete val="0"/>
        <c:axPos val="l"/>
        <c:title>
          <c:tx>
            <c:rich>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 drug released</a:t>
                </a:r>
              </a:p>
            </c:rich>
          </c:tx>
          <c:overlay val="0"/>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9551"/>
        <c:crosses val="autoZero"/>
        <c:crossBetween val="midCat"/>
        <c:majorUnit val="20"/>
      </c:valAx>
      <c:spPr>
        <a:noFill/>
        <a:ln>
          <a:noFill/>
        </a:ln>
        <a:effectLst/>
      </c:spPr>
    </c:plotArea>
    <c:legend>
      <c:legendPos val="b"/>
      <c:layout>
        <c:manualLayout>
          <c:xMode val="edge"/>
          <c:yMode val="edge"/>
          <c:x val="1.1998581649249378E-2"/>
          <c:y val="0.78223451670470556"/>
          <c:w val="0.98800143163922693"/>
          <c:h val="0.2177653060546493"/>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9050">
      <a:solidFill>
        <a:srgbClr val="000000"/>
      </a:solidFill>
    </a:ln>
    <a:effectLst/>
  </c:spPr>
  <c:txPr>
    <a:bodyPr/>
    <a:lstStyle/>
    <a:p>
      <a:pPr>
        <a:defRPr/>
      </a:pPr>
      <a:endParaRPr lang="en-US"/>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sz="1800" b="1" i="0" baseline="0" dirty="0">
                <a:effectLst/>
              </a:rPr>
              <a:t>Vardenafil pellets coated with Kollicoat</a:t>
            </a:r>
            <a:r>
              <a:rPr lang="en-US" sz="1800" b="0" i="0" baseline="30000" dirty="0">
                <a:effectLst/>
              </a:rPr>
              <a:t>® </a:t>
            </a:r>
            <a:r>
              <a:rPr lang="en-US" sz="1800" b="1" i="0" baseline="0" dirty="0">
                <a:effectLst/>
              </a:rPr>
              <a:t>Smartseal without BHT and vardenafil MUPS (different fillers). Dissolution in Phosphate buffer pH 6.8, 900ml, basket at 100rpm</a:t>
            </a:r>
            <a:endParaRPr lang="en-US" dirty="0">
              <a:effectLst/>
            </a:endParaRPr>
          </a:p>
        </c:rich>
      </c:tx>
      <c:layout>
        <c:manualLayout>
          <c:xMode val="edge"/>
          <c:yMode val="edge"/>
          <c:x val="0.15939611282205118"/>
          <c:y val="1.7421390273519154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endParaRPr lang="en-US"/>
        </a:p>
      </c:txPr>
    </c:title>
    <c:autoTitleDeleted val="0"/>
    <c:plotArea>
      <c:layout>
        <c:manualLayout>
          <c:layoutTarget val="inner"/>
          <c:xMode val="edge"/>
          <c:yMode val="edge"/>
          <c:x val="0.10038068181818181"/>
          <c:y val="9.2267130827620544E-2"/>
          <c:w val="0.87243244949494958"/>
          <c:h val="0.44862116221479575"/>
        </c:manualLayout>
      </c:layout>
      <c:scatterChart>
        <c:scatterStyle val="lineMarker"/>
        <c:varyColors val="0"/>
        <c:ser>
          <c:idx val="1"/>
          <c:order val="0"/>
          <c:tx>
            <c:strRef>
              <c:f>Sheet2!$I$4</c:f>
              <c:strCache>
                <c:ptCount val="1"/>
                <c:pt idx="0">
                  <c:v>Coated Pellets - Initial</c:v>
                </c:pt>
              </c:strCache>
            </c:strRef>
          </c:tx>
          <c:spPr>
            <a:ln w="19050" cap="rnd">
              <a:solidFill>
                <a:srgbClr val="92D050"/>
              </a:solidFill>
              <a:round/>
            </a:ln>
            <a:effectLst/>
          </c:spPr>
          <c:marker>
            <c:symbol val="circle"/>
            <c:size val="5"/>
            <c:spPr>
              <a:solidFill>
                <a:srgbClr val="92D050"/>
              </a:solidFill>
              <a:ln w="9525">
                <a:solidFill>
                  <a:srgbClr val="92D050"/>
                </a:solidFill>
              </a:ln>
              <a:effectLst/>
            </c:spPr>
          </c:marker>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I$6:$I$18</c:f>
              <c:numCache>
                <c:formatCode>General</c:formatCode>
                <c:ptCount val="13"/>
                <c:pt idx="0">
                  <c:v>0</c:v>
                </c:pt>
                <c:pt idx="1">
                  <c:v>1.04</c:v>
                </c:pt>
                <c:pt idx="2">
                  <c:v>1.23</c:v>
                </c:pt>
                <c:pt idx="3">
                  <c:v>1.42</c:v>
                </c:pt>
                <c:pt idx="4">
                  <c:v>1.78</c:v>
                </c:pt>
                <c:pt idx="5">
                  <c:v>2.0299999999999998</c:v>
                </c:pt>
                <c:pt idx="6">
                  <c:v>2.75</c:v>
                </c:pt>
                <c:pt idx="7">
                  <c:v>3.24</c:v>
                </c:pt>
                <c:pt idx="8">
                  <c:v>3.53</c:v>
                </c:pt>
                <c:pt idx="9">
                  <c:v>3.86</c:v>
                </c:pt>
                <c:pt idx="10">
                  <c:v>4.42</c:v>
                </c:pt>
                <c:pt idx="11">
                  <c:v>4.84</c:v>
                </c:pt>
                <c:pt idx="12">
                  <c:v>5.3</c:v>
                </c:pt>
              </c:numCache>
            </c:numRef>
          </c:yVal>
          <c:smooth val="0"/>
          <c:extLst>
            <c:ext xmlns:c16="http://schemas.microsoft.com/office/drawing/2014/chart" uri="{C3380CC4-5D6E-409C-BE32-E72D297353CC}">
              <c16:uniqueId val="{00000000-E231-46E7-B34E-1A3EBD6E9322}"/>
            </c:ext>
          </c:extLst>
        </c:ser>
        <c:ser>
          <c:idx val="0"/>
          <c:order val="1"/>
          <c:tx>
            <c:strRef>
              <c:f>Sheet2!$J$4</c:f>
              <c:strCache>
                <c:ptCount val="1"/>
                <c:pt idx="0">
                  <c:v>Coated pellets - Stress study</c:v>
                </c:pt>
              </c:strCache>
            </c:strRef>
          </c:tx>
          <c:spPr>
            <a:ln w="19050" cap="rnd">
              <a:solidFill>
                <a:srgbClr val="7030A0"/>
              </a:solidFill>
              <a:round/>
            </a:ln>
            <a:effectLst/>
          </c:spPr>
          <c:marker>
            <c:symbol val="circle"/>
            <c:size val="5"/>
            <c:spPr>
              <a:solidFill>
                <a:srgbClr val="7030A0"/>
              </a:solidFill>
              <a:ln w="9525">
                <a:solidFill>
                  <a:srgbClr val="7030A0"/>
                </a:solidFill>
              </a:ln>
              <a:effectLst/>
            </c:spPr>
          </c:marker>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J$6:$J$18</c:f>
              <c:numCache>
                <c:formatCode>General</c:formatCode>
                <c:ptCount val="13"/>
                <c:pt idx="0">
                  <c:v>0</c:v>
                </c:pt>
                <c:pt idx="1">
                  <c:v>1.1399999999999999</c:v>
                </c:pt>
                <c:pt idx="2">
                  <c:v>1.33</c:v>
                </c:pt>
                <c:pt idx="3">
                  <c:v>1.47</c:v>
                </c:pt>
                <c:pt idx="4">
                  <c:v>1.45</c:v>
                </c:pt>
                <c:pt idx="5">
                  <c:v>1.49</c:v>
                </c:pt>
                <c:pt idx="6">
                  <c:v>1.55</c:v>
                </c:pt>
                <c:pt idx="7">
                  <c:v>1.69</c:v>
                </c:pt>
                <c:pt idx="8">
                  <c:v>1.74</c:v>
                </c:pt>
                <c:pt idx="9">
                  <c:v>1.84</c:v>
                </c:pt>
                <c:pt idx="10">
                  <c:v>2.46</c:v>
                </c:pt>
                <c:pt idx="11">
                  <c:v>2.7</c:v>
                </c:pt>
                <c:pt idx="12">
                  <c:v>2.82</c:v>
                </c:pt>
              </c:numCache>
            </c:numRef>
          </c:yVal>
          <c:smooth val="0"/>
          <c:extLst>
            <c:ext xmlns:c16="http://schemas.microsoft.com/office/drawing/2014/chart" uri="{C3380CC4-5D6E-409C-BE32-E72D297353CC}">
              <c16:uniqueId val="{00000001-E231-46E7-B34E-1A3EBD6E9322}"/>
            </c:ext>
          </c:extLst>
        </c:ser>
        <c:ser>
          <c:idx val="2"/>
          <c:order val="2"/>
          <c:tx>
            <c:strRef>
              <c:f>Sheet2!$K$4</c:f>
              <c:strCache>
                <c:ptCount val="1"/>
                <c:pt idx="0">
                  <c:v>Tablets with Ludiflash
Initial</c:v>
                </c:pt>
              </c:strCache>
            </c:strRef>
          </c:tx>
          <c:spPr>
            <a:ln w="19050" cap="rnd">
              <a:solidFill>
                <a:srgbClr val="ED7D31"/>
              </a:solidFill>
              <a:round/>
            </a:ln>
            <a:effectLst/>
          </c:spPr>
          <c:marker>
            <c:symbol val="circle"/>
            <c:size val="5"/>
            <c:spPr>
              <a:solidFill>
                <a:srgbClr val="ED7D31"/>
              </a:solidFill>
              <a:ln w="9525">
                <a:solidFill>
                  <a:srgbClr val="ED7D31"/>
                </a:solidFill>
              </a:ln>
              <a:effectLst/>
            </c:spPr>
          </c:marker>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K$6:$K$18</c:f>
              <c:numCache>
                <c:formatCode>General</c:formatCode>
                <c:ptCount val="13"/>
                <c:pt idx="0">
                  <c:v>0</c:v>
                </c:pt>
                <c:pt idx="1">
                  <c:v>2.02</c:v>
                </c:pt>
                <c:pt idx="2">
                  <c:v>2.92</c:v>
                </c:pt>
                <c:pt idx="3">
                  <c:v>5.55</c:v>
                </c:pt>
                <c:pt idx="4">
                  <c:v>6.34</c:v>
                </c:pt>
                <c:pt idx="5">
                  <c:v>7.58</c:v>
                </c:pt>
                <c:pt idx="6">
                  <c:v>8.67</c:v>
                </c:pt>
                <c:pt idx="7">
                  <c:v>7.7</c:v>
                </c:pt>
                <c:pt idx="8">
                  <c:v>9.33</c:v>
                </c:pt>
                <c:pt idx="9">
                  <c:v>9.1999999999999993</c:v>
                </c:pt>
                <c:pt idx="10">
                  <c:v>10.14</c:v>
                </c:pt>
                <c:pt idx="11">
                  <c:v>10.81</c:v>
                </c:pt>
                <c:pt idx="12">
                  <c:v>11.3</c:v>
                </c:pt>
              </c:numCache>
            </c:numRef>
          </c:yVal>
          <c:smooth val="0"/>
          <c:extLst>
            <c:ext xmlns:c16="http://schemas.microsoft.com/office/drawing/2014/chart" uri="{C3380CC4-5D6E-409C-BE32-E72D297353CC}">
              <c16:uniqueId val="{00000002-E231-46E7-B34E-1A3EBD6E9322}"/>
            </c:ext>
          </c:extLst>
        </c:ser>
        <c:ser>
          <c:idx val="3"/>
          <c:order val="3"/>
          <c:tx>
            <c:strRef>
              <c:f>Sheet2!$L$4</c:f>
              <c:strCache>
                <c:ptCount val="1"/>
                <c:pt idx="0">
                  <c:v>Tablets with Ludipress
Initial</c:v>
                </c:pt>
              </c:strCache>
            </c:strRef>
          </c:tx>
          <c:spPr>
            <a:ln w="19050" cap="rnd">
              <a:solidFill>
                <a:schemeClr val="accent4"/>
              </a:solidFill>
              <a:round/>
            </a:ln>
            <a:effectLst/>
          </c:spPr>
          <c:marker>
            <c:symbol val="circle"/>
            <c:size val="5"/>
            <c:spPr>
              <a:solidFill>
                <a:schemeClr val="accent4"/>
              </a:solidFill>
              <a:ln w="9525">
                <a:solidFill>
                  <a:schemeClr val="accent4"/>
                </a:solidFill>
              </a:ln>
              <a:effectLst/>
            </c:spPr>
          </c:marker>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L$6:$L$18</c:f>
              <c:numCache>
                <c:formatCode>General</c:formatCode>
                <c:ptCount val="13"/>
                <c:pt idx="0">
                  <c:v>0</c:v>
                </c:pt>
                <c:pt idx="1">
                  <c:v>2.64</c:v>
                </c:pt>
                <c:pt idx="2">
                  <c:v>3.41</c:v>
                </c:pt>
                <c:pt idx="3">
                  <c:v>4.9800000000000004</c:v>
                </c:pt>
                <c:pt idx="4">
                  <c:v>5.74</c:v>
                </c:pt>
                <c:pt idx="5">
                  <c:v>8.82</c:v>
                </c:pt>
                <c:pt idx="6">
                  <c:v>10.19</c:v>
                </c:pt>
                <c:pt idx="7">
                  <c:v>11.14</c:v>
                </c:pt>
                <c:pt idx="8">
                  <c:v>12.33</c:v>
                </c:pt>
                <c:pt idx="9">
                  <c:v>13.37</c:v>
                </c:pt>
                <c:pt idx="10">
                  <c:v>14.79</c:v>
                </c:pt>
                <c:pt idx="11">
                  <c:v>16.68</c:v>
                </c:pt>
                <c:pt idx="12">
                  <c:v>18.850000000000001</c:v>
                </c:pt>
              </c:numCache>
            </c:numRef>
          </c:yVal>
          <c:smooth val="0"/>
          <c:extLst>
            <c:ext xmlns:c16="http://schemas.microsoft.com/office/drawing/2014/chart" uri="{C3380CC4-5D6E-409C-BE32-E72D297353CC}">
              <c16:uniqueId val="{00000003-E231-46E7-B34E-1A3EBD6E9322}"/>
            </c:ext>
          </c:extLst>
        </c:ser>
        <c:ser>
          <c:idx val="4"/>
          <c:order val="4"/>
          <c:tx>
            <c:strRef>
              <c:f>Sheet2!$M$4</c:f>
              <c:strCache>
                <c:ptCount val="1"/>
                <c:pt idx="0">
                  <c:v>Tablets with MCC 102
Initial</c:v>
                </c:pt>
              </c:strCache>
            </c:strRef>
          </c:tx>
          <c:spPr>
            <a:ln w="19050" cap="rnd">
              <a:solidFill>
                <a:schemeClr val="accent5"/>
              </a:solidFill>
              <a:round/>
            </a:ln>
            <a:effectLst/>
          </c:spPr>
          <c:marker>
            <c:symbol val="circle"/>
            <c:size val="5"/>
            <c:spPr>
              <a:solidFill>
                <a:schemeClr val="accent5"/>
              </a:solidFill>
              <a:ln w="9525">
                <a:solidFill>
                  <a:schemeClr val="accent5"/>
                </a:solidFill>
              </a:ln>
              <a:effectLst/>
            </c:spPr>
          </c:marker>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M$6:$M$18</c:f>
              <c:numCache>
                <c:formatCode>General</c:formatCode>
                <c:ptCount val="13"/>
                <c:pt idx="0">
                  <c:v>0</c:v>
                </c:pt>
                <c:pt idx="1">
                  <c:v>4.8</c:v>
                </c:pt>
                <c:pt idx="2">
                  <c:v>6.02</c:v>
                </c:pt>
                <c:pt idx="3">
                  <c:v>7.32</c:v>
                </c:pt>
                <c:pt idx="4">
                  <c:v>8.06</c:v>
                </c:pt>
                <c:pt idx="5">
                  <c:v>8.52</c:v>
                </c:pt>
                <c:pt idx="6">
                  <c:v>11</c:v>
                </c:pt>
                <c:pt idx="7">
                  <c:v>12.26</c:v>
                </c:pt>
                <c:pt idx="8">
                  <c:v>12.6</c:v>
                </c:pt>
                <c:pt idx="9">
                  <c:v>13.43</c:v>
                </c:pt>
                <c:pt idx="10">
                  <c:v>13.78</c:v>
                </c:pt>
                <c:pt idx="11">
                  <c:v>14.59</c:v>
                </c:pt>
                <c:pt idx="12">
                  <c:v>15.29</c:v>
                </c:pt>
              </c:numCache>
            </c:numRef>
          </c:yVal>
          <c:smooth val="0"/>
          <c:extLst>
            <c:ext xmlns:c16="http://schemas.microsoft.com/office/drawing/2014/chart" uri="{C3380CC4-5D6E-409C-BE32-E72D297353CC}">
              <c16:uniqueId val="{00000004-E231-46E7-B34E-1A3EBD6E9322}"/>
            </c:ext>
          </c:extLst>
        </c:ser>
        <c:ser>
          <c:idx val="5"/>
          <c:order val="5"/>
          <c:tx>
            <c:strRef>
              <c:f>Sheet2!$N$4</c:f>
              <c:strCache>
                <c:ptCount val="1"/>
                <c:pt idx="0">
                  <c:v>Tablets with Ludipress
Stress Study</c:v>
                </c:pt>
              </c:strCache>
            </c:strRef>
          </c:tx>
          <c:spPr>
            <a:ln w="19050" cap="rnd">
              <a:solidFill>
                <a:schemeClr val="accent6"/>
              </a:solidFill>
              <a:round/>
            </a:ln>
            <a:effectLst/>
          </c:spPr>
          <c:marker>
            <c:symbol val="circle"/>
            <c:size val="5"/>
            <c:spPr>
              <a:solidFill>
                <a:schemeClr val="accent6"/>
              </a:solidFill>
              <a:ln w="9525">
                <a:solidFill>
                  <a:schemeClr val="accent6"/>
                </a:solidFill>
              </a:ln>
              <a:effectLst/>
            </c:spPr>
          </c:marker>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N$6:$N$18</c:f>
              <c:numCache>
                <c:formatCode>0.00</c:formatCode>
                <c:ptCount val="13"/>
                <c:pt idx="0">
                  <c:v>0</c:v>
                </c:pt>
                <c:pt idx="1">
                  <c:v>1.0864949315699965</c:v>
                </c:pt>
                <c:pt idx="2">
                  <c:v>0</c:v>
                </c:pt>
                <c:pt idx="3">
                  <c:v>0</c:v>
                </c:pt>
                <c:pt idx="4">
                  <c:v>0</c:v>
                </c:pt>
                <c:pt idx="5">
                  <c:v>1.165430871167886</c:v>
                </c:pt>
                <c:pt idx="6">
                  <c:v>1.2816942630023362</c:v>
                </c:pt>
                <c:pt idx="7">
                  <c:v>1.7413093842851957</c:v>
                </c:pt>
                <c:pt idx="8">
                  <c:v>2.6617773804366207</c:v>
                </c:pt>
                <c:pt idx="9">
                  <c:v>1.8992427128495324</c:v>
                </c:pt>
                <c:pt idx="10">
                  <c:v>3.0848703520965897</c:v>
                </c:pt>
                <c:pt idx="11">
                  <c:v>3.4423077685581589</c:v>
                </c:pt>
                <c:pt idx="12">
                  <c:v>3.326844606694086</c:v>
                </c:pt>
              </c:numCache>
            </c:numRef>
          </c:yVal>
          <c:smooth val="0"/>
          <c:extLst>
            <c:ext xmlns:c16="http://schemas.microsoft.com/office/drawing/2014/chart" uri="{C3380CC4-5D6E-409C-BE32-E72D297353CC}">
              <c16:uniqueId val="{00000005-E231-46E7-B34E-1A3EBD6E9322}"/>
            </c:ext>
          </c:extLst>
        </c:ser>
        <c:ser>
          <c:idx val="6"/>
          <c:order val="6"/>
          <c:tx>
            <c:strRef>
              <c:f>Sheet2!$O$4</c:f>
              <c:strCache>
                <c:ptCount val="1"/>
                <c:pt idx="0">
                  <c:v>Tablets with MCC 102
Stress Study</c:v>
                </c:pt>
              </c:strCache>
            </c:strRef>
          </c:tx>
          <c:spPr>
            <a:ln w="19050"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xVal>
            <c:numRef>
              <c:f>Sheet2!$B$6:$B$18</c:f>
              <c:numCache>
                <c:formatCode>0</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O$6:$O$18</c:f>
              <c:numCache>
                <c:formatCode>0.00</c:formatCode>
                <c:ptCount val="13"/>
                <c:pt idx="0">
                  <c:v>0</c:v>
                </c:pt>
                <c:pt idx="1">
                  <c:v>0</c:v>
                </c:pt>
                <c:pt idx="2">
                  <c:v>0</c:v>
                </c:pt>
                <c:pt idx="3">
                  <c:v>0</c:v>
                </c:pt>
                <c:pt idx="4">
                  <c:v>0</c:v>
                </c:pt>
                <c:pt idx="5">
                  <c:v>0.52175443950882983</c:v>
                </c:pt>
                <c:pt idx="6">
                  <c:v>2.8482388948949873</c:v>
                </c:pt>
                <c:pt idx="7">
                  <c:v>1.463805208783147</c:v>
                </c:pt>
                <c:pt idx="8">
                  <c:v>2.3212368842973268</c:v>
                </c:pt>
                <c:pt idx="9">
                  <c:v>3.6402131545216165</c:v>
                </c:pt>
                <c:pt idx="10">
                  <c:v>3.848348691596279</c:v>
                </c:pt>
                <c:pt idx="11">
                  <c:v>3.4741192633514295</c:v>
                </c:pt>
                <c:pt idx="12">
                  <c:v>3.8191134984106334</c:v>
                </c:pt>
              </c:numCache>
            </c:numRef>
          </c:yVal>
          <c:smooth val="0"/>
          <c:extLst>
            <c:ext xmlns:c16="http://schemas.microsoft.com/office/drawing/2014/chart" uri="{C3380CC4-5D6E-409C-BE32-E72D297353CC}">
              <c16:uniqueId val="{00000006-E231-46E7-B34E-1A3EBD6E9322}"/>
            </c:ext>
          </c:extLst>
        </c:ser>
        <c:dLbls>
          <c:showLegendKey val="0"/>
          <c:showVal val="0"/>
          <c:showCatName val="0"/>
          <c:showSerName val="0"/>
          <c:showPercent val="0"/>
          <c:showBubbleSize val="0"/>
        </c:dLbls>
        <c:axId val="500909551"/>
        <c:axId val="500906223"/>
      </c:scatterChart>
      <c:valAx>
        <c:axId val="500909551"/>
        <c:scaling>
          <c:orientation val="minMax"/>
          <c:max val="60"/>
        </c:scaling>
        <c:delete val="0"/>
        <c:axPos val="b"/>
        <c:title>
          <c:tx>
            <c:rich>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Time in Min</a:t>
                </a:r>
              </a:p>
            </c:rich>
          </c:tx>
          <c:layout>
            <c:manualLayout>
              <c:xMode val="edge"/>
              <c:yMode val="edge"/>
              <c:x val="0.4210902777777778"/>
              <c:y val="0.63310051356549057"/>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6223"/>
        <c:crosses val="autoZero"/>
        <c:crossBetween val="midCat"/>
        <c:majorUnit val="5"/>
      </c:valAx>
      <c:valAx>
        <c:axId val="500906223"/>
        <c:scaling>
          <c:orientation val="minMax"/>
          <c:max val="110"/>
          <c:min val="0"/>
        </c:scaling>
        <c:delete val="0"/>
        <c:axPos val="l"/>
        <c:title>
          <c:tx>
            <c:rich>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 drug released</a:t>
                </a:r>
              </a:p>
            </c:rich>
          </c:tx>
          <c:overlay val="0"/>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9551"/>
        <c:crosses val="autoZero"/>
        <c:crossBetween val="midCat"/>
        <c:majorUnit val="20"/>
      </c:valAx>
      <c:spPr>
        <a:noFill/>
        <a:ln>
          <a:noFill/>
        </a:ln>
        <a:effectLst/>
      </c:spPr>
    </c:plotArea>
    <c:legend>
      <c:legendPos val="b"/>
      <c:layout>
        <c:manualLayout>
          <c:xMode val="edge"/>
          <c:yMode val="edge"/>
          <c:x val="3.2985106704872249E-3"/>
          <c:y val="0.73365822325362784"/>
          <c:w val="0.99423762626262613"/>
          <c:h val="0.24604888106188333"/>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9050">
      <a:solidFill>
        <a:srgbClr val="000000"/>
      </a:solidFill>
    </a:ln>
    <a:effectLst/>
  </c:spPr>
  <c:txPr>
    <a:bodyPr/>
    <a:lstStyle/>
    <a:p>
      <a:pPr>
        <a:defRPr/>
      </a:pPr>
      <a:endParaRPr lang="en-US"/>
    </a:p>
  </c:txPr>
  <c:externalData r:id="rId4">
    <c:autoUpdate val="0"/>
  </c:externalData>
  <c:userShapes r:id="rId5"/>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906089764129287"/>
          <c:y val="0.27840037484758628"/>
          <c:w val="0.71996372705398193"/>
          <c:h val="0.44366231542228812"/>
        </c:manualLayout>
      </c:layout>
      <c:scatterChart>
        <c:scatterStyle val="lineMarker"/>
        <c:varyColors val="0"/>
        <c:ser>
          <c:idx val="0"/>
          <c:order val="0"/>
          <c:tx>
            <c:strRef>
              <c:f>'3 Weeks pellets 0.1N HCl'!$I$25</c:f>
              <c:strCache>
                <c:ptCount val="1"/>
                <c:pt idx="0">
                  <c:v>Pellets with BHT - Initial</c:v>
                </c:pt>
              </c:strCache>
            </c:strRef>
          </c:tx>
          <c:spPr>
            <a:ln w="19050" cap="rnd">
              <a:solidFill>
                <a:schemeClr val="accent6"/>
              </a:solidFill>
              <a:round/>
            </a:ln>
            <a:effectLst/>
          </c:spPr>
          <c:marker>
            <c:symbol val="circle"/>
            <c:size val="5"/>
            <c:spPr>
              <a:solidFill>
                <a:schemeClr val="accent6"/>
              </a:solidFill>
              <a:ln w="9525">
                <a:solidFill>
                  <a:schemeClr val="accent6"/>
                </a:solidFill>
              </a:ln>
              <a:effectLst/>
            </c:spPr>
          </c:marker>
          <c:xVal>
            <c:numRef>
              <c:f>'3 Weeks pellets 0.1N HCl'!$H$26:$H$3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3 Weeks pellets 0.1N HCl'!$I$26:$I$38</c:f>
              <c:numCache>
                <c:formatCode>0.00</c:formatCode>
                <c:ptCount val="13"/>
                <c:pt idx="0" formatCode="General">
                  <c:v>0</c:v>
                </c:pt>
                <c:pt idx="1">
                  <c:v>65.666701054026973</c:v>
                </c:pt>
                <c:pt idx="2">
                  <c:v>84.413530489852178</c:v>
                </c:pt>
                <c:pt idx="3">
                  <c:v>92.676969615978408</c:v>
                </c:pt>
                <c:pt idx="4">
                  <c:v>98.556921685431462</c:v>
                </c:pt>
                <c:pt idx="5">
                  <c:v>102.10985347142871</c:v>
                </c:pt>
                <c:pt idx="6">
                  <c:v>103.94858870859709</c:v>
                </c:pt>
                <c:pt idx="7">
                  <c:v>105.80420160483891</c:v>
                </c:pt>
                <c:pt idx="8">
                  <c:v>106.19897289922774</c:v>
                </c:pt>
                <c:pt idx="9">
                  <c:v>106.78244864702059</c:v>
                </c:pt>
                <c:pt idx="10">
                  <c:v>108.34201887163157</c:v>
                </c:pt>
                <c:pt idx="11">
                  <c:v>109.2844385336429</c:v>
                </c:pt>
                <c:pt idx="12">
                  <c:v>110.1974822933751</c:v>
                </c:pt>
              </c:numCache>
            </c:numRef>
          </c:yVal>
          <c:smooth val="0"/>
          <c:extLst>
            <c:ext xmlns:c16="http://schemas.microsoft.com/office/drawing/2014/chart" uri="{C3380CC4-5D6E-409C-BE32-E72D297353CC}">
              <c16:uniqueId val="{00000000-632B-46CD-A81F-EC3FA43868CB}"/>
            </c:ext>
          </c:extLst>
        </c:ser>
        <c:ser>
          <c:idx val="1"/>
          <c:order val="1"/>
          <c:tx>
            <c:strRef>
              <c:f>'3 Weeks pellets 0.1N HCl'!$J$25</c:f>
              <c:strCache>
                <c:ptCount val="1"/>
                <c:pt idx="0">
                  <c:v>Pellets with BHT - 2 weeks</c:v>
                </c:pt>
              </c:strCache>
            </c:strRef>
          </c:tx>
          <c:spPr>
            <a:ln w="19050" cap="rnd">
              <a:solidFill>
                <a:schemeClr val="accent5"/>
              </a:solidFill>
              <a:round/>
            </a:ln>
            <a:effectLst/>
          </c:spPr>
          <c:marker>
            <c:symbol val="circle"/>
            <c:size val="5"/>
            <c:spPr>
              <a:solidFill>
                <a:schemeClr val="accent5"/>
              </a:solidFill>
              <a:ln w="9525">
                <a:solidFill>
                  <a:schemeClr val="accent5"/>
                </a:solidFill>
              </a:ln>
              <a:effectLst/>
            </c:spPr>
          </c:marker>
          <c:xVal>
            <c:numRef>
              <c:f>'3 Weeks pellets 0.1N HCl'!$H$26:$H$3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3 Weeks pellets 0.1N HCl'!$J$26:$J$38</c:f>
              <c:numCache>
                <c:formatCode>General</c:formatCode>
                <c:ptCount val="13"/>
                <c:pt idx="0">
                  <c:v>0</c:v>
                </c:pt>
                <c:pt idx="1">
                  <c:v>76.7</c:v>
                </c:pt>
                <c:pt idx="2">
                  <c:v>86.66</c:v>
                </c:pt>
                <c:pt idx="3">
                  <c:v>92.84</c:v>
                </c:pt>
                <c:pt idx="4">
                  <c:v>97.03</c:v>
                </c:pt>
                <c:pt idx="5">
                  <c:v>99.26</c:v>
                </c:pt>
                <c:pt idx="6">
                  <c:v>101.16</c:v>
                </c:pt>
                <c:pt idx="7">
                  <c:v>101.92</c:v>
                </c:pt>
                <c:pt idx="8">
                  <c:v>101.61</c:v>
                </c:pt>
                <c:pt idx="9">
                  <c:v>100.64</c:v>
                </c:pt>
                <c:pt idx="10">
                  <c:v>102.68</c:v>
                </c:pt>
                <c:pt idx="11">
                  <c:v>105.88</c:v>
                </c:pt>
                <c:pt idx="12">
                  <c:v>106.81</c:v>
                </c:pt>
              </c:numCache>
            </c:numRef>
          </c:yVal>
          <c:smooth val="0"/>
          <c:extLst>
            <c:ext xmlns:c16="http://schemas.microsoft.com/office/drawing/2014/chart" uri="{C3380CC4-5D6E-409C-BE32-E72D297353CC}">
              <c16:uniqueId val="{00000001-632B-46CD-A81F-EC3FA43868CB}"/>
            </c:ext>
          </c:extLst>
        </c:ser>
        <c:ser>
          <c:idx val="2"/>
          <c:order val="2"/>
          <c:tx>
            <c:strRef>
              <c:f>'3 Weeks pellets 0.1N HCl'!$K$25</c:f>
              <c:strCache>
                <c:ptCount val="1"/>
                <c:pt idx="0">
                  <c:v>Pellets with BHT - 3 weeks</c:v>
                </c:pt>
              </c:strCache>
            </c:strRef>
          </c:tx>
          <c:spPr>
            <a:ln w="19050" cap="rnd">
              <a:solidFill>
                <a:schemeClr val="accent4"/>
              </a:solidFill>
              <a:round/>
            </a:ln>
            <a:effectLst/>
          </c:spPr>
          <c:marker>
            <c:symbol val="circle"/>
            <c:size val="5"/>
            <c:spPr>
              <a:solidFill>
                <a:schemeClr val="accent4"/>
              </a:solidFill>
              <a:ln w="9525">
                <a:solidFill>
                  <a:schemeClr val="accent4"/>
                </a:solidFill>
              </a:ln>
              <a:effectLst/>
            </c:spPr>
          </c:marker>
          <c:xVal>
            <c:numRef>
              <c:f>'3 Weeks pellets 0.1N HCl'!$H$26:$H$3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3 Weeks pellets 0.1N HCl'!$K$26:$K$38</c:f>
              <c:numCache>
                <c:formatCode>0.00</c:formatCode>
                <c:ptCount val="13"/>
                <c:pt idx="0">
                  <c:v>0</c:v>
                </c:pt>
                <c:pt idx="1">
                  <c:v>60.597633037857555</c:v>
                </c:pt>
                <c:pt idx="2">
                  <c:v>79.323472438336296</c:v>
                </c:pt>
                <c:pt idx="3">
                  <c:v>86.580357566441648</c:v>
                </c:pt>
                <c:pt idx="4">
                  <c:v>90.808271419408186</c:v>
                </c:pt>
                <c:pt idx="5">
                  <c:v>95.236835295157604</c:v>
                </c:pt>
                <c:pt idx="6">
                  <c:v>100.7732601622485</c:v>
                </c:pt>
                <c:pt idx="7">
                  <c:v>102.64398071936961</c:v>
                </c:pt>
                <c:pt idx="8">
                  <c:v>103.118597823767</c:v>
                </c:pt>
                <c:pt idx="9">
                  <c:v>103.55558152969418</c:v>
                </c:pt>
                <c:pt idx="10">
                  <c:v>104.04675445355969</c:v>
                </c:pt>
                <c:pt idx="11">
                  <c:v>104.54987374082917</c:v>
                </c:pt>
                <c:pt idx="12">
                  <c:v>105.21442302117845</c:v>
                </c:pt>
              </c:numCache>
            </c:numRef>
          </c:yVal>
          <c:smooth val="0"/>
          <c:extLst>
            <c:ext xmlns:c16="http://schemas.microsoft.com/office/drawing/2014/chart" uri="{C3380CC4-5D6E-409C-BE32-E72D297353CC}">
              <c16:uniqueId val="{00000002-632B-46CD-A81F-EC3FA43868CB}"/>
            </c:ext>
          </c:extLst>
        </c:ser>
        <c:dLbls>
          <c:showLegendKey val="0"/>
          <c:showVal val="0"/>
          <c:showCatName val="0"/>
          <c:showSerName val="0"/>
          <c:showPercent val="0"/>
          <c:showBubbleSize val="0"/>
        </c:dLbls>
        <c:axId val="500909551"/>
        <c:axId val="500906223"/>
      </c:scatterChart>
      <c:valAx>
        <c:axId val="500909551"/>
        <c:scaling>
          <c:orientation val="minMax"/>
          <c:max val="60"/>
        </c:scaling>
        <c:delete val="0"/>
        <c:axPos val="b"/>
        <c:title>
          <c:tx>
            <c:rich>
              <a:bodyPr rot="0" spcFirstLastPara="1" vertOverflow="ellipsis" vert="horz" wrap="square" anchor="ctr" anchorCtr="1"/>
              <a:lstStyle/>
              <a:p>
                <a:pPr>
                  <a:defRPr sz="1800" b="1" i="0" u="none" strike="noStrike" kern="1200" baseline="0">
                    <a:solidFill>
                      <a:schemeClr val="tx1"/>
                    </a:solidFill>
                    <a:latin typeface="Arial   "/>
                    <a:ea typeface="+mn-ea"/>
                    <a:cs typeface="+mn-cs"/>
                  </a:defRPr>
                </a:pPr>
                <a:r>
                  <a:rPr lang="en-US" sz="1800" b="1" dirty="0">
                    <a:solidFill>
                      <a:schemeClr val="tx1"/>
                    </a:solidFill>
                    <a:latin typeface="Arial   "/>
                  </a:rPr>
                  <a:t>Time (min)</a:t>
                </a:r>
              </a:p>
            </c:rich>
          </c:tx>
          <c:layout>
            <c:manualLayout>
              <c:xMode val="edge"/>
              <c:yMode val="edge"/>
              <c:x val="0.4425671624496002"/>
              <c:y val="0.81015317991208857"/>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Arial   "/>
                  <a:ea typeface="+mn-ea"/>
                  <a:cs typeface="+mn-cs"/>
                </a:defRPr>
              </a:pPr>
              <a:endParaRPr lang="en-US"/>
            </a:p>
          </c:txPr>
        </c:title>
        <c:numFmt formatCode="General" sourceLinked="1"/>
        <c:majorTickMark val="out"/>
        <c:minorTickMark val="none"/>
        <c:tickLblPos val="nextTo"/>
        <c:spPr>
          <a:noFill/>
          <a:ln w="22225" cap="flat" cmpd="sng" algn="ctr">
            <a:solidFill>
              <a:sysClr val="windowText" lastClr="000000"/>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Arial   "/>
                <a:ea typeface="+mn-ea"/>
                <a:cs typeface="+mn-cs"/>
              </a:defRPr>
            </a:pPr>
            <a:endParaRPr lang="en-US"/>
          </a:p>
        </c:txPr>
        <c:crossAx val="500906223"/>
        <c:crosses val="autoZero"/>
        <c:crossBetween val="midCat"/>
        <c:majorUnit val="5"/>
      </c:valAx>
      <c:valAx>
        <c:axId val="500906223"/>
        <c:scaling>
          <c:orientation val="minMax"/>
          <c:max val="110"/>
          <c:min val="0"/>
        </c:scaling>
        <c:delete val="0"/>
        <c:axPos val="l"/>
        <c:title>
          <c:tx>
            <c:rich>
              <a:bodyPr rot="-5400000" spcFirstLastPara="1" vertOverflow="ellipsis" vert="horz" wrap="square" anchor="ctr" anchorCtr="1"/>
              <a:lstStyle/>
              <a:p>
                <a:pPr>
                  <a:defRPr sz="1800" b="1" i="0" u="none" strike="noStrike" kern="1200" baseline="0">
                    <a:solidFill>
                      <a:schemeClr val="tx1"/>
                    </a:solidFill>
                    <a:latin typeface="Arial   "/>
                    <a:ea typeface="+mn-ea"/>
                    <a:cs typeface="+mn-cs"/>
                  </a:defRPr>
                </a:pPr>
                <a:r>
                  <a:rPr lang="en-US" sz="1800" b="1" dirty="0">
                    <a:solidFill>
                      <a:schemeClr val="tx1"/>
                    </a:solidFill>
                    <a:latin typeface="Arial   "/>
                  </a:rPr>
                  <a:t>% drug released</a:t>
                </a:r>
              </a:p>
            </c:rich>
          </c:tx>
          <c:layout>
            <c:manualLayout>
              <c:xMode val="edge"/>
              <c:yMode val="edge"/>
              <c:x val="2.0221552906971123E-2"/>
              <c:y val="0.30683943002771796"/>
            </c:manualLayout>
          </c:layout>
          <c:overlay val="0"/>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Arial   "/>
                  <a:ea typeface="+mn-ea"/>
                  <a:cs typeface="+mn-cs"/>
                </a:defRPr>
              </a:pPr>
              <a:endParaRPr lang="en-US"/>
            </a:p>
          </c:txPr>
        </c:title>
        <c:numFmt formatCode="0" sourceLinked="0"/>
        <c:majorTickMark val="out"/>
        <c:minorTickMark val="none"/>
        <c:tickLblPos val="nextTo"/>
        <c:spPr>
          <a:noFill/>
          <a:ln w="22225" cap="flat" cmpd="sng" algn="ctr">
            <a:solidFill>
              <a:sysClr val="windowText" lastClr="000000"/>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Arial   "/>
                <a:ea typeface="+mn-ea"/>
                <a:cs typeface="+mn-cs"/>
              </a:defRPr>
            </a:pPr>
            <a:endParaRPr lang="en-US"/>
          </a:p>
        </c:txPr>
        <c:crossAx val="500909551"/>
        <c:crosses val="autoZero"/>
        <c:crossBetween val="midCat"/>
        <c:majorUnit val="20"/>
      </c:valAx>
      <c:spPr>
        <a:noFill/>
        <a:ln>
          <a:noFill/>
        </a:ln>
        <a:effectLst/>
      </c:spPr>
    </c:plotArea>
    <c:legend>
      <c:legendPos val="b"/>
      <c:layout>
        <c:manualLayout>
          <c:xMode val="edge"/>
          <c:yMode val="edge"/>
          <c:x val="1.6197643663075953E-2"/>
          <c:y val="0.90276245675384792"/>
          <c:w val="0.96517639168461145"/>
          <c:h val="9.1165403283923807E-2"/>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19050" cap="flat" cmpd="sng" algn="ctr">
      <a:solidFill>
        <a:sysClr val="windowText" lastClr="000000"/>
      </a:solidFill>
      <a:round/>
    </a:ln>
    <a:effectLst/>
  </c:spPr>
  <c:txPr>
    <a:bodyPr/>
    <a:lstStyle/>
    <a:p>
      <a:pPr>
        <a:defRPr/>
      </a:pPr>
      <a:endParaRPr lang="en-US"/>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931361035456385"/>
          <c:y val="0.26027832362999509"/>
          <c:w val="0.74012334700752691"/>
          <c:h val="0.45959115984446053"/>
        </c:manualLayout>
      </c:layout>
      <c:scatterChart>
        <c:scatterStyle val="lineMarker"/>
        <c:varyColors val="0"/>
        <c:ser>
          <c:idx val="0"/>
          <c:order val="0"/>
          <c:tx>
            <c:strRef>
              <c:f>'3 Weeks pellets 0.1N HCl'!$N$3</c:f>
              <c:strCache>
                <c:ptCount val="1"/>
                <c:pt idx="0">
                  <c:v>Pellets without BHT -Initial</c:v>
                </c:pt>
              </c:strCache>
            </c:strRef>
          </c:tx>
          <c:spPr>
            <a:ln w="19050" cap="rnd">
              <a:solidFill>
                <a:schemeClr val="accent6"/>
              </a:solidFill>
              <a:round/>
            </a:ln>
            <a:effectLst/>
          </c:spPr>
          <c:marker>
            <c:symbol val="circle"/>
            <c:size val="5"/>
            <c:spPr>
              <a:solidFill>
                <a:schemeClr val="accent6"/>
              </a:solidFill>
              <a:ln w="9525">
                <a:solidFill>
                  <a:schemeClr val="accent6"/>
                </a:solidFill>
              </a:ln>
              <a:effectLst/>
            </c:spPr>
          </c:marker>
          <c:xVal>
            <c:numRef>
              <c:f>'3 Weeks pellets 0.1N HCl'!$M$4:$M$16</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3 Weeks pellets 0.1N HCl'!$N$4:$N$16</c:f>
              <c:numCache>
                <c:formatCode>0.00</c:formatCode>
                <c:ptCount val="13"/>
                <c:pt idx="0">
                  <c:v>0</c:v>
                </c:pt>
                <c:pt idx="1">
                  <c:v>72.25</c:v>
                </c:pt>
                <c:pt idx="2">
                  <c:v>88.44</c:v>
                </c:pt>
                <c:pt idx="3">
                  <c:v>95.85</c:v>
                </c:pt>
                <c:pt idx="4">
                  <c:v>98.79</c:v>
                </c:pt>
                <c:pt idx="5">
                  <c:v>100.31</c:v>
                </c:pt>
                <c:pt idx="6">
                  <c:v>101</c:v>
                </c:pt>
                <c:pt idx="7">
                  <c:v>101.12</c:v>
                </c:pt>
                <c:pt idx="8">
                  <c:v>101.56</c:v>
                </c:pt>
                <c:pt idx="9">
                  <c:v>101.62</c:v>
                </c:pt>
                <c:pt idx="10">
                  <c:v>101.83</c:v>
                </c:pt>
                <c:pt idx="11">
                  <c:v>102.33</c:v>
                </c:pt>
                <c:pt idx="12">
                  <c:v>102.57</c:v>
                </c:pt>
              </c:numCache>
            </c:numRef>
          </c:yVal>
          <c:smooth val="0"/>
          <c:extLst>
            <c:ext xmlns:c16="http://schemas.microsoft.com/office/drawing/2014/chart" uri="{C3380CC4-5D6E-409C-BE32-E72D297353CC}">
              <c16:uniqueId val="{00000000-CB8E-4EC7-8E74-B77187B8D7EC}"/>
            </c:ext>
          </c:extLst>
        </c:ser>
        <c:ser>
          <c:idx val="1"/>
          <c:order val="1"/>
          <c:tx>
            <c:strRef>
              <c:f>'3 Weeks pellets 0.1N HCl'!$O$3</c:f>
              <c:strCache>
                <c:ptCount val="1"/>
                <c:pt idx="0">
                  <c:v>Pellets without BHT - 2 Weeks</c:v>
                </c:pt>
              </c:strCache>
            </c:strRef>
          </c:tx>
          <c:spPr>
            <a:ln w="19050" cap="rnd">
              <a:solidFill>
                <a:schemeClr val="accent5"/>
              </a:solidFill>
              <a:round/>
            </a:ln>
            <a:effectLst/>
          </c:spPr>
          <c:marker>
            <c:symbol val="circle"/>
            <c:size val="5"/>
            <c:spPr>
              <a:solidFill>
                <a:schemeClr val="accent5"/>
              </a:solidFill>
              <a:ln w="9525">
                <a:solidFill>
                  <a:schemeClr val="accent5"/>
                </a:solidFill>
              </a:ln>
              <a:effectLst/>
            </c:spPr>
          </c:marker>
          <c:xVal>
            <c:numRef>
              <c:f>'3 Weeks pellets 0.1N HCl'!$M$4:$M$16</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3 Weeks pellets 0.1N HCl'!$O$4:$O$16</c:f>
              <c:numCache>
                <c:formatCode>0.00</c:formatCode>
                <c:ptCount val="13"/>
                <c:pt idx="0">
                  <c:v>0</c:v>
                </c:pt>
                <c:pt idx="1">
                  <c:v>81.967707711914628</c:v>
                </c:pt>
                <c:pt idx="2">
                  <c:v>89.876122387586364</c:v>
                </c:pt>
                <c:pt idx="3">
                  <c:v>92.182496533286226</c:v>
                </c:pt>
                <c:pt idx="4">
                  <c:v>93.638795285418965</c:v>
                </c:pt>
                <c:pt idx="5">
                  <c:v>94.255022793055318</c:v>
                </c:pt>
                <c:pt idx="6">
                  <c:v>95.384406989440762</c:v>
                </c:pt>
                <c:pt idx="7">
                  <c:v>96.301742729372748</c:v>
                </c:pt>
                <c:pt idx="8">
                  <c:v>96.732541297359447</c:v>
                </c:pt>
                <c:pt idx="9">
                  <c:v>96.816529605305789</c:v>
                </c:pt>
                <c:pt idx="10">
                  <c:v>96.990536295573307</c:v>
                </c:pt>
                <c:pt idx="11">
                  <c:v>97.003924130157273</c:v>
                </c:pt>
                <c:pt idx="12">
                  <c:v>97.008516891593104</c:v>
                </c:pt>
              </c:numCache>
            </c:numRef>
          </c:yVal>
          <c:smooth val="0"/>
          <c:extLst>
            <c:ext xmlns:c16="http://schemas.microsoft.com/office/drawing/2014/chart" uri="{C3380CC4-5D6E-409C-BE32-E72D297353CC}">
              <c16:uniqueId val="{00000001-CB8E-4EC7-8E74-B77187B8D7EC}"/>
            </c:ext>
          </c:extLst>
        </c:ser>
        <c:ser>
          <c:idx val="2"/>
          <c:order val="2"/>
          <c:tx>
            <c:strRef>
              <c:f>'3 Weeks pellets 0.1N HCl'!$P$3</c:f>
              <c:strCache>
                <c:ptCount val="1"/>
                <c:pt idx="0">
                  <c:v>Pellets without BHT - 3 Weeks</c:v>
                </c:pt>
              </c:strCache>
            </c:strRef>
          </c:tx>
          <c:spPr>
            <a:ln w="19050" cap="rnd">
              <a:solidFill>
                <a:schemeClr val="accent4"/>
              </a:solidFill>
              <a:round/>
            </a:ln>
            <a:effectLst/>
          </c:spPr>
          <c:marker>
            <c:symbol val="circle"/>
            <c:size val="5"/>
            <c:spPr>
              <a:solidFill>
                <a:schemeClr val="accent4"/>
              </a:solidFill>
              <a:ln w="9525">
                <a:solidFill>
                  <a:schemeClr val="accent4"/>
                </a:solidFill>
              </a:ln>
              <a:effectLst/>
            </c:spPr>
          </c:marker>
          <c:xVal>
            <c:numRef>
              <c:f>'3 Weeks pellets 0.1N HCl'!$M$4:$M$16</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3 Weeks pellets 0.1N HCl'!$P$4:$P$16</c:f>
              <c:numCache>
                <c:formatCode>0.00</c:formatCode>
                <c:ptCount val="13"/>
                <c:pt idx="0">
                  <c:v>0</c:v>
                </c:pt>
                <c:pt idx="1">
                  <c:v>83.029384106235895</c:v>
                </c:pt>
                <c:pt idx="2">
                  <c:v>89.146306802976071</c:v>
                </c:pt>
                <c:pt idx="3">
                  <c:v>91.056216143256236</c:v>
                </c:pt>
                <c:pt idx="4">
                  <c:v>91.966260969056862</c:v>
                </c:pt>
                <c:pt idx="5">
                  <c:v>93.696117563292603</c:v>
                </c:pt>
                <c:pt idx="6">
                  <c:v>93.779432211778882</c:v>
                </c:pt>
                <c:pt idx="7">
                  <c:v>91.951005380009136</c:v>
                </c:pt>
                <c:pt idx="8">
                  <c:v>94.301979432691539</c:v>
                </c:pt>
                <c:pt idx="9">
                  <c:v>94.347363417689621</c:v>
                </c:pt>
                <c:pt idx="10">
                  <c:v>94.190921494236989</c:v>
                </c:pt>
                <c:pt idx="11">
                  <c:v>94.085343190490633</c:v>
                </c:pt>
                <c:pt idx="12">
                  <c:v>93.966443723113628</c:v>
                </c:pt>
              </c:numCache>
            </c:numRef>
          </c:yVal>
          <c:smooth val="0"/>
          <c:extLst>
            <c:ext xmlns:c16="http://schemas.microsoft.com/office/drawing/2014/chart" uri="{C3380CC4-5D6E-409C-BE32-E72D297353CC}">
              <c16:uniqueId val="{00000002-CB8E-4EC7-8E74-B77187B8D7EC}"/>
            </c:ext>
          </c:extLst>
        </c:ser>
        <c:dLbls>
          <c:showLegendKey val="0"/>
          <c:showVal val="0"/>
          <c:showCatName val="0"/>
          <c:showSerName val="0"/>
          <c:showPercent val="0"/>
          <c:showBubbleSize val="0"/>
        </c:dLbls>
        <c:axId val="500909551"/>
        <c:axId val="500906223"/>
      </c:scatterChart>
      <c:valAx>
        <c:axId val="500909551"/>
        <c:scaling>
          <c:orientation val="minMax"/>
          <c:max val="60"/>
        </c:scaling>
        <c:delete val="0"/>
        <c:axPos val="b"/>
        <c:title>
          <c:tx>
            <c:rich>
              <a:bodyPr rot="0" spcFirstLastPara="1" vertOverflow="ellipsis" vert="horz" wrap="square" anchor="ctr" anchorCtr="1"/>
              <a:lstStyle/>
              <a:p>
                <a:pPr>
                  <a:defRPr sz="1800" b="1" i="0" u="none" strike="noStrike" kern="1200" baseline="0">
                    <a:solidFill>
                      <a:schemeClr val="tx1"/>
                    </a:solidFill>
                    <a:latin typeface="Arial   "/>
                    <a:ea typeface="+mn-ea"/>
                    <a:cs typeface="+mn-cs"/>
                  </a:defRPr>
                </a:pPr>
                <a:r>
                  <a:rPr lang="en-US" sz="1800" b="1" dirty="0">
                    <a:solidFill>
                      <a:schemeClr val="tx1"/>
                    </a:solidFill>
                    <a:latin typeface="Arial   "/>
                  </a:rPr>
                  <a:t>Time (min)</a:t>
                </a:r>
              </a:p>
            </c:rich>
          </c:tx>
          <c:layout>
            <c:manualLayout>
              <c:xMode val="edge"/>
              <c:yMode val="edge"/>
              <c:x val="0.44925641338517358"/>
              <c:y val="0.81044606124419361"/>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Arial   "/>
                  <a:ea typeface="+mn-ea"/>
                  <a:cs typeface="+mn-cs"/>
                </a:defRPr>
              </a:pPr>
              <a:endParaRPr lang="en-US"/>
            </a:p>
          </c:txPr>
        </c:title>
        <c:numFmt formatCode="General" sourceLinked="1"/>
        <c:majorTickMark val="out"/>
        <c:minorTickMark val="none"/>
        <c:tickLblPos val="nextTo"/>
        <c:spPr>
          <a:noFill/>
          <a:ln w="22225" cap="flat" cmpd="sng" algn="ctr">
            <a:solidFill>
              <a:sysClr val="windowText" lastClr="000000"/>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Arial   "/>
                <a:ea typeface="+mn-ea"/>
                <a:cs typeface="+mn-cs"/>
              </a:defRPr>
            </a:pPr>
            <a:endParaRPr lang="en-US"/>
          </a:p>
        </c:txPr>
        <c:crossAx val="500906223"/>
        <c:crosses val="autoZero"/>
        <c:crossBetween val="midCat"/>
        <c:majorUnit val="5"/>
      </c:valAx>
      <c:valAx>
        <c:axId val="500906223"/>
        <c:scaling>
          <c:orientation val="minMax"/>
          <c:max val="110"/>
          <c:min val="0"/>
        </c:scaling>
        <c:delete val="0"/>
        <c:axPos val="l"/>
        <c:title>
          <c:tx>
            <c:rich>
              <a:bodyPr rot="-5400000" spcFirstLastPara="1" vertOverflow="ellipsis" vert="horz" wrap="square" anchor="ctr" anchorCtr="1"/>
              <a:lstStyle/>
              <a:p>
                <a:pPr>
                  <a:defRPr sz="1800" b="1" i="0" u="none" strike="noStrike" kern="1200" baseline="0">
                    <a:solidFill>
                      <a:schemeClr val="tx1"/>
                    </a:solidFill>
                    <a:latin typeface="Arial   "/>
                    <a:ea typeface="+mn-ea"/>
                    <a:cs typeface="+mn-cs"/>
                  </a:defRPr>
                </a:pPr>
                <a:r>
                  <a:rPr lang="en-US" sz="1800" b="1" dirty="0">
                    <a:solidFill>
                      <a:schemeClr val="tx1"/>
                    </a:solidFill>
                    <a:latin typeface="Arial   "/>
                  </a:rPr>
                  <a:t>% drug released</a:t>
                </a:r>
              </a:p>
            </c:rich>
          </c:tx>
          <c:layout>
            <c:manualLayout>
              <c:xMode val="edge"/>
              <c:yMode val="edge"/>
              <c:x val="1.8215128768080509E-2"/>
              <c:y val="0.29333103257804721"/>
            </c:manualLayout>
          </c:layout>
          <c:overlay val="0"/>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Arial   "/>
                  <a:ea typeface="+mn-ea"/>
                  <a:cs typeface="+mn-cs"/>
                </a:defRPr>
              </a:pPr>
              <a:endParaRPr lang="en-US"/>
            </a:p>
          </c:txPr>
        </c:title>
        <c:numFmt formatCode="0" sourceLinked="0"/>
        <c:majorTickMark val="out"/>
        <c:minorTickMark val="none"/>
        <c:tickLblPos val="nextTo"/>
        <c:spPr>
          <a:noFill/>
          <a:ln w="22225" cap="flat" cmpd="sng" algn="ctr">
            <a:solidFill>
              <a:sysClr val="windowText" lastClr="000000"/>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Arial   "/>
                <a:ea typeface="+mn-ea"/>
                <a:cs typeface="+mn-cs"/>
              </a:defRPr>
            </a:pPr>
            <a:endParaRPr lang="en-US"/>
          </a:p>
        </c:txPr>
        <c:crossAx val="500909551"/>
        <c:crosses val="autoZero"/>
        <c:crossBetween val="midCat"/>
        <c:majorUnit val="20"/>
      </c:valAx>
      <c:spPr>
        <a:noFill/>
        <a:ln>
          <a:noFill/>
        </a:ln>
        <a:effectLst/>
      </c:spPr>
    </c:plotArea>
    <c:legend>
      <c:legendPos val="b"/>
      <c:layout>
        <c:manualLayout>
          <c:xMode val="edge"/>
          <c:yMode val="edge"/>
          <c:x val="1.3967893351218157E-2"/>
          <c:y val="0.88513658434324038"/>
          <c:w val="0.96740614199646924"/>
          <c:h val="9.1165403283923807E-2"/>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19050" cap="flat" cmpd="sng" algn="ctr">
      <a:solidFill>
        <a:sysClr val="windowText" lastClr="000000"/>
      </a:solidFill>
      <a:round/>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3"/>
          <c:order val="1"/>
          <c:tx>
            <c:strRef>
              <c:f>Tabelle2!$A$2</c:f>
              <c:strCache>
                <c:ptCount val="1"/>
                <c:pt idx="0">
                  <c:v>without BHT</c:v>
                </c:pt>
              </c:strCache>
            </c:strRef>
          </c:tx>
          <c:spPr>
            <a:solidFill>
              <a:schemeClr val="accent6">
                <a:lumMod val="60000"/>
              </a:schemeClr>
            </a:solidFill>
            <a:ln>
              <a:noFill/>
            </a:ln>
            <a:effectLst/>
          </c:spPr>
          <c:invertIfNegative val="0"/>
          <c:dLbls>
            <c:numFmt formatCode="#,##0" sourceLinked="0"/>
            <c:spPr>
              <a:solidFill>
                <a:srgbClr val="FFFFFF"/>
              </a:solidFill>
              <a:ln>
                <a:noFill/>
              </a:ln>
              <a:effectLst/>
            </c:spPr>
            <c:txPr>
              <a:bodyPr rot="0" spcFirstLastPara="1" vertOverflow="ellipsis" vert="horz" wrap="square" anchor="ctr" anchorCtr="1"/>
              <a:lstStyle/>
              <a:p>
                <a:pPr>
                  <a:defRPr sz="8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fixedVal"/>
            <c:noEndCap val="0"/>
            <c:val val="1"/>
            <c:spPr>
              <a:solidFill>
                <a:schemeClr val="tx1"/>
              </a:solidFill>
              <a:ln w="6350" cap="flat" cmpd="sng" algn="ctr">
                <a:solidFill>
                  <a:schemeClr val="tx1"/>
                </a:solidFill>
                <a:prstDash val="solid"/>
                <a:round/>
              </a:ln>
              <a:effectLst/>
            </c:spPr>
          </c:errBars>
          <c:cat>
            <c:strRef>
              <c:f>Tabelle2!$B$1:$H$1</c:f>
              <c:strCache>
                <c:ptCount val="7"/>
                <c:pt idx="0">
                  <c:v>Kollisolv® GTA (TAC)</c:v>
                </c:pt>
                <c:pt idx="1">
                  <c:v>Triethyl citrate (TEC)</c:v>
                </c:pt>
                <c:pt idx="2">
                  <c:v>Acetyl triethyl citrate (ATEC)</c:v>
                </c:pt>
                <c:pt idx="3">
                  <c:v>Tributyl citrate (TBC)</c:v>
                </c:pt>
                <c:pt idx="4">
                  <c:v>Acetyl tributyl citrate (ATBC)</c:v>
                </c:pt>
                <c:pt idx="5">
                  <c:v>Dibutylsebacate (DBS)</c:v>
                </c:pt>
                <c:pt idx="6">
                  <c:v>Kollisolv® P124</c:v>
                </c:pt>
              </c:strCache>
            </c:strRef>
          </c:cat>
          <c:val>
            <c:numRef>
              <c:f>Tabelle2!$B$2:$H$2</c:f>
              <c:numCache>
                <c:formatCode>General</c:formatCode>
                <c:ptCount val="7"/>
                <c:pt idx="0">
                  <c:v>32.6</c:v>
                </c:pt>
                <c:pt idx="1">
                  <c:v>31.2</c:v>
                </c:pt>
                <c:pt idx="2">
                  <c:v>33.299999999999997</c:v>
                </c:pt>
                <c:pt idx="3">
                  <c:v>31.9</c:v>
                </c:pt>
                <c:pt idx="4">
                  <c:v>32.4</c:v>
                </c:pt>
                <c:pt idx="5">
                  <c:v>26.9</c:v>
                </c:pt>
                <c:pt idx="6">
                  <c:v>33.799999999999997</c:v>
                </c:pt>
              </c:numCache>
            </c:numRef>
          </c:val>
          <c:extLst>
            <c:ext xmlns:c16="http://schemas.microsoft.com/office/drawing/2014/chart" uri="{C3380CC4-5D6E-409C-BE32-E72D297353CC}">
              <c16:uniqueId val="{00000000-7493-4429-8A05-4CBA1BF1A7F9}"/>
            </c:ext>
          </c:extLst>
        </c:ser>
        <c:ser>
          <c:idx val="4"/>
          <c:order val="2"/>
          <c:tx>
            <c:strRef>
              <c:f>Tabelle2!$A$3</c:f>
              <c:strCache>
                <c:ptCount val="1"/>
                <c:pt idx="0">
                  <c:v>with BHT</c:v>
                </c:pt>
              </c:strCache>
            </c:strRef>
          </c:tx>
          <c:spPr>
            <a:solidFill>
              <a:schemeClr val="accent5">
                <a:lumMod val="60000"/>
              </a:schemeClr>
            </a:solidFill>
            <a:ln>
              <a:noFill/>
            </a:ln>
            <a:effectLst/>
          </c:spPr>
          <c:invertIfNegative val="0"/>
          <c:dLbls>
            <c:numFmt formatCode="#,##0" sourceLinked="0"/>
            <c:spPr>
              <a:solidFill>
                <a:srgbClr val="FFFFFF"/>
              </a:solidFill>
              <a:ln>
                <a:noFill/>
              </a:ln>
              <a:effectLst/>
            </c:spPr>
            <c:txPr>
              <a:bodyPr rot="0" spcFirstLastPara="1" vertOverflow="ellipsis" vert="horz" wrap="square" anchor="ctr" anchorCtr="1"/>
              <a:lstStyle/>
              <a:p>
                <a:pPr>
                  <a:defRPr sz="8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fixedVal"/>
            <c:noEndCap val="0"/>
            <c:val val="1"/>
            <c:spPr>
              <a:solidFill>
                <a:schemeClr val="tx1"/>
              </a:solidFill>
              <a:ln w="6350" cap="flat" cmpd="sng" algn="ctr">
                <a:solidFill>
                  <a:schemeClr val="tx1"/>
                </a:solidFill>
                <a:prstDash val="solid"/>
                <a:round/>
              </a:ln>
              <a:effectLst/>
            </c:spPr>
          </c:errBars>
          <c:cat>
            <c:strRef>
              <c:f>Tabelle2!$B$1:$H$1</c:f>
              <c:strCache>
                <c:ptCount val="7"/>
                <c:pt idx="0">
                  <c:v>Kollisolv® GTA (TAC)</c:v>
                </c:pt>
                <c:pt idx="1">
                  <c:v>Triethyl citrate (TEC)</c:v>
                </c:pt>
                <c:pt idx="2">
                  <c:v>Acetyl triethyl citrate (ATEC)</c:v>
                </c:pt>
                <c:pt idx="3">
                  <c:v>Tributyl citrate (TBC)</c:v>
                </c:pt>
                <c:pt idx="4">
                  <c:v>Acetyl tributyl citrate (ATBC)</c:v>
                </c:pt>
                <c:pt idx="5">
                  <c:v>Dibutylsebacate (DBS)</c:v>
                </c:pt>
                <c:pt idx="6">
                  <c:v>Kollisolv® P124</c:v>
                </c:pt>
              </c:strCache>
            </c:strRef>
          </c:cat>
          <c:val>
            <c:numRef>
              <c:f>Tabelle2!$B$3:$H$3</c:f>
              <c:numCache>
                <c:formatCode>General</c:formatCode>
                <c:ptCount val="7"/>
                <c:pt idx="1">
                  <c:v>28.6</c:v>
                </c:pt>
                <c:pt idx="2">
                  <c:v>29.7</c:v>
                </c:pt>
                <c:pt idx="3">
                  <c:v>24.5</c:v>
                </c:pt>
                <c:pt idx="4">
                  <c:v>28.7</c:v>
                </c:pt>
                <c:pt idx="5">
                  <c:v>24.5</c:v>
                </c:pt>
                <c:pt idx="6">
                  <c:v>31.8</c:v>
                </c:pt>
              </c:numCache>
            </c:numRef>
          </c:val>
          <c:extLst>
            <c:ext xmlns:c16="http://schemas.microsoft.com/office/drawing/2014/chart" uri="{C3380CC4-5D6E-409C-BE32-E72D297353CC}">
              <c16:uniqueId val="{00000001-7493-4429-8A05-4CBA1BF1A7F9}"/>
            </c:ext>
          </c:extLst>
        </c:ser>
        <c:dLbls>
          <c:showLegendKey val="0"/>
          <c:showVal val="0"/>
          <c:showCatName val="0"/>
          <c:showSerName val="0"/>
          <c:showPercent val="0"/>
          <c:showBubbleSize val="0"/>
        </c:dLbls>
        <c:gapWidth val="150"/>
        <c:overlap val="-20"/>
        <c:axId val="268281728"/>
        <c:axId val="268283264"/>
      </c:barChart>
      <c:scatterChart>
        <c:scatterStyle val="lineMarker"/>
        <c:varyColors val="0"/>
        <c:ser>
          <c:idx val="2"/>
          <c:order val="0"/>
          <c:tx>
            <c:v>Kollicoat® Smartseal 30 D</c:v>
          </c:tx>
          <c:spPr>
            <a:ln w="19050" cap="rnd" cmpd="sng" algn="ctr">
              <a:solidFill>
                <a:schemeClr val="accent4"/>
              </a:solidFill>
              <a:prstDash val="solid"/>
              <a:round/>
            </a:ln>
            <a:effectLst/>
          </c:spPr>
          <c:marker>
            <c:symbol val="none"/>
          </c:marker>
          <c:xVal>
            <c:numLit>
              <c:formatCode>General</c:formatCode>
              <c:ptCount val="2"/>
              <c:pt idx="0">
                <c:v>63</c:v>
              </c:pt>
              <c:pt idx="1">
                <c:v>63</c:v>
              </c:pt>
            </c:numLit>
          </c:xVal>
          <c:yVal>
            <c:numLit>
              <c:formatCode>General</c:formatCode>
              <c:ptCount val="2"/>
              <c:pt idx="0">
                <c:v>0</c:v>
              </c:pt>
              <c:pt idx="1">
                <c:v>1</c:v>
              </c:pt>
            </c:numLit>
          </c:yVal>
          <c:smooth val="0"/>
          <c:extLst>
            <c:ext xmlns:c16="http://schemas.microsoft.com/office/drawing/2014/chart" uri="{C3380CC4-5D6E-409C-BE32-E72D297353CC}">
              <c16:uniqueId val="{00000002-7493-4429-8A05-4CBA1BF1A7F9}"/>
            </c:ext>
          </c:extLst>
        </c:ser>
        <c:dLbls>
          <c:showLegendKey val="0"/>
          <c:showVal val="0"/>
          <c:showCatName val="0"/>
          <c:showSerName val="0"/>
          <c:showPercent val="0"/>
          <c:showBubbleSize val="0"/>
        </c:dLbls>
        <c:axId val="268289536"/>
        <c:axId val="268291072"/>
      </c:scatterChart>
      <c:catAx>
        <c:axId val="268281728"/>
        <c:scaling>
          <c:orientation val="minMax"/>
        </c:scaling>
        <c:delete val="0"/>
        <c:axPos val="l"/>
        <c:numFmt formatCode="General" sourceLinked="1"/>
        <c:majorTickMark val="out"/>
        <c:minorTickMark val="none"/>
        <c:tickLblPos val="nextTo"/>
        <c:spPr>
          <a:noFill/>
          <a:ln w="6350" cap="flat" cmpd="sng" algn="ctr">
            <a:solidFill>
              <a:srgbClr val="000000"/>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68283264"/>
        <c:crosses val="autoZero"/>
        <c:auto val="1"/>
        <c:lblAlgn val="ctr"/>
        <c:lblOffset val="100"/>
        <c:noMultiLvlLbl val="0"/>
      </c:catAx>
      <c:valAx>
        <c:axId val="268283264"/>
        <c:scaling>
          <c:orientation val="minMax"/>
          <c:max val="80"/>
        </c:scaling>
        <c:delete val="0"/>
        <c:axPos val="b"/>
        <c:title>
          <c:tx>
            <c:rich>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r>
                  <a:rPr lang="en-US" dirty="0"/>
                  <a:t>T</a:t>
                </a:r>
                <a:r>
                  <a:rPr lang="en-US" baseline="-25000" dirty="0"/>
                  <a:t>g2</a:t>
                </a:r>
                <a:r>
                  <a:rPr lang="en-US" dirty="0"/>
                  <a:t>  [°C]</a:t>
                </a:r>
              </a:p>
            </c:rich>
          </c:tx>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out"/>
        <c:tickLblPos val="nextTo"/>
        <c:spPr>
          <a:noFill/>
          <a:ln w="6350" cap="flat" cmpd="sng" algn="ctr">
            <a:solidFill>
              <a:srgbClr val="000000"/>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68281728"/>
        <c:crosses val="autoZero"/>
        <c:crossBetween val="between"/>
      </c:valAx>
      <c:valAx>
        <c:axId val="268289536"/>
        <c:scaling>
          <c:orientation val="minMax"/>
        </c:scaling>
        <c:delete val="1"/>
        <c:axPos val="b"/>
        <c:numFmt formatCode="General" sourceLinked="1"/>
        <c:majorTickMark val="out"/>
        <c:minorTickMark val="none"/>
        <c:tickLblPos val="nextTo"/>
        <c:crossAx val="268291072"/>
        <c:crosses val="autoZero"/>
        <c:crossBetween val="midCat"/>
      </c:valAx>
      <c:valAx>
        <c:axId val="268291072"/>
        <c:scaling>
          <c:orientation val="minMax"/>
          <c:max val="1"/>
        </c:scaling>
        <c:delete val="0"/>
        <c:axPos val="r"/>
        <c:numFmt formatCode="General" sourceLinked="1"/>
        <c:majorTickMark val="none"/>
        <c:minorTickMark val="none"/>
        <c:tickLblPos val="none"/>
        <c:spPr>
          <a:noFill/>
          <a:ln w="6350" cap="flat" cmpd="sng" algn="ctr">
            <a:no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68289536"/>
        <c:crosses val="max"/>
        <c:crossBetween val="midCat"/>
      </c:valAx>
      <c:spPr>
        <a:noFill/>
        <a:ln>
          <a:noFill/>
        </a:ln>
        <a:effectLst/>
      </c:spPr>
    </c:plotArea>
    <c:legend>
      <c:legendPos val="b"/>
      <c:legendEntry>
        <c:idx val="2"/>
        <c:delete val="1"/>
      </c:legendEntry>
      <c:layout>
        <c:manualLayout>
          <c:xMode val="edge"/>
          <c:yMode val="edge"/>
          <c:x val="6.5154060925915643E-3"/>
          <c:y val="0.93897115391063846"/>
          <c:w val="0.3126397132059604"/>
          <c:h val="5.1903368618512885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6350" cap="flat" cmpd="sng" algn="ctr">
      <a:noFill/>
      <a:prstDash val="solid"/>
      <a:miter lim="800000"/>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910622422958948"/>
          <c:y val="0.21141114080965398"/>
          <c:w val="0.7357658518911534"/>
          <c:h val="0.48332564355159846"/>
        </c:manualLayout>
      </c:layout>
      <c:scatterChart>
        <c:scatterStyle val="lineMarker"/>
        <c:varyColors val="0"/>
        <c:ser>
          <c:idx val="2"/>
          <c:order val="0"/>
          <c:tx>
            <c:strRef>
              <c:f>'MUPS 4 Weeks room temp'!$E$4</c:f>
              <c:strCache>
                <c:ptCount val="1"/>
                <c:pt idx="0">
                  <c:v>MUPS Ludiflash® - Pellets coated with BHT (Initial)</c:v>
                </c:pt>
              </c:strCache>
            </c:strRef>
          </c:tx>
          <c:spPr>
            <a:ln w="19050" cap="rnd">
              <a:solidFill>
                <a:schemeClr val="accent3"/>
              </a:solidFill>
              <a:round/>
            </a:ln>
            <a:effectLst/>
          </c:spPr>
          <c:marker>
            <c:symbol val="circle"/>
            <c:size val="5"/>
            <c:spPr>
              <a:solidFill>
                <a:schemeClr val="accent3"/>
              </a:solidFill>
              <a:ln w="9525">
                <a:solidFill>
                  <a:schemeClr val="accent3"/>
                </a:solidFill>
              </a:ln>
              <a:effectLst/>
            </c:spPr>
          </c:marker>
          <c:xVal>
            <c:numRef>
              <c:f>'MUPS 4 Weeks room temp'!$B$5:$B$17</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MUPS 4 Weeks room temp'!$E$5:$E$17</c:f>
              <c:numCache>
                <c:formatCode>0.00</c:formatCode>
                <c:ptCount val="13"/>
                <c:pt idx="0">
                  <c:v>0</c:v>
                </c:pt>
                <c:pt idx="1">
                  <c:v>96.829032961579216</c:v>
                </c:pt>
                <c:pt idx="2">
                  <c:v>102.81352253377177</c:v>
                </c:pt>
                <c:pt idx="3">
                  <c:v>102.81365500605234</c:v>
                </c:pt>
                <c:pt idx="4">
                  <c:v>102.93221284566486</c:v>
                </c:pt>
                <c:pt idx="5">
                  <c:v>102.4776847775333</c:v>
                </c:pt>
                <c:pt idx="6">
                  <c:v>101.4559037286574</c:v>
                </c:pt>
                <c:pt idx="7">
                  <c:v>103.653429872537</c:v>
                </c:pt>
                <c:pt idx="8">
                  <c:v>105.58322150480001</c:v>
                </c:pt>
                <c:pt idx="9">
                  <c:v>105.3733391939431</c:v>
                </c:pt>
                <c:pt idx="10">
                  <c:v>105.62569919804913</c:v>
                </c:pt>
                <c:pt idx="11">
                  <c:v>105.13079395898554</c:v>
                </c:pt>
                <c:pt idx="12">
                  <c:v>103.36530289737692</c:v>
                </c:pt>
              </c:numCache>
            </c:numRef>
          </c:yVal>
          <c:smooth val="0"/>
          <c:extLst>
            <c:ext xmlns:c16="http://schemas.microsoft.com/office/drawing/2014/chart" uri="{C3380CC4-5D6E-409C-BE32-E72D297353CC}">
              <c16:uniqueId val="{00000000-AB48-480D-845D-C919BFBE8442}"/>
            </c:ext>
          </c:extLst>
        </c:ser>
        <c:ser>
          <c:idx val="3"/>
          <c:order val="1"/>
          <c:tx>
            <c:strRef>
              <c:f>'MUPS 4 Weeks room temp'!$F$4</c:f>
              <c:strCache>
                <c:ptCount val="1"/>
                <c:pt idx="0">
                  <c:v>MUPS Ludiflash® - Pellets coated without BHT (Initial)</c:v>
                </c:pt>
              </c:strCache>
            </c:strRef>
          </c:tx>
          <c:spPr>
            <a:ln w="19050" cap="rnd">
              <a:solidFill>
                <a:schemeClr val="accent4"/>
              </a:solidFill>
              <a:round/>
            </a:ln>
            <a:effectLst/>
          </c:spPr>
          <c:marker>
            <c:symbol val="circle"/>
            <c:size val="5"/>
            <c:spPr>
              <a:solidFill>
                <a:schemeClr val="accent4"/>
              </a:solidFill>
              <a:ln w="9525">
                <a:solidFill>
                  <a:schemeClr val="accent4"/>
                </a:solidFill>
              </a:ln>
              <a:effectLst/>
            </c:spPr>
          </c:marker>
          <c:xVal>
            <c:numRef>
              <c:f>'MUPS 4 Weeks room temp'!$B$5:$B$17</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MUPS 4 Weeks room temp'!$F$5:$F$17</c:f>
              <c:numCache>
                <c:formatCode>0.00</c:formatCode>
                <c:ptCount val="13"/>
                <c:pt idx="0">
                  <c:v>0</c:v>
                </c:pt>
                <c:pt idx="1">
                  <c:v>94.799923913116658</c:v>
                </c:pt>
                <c:pt idx="2">
                  <c:v>105.93996352693625</c:v>
                </c:pt>
                <c:pt idx="3">
                  <c:v>106.13906229524224</c:v>
                </c:pt>
                <c:pt idx="4">
                  <c:v>106.8726983027282</c:v>
                </c:pt>
                <c:pt idx="5">
                  <c:v>105.92050838618553</c:v>
                </c:pt>
                <c:pt idx="6">
                  <c:v>102.57960682635922</c:v>
                </c:pt>
                <c:pt idx="7">
                  <c:v>103.57011621574821</c:v>
                </c:pt>
                <c:pt idx="8">
                  <c:v>100.14851880349983</c:v>
                </c:pt>
                <c:pt idx="9">
                  <c:v>100.06311549794981</c:v>
                </c:pt>
                <c:pt idx="10">
                  <c:v>101.82185619993207</c:v>
                </c:pt>
                <c:pt idx="11">
                  <c:v>100.95469815553817</c:v>
                </c:pt>
                <c:pt idx="12">
                  <c:v>104.86643741109712</c:v>
                </c:pt>
              </c:numCache>
            </c:numRef>
          </c:yVal>
          <c:smooth val="0"/>
          <c:extLst>
            <c:ext xmlns:c16="http://schemas.microsoft.com/office/drawing/2014/chart" uri="{C3380CC4-5D6E-409C-BE32-E72D297353CC}">
              <c16:uniqueId val="{00000001-AB48-480D-845D-C919BFBE8442}"/>
            </c:ext>
          </c:extLst>
        </c:ser>
        <c:ser>
          <c:idx val="1"/>
          <c:order val="2"/>
          <c:tx>
            <c:strRef>
              <c:f>'MUPS 4 Weeks room temp'!$D$4</c:f>
              <c:strCache>
                <c:ptCount val="1"/>
                <c:pt idx="0">
                  <c:v>MUPS Ludiflash® - Pellets coated with BHT (4 weeks)</c:v>
                </c:pt>
              </c:strCache>
            </c:strRef>
          </c:tx>
          <c:spPr>
            <a:ln w="19050" cap="rnd">
              <a:solidFill>
                <a:srgbClr val="00B050"/>
              </a:solidFill>
              <a:round/>
            </a:ln>
            <a:effectLst/>
          </c:spPr>
          <c:marker>
            <c:symbol val="circle"/>
            <c:size val="5"/>
            <c:spPr>
              <a:solidFill>
                <a:srgbClr val="00B050"/>
              </a:solidFill>
              <a:ln w="9525">
                <a:solidFill>
                  <a:srgbClr val="00B050"/>
                </a:solidFill>
              </a:ln>
              <a:effectLst/>
            </c:spPr>
          </c:marker>
          <c:xVal>
            <c:numRef>
              <c:f>'MUPS 4 Weeks room temp'!$B$5:$B$17</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MUPS 4 Weeks room temp'!$D$5:$D$17</c:f>
              <c:numCache>
                <c:formatCode>0.00</c:formatCode>
                <c:ptCount val="13"/>
                <c:pt idx="0">
                  <c:v>0</c:v>
                </c:pt>
                <c:pt idx="1">
                  <c:v>92.228630830603109</c:v>
                </c:pt>
                <c:pt idx="2">
                  <c:v>96.759243295902792</c:v>
                </c:pt>
                <c:pt idx="3">
                  <c:v>97.68952595520247</c:v>
                </c:pt>
                <c:pt idx="4">
                  <c:v>99.000214146941289</c:v>
                </c:pt>
                <c:pt idx="5">
                  <c:v>97.104403086366261</c:v>
                </c:pt>
                <c:pt idx="6">
                  <c:v>98.831041163982974</c:v>
                </c:pt>
                <c:pt idx="7">
                  <c:v>99.73277688267558</c:v>
                </c:pt>
                <c:pt idx="8">
                  <c:v>99.390731270312841</c:v>
                </c:pt>
                <c:pt idx="9">
                  <c:v>98.746758948541512</c:v>
                </c:pt>
                <c:pt idx="10">
                  <c:v>99.458463588556754</c:v>
                </c:pt>
                <c:pt idx="11">
                  <c:v>99.446196179089185</c:v>
                </c:pt>
                <c:pt idx="12">
                  <c:v>102.21126195897463</c:v>
                </c:pt>
              </c:numCache>
            </c:numRef>
          </c:yVal>
          <c:smooth val="0"/>
          <c:extLst>
            <c:ext xmlns:c16="http://schemas.microsoft.com/office/drawing/2014/chart" uri="{C3380CC4-5D6E-409C-BE32-E72D297353CC}">
              <c16:uniqueId val="{00000002-AB48-480D-845D-C919BFBE8442}"/>
            </c:ext>
          </c:extLst>
        </c:ser>
        <c:ser>
          <c:idx val="0"/>
          <c:order val="3"/>
          <c:tx>
            <c:strRef>
              <c:f>'MUPS 4 Weeks room temp'!$C$4</c:f>
              <c:strCache>
                <c:ptCount val="1"/>
                <c:pt idx="0">
                  <c:v>MUPS Ludiflash® - Pellets coated without BHT (4 weeks)</c:v>
                </c:pt>
              </c:strCache>
            </c:strRef>
          </c:tx>
          <c:spPr>
            <a:ln w="19050" cap="rnd">
              <a:solidFill>
                <a:srgbClr val="FF0000"/>
              </a:solidFill>
              <a:round/>
            </a:ln>
            <a:effectLst/>
          </c:spPr>
          <c:marker>
            <c:symbol val="circle"/>
            <c:size val="5"/>
            <c:spPr>
              <a:solidFill>
                <a:srgbClr val="FF0000"/>
              </a:solidFill>
              <a:ln w="9525">
                <a:solidFill>
                  <a:srgbClr val="FF0000"/>
                </a:solidFill>
              </a:ln>
              <a:effectLst/>
            </c:spPr>
          </c:marker>
          <c:xVal>
            <c:numRef>
              <c:f>'MUPS 4 Weeks room temp'!$B$5:$B$17</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MUPS 4 Weeks room temp'!$C$5:$C$17</c:f>
              <c:numCache>
                <c:formatCode>0.00</c:formatCode>
                <c:ptCount val="13"/>
                <c:pt idx="0">
                  <c:v>0</c:v>
                </c:pt>
                <c:pt idx="1">
                  <c:v>85.090225242837946</c:v>
                </c:pt>
                <c:pt idx="2">
                  <c:v>102.80418442921594</c:v>
                </c:pt>
                <c:pt idx="3">
                  <c:v>104.33927337398734</c:v>
                </c:pt>
                <c:pt idx="4">
                  <c:v>105.11580069765891</c:v>
                </c:pt>
                <c:pt idx="5">
                  <c:v>105.94020880970795</c:v>
                </c:pt>
                <c:pt idx="6">
                  <c:v>104.66432272313506</c:v>
                </c:pt>
                <c:pt idx="7">
                  <c:v>102.31871129415424</c:v>
                </c:pt>
                <c:pt idx="8">
                  <c:v>104.18509359263749</c:v>
                </c:pt>
                <c:pt idx="9">
                  <c:v>103.70426157212887</c:v>
                </c:pt>
                <c:pt idx="10">
                  <c:v>104.18490793852023</c:v>
                </c:pt>
                <c:pt idx="11">
                  <c:v>104.07659697320032</c:v>
                </c:pt>
                <c:pt idx="12">
                  <c:v>104.57571949220348</c:v>
                </c:pt>
              </c:numCache>
            </c:numRef>
          </c:yVal>
          <c:smooth val="0"/>
          <c:extLst>
            <c:ext xmlns:c16="http://schemas.microsoft.com/office/drawing/2014/chart" uri="{C3380CC4-5D6E-409C-BE32-E72D297353CC}">
              <c16:uniqueId val="{00000003-AB48-480D-845D-C919BFBE8442}"/>
            </c:ext>
          </c:extLst>
        </c:ser>
        <c:dLbls>
          <c:showLegendKey val="0"/>
          <c:showVal val="0"/>
          <c:showCatName val="0"/>
          <c:showSerName val="0"/>
          <c:showPercent val="0"/>
          <c:showBubbleSize val="0"/>
        </c:dLbls>
        <c:axId val="500909551"/>
        <c:axId val="500906223"/>
      </c:scatterChart>
      <c:valAx>
        <c:axId val="500909551"/>
        <c:scaling>
          <c:orientation val="minMax"/>
          <c:max val="60"/>
        </c:scaling>
        <c:delete val="0"/>
        <c:axPos val="b"/>
        <c:title>
          <c:tx>
            <c:rich>
              <a:bodyPr rot="0" spcFirstLastPara="1" vertOverflow="ellipsis" vert="horz" wrap="square" anchor="ctr" anchorCtr="1"/>
              <a:lstStyle/>
              <a:p>
                <a:pPr>
                  <a:defRPr sz="1800" b="1" i="0" u="none" strike="noStrike" kern="1200" baseline="0">
                    <a:solidFill>
                      <a:schemeClr val="tx1"/>
                    </a:solidFill>
                    <a:latin typeface="Arial   "/>
                    <a:ea typeface="+mn-ea"/>
                    <a:cs typeface="+mn-cs"/>
                  </a:defRPr>
                </a:pPr>
                <a:r>
                  <a:rPr lang="en-US" sz="1800" b="1" dirty="0">
                    <a:solidFill>
                      <a:schemeClr val="tx1"/>
                    </a:solidFill>
                    <a:latin typeface="Arial   "/>
                  </a:rPr>
                  <a:t>Time (min)</a:t>
                </a:r>
              </a:p>
            </c:rich>
          </c:tx>
          <c:layout>
            <c:manualLayout>
              <c:xMode val="edge"/>
              <c:yMode val="edge"/>
              <c:x val="0.4401393310952923"/>
              <c:y val="0.76614991202060356"/>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Arial   "/>
                  <a:ea typeface="+mn-ea"/>
                  <a:cs typeface="+mn-cs"/>
                </a:defRPr>
              </a:pPr>
              <a:endParaRPr lang="en-US"/>
            </a:p>
          </c:txPr>
        </c:title>
        <c:numFmt formatCode="General" sourceLinked="1"/>
        <c:majorTickMark val="out"/>
        <c:minorTickMark val="none"/>
        <c:tickLblPos val="nextTo"/>
        <c:spPr>
          <a:noFill/>
          <a:ln w="22225" cap="flat" cmpd="sng" algn="ctr">
            <a:solidFill>
              <a:sysClr val="windowText" lastClr="000000"/>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
                <a:ea typeface="+mn-ea"/>
                <a:cs typeface="+mn-cs"/>
              </a:defRPr>
            </a:pPr>
            <a:endParaRPr lang="en-US"/>
          </a:p>
        </c:txPr>
        <c:crossAx val="500906223"/>
        <c:crosses val="autoZero"/>
        <c:crossBetween val="midCat"/>
        <c:majorUnit val="5"/>
      </c:valAx>
      <c:valAx>
        <c:axId val="500906223"/>
        <c:scaling>
          <c:orientation val="minMax"/>
          <c:max val="110"/>
          <c:min val="0"/>
        </c:scaling>
        <c:delete val="0"/>
        <c:axPos val="l"/>
        <c:title>
          <c:tx>
            <c:rich>
              <a:bodyPr rot="-5400000" spcFirstLastPara="1" vertOverflow="ellipsis" vert="horz" wrap="square" anchor="ctr" anchorCtr="1"/>
              <a:lstStyle/>
              <a:p>
                <a:pPr>
                  <a:defRPr sz="1800" b="1" i="0" u="none" strike="noStrike" kern="1200" baseline="0">
                    <a:solidFill>
                      <a:schemeClr val="tx1"/>
                    </a:solidFill>
                    <a:latin typeface="Arial   "/>
                    <a:ea typeface="+mn-ea"/>
                    <a:cs typeface="+mn-cs"/>
                  </a:defRPr>
                </a:pPr>
                <a:r>
                  <a:rPr lang="en-US" sz="1800" b="1" dirty="0">
                    <a:solidFill>
                      <a:schemeClr val="tx1"/>
                    </a:solidFill>
                    <a:latin typeface="Arial   "/>
                  </a:rPr>
                  <a:t>% drug released</a:t>
                </a:r>
              </a:p>
            </c:rich>
          </c:tx>
          <c:layout>
            <c:manualLayout>
              <c:xMode val="edge"/>
              <c:yMode val="edge"/>
              <c:x val="4.7106052910215926E-2"/>
              <c:y val="0.25566970890692442"/>
            </c:manualLayout>
          </c:layout>
          <c:overlay val="0"/>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Arial   "/>
                  <a:ea typeface="+mn-ea"/>
                  <a:cs typeface="+mn-cs"/>
                </a:defRPr>
              </a:pPr>
              <a:endParaRPr lang="en-US"/>
            </a:p>
          </c:txPr>
        </c:title>
        <c:numFmt formatCode="0" sourceLinked="0"/>
        <c:majorTickMark val="out"/>
        <c:minorTickMark val="none"/>
        <c:tickLblPos val="nextTo"/>
        <c:spPr>
          <a:noFill/>
          <a:ln w="22225" cap="flat" cmpd="sng" algn="ctr">
            <a:solidFill>
              <a:sysClr val="windowText" lastClr="000000"/>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
                <a:ea typeface="+mn-ea"/>
                <a:cs typeface="+mn-cs"/>
              </a:defRPr>
            </a:pPr>
            <a:endParaRPr lang="en-US"/>
          </a:p>
        </c:txPr>
        <c:crossAx val="500909551"/>
        <c:crosses val="autoZero"/>
        <c:crossBetween val="midCat"/>
        <c:majorUnit val="20"/>
      </c:valAx>
      <c:spPr>
        <a:noFill/>
        <a:ln>
          <a:noFill/>
        </a:ln>
        <a:effectLst/>
      </c:spPr>
    </c:plotArea>
    <c:legend>
      <c:legendPos val="b"/>
      <c:layout>
        <c:manualLayout>
          <c:xMode val="edge"/>
          <c:yMode val="edge"/>
          <c:x val="6.4459165110488208E-3"/>
          <c:y val="0.85559857676688322"/>
          <c:w val="0.99291919225055947"/>
          <c:h val="0.1252887824789362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19050" cap="flat" cmpd="sng" algn="ctr">
      <a:solidFill>
        <a:sysClr val="windowText" lastClr="000000"/>
      </a:solidFill>
      <a:round/>
    </a:ln>
    <a:effectLst/>
  </c:spPr>
  <c:txPr>
    <a:bodyPr/>
    <a:lstStyle/>
    <a:p>
      <a:pPr>
        <a:defRPr/>
      </a:pPr>
      <a:endParaRPr lang="en-US"/>
    </a:p>
  </c:txPr>
  <c:externalData r:id="rId4">
    <c:autoUpdate val="0"/>
  </c:externalData>
  <c:userShapes r:id="rId5"/>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767012741395934"/>
          <c:y val="4.7853357683901677E-2"/>
          <c:w val="0.80765153838910908"/>
          <c:h val="0.73034731245075479"/>
        </c:manualLayout>
      </c:layout>
      <c:scatterChart>
        <c:scatterStyle val="lineMarker"/>
        <c:varyColors val="0"/>
        <c:ser>
          <c:idx val="21"/>
          <c:order val="20"/>
          <c:tx>
            <c:strRef>
              <c:f>'PP-012944_4-6'!$B$11:$D$11</c:f>
              <c:strCache>
                <c:ptCount val="1"/>
                <c:pt idx="0">
                  <c:v>012944-4_EudragitEPO_3mg/cm²_neue Vorschrift</c:v>
                </c:pt>
              </c:strCache>
            </c:strRef>
          </c:tx>
          <c:spPr>
            <a:ln>
              <a:solidFill>
                <a:schemeClr val="tx1"/>
              </a:solidFill>
            </a:ln>
          </c:spPr>
          <c:marker>
            <c:spPr>
              <a:solidFill>
                <a:schemeClr val="tx1"/>
              </a:solidFill>
              <a:ln>
                <a:solidFill>
                  <a:schemeClr val="tx1"/>
                </a:solidFill>
              </a:ln>
            </c:spPr>
          </c:marker>
          <c:errBars>
            <c:errDir val="y"/>
            <c:errBarType val="both"/>
            <c:errValType val="cust"/>
            <c:noEndCap val="0"/>
            <c:plus>
              <c:numRef>
                <c:f>'PP-012944_4-6'!$L$16:$L$76</c:f>
                <c:numCache>
                  <c:formatCode>General</c:formatCode>
                  <c:ptCount val="61"/>
                  <c:pt idx="0">
                    <c:v>0</c:v>
                  </c:pt>
                  <c:pt idx="1">
                    <c:v>0</c:v>
                  </c:pt>
                  <c:pt idx="2">
                    <c:v>0</c:v>
                  </c:pt>
                  <c:pt idx="3">
                    <c:v>0</c:v>
                  </c:pt>
                  <c:pt idx="4">
                    <c:v>3.1894472721826152E-3</c:v>
                  </c:pt>
                  <c:pt idx="5">
                    <c:v>4.4277671965594921E-2</c:v>
                  </c:pt>
                  <c:pt idx="6">
                    <c:v>6.3355940168779712E-2</c:v>
                  </c:pt>
                  <c:pt idx="7">
                    <c:v>6.1241717059893827E-2</c:v>
                  </c:pt>
                  <c:pt idx="8">
                    <c:v>3.8300782667725269E-2</c:v>
                  </c:pt>
                  <c:pt idx="9">
                    <c:v>2.4561259229466142E-2</c:v>
                  </c:pt>
                  <c:pt idx="10">
                    <c:v>2.6222097172732526E-2</c:v>
                  </c:pt>
                  <c:pt idx="11">
                    <c:v>3.4561091098361162E-2</c:v>
                  </c:pt>
                  <c:pt idx="12">
                    <c:v>4.7492262407307112E-2</c:v>
                  </c:pt>
                  <c:pt idx="13">
                    <c:v>5.3414559903844763E-2</c:v>
                  </c:pt>
                  <c:pt idx="14">
                    <c:v>5.2161420813130903E-2</c:v>
                  </c:pt>
                  <c:pt idx="15">
                    <c:v>5.0531464864571565E-2</c:v>
                  </c:pt>
                  <c:pt idx="16">
                    <c:v>4.3979718741903852E-2</c:v>
                  </c:pt>
                  <c:pt idx="17">
                    <c:v>3.9132772365206063E-2</c:v>
                  </c:pt>
                  <c:pt idx="18">
                    <c:v>2.9519341637124868E-2</c:v>
                  </c:pt>
                  <c:pt idx="19">
                    <c:v>2.4039433275234057E-2</c:v>
                  </c:pt>
                  <c:pt idx="20">
                    <c:v>1.7133484703518092E-2</c:v>
                  </c:pt>
                  <c:pt idx="21">
                    <c:v>1.5790240343177612E-2</c:v>
                  </c:pt>
                  <c:pt idx="22">
                    <c:v>1.2825209389671671E-2</c:v>
                  </c:pt>
                  <c:pt idx="23">
                    <c:v>1.2552209387206756E-2</c:v>
                  </c:pt>
                  <c:pt idx="24">
                    <c:v>1.1949897881270903E-2</c:v>
                  </c:pt>
                  <c:pt idx="25">
                    <c:v>1.2059433952474044E-2</c:v>
                  </c:pt>
                  <c:pt idx="26">
                    <c:v>1.2277408587075317E-2</c:v>
                  </c:pt>
                  <c:pt idx="27">
                    <c:v>1.1993450589911945E-2</c:v>
                  </c:pt>
                  <c:pt idx="28">
                    <c:v>1.1885880012316597E-2</c:v>
                  </c:pt>
                  <c:pt idx="29">
                    <c:v>1.1330793083295987E-2</c:v>
                  </c:pt>
                  <c:pt idx="30">
                    <c:v>1.1921665018674619E-2</c:v>
                  </c:pt>
                  <c:pt idx="31">
                    <c:v>1.2198530294424543E-2</c:v>
                  </c:pt>
                  <c:pt idx="32">
                    <c:v>1.2241834413357799E-2</c:v>
                  </c:pt>
                  <c:pt idx="33">
                    <c:v>1.2292959749750497E-2</c:v>
                  </c:pt>
                  <c:pt idx="34">
                    <c:v>1.1992745413210175E-2</c:v>
                  </c:pt>
                  <c:pt idx="35">
                    <c:v>1.199404404419584E-2</c:v>
                  </c:pt>
                  <c:pt idx="36">
                    <c:v>1.1644200412962387E-2</c:v>
                  </c:pt>
                  <c:pt idx="37">
                    <c:v>1.1756057538408997E-2</c:v>
                  </c:pt>
                  <c:pt idx="38">
                    <c:v>1.216591132364693E-2</c:v>
                  </c:pt>
                  <c:pt idx="39">
                    <c:v>1.1964597417809787E-2</c:v>
                  </c:pt>
                  <c:pt idx="40">
                    <c:v>1.2200598191695331E-2</c:v>
                  </c:pt>
                  <c:pt idx="41">
                    <c:v>1.1728707792417019E-2</c:v>
                  </c:pt>
                  <c:pt idx="42">
                    <c:v>1.248144623245828E-2</c:v>
                  </c:pt>
                  <c:pt idx="43">
                    <c:v>1.165895077828588E-2</c:v>
                  </c:pt>
                  <c:pt idx="44">
                    <c:v>1.2313344998296716E-2</c:v>
                  </c:pt>
                  <c:pt idx="45">
                    <c:v>1.2382254261233776E-2</c:v>
                  </c:pt>
                  <c:pt idx="46">
                    <c:v>1.1747795748069173E-2</c:v>
                  </c:pt>
                  <c:pt idx="47">
                    <c:v>1.2609500130387266E-2</c:v>
                  </c:pt>
                  <c:pt idx="48">
                    <c:v>1.2609500130387266E-2</c:v>
                  </c:pt>
                  <c:pt idx="49">
                    <c:v>1.2609500130387266E-2</c:v>
                  </c:pt>
                  <c:pt idx="50">
                    <c:v>1.2609500130387266E-2</c:v>
                  </c:pt>
                  <c:pt idx="51">
                    <c:v>1.2609500130387266E-2</c:v>
                  </c:pt>
                  <c:pt idx="52">
                    <c:v>1.2609500130387266E-2</c:v>
                  </c:pt>
                  <c:pt idx="53">
                    <c:v>1.2609500130387266E-2</c:v>
                  </c:pt>
                  <c:pt idx="54">
                    <c:v>1.2609500130387266E-2</c:v>
                  </c:pt>
                  <c:pt idx="55">
                    <c:v>1.2609500130387266E-2</c:v>
                  </c:pt>
                  <c:pt idx="56">
                    <c:v>1.2609500130387266E-2</c:v>
                  </c:pt>
                  <c:pt idx="57">
                    <c:v>1.2609500130387266E-2</c:v>
                  </c:pt>
                  <c:pt idx="58">
                    <c:v>1.2609500130387266E-2</c:v>
                  </c:pt>
                  <c:pt idx="59">
                    <c:v>1.2609500130387266E-2</c:v>
                  </c:pt>
                  <c:pt idx="60">
                    <c:v>1.2609500130387266E-2</c:v>
                  </c:pt>
                </c:numCache>
              </c:numRef>
            </c:plus>
            <c:minus>
              <c:numRef>
                <c:f>'PP-012944_4-6'!$L$16:$L$76</c:f>
                <c:numCache>
                  <c:formatCode>General</c:formatCode>
                  <c:ptCount val="61"/>
                  <c:pt idx="0">
                    <c:v>0</c:v>
                  </c:pt>
                  <c:pt idx="1">
                    <c:v>0</c:v>
                  </c:pt>
                  <c:pt idx="2">
                    <c:v>0</c:v>
                  </c:pt>
                  <c:pt idx="3">
                    <c:v>0</c:v>
                  </c:pt>
                  <c:pt idx="4">
                    <c:v>3.1894472721826152E-3</c:v>
                  </c:pt>
                  <c:pt idx="5">
                    <c:v>4.4277671965594921E-2</c:v>
                  </c:pt>
                  <c:pt idx="6">
                    <c:v>6.3355940168779712E-2</c:v>
                  </c:pt>
                  <c:pt idx="7">
                    <c:v>6.1241717059893827E-2</c:v>
                  </c:pt>
                  <c:pt idx="8">
                    <c:v>3.8300782667725269E-2</c:v>
                  </c:pt>
                  <c:pt idx="9">
                    <c:v>2.4561259229466142E-2</c:v>
                  </c:pt>
                  <c:pt idx="10">
                    <c:v>2.6222097172732526E-2</c:v>
                  </c:pt>
                  <c:pt idx="11">
                    <c:v>3.4561091098361162E-2</c:v>
                  </c:pt>
                  <c:pt idx="12">
                    <c:v>4.7492262407307112E-2</c:v>
                  </c:pt>
                  <c:pt idx="13">
                    <c:v>5.3414559903844763E-2</c:v>
                  </c:pt>
                  <c:pt idx="14">
                    <c:v>5.2161420813130903E-2</c:v>
                  </c:pt>
                  <c:pt idx="15">
                    <c:v>5.0531464864571565E-2</c:v>
                  </c:pt>
                  <c:pt idx="16">
                    <c:v>4.3979718741903852E-2</c:v>
                  </c:pt>
                  <c:pt idx="17">
                    <c:v>3.9132772365206063E-2</c:v>
                  </c:pt>
                  <c:pt idx="18">
                    <c:v>2.9519341637124868E-2</c:v>
                  </c:pt>
                  <c:pt idx="19">
                    <c:v>2.4039433275234057E-2</c:v>
                  </c:pt>
                  <c:pt idx="20">
                    <c:v>1.7133484703518092E-2</c:v>
                  </c:pt>
                  <c:pt idx="21">
                    <c:v>1.5790240343177612E-2</c:v>
                  </c:pt>
                  <c:pt idx="22">
                    <c:v>1.2825209389671671E-2</c:v>
                  </c:pt>
                  <c:pt idx="23">
                    <c:v>1.2552209387206756E-2</c:v>
                  </c:pt>
                  <c:pt idx="24">
                    <c:v>1.1949897881270903E-2</c:v>
                  </c:pt>
                  <c:pt idx="25">
                    <c:v>1.2059433952474044E-2</c:v>
                  </c:pt>
                  <c:pt idx="26">
                    <c:v>1.2277408587075317E-2</c:v>
                  </c:pt>
                  <c:pt idx="27">
                    <c:v>1.1993450589911945E-2</c:v>
                  </c:pt>
                  <c:pt idx="28">
                    <c:v>1.1885880012316597E-2</c:v>
                  </c:pt>
                  <c:pt idx="29">
                    <c:v>1.1330793083295987E-2</c:v>
                  </c:pt>
                  <c:pt idx="30">
                    <c:v>1.1921665018674619E-2</c:v>
                  </c:pt>
                  <c:pt idx="31">
                    <c:v>1.2198530294424543E-2</c:v>
                  </c:pt>
                  <c:pt idx="32">
                    <c:v>1.2241834413357799E-2</c:v>
                  </c:pt>
                  <c:pt idx="33">
                    <c:v>1.2292959749750497E-2</c:v>
                  </c:pt>
                  <c:pt idx="34">
                    <c:v>1.1992745413210175E-2</c:v>
                  </c:pt>
                  <c:pt idx="35">
                    <c:v>1.199404404419584E-2</c:v>
                  </c:pt>
                  <c:pt idx="36">
                    <c:v>1.1644200412962387E-2</c:v>
                  </c:pt>
                  <c:pt idx="37">
                    <c:v>1.1756057538408997E-2</c:v>
                  </c:pt>
                  <c:pt idx="38">
                    <c:v>1.216591132364693E-2</c:v>
                  </c:pt>
                  <c:pt idx="39">
                    <c:v>1.1964597417809787E-2</c:v>
                  </c:pt>
                  <c:pt idx="40">
                    <c:v>1.2200598191695331E-2</c:v>
                  </c:pt>
                  <c:pt idx="41">
                    <c:v>1.1728707792417019E-2</c:v>
                  </c:pt>
                  <c:pt idx="42">
                    <c:v>1.248144623245828E-2</c:v>
                  </c:pt>
                  <c:pt idx="43">
                    <c:v>1.165895077828588E-2</c:v>
                  </c:pt>
                  <c:pt idx="44">
                    <c:v>1.2313344998296716E-2</c:v>
                  </c:pt>
                  <c:pt idx="45">
                    <c:v>1.2382254261233776E-2</c:v>
                  </c:pt>
                  <c:pt idx="46">
                    <c:v>1.1747795748069173E-2</c:v>
                  </c:pt>
                  <c:pt idx="47">
                    <c:v>1.2609500130387266E-2</c:v>
                  </c:pt>
                  <c:pt idx="48">
                    <c:v>1.2609500130387266E-2</c:v>
                  </c:pt>
                  <c:pt idx="49">
                    <c:v>1.2609500130387266E-2</c:v>
                  </c:pt>
                  <c:pt idx="50">
                    <c:v>1.2609500130387266E-2</c:v>
                  </c:pt>
                  <c:pt idx="51">
                    <c:v>1.2609500130387266E-2</c:v>
                  </c:pt>
                  <c:pt idx="52">
                    <c:v>1.2609500130387266E-2</c:v>
                  </c:pt>
                  <c:pt idx="53">
                    <c:v>1.2609500130387266E-2</c:v>
                  </c:pt>
                  <c:pt idx="54">
                    <c:v>1.2609500130387266E-2</c:v>
                  </c:pt>
                  <c:pt idx="55">
                    <c:v>1.2609500130387266E-2</c:v>
                  </c:pt>
                  <c:pt idx="56">
                    <c:v>1.2609500130387266E-2</c:v>
                  </c:pt>
                  <c:pt idx="57">
                    <c:v>1.2609500130387266E-2</c:v>
                  </c:pt>
                  <c:pt idx="58">
                    <c:v>1.2609500130387266E-2</c:v>
                  </c:pt>
                  <c:pt idx="59">
                    <c:v>1.2609500130387266E-2</c:v>
                  </c:pt>
                  <c:pt idx="60">
                    <c:v>1.2609500130387266E-2</c:v>
                  </c:pt>
                </c:numCache>
              </c:numRef>
            </c:minus>
          </c:errBars>
          <c:xVal>
            <c:numRef>
              <c:f>'PP-012944_4-6'!$A$16:$A$76</c:f>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f>'PP-012944_4-6'!$K$16:$K$76</c:f>
              <c:numCache>
                <c:formatCode>0.00%</c:formatCode>
                <c:ptCount val="61"/>
                <c:pt idx="0">
                  <c:v>0</c:v>
                </c:pt>
                <c:pt idx="1">
                  <c:v>0</c:v>
                </c:pt>
                <c:pt idx="2">
                  <c:v>0</c:v>
                </c:pt>
                <c:pt idx="3">
                  <c:v>0</c:v>
                </c:pt>
                <c:pt idx="4">
                  <c:v>1.8414282411607504E-3</c:v>
                </c:pt>
                <c:pt idx="5">
                  <c:v>6.9028613234797101E-2</c:v>
                </c:pt>
                <c:pt idx="6">
                  <c:v>0.18937360122090596</c:v>
                </c:pt>
                <c:pt idx="7">
                  <c:v>0.31880300869629846</c:v>
                </c:pt>
                <c:pt idx="8">
                  <c:v>0.44558653048684937</c:v>
                </c:pt>
                <c:pt idx="9">
                  <c:v>0.56661052657438316</c:v>
                </c:pt>
                <c:pt idx="10">
                  <c:v>0.66160969747255871</c:v>
                </c:pt>
                <c:pt idx="11">
                  <c:v>0.73284799532709144</c:v>
                </c:pt>
                <c:pt idx="12">
                  <c:v>0.79691212669617351</c:v>
                </c:pt>
                <c:pt idx="13">
                  <c:v>0.84865063573640009</c:v>
                </c:pt>
                <c:pt idx="14">
                  <c:v>0.88931560205996263</c:v>
                </c:pt>
                <c:pt idx="15">
                  <c:v>0.91881375928579045</c:v>
                </c:pt>
                <c:pt idx="16">
                  <c:v>0.93786855819994841</c:v>
                </c:pt>
                <c:pt idx="17">
                  <c:v>0.94593653515291487</c:v>
                </c:pt>
                <c:pt idx="18">
                  <c:v>0.95211715220698478</c:v>
                </c:pt>
                <c:pt idx="19">
                  <c:v>0.95476760077356071</c:v>
                </c:pt>
                <c:pt idx="20">
                  <c:v>0.95745323113891556</c:v>
                </c:pt>
                <c:pt idx="21">
                  <c:v>0.95961112171931828</c:v>
                </c:pt>
                <c:pt idx="22">
                  <c:v>0.96109865920996096</c:v>
                </c:pt>
                <c:pt idx="23">
                  <c:v>0.9613501585713019</c:v>
                </c:pt>
                <c:pt idx="24">
                  <c:v>0.96166183497460078</c:v>
                </c:pt>
                <c:pt idx="25">
                  <c:v>0.96148197004348335</c:v>
                </c:pt>
                <c:pt idx="26">
                  <c:v>0.9619723713772167</c:v>
                </c:pt>
                <c:pt idx="27">
                  <c:v>0.96204066912923414</c:v>
                </c:pt>
                <c:pt idx="28">
                  <c:v>0.96244016379887365</c:v>
                </c:pt>
                <c:pt idx="29">
                  <c:v>0.96220838164285516</c:v>
                </c:pt>
                <c:pt idx="30">
                  <c:v>0.96184285034426054</c:v>
                </c:pt>
                <c:pt idx="31">
                  <c:v>0.96200029658144237</c:v>
                </c:pt>
                <c:pt idx="32">
                  <c:v>0.96174908507477264</c:v>
                </c:pt>
                <c:pt idx="33">
                  <c:v>0.96093087573927793</c:v>
                </c:pt>
                <c:pt idx="34">
                  <c:v>0.96153823468613064</c:v>
                </c:pt>
                <c:pt idx="35">
                  <c:v>0.96194809302435758</c:v>
                </c:pt>
                <c:pt idx="36">
                  <c:v>0.9623074663396407</c:v>
                </c:pt>
                <c:pt idx="37">
                  <c:v>0.96181026406635617</c:v>
                </c:pt>
                <c:pt idx="38">
                  <c:v>0.96188452811333125</c:v>
                </c:pt>
                <c:pt idx="39">
                  <c:v>0.96234338441464351</c:v>
                </c:pt>
                <c:pt idx="40">
                  <c:v>0.96131193012490368</c:v>
                </c:pt>
                <c:pt idx="41">
                  <c:v>0.96161264311457417</c:v>
                </c:pt>
                <c:pt idx="42">
                  <c:v>0.96170967938490515</c:v>
                </c:pt>
                <c:pt idx="43">
                  <c:v>0.96225810782278298</c:v>
                </c:pt>
                <c:pt idx="44">
                  <c:v>0.96210634213253954</c:v>
                </c:pt>
                <c:pt idx="45">
                  <c:v>0.9623392523628711</c:v>
                </c:pt>
                <c:pt idx="46">
                  <c:v>0.96226425884185829</c:v>
                </c:pt>
                <c:pt idx="47">
                  <c:v>0.96219825502882672</c:v>
                </c:pt>
                <c:pt idx="48">
                  <c:v>0.96219825502882672</c:v>
                </c:pt>
                <c:pt idx="49">
                  <c:v>0.96219825502882672</c:v>
                </c:pt>
                <c:pt idx="50">
                  <c:v>0.96219825502882672</c:v>
                </c:pt>
                <c:pt idx="51">
                  <c:v>0.96219825502882672</c:v>
                </c:pt>
                <c:pt idx="52">
                  <c:v>0.96219825502882672</c:v>
                </c:pt>
                <c:pt idx="53">
                  <c:v>0.96219825502882672</c:v>
                </c:pt>
                <c:pt idx="54">
                  <c:v>0.96219825502882672</c:v>
                </c:pt>
                <c:pt idx="55">
                  <c:v>0.96219825502882672</c:v>
                </c:pt>
                <c:pt idx="56">
                  <c:v>0.96219825502882672</c:v>
                </c:pt>
                <c:pt idx="57">
                  <c:v>0.96219825502882672</c:v>
                </c:pt>
                <c:pt idx="58">
                  <c:v>0.96219825502882672</c:v>
                </c:pt>
                <c:pt idx="59">
                  <c:v>0.96219825502882672</c:v>
                </c:pt>
                <c:pt idx="60">
                  <c:v>0.96219825502882672</c:v>
                </c:pt>
              </c:numCache>
            </c:numRef>
          </c:yVal>
          <c:smooth val="0"/>
          <c:extLst>
            <c:ext xmlns:c16="http://schemas.microsoft.com/office/drawing/2014/chart" uri="{C3380CC4-5D6E-409C-BE32-E72D297353CC}">
              <c16:uniqueId val="{00000001-7CBB-4E7B-AAD7-8E02881B1772}"/>
            </c:ext>
          </c:extLst>
        </c:ser>
        <c:ser>
          <c:idx val="24"/>
          <c:order val="23"/>
          <c:tx>
            <c:strRef>
              <c:f>'PP-012944_7-9'!$B$11:$D$11</c:f>
              <c:strCache>
                <c:ptCount val="1"/>
                <c:pt idx="0">
                  <c:v>012944-7_DrugcoatEPO_3mg/cm²_Vorschrift von EudragitEPO</c:v>
                </c:pt>
              </c:strCache>
            </c:strRef>
          </c:tx>
          <c:spPr>
            <a:ln>
              <a:solidFill>
                <a:srgbClr val="FF0000"/>
              </a:solidFill>
            </a:ln>
          </c:spPr>
          <c:marker>
            <c:spPr>
              <a:solidFill>
                <a:srgbClr val="FF0000"/>
              </a:solidFill>
              <a:ln>
                <a:solidFill>
                  <a:srgbClr val="FF0000"/>
                </a:solidFill>
              </a:ln>
            </c:spPr>
          </c:marker>
          <c:errBars>
            <c:errDir val="y"/>
            <c:errBarType val="both"/>
            <c:errValType val="cust"/>
            <c:noEndCap val="0"/>
            <c:plus>
              <c:numRef>
                <c:f>'PP-012944_7-9'!$L$16:$L$76</c:f>
                <c:numCache>
                  <c:formatCode>General</c:formatCode>
                  <c:ptCount val="61"/>
                  <c:pt idx="0">
                    <c:v>0</c:v>
                  </c:pt>
                  <c:pt idx="1">
                    <c:v>0</c:v>
                  </c:pt>
                  <c:pt idx="2">
                    <c:v>1.7191598990797648E-2</c:v>
                  </c:pt>
                  <c:pt idx="3">
                    <c:v>2.2655728992611174E-2</c:v>
                  </c:pt>
                  <c:pt idx="4">
                    <c:v>4.1579450402202553E-2</c:v>
                  </c:pt>
                  <c:pt idx="5">
                    <c:v>5.2452582509038177E-2</c:v>
                  </c:pt>
                  <c:pt idx="6">
                    <c:v>3.9941152870054918E-2</c:v>
                  </c:pt>
                  <c:pt idx="7">
                    <c:v>4.568737471898586E-2</c:v>
                  </c:pt>
                  <c:pt idx="8">
                    <c:v>5.8831416188607148E-2</c:v>
                  </c:pt>
                  <c:pt idx="9">
                    <c:v>5.4295807820058634E-2</c:v>
                  </c:pt>
                  <c:pt idx="10">
                    <c:v>5.7746918488922938E-2</c:v>
                  </c:pt>
                  <c:pt idx="11">
                    <c:v>5.3674818001227462E-2</c:v>
                  </c:pt>
                  <c:pt idx="12">
                    <c:v>5.0172159024031521E-2</c:v>
                  </c:pt>
                  <c:pt idx="13">
                    <c:v>5.2230884234372082E-2</c:v>
                  </c:pt>
                  <c:pt idx="14">
                    <c:v>5.1861543074675609E-2</c:v>
                  </c:pt>
                  <c:pt idx="15">
                    <c:v>5.1450438665551608E-2</c:v>
                  </c:pt>
                  <c:pt idx="16">
                    <c:v>5.2289308551237569E-2</c:v>
                  </c:pt>
                  <c:pt idx="17">
                    <c:v>5.2656970651893661E-2</c:v>
                  </c:pt>
                  <c:pt idx="18">
                    <c:v>5.3015244290943606E-2</c:v>
                  </c:pt>
                  <c:pt idx="19">
                    <c:v>5.1897387856335762E-2</c:v>
                  </c:pt>
                  <c:pt idx="20">
                    <c:v>5.0377482066958378E-2</c:v>
                  </c:pt>
                  <c:pt idx="21">
                    <c:v>5.1504559547705837E-2</c:v>
                  </c:pt>
                  <c:pt idx="22">
                    <c:v>5.2894610372782196E-2</c:v>
                  </c:pt>
                  <c:pt idx="23">
                    <c:v>5.2951637129880005E-2</c:v>
                  </c:pt>
                  <c:pt idx="24">
                    <c:v>5.1037824339575578E-2</c:v>
                  </c:pt>
                  <c:pt idx="25">
                    <c:v>5.1137321058732317E-2</c:v>
                  </c:pt>
                  <c:pt idx="26">
                    <c:v>5.2498933467752106E-2</c:v>
                  </c:pt>
                  <c:pt idx="27">
                    <c:v>5.327750576847478E-2</c:v>
                  </c:pt>
                  <c:pt idx="28">
                    <c:v>5.430792721624203E-2</c:v>
                  </c:pt>
                  <c:pt idx="29">
                    <c:v>5.2316298410623865E-2</c:v>
                  </c:pt>
                  <c:pt idx="30">
                    <c:v>5.2968512765881236E-2</c:v>
                  </c:pt>
                  <c:pt idx="31">
                    <c:v>5.3068047602868484E-2</c:v>
                  </c:pt>
                  <c:pt idx="32">
                    <c:v>5.3710077859219066E-2</c:v>
                  </c:pt>
                  <c:pt idx="33">
                    <c:v>5.1587695351584639E-2</c:v>
                  </c:pt>
                  <c:pt idx="34">
                    <c:v>5.2002324590025066E-2</c:v>
                  </c:pt>
                  <c:pt idx="35">
                    <c:v>5.272425415357164E-2</c:v>
                  </c:pt>
                  <c:pt idx="36">
                    <c:v>5.1409850427401184E-2</c:v>
                  </c:pt>
                  <c:pt idx="37">
                    <c:v>5.3306530458816122E-2</c:v>
                  </c:pt>
                  <c:pt idx="38">
                    <c:v>5.1864898826719984E-2</c:v>
                  </c:pt>
                  <c:pt idx="39">
                    <c:v>5.1614357747053349E-2</c:v>
                  </c:pt>
                  <c:pt idx="40">
                    <c:v>5.3422052719200981E-2</c:v>
                  </c:pt>
                  <c:pt idx="41">
                    <c:v>5.3234616795268377E-2</c:v>
                  </c:pt>
                  <c:pt idx="42">
                    <c:v>5.2206442462812488E-2</c:v>
                  </c:pt>
                  <c:pt idx="43">
                    <c:v>5.2036671352796722E-2</c:v>
                  </c:pt>
                  <c:pt idx="44">
                    <c:v>5.2251020503312054E-2</c:v>
                  </c:pt>
                  <c:pt idx="45">
                    <c:v>5.2275738945139871E-2</c:v>
                  </c:pt>
                  <c:pt idx="46">
                    <c:v>5.23669325766878E-2</c:v>
                  </c:pt>
                  <c:pt idx="47">
                    <c:v>5.2006483017267333E-2</c:v>
                  </c:pt>
                  <c:pt idx="48">
                    <c:v>5.1199716303593712E-2</c:v>
                  </c:pt>
                  <c:pt idx="49">
                    <c:v>5.2720085718298129E-2</c:v>
                  </c:pt>
                  <c:pt idx="50">
                    <c:v>5.1129597506073585E-2</c:v>
                  </c:pt>
                  <c:pt idx="51">
                    <c:v>5.2661613492791463E-2</c:v>
                  </c:pt>
                  <c:pt idx="52">
                    <c:v>5.2925288313366667E-2</c:v>
                  </c:pt>
                  <c:pt idx="53">
                    <c:v>5.2747581116961893E-2</c:v>
                  </c:pt>
                  <c:pt idx="54">
                    <c:v>5.2522484055132504E-2</c:v>
                  </c:pt>
                  <c:pt idx="55">
                    <c:v>5.2123612623575344E-2</c:v>
                  </c:pt>
                  <c:pt idx="56">
                    <c:v>5.2592381941461389E-2</c:v>
                  </c:pt>
                  <c:pt idx="57">
                    <c:v>5.3293220933237274E-2</c:v>
                  </c:pt>
                  <c:pt idx="58">
                    <c:v>5.3139044391249543E-2</c:v>
                  </c:pt>
                  <c:pt idx="59">
                    <c:v>5.2868865546981295E-2</c:v>
                  </c:pt>
                  <c:pt idx="60">
                    <c:v>5.1371030627423077E-2</c:v>
                  </c:pt>
                </c:numCache>
              </c:numRef>
            </c:plus>
            <c:minus>
              <c:numRef>
                <c:f>'PP-012944_7-9'!$L$16:$L$76</c:f>
                <c:numCache>
                  <c:formatCode>General</c:formatCode>
                  <c:ptCount val="61"/>
                  <c:pt idx="0">
                    <c:v>0</c:v>
                  </c:pt>
                  <c:pt idx="1">
                    <c:v>0</c:v>
                  </c:pt>
                  <c:pt idx="2">
                    <c:v>1.7191598990797648E-2</c:v>
                  </c:pt>
                  <c:pt idx="3">
                    <c:v>2.2655728992611174E-2</c:v>
                  </c:pt>
                  <c:pt idx="4">
                    <c:v>4.1579450402202553E-2</c:v>
                  </c:pt>
                  <c:pt idx="5">
                    <c:v>5.2452582509038177E-2</c:v>
                  </c:pt>
                  <c:pt idx="6">
                    <c:v>3.9941152870054918E-2</c:v>
                  </c:pt>
                  <c:pt idx="7">
                    <c:v>4.568737471898586E-2</c:v>
                  </c:pt>
                  <c:pt idx="8">
                    <c:v>5.8831416188607148E-2</c:v>
                  </c:pt>
                  <c:pt idx="9">
                    <c:v>5.4295807820058634E-2</c:v>
                  </c:pt>
                  <c:pt idx="10">
                    <c:v>5.7746918488922938E-2</c:v>
                  </c:pt>
                  <c:pt idx="11">
                    <c:v>5.3674818001227462E-2</c:v>
                  </c:pt>
                  <c:pt idx="12">
                    <c:v>5.0172159024031521E-2</c:v>
                  </c:pt>
                  <c:pt idx="13">
                    <c:v>5.2230884234372082E-2</c:v>
                  </c:pt>
                  <c:pt idx="14">
                    <c:v>5.1861543074675609E-2</c:v>
                  </c:pt>
                  <c:pt idx="15">
                    <c:v>5.1450438665551608E-2</c:v>
                  </c:pt>
                  <c:pt idx="16">
                    <c:v>5.2289308551237569E-2</c:v>
                  </c:pt>
                  <c:pt idx="17">
                    <c:v>5.2656970651893661E-2</c:v>
                  </c:pt>
                  <c:pt idx="18">
                    <c:v>5.3015244290943606E-2</c:v>
                  </c:pt>
                  <c:pt idx="19">
                    <c:v>5.1897387856335762E-2</c:v>
                  </c:pt>
                  <c:pt idx="20">
                    <c:v>5.0377482066958378E-2</c:v>
                  </c:pt>
                  <c:pt idx="21">
                    <c:v>5.1504559547705837E-2</c:v>
                  </c:pt>
                  <c:pt idx="22">
                    <c:v>5.2894610372782196E-2</c:v>
                  </c:pt>
                  <c:pt idx="23">
                    <c:v>5.2951637129880005E-2</c:v>
                  </c:pt>
                  <c:pt idx="24">
                    <c:v>5.1037824339575578E-2</c:v>
                  </c:pt>
                  <c:pt idx="25">
                    <c:v>5.1137321058732317E-2</c:v>
                  </c:pt>
                  <c:pt idx="26">
                    <c:v>5.2498933467752106E-2</c:v>
                  </c:pt>
                  <c:pt idx="27">
                    <c:v>5.327750576847478E-2</c:v>
                  </c:pt>
                  <c:pt idx="28">
                    <c:v>5.430792721624203E-2</c:v>
                  </c:pt>
                  <c:pt idx="29">
                    <c:v>5.2316298410623865E-2</c:v>
                  </c:pt>
                  <c:pt idx="30">
                    <c:v>5.2968512765881236E-2</c:v>
                  </c:pt>
                  <c:pt idx="31">
                    <c:v>5.3068047602868484E-2</c:v>
                  </c:pt>
                  <c:pt idx="32">
                    <c:v>5.3710077859219066E-2</c:v>
                  </c:pt>
                  <c:pt idx="33">
                    <c:v>5.1587695351584639E-2</c:v>
                  </c:pt>
                  <c:pt idx="34">
                    <c:v>5.2002324590025066E-2</c:v>
                  </c:pt>
                  <c:pt idx="35">
                    <c:v>5.272425415357164E-2</c:v>
                  </c:pt>
                  <c:pt idx="36">
                    <c:v>5.1409850427401184E-2</c:v>
                  </c:pt>
                  <c:pt idx="37">
                    <c:v>5.3306530458816122E-2</c:v>
                  </c:pt>
                  <c:pt idx="38">
                    <c:v>5.1864898826719984E-2</c:v>
                  </c:pt>
                  <c:pt idx="39">
                    <c:v>5.1614357747053349E-2</c:v>
                  </c:pt>
                  <c:pt idx="40">
                    <c:v>5.3422052719200981E-2</c:v>
                  </c:pt>
                  <c:pt idx="41">
                    <c:v>5.3234616795268377E-2</c:v>
                  </c:pt>
                  <c:pt idx="42">
                    <c:v>5.2206442462812488E-2</c:v>
                  </c:pt>
                  <c:pt idx="43">
                    <c:v>5.2036671352796722E-2</c:v>
                  </c:pt>
                  <c:pt idx="44">
                    <c:v>5.2251020503312054E-2</c:v>
                  </c:pt>
                  <c:pt idx="45">
                    <c:v>5.2275738945139871E-2</c:v>
                  </c:pt>
                  <c:pt idx="46">
                    <c:v>5.23669325766878E-2</c:v>
                  </c:pt>
                  <c:pt idx="47">
                    <c:v>5.2006483017267333E-2</c:v>
                  </c:pt>
                  <c:pt idx="48">
                    <c:v>5.1199716303593712E-2</c:v>
                  </c:pt>
                  <c:pt idx="49">
                    <c:v>5.2720085718298129E-2</c:v>
                  </c:pt>
                  <c:pt idx="50">
                    <c:v>5.1129597506073585E-2</c:v>
                  </c:pt>
                  <c:pt idx="51">
                    <c:v>5.2661613492791463E-2</c:v>
                  </c:pt>
                  <c:pt idx="52">
                    <c:v>5.2925288313366667E-2</c:v>
                  </c:pt>
                  <c:pt idx="53">
                    <c:v>5.2747581116961893E-2</c:v>
                  </c:pt>
                  <c:pt idx="54">
                    <c:v>5.2522484055132504E-2</c:v>
                  </c:pt>
                  <c:pt idx="55">
                    <c:v>5.2123612623575344E-2</c:v>
                  </c:pt>
                  <c:pt idx="56">
                    <c:v>5.2592381941461389E-2</c:v>
                  </c:pt>
                  <c:pt idx="57">
                    <c:v>5.3293220933237274E-2</c:v>
                  </c:pt>
                  <c:pt idx="58">
                    <c:v>5.3139044391249543E-2</c:v>
                  </c:pt>
                  <c:pt idx="59">
                    <c:v>5.2868865546981295E-2</c:v>
                  </c:pt>
                  <c:pt idx="60">
                    <c:v>5.1371030627423077E-2</c:v>
                  </c:pt>
                </c:numCache>
              </c:numRef>
            </c:minus>
          </c:errBars>
          <c:xVal>
            <c:numRef>
              <c:f>'PP-012944_7-9'!$A$16:$A$76</c:f>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f>'PP-012944_7-9'!$K$16:$K$76</c:f>
              <c:numCache>
                <c:formatCode>0.00%</c:formatCode>
                <c:ptCount val="61"/>
                <c:pt idx="0">
                  <c:v>0</c:v>
                </c:pt>
                <c:pt idx="1">
                  <c:v>0</c:v>
                </c:pt>
                <c:pt idx="2">
                  <c:v>1.8201214445625596E-2</c:v>
                </c:pt>
                <c:pt idx="3">
                  <c:v>0.17700283500236524</c:v>
                </c:pt>
                <c:pt idx="4">
                  <c:v>0.37088307651868185</c:v>
                </c:pt>
                <c:pt idx="5">
                  <c:v>0.55994348869026889</c:v>
                </c:pt>
                <c:pt idx="6">
                  <c:v>0.68408430958535005</c:v>
                </c:pt>
                <c:pt idx="7">
                  <c:v>0.7819008597004985</c:v>
                </c:pt>
                <c:pt idx="8">
                  <c:v>0.86352078032250901</c:v>
                </c:pt>
                <c:pt idx="9">
                  <c:v>0.91201541027055588</c:v>
                </c:pt>
                <c:pt idx="10">
                  <c:v>0.9489760214363554</c:v>
                </c:pt>
                <c:pt idx="11">
                  <c:v>0.96634957387819398</c:v>
                </c:pt>
                <c:pt idx="12">
                  <c:v>0.97674329740710009</c:v>
                </c:pt>
                <c:pt idx="13">
                  <c:v>0.97573307744976689</c:v>
                </c:pt>
                <c:pt idx="14">
                  <c:v>0.97677591147291609</c:v>
                </c:pt>
                <c:pt idx="15">
                  <c:v>0.97688956432890128</c:v>
                </c:pt>
                <c:pt idx="16">
                  <c:v>0.9774132239853488</c:v>
                </c:pt>
                <c:pt idx="17">
                  <c:v>0.97759324207707265</c:v>
                </c:pt>
                <c:pt idx="18">
                  <c:v>0.97811526092184187</c:v>
                </c:pt>
                <c:pt idx="19">
                  <c:v>0.97721018600041931</c:v>
                </c:pt>
                <c:pt idx="20">
                  <c:v>0.97851573700885197</c:v>
                </c:pt>
                <c:pt idx="21">
                  <c:v>0.97964030704772875</c:v>
                </c:pt>
                <c:pt idx="22">
                  <c:v>0.97769048518860568</c:v>
                </c:pt>
                <c:pt idx="23">
                  <c:v>0.97921820909443313</c:v>
                </c:pt>
                <c:pt idx="24">
                  <c:v>0.9781184093004599</c:v>
                </c:pt>
                <c:pt idx="25">
                  <c:v>0.97948195989945608</c:v>
                </c:pt>
                <c:pt idx="26">
                  <c:v>0.98000189885648525</c:v>
                </c:pt>
                <c:pt idx="27">
                  <c:v>0.97884864333383226</c:v>
                </c:pt>
                <c:pt idx="28">
                  <c:v>0.98009089724855203</c:v>
                </c:pt>
                <c:pt idx="29">
                  <c:v>0.98099588350393996</c:v>
                </c:pt>
                <c:pt idx="30">
                  <c:v>0.97995014161967398</c:v>
                </c:pt>
                <c:pt idx="31">
                  <c:v>0.98050577421429663</c:v>
                </c:pt>
                <c:pt idx="32">
                  <c:v>0.98099085356113847</c:v>
                </c:pt>
                <c:pt idx="33">
                  <c:v>0.98103390145505598</c:v>
                </c:pt>
                <c:pt idx="34">
                  <c:v>0.98035728433523717</c:v>
                </c:pt>
                <c:pt idx="35">
                  <c:v>0.97957729200317678</c:v>
                </c:pt>
                <c:pt idx="36">
                  <c:v>0.98156788085038327</c:v>
                </c:pt>
                <c:pt idx="37">
                  <c:v>0.98002280405862263</c:v>
                </c:pt>
                <c:pt idx="38">
                  <c:v>0.98157857627292933</c:v>
                </c:pt>
                <c:pt idx="39">
                  <c:v>0.98248502154418071</c:v>
                </c:pt>
                <c:pt idx="40">
                  <c:v>0.98047656944857664</c:v>
                </c:pt>
                <c:pt idx="41">
                  <c:v>0.98112601478971007</c:v>
                </c:pt>
                <c:pt idx="42">
                  <c:v>0.98192507983154831</c:v>
                </c:pt>
                <c:pt idx="43">
                  <c:v>0.98234057311195677</c:v>
                </c:pt>
                <c:pt idx="44">
                  <c:v>0.98098754378133579</c:v>
                </c:pt>
                <c:pt idx="45">
                  <c:v>0.98076270851547243</c:v>
                </c:pt>
                <c:pt idx="46">
                  <c:v>0.9807854973541037</c:v>
                </c:pt>
                <c:pt idx="47">
                  <c:v>0.98113900276415322</c:v>
                </c:pt>
                <c:pt idx="48">
                  <c:v>0.98198590014472165</c:v>
                </c:pt>
                <c:pt idx="49">
                  <c:v>0.9808461536383174</c:v>
                </c:pt>
                <c:pt idx="50">
                  <c:v>0.98209405545152639</c:v>
                </c:pt>
                <c:pt idx="51">
                  <c:v>0.98186252670253393</c:v>
                </c:pt>
                <c:pt idx="52">
                  <c:v>0.98090756774046317</c:v>
                </c:pt>
                <c:pt idx="53">
                  <c:v>0.98212897320123049</c:v>
                </c:pt>
                <c:pt idx="54">
                  <c:v>0.98172310237272198</c:v>
                </c:pt>
                <c:pt idx="55">
                  <c:v>0.98170674328103191</c:v>
                </c:pt>
                <c:pt idx="56">
                  <c:v>0.98246324482077763</c:v>
                </c:pt>
                <c:pt idx="57">
                  <c:v>0.98207013037536683</c:v>
                </c:pt>
                <c:pt idx="58">
                  <c:v>0.98206428535371193</c:v>
                </c:pt>
                <c:pt idx="59">
                  <c:v>0.98170739699475273</c:v>
                </c:pt>
                <c:pt idx="60">
                  <c:v>0.98286387395029851</c:v>
                </c:pt>
              </c:numCache>
            </c:numRef>
          </c:yVal>
          <c:smooth val="0"/>
          <c:extLst>
            <c:ext xmlns:c16="http://schemas.microsoft.com/office/drawing/2014/chart" uri="{C3380CC4-5D6E-409C-BE32-E72D297353CC}">
              <c16:uniqueId val="{00000002-7CBB-4E7B-AAD7-8E02881B1772}"/>
            </c:ext>
          </c:extLst>
        </c:ser>
        <c:ser>
          <c:idx val="27"/>
          <c:order val="26"/>
          <c:tx>
            <c:strRef>
              <c:f>'PP-012944_Kerne ungecoatet'!$B$11:$D$11</c:f>
              <c:strCache>
                <c:ptCount val="1"/>
                <c:pt idx="0">
                  <c:v>012944_Kerne ungecoatet</c:v>
                </c:pt>
              </c:strCache>
            </c:strRef>
          </c:tx>
          <c:marker>
            <c:spPr>
              <a:solidFill>
                <a:srgbClr val="FFFFFF">
                  <a:lumMod val="65000"/>
                </a:srgbClr>
              </a:solidFill>
            </c:spPr>
          </c:marker>
          <c:errBars>
            <c:errDir val="y"/>
            <c:errBarType val="both"/>
            <c:errValType val="cust"/>
            <c:noEndCap val="0"/>
            <c:plus>
              <c:numRef>
                <c:f>'PP-012944_Kerne ungecoatet'!$L$16:$L$76</c:f>
                <c:numCache>
                  <c:formatCode>General</c:formatCode>
                  <c:ptCount val="61"/>
                  <c:pt idx="0">
                    <c:v>7.9255721789736594E-5</c:v>
                  </c:pt>
                  <c:pt idx="1">
                    <c:v>3.2223912872709772E-3</c:v>
                  </c:pt>
                  <c:pt idx="2">
                    <c:v>3.7468103593106671E-2</c:v>
                  </c:pt>
                  <c:pt idx="3">
                    <c:v>6.7186183668770452E-2</c:v>
                  </c:pt>
                  <c:pt idx="4">
                    <c:v>7.5783645229956467E-2</c:v>
                  </c:pt>
                  <c:pt idx="5">
                    <c:v>9.1797985842081736E-2</c:v>
                  </c:pt>
                  <c:pt idx="6">
                    <c:v>9.1897461193091168E-2</c:v>
                  </c:pt>
                  <c:pt idx="7">
                    <c:v>9.522303158201989E-2</c:v>
                  </c:pt>
                  <c:pt idx="8">
                    <c:v>8.8030342695497241E-2</c:v>
                  </c:pt>
                  <c:pt idx="9">
                    <c:v>8.0647486723291611E-2</c:v>
                  </c:pt>
                  <c:pt idx="10">
                    <c:v>7.0150819466255371E-2</c:v>
                  </c:pt>
                  <c:pt idx="11">
                    <c:v>6.1428912600780879E-2</c:v>
                  </c:pt>
                  <c:pt idx="12">
                    <c:v>5.9649113233397451E-2</c:v>
                  </c:pt>
                  <c:pt idx="13">
                    <c:v>5.8518036033078848E-2</c:v>
                  </c:pt>
                  <c:pt idx="14">
                    <c:v>5.8160882063228642E-2</c:v>
                  </c:pt>
                  <c:pt idx="15">
                    <c:v>5.8101115474869749E-2</c:v>
                  </c:pt>
                  <c:pt idx="16">
                    <c:v>5.8217768822538707E-2</c:v>
                  </c:pt>
                  <c:pt idx="17">
                    <c:v>5.7558085426153587E-2</c:v>
                  </c:pt>
                  <c:pt idx="18">
                    <c:v>5.7540549026945498E-2</c:v>
                  </c:pt>
                  <c:pt idx="19">
                    <c:v>5.8097966319992769E-2</c:v>
                  </c:pt>
                  <c:pt idx="20">
                    <c:v>5.7133105504467041E-2</c:v>
                  </c:pt>
                  <c:pt idx="21">
                    <c:v>5.5625329463337779E-2</c:v>
                  </c:pt>
                  <c:pt idx="22">
                    <c:v>5.7156352389356832E-2</c:v>
                  </c:pt>
                  <c:pt idx="23">
                    <c:v>5.5485095247737259E-2</c:v>
                  </c:pt>
                  <c:pt idx="24">
                    <c:v>5.4880495507170592E-2</c:v>
                  </c:pt>
                  <c:pt idx="25">
                    <c:v>5.4750496142719859E-2</c:v>
                  </c:pt>
                  <c:pt idx="26">
                    <c:v>5.5776808345121595E-2</c:v>
                  </c:pt>
                  <c:pt idx="27">
                    <c:v>5.4912774085042894E-2</c:v>
                  </c:pt>
                  <c:pt idx="28">
                    <c:v>5.474789490610104E-2</c:v>
                  </c:pt>
                  <c:pt idx="29">
                    <c:v>5.5238012300345078E-2</c:v>
                  </c:pt>
                  <c:pt idx="30">
                    <c:v>5.54684106901768E-2</c:v>
                  </c:pt>
                  <c:pt idx="31">
                    <c:v>5.54684106901768E-2</c:v>
                  </c:pt>
                  <c:pt idx="32">
                    <c:v>5.54684106901768E-2</c:v>
                  </c:pt>
                  <c:pt idx="33">
                    <c:v>5.54684106901768E-2</c:v>
                  </c:pt>
                  <c:pt idx="34">
                    <c:v>5.54684106901768E-2</c:v>
                  </c:pt>
                  <c:pt idx="35">
                    <c:v>5.54684106901768E-2</c:v>
                  </c:pt>
                  <c:pt idx="36">
                    <c:v>5.54684106901768E-2</c:v>
                  </c:pt>
                  <c:pt idx="37">
                    <c:v>5.54684106901768E-2</c:v>
                  </c:pt>
                  <c:pt idx="38">
                    <c:v>5.54684106901768E-2</c:v>
                  </c:pt>
                  <c:pt idx="39">
                    <c:v>5.54684106901768E-2</c:v>
                  </c:pt>
                  <c:pt idx="40">
                    <c:v>5.54684106901768E-2</c:v>
                  </c:pt>
                  <c:pt idx="41">
                    <c:v>5.54684106901768E-2</c:v>
                  </c:pt>
                  <c:pt idx="42">
                    <c:v>5.54684106901768E-2</c:v>
                  </c:pt>
                  <c:pt idx="43">
                    <c:v>5.54684106901768E-2</c:v>
                  </c:pt>
                  <c:pt idx="44">
                    <c:v>5.54684106901768E-2</c:v>
                  </c:pt>
                  <c:pt idx="45">
                    <c:v>5.54684106901768E-2</c:v>
                  </c:pt>
                  <c:pt idx="46">
                    <c:v>5.54684106901768E-2</c:v>
                  </c:pt>
                  <c:pt idx="47">
                    <c:v>5.54684106901768E-2</c:v>
                  </c:pt>
                  <c:pt idx="48">
                    <c:v>5.54684106901768E-2</c:v>
                  </c:pt>
                  <c:pt idx="49">
                    <c:v>5.54684106901768E-2</c:v>
                  </c:pt>
                  <c:pt idx="50">
                    <c:v>5.54684106901768E-2</c:v>
                  </c:pt>
                  <c:pt idx="51">
                    <c:v>5.54684106901768E-2</c:v>
                  </c:pt>
                  <c:pt idx="52">
                    <c:v>5.54684106901768E-2</c:v>
                  </c:pt>
                  <c:pt idx="53">
                    <c:v>5.54684106901768E-2</c:v>
                  </c:pt>
                  <c:pt idx="54">
                    <c:v>5.54684106901768E-2</c:v>
                  </c:pt>
                  <c:pt idx="55">
                    <c:v>5.54684106901768E-2</c:v>
                  </c:pt>
                  <c:pt idx="56">
                    <c:v>5.54684106901768E-2</c:v>
                  </c:pt>
                  <c:pt idx="57">
                    <c:v>5.54684106901768E-2</c:v>
                  </c:pt>
                  <c:pt idx="58">
                    <c:v>5.54684106901768E-2</c:v>
                  </c:pt>
                  <c:pt idx="59">
                    <c:v>5.54684106901768E-2</c:v>
                  </c:pt>
                  <c:pt idx="60">
                    <c:v>5.54684106901768E-2</c:v>
                  </c:pt>
                </c:numCache>
              </c:numRef>
            </c:plus>
            <c:minus>
              <c:numRef>
                <c:f>'PP-012944_Kerne ungecoatet'!$L$16:$L$76</c:f>
                <c:numCache>
                  <c:formatCode>General</c:formatCode>
                  <c:ptCount val="61"/>
                  <c:pt idx="0">
                    <c:v>7.9255721789736594E-5</c:v>
                  </c:pt>
                  <c:pt idx="1">
                    <c:v>3.2223912872709772E-3</c:v>
                  </c:pt>
                  <c:pt idx="2">
                    <c:v>3.7468103593106671E-2</c:v>
                  </c:pt>
                  <c:pt idx="3">
                    <c:v>6.7186183668770452E-2</c:v>
                  </c:pt>
                  <c:pt idx="4">
                    <c:v>7.5783645229956467E-2</c:v>
                  </c:pt>
                  <c:pt idx="5">
                    <c:v>9.1797985842081736E-2</c:v>
                  </c:pt>
                  <c:pt idx="6">
                    <c:v>9.1897461193091168E-2</c:v>
                  </c:pt>
                  <c:pt idx="7">
                    <c:v>9.522303158201989E-2</c:v>
                  </c:pt>
                  <c:pt idx="8">
                    <c:v>8.8030342695497241E-2</c:v>
                  </c:pt>
                  <c:pt idx="9">
                    <c:v>8.0647486723291611E-2</c:v>
                  </c:pt>
                  <c:pt idx="10">
                    <c:v>7.0150819466255371E-2</c:v>
                  </c:pt>
                  <c:pt idx="11">
                    <c:v>6.1428912600780879E-2</c:v>
                  </c:pt>
                  <c:pt idx="12">
                    <c:v>5.9649113233397451E-2</c:v>
                  </c:pt>
                  <c:pt idx="13">
                    <c:v>5.8518036033078848E-2</c:v>
                  </c:pt>
                  <c:pt idx="14">
                    <c:v>5.8160882063228642E-2</c:v>
                  </c:pt>
                  <c:pt idx="15">
                    <c:v>5.8101115474869749E-2</c:v>
                  </c:pt>
                  <c:pt idx="16">
                    <c:v>5.8217768822538707E-2</c:v>
                  </c:pt>
                  <c:pt idx="17">
                    <c:v>5.7558085426153587E-2</c:v>
                  </c:pt>
                  <c:pt idx="18">
                    <c:v>5.7540549026945498E-2</c:v>
                  </c:pt>
                  <c:pt idx="19">
                    <c:v>5.8097966319992769E-2</c:v>
                  </c:pt>
                  <c:pt idx="20">
                    <c:v>5.7133105504467041E-2</c:v>
                  </c:pt>
                  <c:pt idx="21">
                    <c:v>5.5625329463337779E-2</c:v>
                  </c:pt>
                  <c:pt idx="22">
                    <c:v>5.7156352389356832E-2</c:v>
                  </c:pt>
                  <c:pt idx="23">
                    <c:v>5.5485095247737259E-2</c:v>
                  </c:pt>
                  <c:pt idx="24">
                    <c:v>5.4880495507170592E-2</c:v>
                  </c:pt>
                  <c:pt idx="25">
                    <c:v>5.4750496142719859E-2</c:v>
                  </c:pt>
                  <c:pt idx="26">
                    <c:v>5.5776808345121595E-2</c:v>
                  </c:pt>
                  <c:pt idx="27">
                    <c:v>5.4912774085042894E-2</c:v>
                  </c:pt>
                  <c:pt idx="28">
                    <c:v>5.474789490610104E-2</c:v>
                  </c:pt>
                  <c:pt idx="29">
                    <c:v>5.5238012300345078E-2</c:v>
                  </c:pt>
                  <c:pt idx="30">
                    <c:v>5.54684106901768E-2</c:v>
                  </c:pt>
                  <c:pt idx="31">
                    <c:v>5.54684106901768E-2</c:v>
                  </c:pt>
                  <c:pt idx="32">
                    <c:v>5.54684106901768E-2</c:v>
                  </c:pt>
                  <c:pt idx="33">
                    <c:v>5.54684106901768E-2</c:v>
                  </c:pt>
                  <c:pt idx="34">
                    <c:v>5.54684106901768E-2</c:v>
                  </c:pt>
                  <c:pt idx="35">
                    <c:v>5.54684106901768E-2</c:v>
                  </c:pt>
                  <c:pt idx="36">
                    <c:v>5.54684106901768E-2</c:v>
                  </c:pt>
                  <c:pt idx="37">
                    <c:v>5.54684106901768E-2</c:v>
                  </c:pt>
                  <c:pt idx="38">
                    <c:v>5.54684106901768E-2</c:v>
                  </c:pt>
                  <c:pt idx="39">
                    <c:v>5.54684106901768E-2</c:v>
                  </c:pt>
                  <c:pt idx="40">
                    <c:v>5.54684106901768E-2</c:v>
                  </c:pt>
                  <c:pt idx="41">
                    <c:v>5.54684106901768E-2</c:v>
                  </c:pt>
                  <c:pt idx="42">
                    <c:v>5.54684106901768E-2</c:v>
                  </c:pt>
                  <c:pt idx="43">
                    <c:v>5.54684106901768E-2</c:v>
                  </c:pt>
                  <c:pt idx="44">
                    <c:v>5.54684106901768E-2</c:v>
                  </c:pt>
                  <c:pt idx="45">
                    <c:v>5.54684106901768E-2</c:v>
                  </c:pt>
                  <c:pt idx="46">
                    <c:v>5.54684106901768E-2</c:v>
                  </c:pt>
                  <c:pt idx="47">
                    <c:v>5.54684106901768E-2</c:v>
                  </c:pt>
                  <c:pt idx="48">
                    <c:v>5.54684106901768E-2</c:v>
                  </c:pt>
                  <c:pt idx="49">
                    <c:v>5.54684106901768E-2</c:v>
                  </c:pt>
                  <c:pt idx="50">
                    <c:v>5.54684106901768E-2</c:v>
                  </c:pt>
                  <c:pt idx="51">
                    <c:v>5.54684106901768E-2</c:v>
                  </c:pt>
                  <c:pt idx="52">
                    <c:v>5.54684106901768E-2</c:v>
                  </c:pt>
                  <c:pt idx="53">
                    <c:v>5.54684106901768E-2</c:v>
                  </c:pt>
                  <c:pt idx="54">
                    <c:v>5.54684106901768E-2</c:v>
                  </c:pt>
                  <c:pt idx="55">
                    <c:v>5.54684106901768E-2</c:v>
                  </c:pt>
                  <c:pt idx="56">
                    <c:v>5.54684106901768E-2</c:v>
                  </c:pt>
                  <c:pt idx="57">
                    <c:v>5.54684106901768E-2</c:v>
                  </c:pt>
                  <c:pt idx="58">
                    <c:v>5.54684106901768E-2</c:v>
                  </c:pt>
                  <c:pt idx="59">
                    <c:v>5.54684106901768E-2</c:v>
                  </c:pt>
                  <c:pt idx="60">
                    <c:v>5.54684106901768E-2</c:v>
                  </c:pt>
                </c:numCache>
              </c:numRef>
            </c:minus>
          </c:errBars>
          <c:xVal>
            <c:numRef>
              <c:f>'PP-012944_Kerne ungecoatet'!$A$16:$A$76</c:f>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f>'PP-012944_Kerne ungecoatet'!$K$16:$K$76</c:f>
              <c:numCache>
                <c:formatCode>0.00%</c:formatCode>
                <c:ptCount val="61"/>
                <c:pt idx="0">
                  <c:v>4.5758312310122504E-5</c:v>
                </c:pt>
                <c:pt idx="1">
                  <c:v>2.8981857766449157E-3</c:v>
                </c:pt>
                <c:pt idx="2">
                  <c:v>0.11240738456612048</c:v>
                </c:pt>
                <c:pt idx="3">
                  <c:v>0.26708669245848471</c:v>
                </c:pt>
                <c:pt idx="4">
                  <c:v>0.42810096783674734</c:v>
                </c:pt>
                <c:pt idx="5">
                  <c:v>0.60036730707240926</c:v>
                </c:pt>
                <c:pt idx="6">
                  <c:v>0.73073704017696572</c:v>
                </c:pt>
                <c:pt idx="7">
                  <c:v>0.82981674574546915</c:v>
                </c:pt>
                <c:pt idx="8">
                  <c:v>0.90396010489489687</c:v>
                </c:pt>
                <c:pt idx="9">
                  <c:v>0.95090479565020358</c:v>
                </c:pt>
                <c:pt idx="10">
                  <c:v>0.97076561554930996</c:v>
                </c:pt>
                <c:pt idx="11">
                  <c:v>0.97901179847376019</c:v>
                </c:pt>
                <c:pt idx="12">
                  <c:v>0.98313535145870701</c:v>
                </c:pt>
                <c:pt idx="13">
                  <c:v>0.98455590913373303</c:v>
                </c:pt>
                <c:pt idx="14">
                  <c:v>0.9842008139648758</c:v>
                </c:pt>
                <c:pt idx="15">
                  <c:v>0.98545525913815035</c:v>
                </c:pt>
                <c:pt idx="16">
                  <c:v>0.98442940547532121</c:v>
                </c:pt>
                <c:pt idx="17">
                  <c:v>0.98524840661779367</c:v>
                </c:pt>
                <c:pt idx="18">
                  <c:v>0.98535315420234826</c:v>
                </c:pt>
                <c:pt idx="19">
                  <c:v>0.98600113738596207</c:v>
                </c:pt>
                <c:pt idx="20">
                  <c:v>0.98671452486630107</c:v>
                </c:pt>
                <c:pt idx="21">
                  <c:v>0.98842605434692599</c:v>
                </c:pt>
                <c:pt idx="22">
                  <c:v>0.98821217946610818</c:v>
                </c:pt>
                <c:pt idx="23">
                  <c:v>0.99123611465902817</c:v>
                </c:pt>
                <c:pt idx="24">
                  <c:v>0.99067594836327844</c:v>
                </c:pt>
                <c:pt idx="25">
                  <c:v>0.99275043437507604</c:v>
                </c:pt>
                <c:pt idx="26">
                  <c:v>0.99254577823233348</c:v>
                </c:pt>
                <c:pt idx="27">
                  <c:v>0.99258459555386802</c:v>
                </c:pt>
                <c:pt idx="28">
                  <c:v>0.99637180523198055</c:v>
                </c:pt>
                <c:pt idx="29">
                  <c:v>0.99558123891206185</c:v>
                </c:pt>
                <c:pt idx="30">
                  <c:v>1.0010433188282406</c:v>
                </c:pt>
                <c:pt idx="31">
                  <c:v>1.0010433188282406</c:v>
                </c:pt>
                <c:pt idx="32">
                  <c:v>1.0010433188282406</c:v>
                </c:pt>
                <c:pt idx="33">
                  <c:v>1.0010433188282406</c:v>
                </c:pt>
                <c:pt idx="34">
                  <c:v>1.0010433188282406</c:v>
                </c:pt>
                <c:pt idx="35">
                  <c:v>1.0010433188282406</c:v>
                </c:pt>
                <c:pt idx="36">
                  <c:v>1.0010433188282406</c:v>
                </c:pt>
                <c:pt idx="37">
                  <c:v>1.0010433188282406</c:v>
                </c:pt>
                <c:pt idx="38">
                  <c:v>1.0010433188282406</c:v>
                </c:pt>
                <c:pt idx="39">
                  <c:v>1.0010433188282406</c:v>
                </c:pt>
                <c:pt idx="40">
                  <c:v>1.0010433188282406</c:v>
                </c:pt>
                <c:pt idx="41">
                  <c:v>1.0010433188282406</c:v>
                </c:pt>
                <c:pt idx="42">
                  <c:v>1.0010433188282406</c:v>
                </c:pt>
                <c:pt idx="43">
                  <c:v>1.0010433188282406</c:v>
                </c:pt>
                <c:pt idx="44">
                  <c:v>1.0010433188282406</c:v>
                </c:pt>
                <c:pt idx="45">
                  <c:v>1.0010433188282406</c:v>
                </c:pt>
                <c:pt idx="46">
                  <c:v>1.0010433188282406</c:v>
                </c:pt>
                <c:pt idx="47">
                  <c:v>1.0010433188282406</c:v>
                </c:pt>
                <c:pt idx="48">
                  <c:v>1.0010433188282406</c:v>
                </c:pt>
                <c:pt idx="49">
                  <c:v>1.0010433188282406</c:v>
                </c:pt>
                <c:pt idx="50">
                  <c:v>1.0010433188282406</c:v>
                </c:pt>
                <c:pt idx="51">
                  <c:v>1.0010433188282406</c:v>
                </c:pt>
                <c:pt idx="52">
                  <c:v>1.0010433188282406</c:v>
                </c:pt>
                <c:pt idx="53">
                  <c:v>1.0010433188282406</c:v>
                </c:pt>
                <c:pt idx="54">
                  <c:v>1.0010433188282406</c:v>
                </c:pt>
                <c:pt idx="55">
                  <c:v>1.0010433188282406</c:v>
                </c:pt>
                <c:pt idx="56">
                  <c:v>1.0010433188282406</c:v>
                </c:pt>
                <c:pt idx="57">
                  <c:v>1.0010433188282406</c:v>
                </c:pt>
                <c:pt idx="58">
                  <c:v>1.0010433188282406</c:v>
                </c:pt>
                <c:pt idx="59">
                  <c:v>1.0010433188282406</c:v>
                </c:pt>
                <c:pt idx="60">
                  <c:v>1.0010433188282406</c:v>
                </c:pt>
              </c:numCache>
            </c:numRef>
          </c:yVal>
          <c:smooth val="0"/>
          <c:extLst>
            <c:ext xmlns:c16="http://schemas.microsoft.com/office/drawing/2014/chart" uri="{C3380CC4-5D6E-409C-BE32-E72D297353CC}">
              <c16:uniqueId val="{00000003-7CBB-4E7B-AAD7-8E02881B1772}"/>
            </c:ext>
          </c:extLst>
        </c:ser>
        <c:ser>
          <c:idx val="29"/>
          <c:order val="27"/>
          <c:tx>
            <c:strRef>
              <c:f>'[012932L_Freisetzungen Koll Smartseal.xlsx]PP-012932_5b'!$B$11:$D$11</c:f>
              <c:strCache>
                <c:ptCount val="1"/>
                <c:pt idx="0">
                  <c:v>012932-5b_Koll.Smartseal100P_Rezepturempfehlung</c:v>
                </c:pt>
              </c:strCache>
            </c:strRef>
          </c:tx>
          <c:spPr>
            <a:ln>
              <a:solidFill>
                <a:srgbClr val="00B050"/>
              </a:solidFill>
            </a:ln>
          </c:spPr>
          <c:marker>
            <c:spPr>
              <a:solidFill>
                <a:srgbClr val="00B050"/>
              </a:solidFill>
              <a:ln>
                <a:solidFill>
                  <a:srgbClr val="00B050"/>
                </a:solidFill>
              </a:ln>
            </c:spPr>
          </c:marker>
          <c:xVal>
            <c:numRef>
              <c:f>'[1]PP-012932_5b'!$A$16:$A$76</c:f>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f>'[1]PP-012932_5b'!$K$16:$K$76</c:f>
              <c:numCache>
                <c:formatCode>0.00%</c:formatCode>
                <c:ptCount val="61"/>
                <c:pt idx="0">
                  <c:v>0</c:v>
                </c:pt>
                <c:pt idx="1">
                  <c:v>0</c:v>
                </c:pt>
                <c:pt idx="2">
                  <c:v>0</c:v>
                </c:pt>
                <c:pt idx="3">
                  <c:v>0</c:v>
                </c:pt>
                <c:pt idx="4">
                  <c:v>0</c:v>
                </c:pt>
                <c:pt idx="5">
                  <c:v>0</c:v>
                </c:pt>
                <c:pt idx="6">
                  <c:v>0</c:v>
                </c:pt>
                <c:pt idx="7">
                  <c:v>0</c:v>
                </c:pt>
                <c:pt idx="8">
                  <c:v>0</c:v>
                </c:pt>
                <c:pt idx="9">
                  <c:v>1.6288578430244229E-3</c:v>
                </c:pt>
                <c:pt idx="10">
                  <c:v>2.0971004656710327E-3</c:v>
                </c:pt>
                <c:pt idx="11">
                  <c:v>4.7046716012526324E-3</c:v>
                </c:pt>
                <c:pt idx="12">
                  <c:v>1.126723711814809E-2</c:v>
                </c:pt>
                <c:pt idx="13">
                  <c:v>1.707621014621406E-2</c:v>
                </c:pt>
                <c:pt idx="14">
                  <c:v>2.3374808448282398E-2</c:v>
                </c:pt>
                <c:pt idx="15">
                  <c:v>2.9834866130292247E-2</c:v>
                </c:pt>
                <c:pt idx="16">
                  <c:v>3.6073343285166592E-2</c:v>
                </c:pt>
                <c:pt idx="17">
                  <c:v>4.2984082356009125E-2</c:v>
                </c:pt>
                <c:pt idx="18">
                  <c:v>4.9546465623551826E-2</c:v>
                </c:pt>
                <c:pt idx="19">
                  <c:v>5.6043713337745521E-2</c:v>
                </c:pt>
                <c:pt idx="20">
                  <c:v>6.2615632278886557E-2</c:v>
                </c:pt>
                <c:pt idx="21">
                  <c:v>7.0257043068467917E-2</c:v>
                </c:pt>
                <c:pt idx="22">
                  <c:v>7.7309365055953164E-2</c:v>
                </c:pt>
                <c:pt idx="23">
                  <c:v>8.502984404980489E-2</c:v>
                </c:pt>
                <c:pt idx="24">
                  <c:v>9.3327467672310871E-2</c:v>
                </c:pt>
                <c:pt idx="25">
                  <c:v>0.10025275943326913</c:v>
                </c:pt>
                <c:pt idx="26">
                  <c:v>0.10889948980449088</c:v>
                </c:pt>
                <c:pt idx="27">
                  <c:v>0.11675784768859503</c:v>
                </c:pt>
                <c:pt idx="28">
                  <c:v>0.12499581331771083</c:v>
                </c:pt>
                <c:pt idx="29">
                  <c:v>0.13363025205994261</c:v>
                </c:pt>
                <c:pt idx="30">
                  <c:v>0.14260419912077404</c:v>
                </c:pt>
                <c:pt idx="31">
                  <c:v>0.15116846703706466</c:v>
                </c:pt>
                <c:pt idx="32">
                  <c:v>0.16267707914637938</c:v>
                </c:pt>
                <c:pt idx="33">
                  <c:v>0.173134659809939</c:v>
                </c:pt>
                <c:pt idx="34">
                  <c:v>0.18258344832144871</c:v>
                </c:pt>
                <c:pt idx="35">
                  <c:v>0.19320669953320183</c:v>
                </c:pt>
                <c:pt idx="36">
                  <c:v>0.20319760961764913</c:v>
                </c:pt>
                <c:pt idx="37">
                  <c:v>0.21428684429902933</c:v>
                </c:pt>
                <c:pt idx="38">
                  <c:v>0.22315275772015528</c:v>
                </c:pt>
                <c:pt idx="39">
                  <c:v>0.23323358681435905</c:v>
                </c:pt>
                <c:pt idx="40">
                  <c:v>0.24181297616630013</c:v>
                </c:pt>
                <c:pt idx="41">
                  <c:v>0.25156951633048302</c:v>
                </c:pt>
                <c:pt idx="42">
                  <c:v>0.26058541353750497</c:v>
                </c:pt>
                <c:pt idx="43">
                  <c:v>0.27014832189215521</c:v>
                </c:pt>
                <c:pt idx="44">
                  <c:v>0.27891323854035854</c:v>
                </c:pt>
                <c:pt idx="45">
                  <c:v>0.2874265200311506</c:v>
                </c:pt>
                <c:pt idx="46">
                  <c:v>0.29631656591910888</c:v>
                </c:pt>
                <c:pt idx="47">
                  <c:v>0.30547203419855595</c:v>
                </c:pt>
                <c:pt idx="48">
                  <c:v>0.31477819642105609</c:v>
                </c:pt>
                <c:pt idx="49">
                  <c:v>0.32378636957027646</c:v>
                </c:pt>
                <c:pt idx="50">
                  <c:v>0.3323267118099586</c:v>
                </c:pt>
                <c:pt idx="51">
                  <c:v>0.34161791110993689</c:v>
                </c:pt>
                <c:pt idx="52">
                  <c:v>0.35146002029298984</c:v>
                </c:pt>
                <c:pt idx="53">
                  <c:v>0.35986431430420013</c:v>
                </c:pt>
                <c:pt idx="54">
                  <c:v>0.36843552063213042</c:v>
                </c:pt>
                <c:pt idx="55">
                  <c:v>0.37779590521796114</c:v>
                </c:pt>
                <c:pt idx="56">
                  <c:v>0.38634169593757733</c:v>
                </c:pt>
                <c:pt idx="57">
                  <c:v>0.39693597563620764</c:v>
                </c:pt>
                <c:pt idx="58">
                  <c:v>0.40645127182473129</c:v>
                </c:pt>
                <c:pt idx="59">
                  <c:v>0.41801263590964649</c:v>
                </c:pt>
                <c:pt idx="60">
                  <c:v>0.429126746193907</c:v>
                </c:pt>
              </c:numCache>
            </c:numRef>
          </c:yVal>
          <c:smooth val="0"/>
          <c:extLst>
            <c:ext xmlns:c16="http://schemas.microsoft.com/office/drawing/2014/chart" uri="{C3380CC4-5D6E-409C-BE32-E72D297353CC}">
              <c16:uniqueId val="{00000005-7CBB-4E7B-AAD7-8E02881B1772}"/>
            </c:ext>
          </c:extLst>
        </c:ser>
        <c:dLbls>
          <c:showLegendKey val="0"/>
          <c:showVal val="0"/>
          <c:showCatName val="0"/>
          <c:showSerName val="0"/>
          <c:showPercent val="0"/>
          <c:showBubbleSize val="0"/>
        </c:dLbls>
        <c:axId val="705421464"/>
        <c:axId val="705420680"/>
        <c:extLst>
          <c:ext xmlns:c15="http://schemas.microsoft.com/office/drawing/2012/chart" uri="{02D57815-91ED-43cb-92C2-25804820EDAC}">
            <c15:filteredScatterSeries>
              <c15:ser>
                <c:idx val="0"/>
                <c:order val="0"/>
                <c:tx>
                  <c:v>012680-1a</c:v>
                </c:tx>
                <c:errBars>
                  <c:errDir val="y"/>
                  <c:errBarType val="both"/>
                  <c:errValType val="cust"/>
                  <c:noEndCap val="0"/>
                  <c:plus>
                    <c:numRef>
                      <c:extLst>
                        <c:ext uri="{02D57815-91ED-43cb-92C2-25804820EDAC}">
                          <c15:formulaRef>
                            <c15:sqref>'HCl-012944_1-3'!$L$16:$L$76</c15:sqref>
                          </c15:formulaRef>
                        </c:ext>
                      </c:extLst>
                      <c:numCache>
                        <c:formatCode>General</c:formatCode>
                        <c:ptCount val="61"/>
                        <c:pt idx="0">
                          <c:v>0</c:v>
                        </c:pt>
                        <c:pt idx="1">
                          <c:v>2.4843025674395457E-2</c:v>
                        </c:pt>
                        <c:pt idx="2">
                          <c:v>4.1181118158417233E-2</c:v>
                        </c:pt>
                        <c:pt idx="3">
                          <c:v>6.1238446883694522E-2</c:v>
                        </c:pt>
                        <c:pt idx="4">
                          <c:v>7.255608714253757E-2</c:v>
                        </c:pt>
                        <c:pt idx="5">
                          <c:v>5.1384122407675523E-2</c:v>
                        </c:pt>
                        <c:pt idx="6">
                          <c:v>3.9607444665482466E-2</c:v>
                        </c:pt>
                        <c:pt idx="7">
                          <c:v>3.2869135597216916E-2</c:v>
                        </c:pt>
                        <c:pt idx="8">
                          <c:v>2.018230880074328E-2</c:v>
                        </c:pt>
                        <c:pt idx="9">
                          <c:v>2.338194841795059E-2</c:v>
                        </c:pt>
                        <c:pt idx="10">
                          <c:v>2.4835537850028011E-2</c:v>
                        </c:pt>
                        <c:pt idx="11">
                          <c:v>2.5651851634267402E-2</c:v>
                        </c:pt>
                        <c:pt idx="12">
                          <c:v>2.5449188235616056E-2</c:v>
                        </c:pt>
                        <c:pt idx="13">
                          <c:v>2.6244994452458998E-2</c:v>
                        </c:pt>
                        <c:pt idx="14">
                          <c:v>2.5754380767387713E-2</c:v>
                        </c:pt>
                        <c:pt idx="15">
                          <c:v>2.6443008533082454E-2</c:v>
                        </c:pt>
                        <c:pt idx="16">
                          <c:v>2.6209444672836271E-2</c:v>
                        </c:pt>
                        <c:pt idx="17">
                          <c:v>2.6604523558055575E-2</c:v>
                        </c:pt>
                        <c:pt idx="18">
                          <c:v>2.6324248733055191E-2</c:v>
                        </c:pt>
                        <c:pt idx="19">
                          <c:v>2.6552225789017614E-2</c:v>
                        </c:pt>
                        <c:pt idx="20">
                          <c:v>2.5706966215241701E-2</c:v>
                        </c:pt>
                        <c:pt idx="21">
                          <c:v>2.4970281165277514E-2</c:v>
                        </c:pt>
                        <c:pt idx="22">
                          <c:v>2.6267954426996882E-2</c:v>
                        </c:pt>
                        <c:pt idx="23">
                          <c:v>2.5810326573945008E-2</c:v>
                        </c:pt>
                        <c:pt idx="24">
                          <c:v>2.6037397423910993E-2</c:v>
                        </c:pt>
                        <c:pt idx="25">
                          <c:v>2.6124622054327026E-2</c:v>
                        </c:pt>
                        <c:pt idx="26">
                          <c:v>2.6029323313413136E-2</c:v>
                        </c:pt>
                        <c:pt idx="27">
                          <c:v>2.5766449886633402E-2</c:v>
                        </c:pt>
                        <c:pt idx="28">
                          <c:v>2.5599231978362495E-2</c:v>
                        </c:pt>
                        <c:pt idx="29">
                          <c:v>2.5746600106358125E-2</c:v>
                        </c:pt>
                        <c:pt idx="30">
                          <c:v>2.6048958356868233E-2</c:v>
                        </c:pt>
                        <c:pt idx="31">
                          <c:v>2.5580636835322711E-2</c:v>
                        </c:pt>
                        <c:pt idx="32">
                          <c:v>2.5542436210803644E-2</c:v>
                        </c:pt>
                        <c:pt idx="33">
                          <c:v>2.5337052348839425E-2</c:v>
                        </c:pt>
                        <c:pt idx="34">
                          <c:v>2.5334915741903968E-2</c:v>
                        </c:pt>
                        <c:pt idx="35">
                          <c:v>2.5749204536652241E-2</c:v>
                        </c:pt>
                        <c:pt idx="36">
                          <c:v>2.5649361564313806E-2</c:v>
                        </c:pt>
                        <c:pt idx="37">
                          <c:v>2.5495683641565733E-2</c:v>
                        </c:pt>
                        <c:pt idx="38">
                          <c:v>2.5418961784653787E-2</c:v>
                        </c:pt>
                        <c:pt idx="39">
                          <c:v>2.6506710741650109E-2</c:v>
                        </c:pt>
                        <c:pt idx="40">
                          <c:v>2.5649707520733728E-2</c:v>
                        </c:pt>
                        <c:pt idx="41">
                          <c:v>2.5678615397900156E-2</c:v>
                        </c:pt>
                        <c:pt idx="42">
                          <c:v>2.5361239892698895E-2</c:v>
                        </c:pt>
                        <c:pt idx="43">
                          <c:v>2.5050754121907569E-2</c:v>
                        </c:pt>
                        <c:pt idx="44">
                          <c:v>2.4942160999276094E-2</c:v>
                        </c:pt>
                        <c:pt idx="45">
                          <c:v>2.4922753084745192E-2</c:v>
                        </c:pt>
                        <c:pt idx="46">
                          <c:v>2.5828050889877024E-2</c:v>
                        </c:pt>
                        <c:pt idx="47">
                          <c:v>2.5049852694417514E-2</c:v>
                        </c:pt>
                        <c:pt idx="48">
                          <c:v>2.5243717839186074E-2</c:v>
                        </c:pt>
                        <c:pt idx="49">
                          <c:v>2.5723659777350999E-2</c:v>
                        </c:pt>
                        <c:pt idx="50">
                          <c:v>2.5122576115409929E-2</c:v>
                        </c:pt>
                        <c:pt idx="51">
                          <c:v>2.5614217041089044E-2</c:v>
                        </c:pt>
                        <c:pt idx="52">
                          <c:v>2.4968503448258017E-2</c:v>
                        </c:pt>
                        <c:pt idx="53">
                          <c:v>2.5052927985950844E-2</c:v>
                        </c:pt>
                        <c:pt idx="54">
                          <c:v>2.5401785314673214E-2</c:v>
                        </c:pt>
                        <c:pt idx="55">
                          <c:v>2.5576817558765712E-2</c:v>
                        </c:pt>
                        <c:pt idx="56">
                          <c:v>2.4901193916638416E-2</c:v>
                        </c:pt>
                        <c:pt idx="57">
                          <c:v>2.5304118513847649E-2</c:v>
                        </c:pt>
                        <c:pt idx="58">
                          <c:v>2.4721211936507764E-2</c:v>
                        </c:pt>
                        <c:pt idx="59">
                          <c:v>2.550496829709412E-2</c:v>
                        </c:pt>
                        <c:pt idx="60">
                          <c:v>2.5008956836682163E-2</c:v>
                        </c:pt>
                      </c:numCache>
                    </c:numRef>
                  </c:plus>
                  <c:minus>
                    <c:numRef>
                      <c:extLst>
                        <c:ext uri="{02D57815-91ED-43cb-92C2-25804820EDAC}">
                          <c15:formulaRef>
                            <c15:sqref>'HCl-012944_1-3'!$L$16:$L$76</c15:sqref>
                          </c15:formulaRef>
                        </c:ext>
                      </c:extLst>
                      <c:numCache>
                        <c:formatCode>General</c:formatCode>
                        <c:ptCount val="61"/>
                        <c:pt idx="0">
                          <c:v>0</c:v>
                        </c:pt>
                        <c:pt idx="1">
                          <c:v>2.4843025674395457E-2</c:v>
                        </c:pt>
                        <c:pt idx="2">
                          <c:v>4.1181118158417233E-2</c:v>
                        </c:pt>
                        <c:pt idx="3">
                          <c:v>6.1238446883694522E-2</c:v>
                        </c:pt>
                        <c:pt idx="4">
                          <c:v>7.255608714253757E-2</c:v>
                        </c:pt>
                        <c:pt idx="5">
                          <c:v>5.1384122407675523E-2</c:v>
                        </c:pt>
                        <c:pt idx="6">
                          <c:v>3.9607444665482466E-2</c:v>
                        </c:pt>
                        <c:pt idx="7">
                          <c:v>3.2869135597216916E-2</c:v>
                        </c:pt>
                        <c:pt idx="8">
                          <c:v>2.018230880074328E-2</c:v>
                        </c:pt>
                        <c:pt idx="9">
                          <c:v>2.338194841795059E-2</c:v>
                        </c:pt>
                        <c:pt idx="10">
                          <c:v>2.4835537850028011E-2</c:v>
                        </c:pt>
                        <c:pt idx="11">
                          <c:v>2.5651851634267402E-2</c:v>
                        </c:pt>
                        <c:pt idx="12">
                          <c:v>2.5449188235616056E-2</c:v>
                        </c:pt>
                        <c:pt idx="13">
                          <c:v>2.6244994452458998E-2</c:v>
                        </c:pt>
                        <c:pt idx="14">
                          <c:v>2.5754380767387713E-2</c:v>
                        </c:pt>
                        <c:pt idx="15">
                          <c:v>2.6443008533082454E-2</c:v>
                        </c:pt>
                        <c:pt idx="16">
                          <c:v>2.6209444672836271E-2</c:v>
                        </c:pt>
                        <c:pt idx="17">
                          <c:v>2.6604523558055575E-2</c:v>
                        </c:pt>
                        <c:pt idx="18">
                          <c:v>2.6324248733055191E-2</c:v>
                        </c:pt>
                        <c:pt idx="19">
                          <c:v>2.6552225789017614E-2</c:v>
                        </c:pt>
                        <c:pt idx="20">
                          <c:v>2.5706966215241701E-2</c:v>
                        </c:pt>
                        <c:pt idx="21">
                          <c:v>2.4970281165277514E-2</c:v>
                        </c:pt>
                        <c:pt idx="22">
                          <c:v>2.6267954426996882E-2</c:v>
                        </c:pt>
                        <c:pt idx="23">
                          <c:v>2.5810326573945008E-2</c:v>
                        </c:pt>
                        <c:pt idx="24">
                          <c:v>2.6037397423910993E-2</c:v>
                        </c:pt>
                        <c:pt idx="25">
                          <c:v>2.6124622054327026E-2</c:v>
                        </c:pt>
                        <c:pt idx="26">
                          <c:v>2.6029323313413136E-2</c:v>
                        </c:pt>
                        <c:pt idx="27">
                          <c:v>2.5766449886633402E-2</c:v>
                        </c:pt>
                        <c:pt idx="28">
                          <c:v>2.5599231978362495E-2</c:v>
                        </c:pt>
                        <c:pt idx="29">
                          <c:v>2.5746600106358125E-2</c:v>
                        </c:pt>
                        <c:pt idx="30">
                          <c:v>2.6048958356868233E-2</c:v>
                        </c:pt>
                        <c:pt idx="31">
                          <c:v>2.5580636835322711E-2</c:v>
                        </c:pt>
                        <c:pt idx="32">
                          <c:v>2.5542436210803644E-2</c:v>
                        </c:pt>
                        <c:pt idx="33">
                          <c:v>2.5337052348839425E-2</c:v>
                        </c:pt>
                        <c:pt idx="34">
                          <c:v>2.5334915741903968E-2</c:v>
                        </c:pt>
                        <c:pt idx="35">
                          <c:v>2.5749204536652241E-2</c:v>
                        </c:pt>
                        <c:pt idx="36">
                          <c:v>2.5649361564313806E-2</c:v>
                        </c:pt>
                        <c:pt idx="37">
                          <c:v>2.5495683641565733E-2</c:v>
                        </c:pt>
                        <c:pt idx="38">
                          <c:v>2.5418961784653787E-2</c:v>
                        </c:pt>
                        <c:pt idx="39">
                          <c:v>2.6506710741650109E-2</c:v>
                        </c:pt>
                        <c:pt idx="40">
                          <c:v>2.5649707520733728E-2</c:v>
                        </c:pt>
                        <c:pt idx="41">
                          <c:v>2.5678615397900156E-2</c:v>
                        </c:pt>
                        <c:pt idx="42">
                          <c:v>2.5361239892698895E-2</c:v>
                        </c:pt>
                        <c:pt idx="43">
                          <c:v>2.5050754121907569E-2</c:v>
                        </c:pt>
                        <c:pt idx="44">
                          <c:v>2.4942160999276094E-2</c:v>
                        </c:pt>
                        <c:pt idx="45">
                          <c:v>2.4922753084745192E-2</c:v>
                        </c:pt>
                        <c:pt idx="46">
                          <c:v>2.5828050889877024E-2</c:v>
                        </c:pt>
                        <c:pt idx="47">
                          <c:v>2.5049852694417514E-2</c:v>
                        </c:pt>
                        <c:pt idx="48">
                          <c:v>2.5243717839186074E-2</c:v>
                        </c:pt>
                        <c:pt idx="49">
                          <c:v>2.5723659777350999E-2</c:v>
                        </c:pt>
                        <c:pt idx="50">
                          <c:v>2.5122576115409929E-2</c:v>
                        </c:pt>
                        <c:pt idx="51">
                          <c:v>2.5614217041089044E-2</c:v>
                        </c:pt>
                        <c:pt idx="52">
                          <c:v>2.4968503448258017E-2</c:v>
                        </c:pt>
                        <c:pt idx="53">
                          <c:v>2.5052927985950844E-2</c:v>
                        </c:pt>
                        <c:pt idx="54">
                          <c:v>2.5401785314673214E-2</c:v>
                        </c:pt>
                        <c:pt idx="55">
                          <c:v>2.5576817558765712E-2</c:v>
                        </c:pt>
                        <c:pt idx="56">
                          <c:v>2.4901193916638416E-2</c:v>
                        </c:pt>
                        <c:pt idx="57">
                          <c:v>2.5304118513847649E-2</c:v>
                        </c:pt>
                        <c:pt idx="58">
                          <c:v>2.4721211936507764E-2</c:v>
                        </c:pt>
                        <c:pt idx="59">
                          <c:v>2.550496829709412E-2</c:v>
                        </c:pt>
                        <c:pt idx="60">
                          <c:v>2.5008956836682163E-2</c:v>
                        </c:pt>
                      </c:numCache>
                    </c:numRef>
                  </c:minus>
                </c:errBars>
                <c:xVal>
                  <c:numRef>
                    <c:extLst>
                      <c:ext uri="{02D57815-91ED-43cb-92C2-25804820EDAC}">
                        <c15:formulaRef>
                          <c15:sqref>'HCl-012944_1-3'!$A$16:$A$76</c15:sqref>
                        </c15:formulaRef>
                      </c:ext>
                    </c:extLst>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c:ext uri="{02D57815-91ED-43cb-92C2-25804820EDAC}">
                        <c15:formulaRef>
                          <c15:sqref>'HCl-012944_1-3'!$K$16:$K$76</c15:sqref>
                        </c15:formulaRef>
                      </c:ext>
                    </c:extLst>
                    <c:numCache>
                      <c:formatCode>0.00%</c:formatCode>
                      <c:ptCount val="61"/>
                      <c:pt idx="0">
                        <c:v>0</c:v>
                      </c:pt>
                      <c:pt idx="1">
                        <c:v>7.3286225132184066E-2</c:v>
                      </c:pt>
                      <c:pt idx="2">
                        <c:v>0.25333216543414278</c:v>
                      </c:pt>
                      <c:pt idx="3">
                        <c:v>0.42953979859755714</c:v>
                      </c:pt>
                      <c:pt idx="4">
                        <c:v>0.61355484725415688</c:v>
                      </c:pt>
                      <c:pt idx="5">
                        <c:v>0.73241645475885375</c:v>
                      </c:pt>
                      <c:pt idx="6">
                        <c:v>0.82322804009457429</c:v>
                      </c:pt>
                      <c:pt idx="7">
                        <c:v>0.88742470791594963</c:v>
                      </c:pt>
                      <c:pt idx="8">
                        <c:v>0.93425595232262404</c:v>
                      </c:pt>
                      <c:pt idx="9">
                        <c:v>0.96136283631457931</c:v>
                      </c:pt>
                      <c:pt idx="10">
                        <c:v>0.97308686015696721</c:v>
                      </c:pt>
                      <c:pt idx="11">
                        <c:v>0.97795254564124845</c:v>
                      </c:pt>
                      <c:pt idx="12">
                        <c:v>0.97725901746342059</c:v>
                      </c:pt>
                      <c:pt idx="13">
                        <c:v>0.97642903710074458</c:v>
                      </c:pt>
                      <c:pt idx="14">
                        <c:v>0.97486175199122649</c:v>
                      </c:pt>
                      <c:pt idx="15">
                        <c:v>0.97510565761357115</c:v>
                      </c:pt>
                      <c:pt idx="16">
                        <c:v>0.97657862548867247</c:v>
                      </c:pt>
                      <c:pt idx="17">
                        <c:v>0.97659085431595927</c:v>
                      </c:pt>
                      <c:pt idx="18">
                        <c:v>0.97645429918680449</c:v>
                      </c:pt>
                      <c:pt idx="19">
                        <c:v>0.97627740380650152</c:v>
                      </c:pt>
                      <c:pt idx="20">
                        <c:v>0.97742272471572189</c:v>
                      </c:pt>
                      <c:pt idx="21">
                        <c:v>0.97690971239030555</c:v>
                      </c:pt>
                      <c:pt idx="22">
                        <c:v>0.97811193728954748</c:v>
                      </c:pt>
                      <c:pt idx="23">
                        <c:v>0.97725363075391902</c:v>
                      </c:pt>
                      <c:pt idx="24">
                        <c:v>0.9766869525002887</c:v>
                      </c:pt>
                      <c:pt idx="25">
                        <c:v>0.97744431914685481</c:v>
                      </c:pt>
                      <c:pt idx="26">
                        <c:v>0.97517181203476122</c:v>
                      </c:pt>
                      <c:pt idx="27">
                        <c:v>0.97568503881669155</c:v>
                      </c:pt>
                      <c:pt idx="28">
                        <c:v>0.97571101404191396</c:v>
                      </c:pt>
                      <c:pt idx="29">
                        <c:v>0.97599506589795804</c:v>
                      </c:pt>
                      <c:pt idx="30">
                        <c:v>0.97456314102517716</c:v>
                      </c:pt>
                      <c:pt idx="31">
                        <c:v>0.97474039484525032</c:v>
                      </c:pt>
                      <c:pt idx="32">
                        <c:v>0.97499276013473635</c:v>
                      </c:pt>
                      <c:pt idx="33">
                        <c:v>0.97538155826165751</c:v>
                      </c:pt>
                      <c:pt idx="34">
                        <c:v>0.97569789954539987</c:v>
                      </c:pt>
                      <c:pt idx="35">
                        <c:v>0.97576610762341554</c:v>
                      </c:pt>
                      <c:pt idx="36">
                        <c:v>0.9760136844228845</c:v>
                      </c:pt>
                      <c:pt idx="37">
                        <c:v>0.97528988409342288</c:v>
                      </c:pt>
                      <c:pt idx="38">
                        <c:v>0.97523143470536322</c:v>
                      </c:pt>
                      <c:pt idx="39">
                        <c:v>0.97624817488062454</c:v>
                      </c:pt>
                      <c:pt idx="40">
                        <c:v>0.9752808144578724</c:v>
                      </c:pt>
                      <c:pt idx="41">
                        <c:v>0.97725770313666904</c:v>
                      </c:pt>
                      <c:pt idx="42">
                        <c:v>0.97667525801223254</c:v>
                      </c:pt>
                      <c:pt idx="43">
                        <c:v>0.97774154646992695</c:v>
                      </c:pt>
                      <c:pt idx="44">
                        <c:v>0.97628392614427273</c:v>
                      </c:pt>
                      <c:pt idx="45">
                        <c:v>0.9770033955460059</c:v>
                      </c:pt>
                      <c:pt idx="46">
                        <c:v>0.97613191053316195</c:v>
                      </c:pt>
                      <c:pt idx="47">
                        <c:v>0.97623019954087698</c:v>
                      </c:pt>
                      <c:pt idx="48">
                        <c:v>0.97688832934588188</c:v>
                      </c:pt>
                      <c:pt idx="49">
                        <c:v>0.97774720430146511</c:v>
                      </c:pt>
                      <c:pt idx="50">
                        <c:v>0.97838668959478481</c:v>
                      </c:pt>
                      <c:pt idx="51">
                        <c:v>0.97812256748103488</c:v>
                      </c:pt>
                      <c:pt idx="52">
                        <c:v>0.97889750692759137</c:v>
                      </c:pt>
                      <c:pt idx="53">
                        <c:v>0.9794226635583253</c:v>
                      </c:pt>
                      <c:pt idx="54">
                        <c:v>0.97739245080787418</c:v>
                      </c:pt>
                      <c:pt idx="55">
                        <c:v>0.97845896727757076</c:v>
                      </c:pt>
                      <c:pt idx="56">
                        <c:v>0.97699881416150314</c:v>
                      </c:pt>
                      <c:pt idx="57">
                        <c:v>0.97632314722686786</c:v>
                      </c:pt>
                      <c:pt idx="58">
                        <c:v>0.97674196110392197</c:v>
                      </c:pt>
                      <c:pt idx="59">
                        <c:v>0.977075432785519</c:v>
                      </c:pt>
                      <c:pt idx="60">
                        <c:v>0.97703957946731868</c:v>
                      </c:pt>
                    </c:numCache>
                  </c:numRef>
                </c:yVal>
                <c:smooth val="0"/>
                <c:extLst>
                  <c:ext xmlns:c16="http://schemas.microsoft.com/office/drawing/2014/chart" uri="{C3380CC4-5D6E-409C-BE32-E72D297353CC}">
                    <c16:uniqueId val="{00000006-7CBB-4E7B-AAD7-8E02881B1772}"/>
                  </c:ext>
                </c:extLst>
              </c15:ser>
            </c15:filteredScatterSeries>
            <c15:filteredScatterSeries>
              <c15:ser>
                <c:idx val="6"/>
                <c:order val="1"/>
                <c:tx>
                  <c:v>012680-1b</c:v>
                </c:tx>
                <c:errBars>
                  <c:errDir val="y"/>
                  <c:errBarType val="both"/>
                  <c:errValType val="cust"/>
                  <c:noEndCap val="0"/>
                  <c:plus>
                    <c:numRef>
                      <c:extLst xmlns:c15="http://schemas.microsoft.com/office/drawing/2012/chart">
                        <c:ext xmlns:c15="http://schemas.microsoft.com/office/drawing/2012/chart" uri="{02D57815-91ED-43cb-92C2-25804820EDAC}">
                          <c15:formulaRef>
                            <c15:sqref>'HCl-012944_1-3'!$L$85:$L$145</c15:sqref>
                          </c15:formulaRef>
                        </c:ext>
                      </c:extLst>
                      <c:numCache>
                        <c:formatCode>General</c:formatCode>
                        <c:ptCount val="61"/>
                        <c:pt idx="0">
                          <c:v>0</c:v>
                        </c:pt>
                        <c:pt idx="1">
                          <c:v>6.5273298659491172E-3</c:v>
                        </c:pt>
                        <c:pt idx="2">
                          <c:v>2.5428528611146708E-3</c:v>
                        </c:pt>
                        <c:pt idx="3">
                          <c:v>5.099048087964346E-3</c:v>
                        </c:pt>
                        <c:pt idx="4">
                          <c:v>1.8254886322520987E-2</c:v>
                        </c:pt>
                        <c:pt idx="5">
                          <c:v>2.8446476913596912E-2</c:v>
                        </c:pt>
                        <c:pt idx="6">
                          <c:v>4.0954103165624131E-2</c:v>
                        </c:pt>
                        <c:pt idx="7">
                          <c:v>5.1293372656201486E-2</c:v>
                        </c:pt>
                        <c:pt idx="8">
                          <c:v>5.6592186748786993E-2</c:v>
                        </c:pt>
                        <c:pt idx="9">
                          <c:v>5.5729590603944543E-2</c:v>
                        </c:pt>
                        <c:pt idx="10">
                          <c:v>5.4432707982064225E-2</c:v>
                        </c:pt>
                        <c:pt idx="11">
                          <c:v>5.5156048176297011E-2</c:v>
                        </c:pt>
                        <c:pt idx="12">
                          <c:v>5.5450231847486264E-2</c:v>
                        </c:pt>
                        <c:pt idx="13">
                          <c:v>5.5261931041973918E-2</c:v>
                        </c:pt>
                        <c:pt idx="14">
                          <c:v>5.4891156064137317E-2</c:v>
                        </c:pt>
                        <c:pt idx="15">
                          <c:v>5.5135072132090769E-2</c:v>
                        </c:pt>
                        <c:pt idx="16">
                          <c:v>5.4890218301062346E-2</c:v>
                        </c:pt>
                        <c:pt idx="17">
                          <c:v>5.5212379143957567E-2</c:v>
                        </c:pt>
                        <c:pt idx="18">
                          <c:v>5.5131391403151639E-2</c:v>
                        </c:pt>
                        <c:pt idx="19">
                          <c:v>5.5442717234925921E-2</c:v>
                        </c:pt>
                        <c:pt idx="20">
                          <c:v>5.4886412282039075E-2</c:v>
                        </c:pt>
                        <c:pt idx="21">
                          <c:v>5.4815711280848112E-2</c:v>
                        </c:pt>
                        <c:pt idx="22">
                          <c:v>5.4833945800137826E-2</c:v>
                        </c:pt>
                        <c:pt idx="23">
                          <c:v>5.494310250744619E-2</c:v>
                        </c:pt>
                        <c:pt idx="24">
                          <c:v>5.4988881887542924E-2</c:v>
                        </c:pt>
                        <c:pt idx="25">
                          <c:v>5.5034827271573335E-2</c:v>
                        </c:pt>
                        <c:pt idx="26">
                          <c:v>5.4987802551112484E-2</c:v>
                        </c:pt>
                        <c:pt idx="27">
                          <c:v>5.5024180451385386E-2</c:v>
                        </c:pt>
                        <c:pt idx="28">
                          <c:v>5.4841783974597109E-2</c:v>
                        </c:pt>
                        <c:pt idx="29">
                          <c:v>5.458528554742316E-2</c:v>
                        </c:pt>
                        <c:pt idx="30">
                          <c:v>5.5113425851294799E-2</c:v>
                        </c:pt>
                        <c:pt idx="31">
                          <c:v>5.4824007030723369E-2</c:v>
                        </c:pt>
                        <c:pt idx="32">
                          <c:v>5.4645181765357015E-2</c:v>
                        </c:pt>
                        <c:pt idx="33">
                          <c:v>5.4960369683721241E-2</c:v>
                        </c:pt>
                        <c:pt idx="34">
                          <c:v>5.4603836087706407E-2</c:v>
                        </c:pt>
                        <c:pt idx="35">
                          <c:v>5.4517318944717508E-2</c:v>
                        </c:pt>
                        <c:pt idx="36">
                          <c:v>5.4330168312011075E-2</c:v>
                        </c:pt>
                        <c:pt idx="37">
                          <c:v>5.5073430325280295E-2</c:v>
                        </c:pt>
                        <c:pt idx="38">
                          <c:v>5.4633661198548691E-2</c:v>
                        </c:pt>
                        <c:pt idx="39">
                          <c:v>5.4716339539340318E-2</c:v>
                        </c:pt>
                        <c:pt idx="40">
                          <c:v>5.4739425820422453E-2</c:v>
                        </c:pt>
                        <c:pt idx="41">
                          <c:v>5.4511585200208296E-2</c:v>
                        </c:pt>
                        <c:pt idx="42">
                          <c:v>5.4972825064822754E-2</c:v>
                        </c:pt>
                        <c:pt idx="43">
                          <c:v>5.5640468226804865E-2</c:v>
                        </c:pt>
                        <c:pt idx="44">
                          <c:v>5.5312522959885729E-2</c:v>
                        </c:pt>
                        <c:pt idx="45">
                          <c:v>5.46316868234809E-2</c:v>
                        </c:pt>
                        <c:pt idx="46">
                          <c:v>5.5137983586620233E-2</c:v>
                        </c:pt>
                        <c:pt idx="47">
                          <c:v>5.4721782693603116E-2</c:v>
                        </c:pt>
                        <c:pt idx="48">
                          <c:v>5.4566800056107118E-2</c:v>
                        </c:pt>
                        <c:pt idx="49">
                          <c:v>5.4298194494808064E-2</c:v>
                        </c:pt>
                        <c:pt idx="50">
                          <c:v>5.5119315291422631E-2</c:v>
                        </c:pt>
                        <c:pt idx="51">
                          <c:v>5.4437862787405394E-2</c:v>
                        </c:pt>
                        <c:pt idx="52">
                          <c:v>5.4382924764534532E-2</c:v>
                        </c:pt>
                        <c:pt idx="53">
                          <c:v>5.3884263407328624E-2</c:v>
                        </c:pt>
                        <c:pt idx="54">
                          <c:v>5.3935732275530023E-2</c:v>
                        </c:pt>
                        <c:pt idx="55">
                          <c:v>5.4767539423874273E-2</c:v>
                        </c:pt>
                        <c:pt idx="56">
                          <c:v>5.4849197477760091E-2</c:v>
                        </c:pt>
                        <c:pt idx="57">
                          <c:v>5.4985027081895073E-2</c:v>
                        </c:pt>
                        <c:pt idx="58">
                          <c:v>5.5197396494785674E-2</c:v>
                        </c:pt>
                        <c:pt idx="59">
                          <c:v>5.4918479801003013E-2</c:v>
                        </c:pt>
                        <c:pt idx="60">
                          <c:v>5.5111327172910875E-2</c:v>
                        </c:pt>
                      </c:numCache>
                    </c:numRef>
                  </c:plus>
                  <c:minus>
                    <c:numRef>
                      <c:extLst xmlns:c15="http://schemas.microsoft.com/office/drawing/2012/chart">
                        <c:ext xmlns:c15="http://schemas.microsoft.com/office/drawing/2012/chart" uri="{02D57815-91ED-43cb-92C2-25804820EDAC}">
                          <c15:formulaRef>
                            <c15:sqref>'HCl-012944_1-3'!$L$85:$L$145</c15:sqref>
                          </c15:formulaRef>
                        </c:ext>
                      </c:extLst>
                      <c:numCache>
                        <c:formatCode>General</c:formatCode>
                        <c:ptCount val="61"/>
                        <c:pt idx="0">
                          <c:v>0</c:v>
                        </c:pt>
                        <c:pt idx="1">
                          <c:v>6.5273298659491172E-3</c:v>
                        </c:pt>
                        <c:pt idx="2">
                          <c:v>2.5428528611146708E-3</c:v>
                        </c:pt>
                        <c:pt idx="3">
                          <c:v>5.099048087964346E-3</c:v>
                        </c:pt>
                        <c:pt idx="4">
                          <c:v>1.8254886322520987E-2</c:v>
                        </c:pt>
                        <c:pt idx="5">
                          <c:v>2.8446476913596912E-2</c:v>
                        </c:pt>
                        <c:pt idx="6">
                          <c:v>4.0954103165624131E-2</c:v>
                        </c:pt>
                        <c:pt idx="7">
                          <c:v>5.1293372656201486E-2</c:v>
                        </c:pt>
                        <c:pt idx="8">
                          <c:v>5.6592186748786993E-2</c:v>
                        </c:pt>
                        <c:pt idx="9">
                          <c:v>5.5729590603944543E-2</c:v>
                        </c:pt>
                        <c:pt idx="10">
                          <c:v>5.4432707982064225E-2</c:v>
                        </c:pt>
                        <c:pt idx="11">
                          <c:v>5.5156048176297011E-2</c:v>
                        </c:pt>
                        <c:pt idx="12">
                          <c:v>5.5450231847486264E-2</c:v>
                        </c:pt>
                        <c:pt idx="13">
                          <c:v>5.5261931041973918E-2</c:v>
                        </c:pt>
                        <c:pt idx="14">
                          <c:v>5.4891156064137317E-2</c:v>
                        </c:pt>
                        <c:pt idx="15">
                          <c:v>5.5135072132090769E-2</c:v>
                        </c:pt>
                        <c:pt idx="16">
                          <c:v>5.4890218301062346E-2</c:v>
                        </c:pt>
                        <c:pt idx="17">
                          <c:v>5.5212379143957567E-2</c:v>
                        </c:pt>
                        <c:pt idx="18">
                          <c:v>5.5131391403151639E-2</c:v>
                        </c:pt>
                        <c:pt idx="19">
                          <c:v>5.5442717234925921E-2</c:v>
                        </c:pt>
                        <c:pt idx="20">
                          <c:v>5.4886412282039075E-2</c:v>
                        </c:pt>
                        <c:pt idx="21">
                          <c:v>5.4815711280848112E-2</c:v>
                        </c:pt>
                        <c:pt idx="22">
                          <c:v>5.4833945800137826E-2</c:v>
                        </c:pt>
                        <c:pt idx="23">
                          <c:v>5.494310250744619E-2</c:v>
                        </c:pt>
                        <c:pt idx="24">
                          <c:v>5.4988881887542924E-2</c:v>
                        </c:pt>
                        <c:pt idx="25">
                          <c:v>5.5034827271573335E-2</c:v>
                        </c:pt>
                        <c:pt idx="26">
                          <c:v>5.4987802551112484E-2</c:v>
                        </c:pt>
                        <c:pt idx="27">
                          <c:v>5.5024180451385386E-2</c:v>
                        </c:pt>
                        <c:pt idx="28">
                          <c:v>5.4841783974597109E-2</c:v>
                        </c:pt>
                        <c:pt idx="29">
                          <c:v>5.458528554742316E-2</c:v>
                        </c:pt>
                        <c:pt idx="30">
                          <c:v>5.5113425851294799E-2</c:v>
                        </c:pt>
                        <c:pt idx="31">
                          <c:v>5.4824007030723369E-2</c:v>
                        </c:pt>
                        <c:pt idx="32">
                          <c:v>5.4645181765357015E-2</c:v>
                        </c:pt>
                        <c:pt idx="33">
                          <c:v>5.4960369683721241E-2</c:v>
                        </c:pt>
                        <c:pt idx="34">
                          <c:v>5.4603836087706407E-2</c:v>
                        </c:pt>
                        <c:pt idx="35">
                          <c:v>5.4517318944717508E-2</c:v>
                        </c:pt>
                        <c:pt idx="36">
                          <c:v>5.4330168312011075E-2</c:v>
                        </c:pt>
                        <c:pt idx="37">
                          <c:v>5.5073430325280295E-2</c:v>
                        </c:pt>
                        <c:pt idx="38">
                          <c:v>5.4633661198548691E-2</c:v>
                        </c:pt>
                        <c:pt idx="39">
                          <c:v>5.4716339539340318E-2</c:v>
                        </c:pt>
                        <c:pt idx="40">
                          <c:v>5.4739425820422453E-2</c:v>
                        </c:pt>
                        <c:pt idx="41">
                          <c:v>5.4511585200208296E-2</c:v>
                        </c:pt>
                        <c:pt idx="42">
                          <c:v>5.4972825064822754E-2</c:v>
                        </c:pt>
                        <c:pt idx="43">
                          <c:v>5.5640468226804865E-2</c:v>
                        </c:pt>
                        <c:pt idx="44">
                          <c:v>5.5312522959885729E-2</c:v>
                        </c:pt>
                        <c:pt idx="45">
                          <c:v>5.46316868234809E-2</c:v>
                        </c:pt>
                        <c:pt idx="46">
                          <c:v>5.5137983586620233E-2</c:v>
                        </c:pt>
                        <c:pt idx="47">
                          <c:v>5.4721782693603116E-2</c:v>
                        </c:pt>
                        <c:pt idx="48">
                          <c:v>5.4566800056107118E-2</c:v>
                        </c:pt>
                        <c:pt idx="49">
                          <c:v>5.4298194494808064E-2</c:v>
                        </c:pt>
                        <c:pt idx="50">
                          <c:v>5.5119315291422631E-2</c:v>
                        </c:pt>
                        <c:pt idx="51">
                          <c:v>5.4437862787405394E-2</c:v>
                        </c:pt>
                        <c:pt idx="52">
                          <c:v>5.4382924764534532E-2</c:v>
                        </c:pt>
                        <c:pt idx="53">
                          <c:v>5.3884263407328624E-2</c:v>
                        </c:pt>
                        <c:pt idx="54">
                          <c:v>5.3935732275530023E-2</c:v>
                        </c:pt>
                        <c:pt idx="55">
                          <c:v>5.4767539423874273E-2</c:v>
                        </c:pt>
                        <c:pt idx="56">
                          <c:v>5.4849197477760091E-2</c:v>
                        </c:pt>
                        <c:pt idx="57">
                          <c:v>5.4985027081895073E-2</c:v>
                        </c:pt>
                        <c:pt idx="58">
                          <c:v>5.5197396494785674E-2</c:v>
                        </c:pt>
                        <c:pt idx="59">
                          <c:v>5.4918479801003013E-2</c:v>
                        </c:pt>
                        <c:pt idx="60">
                          <c:v>5.5111327172910875E-2</c:v>
                        </c:pt>
                      </c:numCache>
                    </c:numRef>
                  </c:minus>
                </c:errBars>
                <c:xVal>
                  <c:numRef>
                    <c:extLst xmlns:c15="http://schemas.microsoft.com/office/drawing/2012/chart">
                      <c:ext xmlns:c15="http://schemas.microsoft.com/office/drawing/2012/chart" uri="{02D57815-91ED-43cb-92C2-25804820EDAC}">
                        <c15:formulaRef>
                          <c15:sqref>'HCl-012944_1-3'!$A$85:$A$145</c15:sqref>
                        </c15:formulaRef>
                      </c:ext>
                    </c:extLst>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HCl-012944_1-3'!$K$85:$K$145</c15:sqref>
                        </c15:formulaRef>
                      </c:ext>
                    </c:extLst>
                    <c:numCache>
                      <c:formatCode>0.00%</c:formatCode>
                      <c:ptCount val="61"/>
                      <c:pt idx="0">
                        <c:v>4.6437042058057661E-2</c:v>
                      </c:pt>
                      <c:pt idx="1">
                        <c:v>4.6437042058057661E-2</c:v>
                      </c:pt>
                      <c:pt idx="2">
                        <c:v>0.23033078544459651</c:v>
                      </c:pt>
                      <c:pt idx="3">
                        <c:v>0.40591170965669138</c:v>
                      </c:pt>
                      <c:pt idx="4">
                        <c:v>0.58445612992526874</c:v>
                      </c:pt>
                      <c:pt idx="5">
                        <c:v>0.72393476780777366</c:v>
                      </c:pt>
                      <c:pt idx="6">
                        <c:v>0.81297683006241295</c:v>
                      </c:pt>
                      <c:pt idx="7">
                        <c:v>0.88084084346656244</c:v>
                      </c:pt>
                      <c:pt idx="8">
                        <c:v>0.92734252990423316</c:v>
                      </c:pt>
                      <c:pt idx="9">
                        <c:v>0.96058015992220203</c:v>
                      </c:pt>
                      <c:pt idx="10">
                        <c:v>0.97715680045640207</c:v>
                      </c:pt>
                      <c:pt idx="11">
                        <c:v>0.98543016116379889</c:v>
                      </c:pt>
                      <c:pt idx="12">
                        <c:v>0.98516910610511388</c:v>
                      </c:pt>
                      <c:pt idx="13">
                        <c:v>0.98400672181092863</c:v>
                      </c:pt>
                      <c:pt idx="14">
                        <c:v>0.9817390101243616</c:v>
                      </c:pt>
                      <c:pt idx="15">
                        <c:v>0.98244257681758518</c:v>
                      </c:pt>
                      <c:pt idx="16">
                        <c:v>0.98407928771515485</c:v>
                      </c:pt>
                      <c:pt idx="17">
                        <c:v>0.98376938074037845</c:v>
                      </c:pt>
                      <c:pt idx="18">
                        <c:v>0.98418246453124958</c:v>
                      </c:pt>
                      <c:pt idx="19">
                        <c:v>0.98399072260807918</c:v>
                      </c:pt>
                      <c:pt idx="20">
                        <c:v>0.9840649764558812</c:v>
                      </c:pt>
                      <c:pt idx="21">
                        <c:v>0.98284261515751548</c:v>
                      </c:pt>
                      <c:pt idx="22">
                        <c:v>0.98510617085483199</c:v>
                      </c:pt>
                      <c:pt idx="23">
                        <c:v>0.98427849642845</c:v>
                      </c:pt>
                      <c:pt idx="24">
                        <c:v>0.98350596562500492</c:v>
                      </c:pt>
                      <c:pt idx="25">
                        <c:v>0.98398821487675248</c:v>
                      </c:pt>
                      <c:pt idx="26">
                        <c:v>0.98235846042533892</c:v>
                      </c:pt>
                      <c:pt idx="27">
                        <c:v>0.98282659840898889</c:v>
                      </c:pt>
                      <c:pt idx="28">
                        <c:v>0.98272977159185049</c:v>
                      </c:pt>
                      <c:pt idx="29">
                        <c:v>0.98319810475602532</c:v>
                      </c:pt>
                      <c:pt idx="30">
                        <c:v>0.98193215354867991</c:v>
                      </c:pt>
                      <c:pt idx="31">
                        <c:v>0.98197206489909572</c:v>
                      </c:pt>
                      <c:pt idx="32">
                        <c:v>0.98221258106882436</c:v>
                      </c:pt>
                      <c:pt idx="33">
                        <c:v>0.98231970300150906</c:v>
                      </c:pt>
                      <c:pt idx="34">
                        <c:v>0.98328200388428255</c:v>
                      </c:pt>
                      <c:pt idx="35">
                        <c:v>0.98310802915858064</c:v>
                      </c:pt>
                      <c:pt idx="36">
                        <c:v>0.98342178066543973</c:v>
                      </c:pt>
                      <c:pt idx="37">
                        <c:v>0.98292912965975809</c:v>
                      </c:pt>
                      <c:pt idx="38">
                        <c:v>0.9828563168477924</c:v>
                      </c:pt>
                      <c:pt idx="39">
                        <c:v>0.9839352039359941</c:v>
                      </c:pt>
                      <c:pt idx="40">
                        <c:v>0.9829992552092216</c:v>
                      </c:pt>
                      <c:pt idx="41">
                        <c:v>0.98462005069193859</c:v>
                      </c:pt>
                      <c:pt idx="42">
                        <c:v>0.98377421681071053</c:v>
                      </c:pt>
                      <c:pt idx="43">
                        <c:v>0.98491294337368884</c:v>
                      </c:pt>
                      <c:pt idx="44">
                        <c:v>0.98313946480770531</c:v>
                      </c:pt>
                      <c:pt idx="45">
                        <c:v>0.98389977385848149</c:v>
                      </c:pt>
                      <c:pt idx="46">
                        <c:v>0.98315848480561552</c:v>
                      </c:pt>
                      <c:pt idx="47">
                        <c:v>0.98299741733947099</c:v>
                      </c:pt>
                      <c:pt idx="48">
                        <c:v>0.9845728034553588</c:v>
                      </c:pt>
                      <c:pt idx="49">
                        <c:v>0.98523960919422038</c:v>
                      </c:pt>
                      <c:pt idx="50">
                        <c:v>0.98558419932974939</c:v>
                      </c:pt>
                      <c:pt idx="51">
                        <c:v>0.9851973289924808</c:v>
                      </c:pt>
                      <c:pt idx="52">
                        <c:v>0.98582348406401044</c:v>
                      </c:pt>
                      <c:pt idx="53">
                        <c:v>0.98738299035449961</c:v>
                      </c:pt>
                      <c:pt idx="54">
                        <c:v>0.98530956377302947</c:v>
                      </c:pt>
                      <c:pt idx="55">
                        <c:v>0.98583289021336717</c:v>
                      </c:pt>
                      <c:pt idx="56">
                        <c:v>0.98458093196229424</c:v>
                      </c:pt>
                      <c:pt idx="57">
                        <c:v>0.98387732398982486</c:v>
                      </c:pt>
                      <c:pt idx="58">
                        <c:v>0.98390300431365085</c:v>
                      </c:pt>
                      <c:pt idx="59">
                        <c:v>0.98509596017230783</c:v>
                      </c:pt>
                      <c:pt idx="60">
                        <c:v>0.98462258855219809</c:v>
                      </c:pt>
                    </c:numCache>
                  </c:numRef>
                </c:yVal>
                <c:smooth val="0"/>
                <c:extLst xmlns:c15="http://schemas.microsoft.com/office/drawing/2012/chart">
                  <c:ext xmlns:c16="http://schemas.microsoft.com/office/drawing/2014/chart" uri="{C3380CC4-5D6E-409C-BE32-E72D297353CC}">
                    <c16:uniqueId val="{00000007-7CBB-4E7B-AAD7-8E02881B1772}"/>
                  </c:ext>
                </c:extLst>
              </c15:ser>
            </c15:filteredScatterSeries>
            <c15:filteredScatterSeries>
              <c15:ser>
                <c:idx val="1"/>
                <c:order val="2"/>
                <c:tx>
                  <c:v>012860-2a</c:v>
                </c:tx>
                <c:errBars>
                  <c:errDir val="y"/>
                  <c:errBarType val="both"/>
                  <c:errValType val="cust"/>
                  <c:noEndCap val="0"/>
                  <c:plus>
                    <c:numRef>
                      <c:extLst xmlns:c15="http://schemas.microsoft.com/office/drawing/2012/chart">
                        <c:ext xmlns:c15="http://schemas.microsoft.com/office/drawing/2012/chart" uri="{02D57815-91ED-43cb-92C2-25804820EDAC}">
                          <c15:formulaRef>
                            <c15:sqref>'HCl-012944_1-3'!$L$154:$L$214</c15:sqref>
                          </c15:formulaRef>
                        </c:ext>
                      </c:extLst>
                      <c:numCache>
                        <c:formatCode>General</c:formatCode>
                        <c:ptCount val="61"/>
                        <c:pt idx="0">
                          <c:v>0</c:v>
                        </c:pt>
                        <c:pt idx="1">
                          <c:v>7.5940708245553889E-3</c:v>
                        </c:pt>
                        <c:pt idx="2">
                          <c:v>4.1383779289761403E-3</c:v>
                        </c:pt>
                        <c:pt idx="3">
                          <c:v>6.8657436497203033E-3</c:v>
                        </c:pt>
                        <c:pt idx="4">
                          <c:v>2.165953250857305E-2</c:v>
                        </c:pt>
                        <c:pt idx="5">
                          <c:v>3.0967392390996228E-2</c:v>
                        </c:pt>
                        <c:pt idx="6">
                          <c:v>1.7680736772517771E-2</c:v>
                        </c:pt>
                        <c:pt idx="7">
                          <c:v>1.236551449203061E-2</c:v>
                        </c:pt>
                        <c:pt idx="8">
                          <c:v>7.0560807345401407E-3</c:v>
                        </c:pt>
                        <c:pt idx="9">
                          <c:v>1.6511724507703781E-3</c:v>
                        </c:pt>
                        <c:pt idx="10">
                          <c:v>7.1590931042757365E-3</c:v>
                        </c:pt>
                        <c:pt idx="11">
                          <c:v>1.4502685596357029E-2</c:v>
                        </c:pt>
                        <c:pt idx="12">
                          <c:v>1.7502458987866298E-2</c:v>
                        </c:pt>
                        <c:pt idx="13">
                          <c:v>1.8054803437535072E-2</c:v>
                        </c:pt>
                        <c:pt idx="14">
                          <c:v>1.8548010671669567E-2</c:v>
                        </c:pt>
                        <c:pt idx="15">
                          <c:v>1.8134586598357236E-2</c:v>
                        </c:pt>
                        <c:pt idx="16">
                          <c:v>1.772160261613042E-2</c:v>
                        </c:pt>
                        <c:pt idx="17">
                          <c:v>1.7917178563336602E-2</c:v>
                        </c:pt>
                        <c:pt idx="18">
                          <c:v>1.7892842666471342E-2</c:v>
                        </c:pt>
                        <c:pt idx="19">
                          <c:v>1.7455499536488766E-2</c:v>
                        </c:pt>
                        <c:pt idx="20">
                          <c:v>1.7553362551587907E-2</c:v>
                        </c:pt>
                        <c:pt idx="21">
                          <c:v>1.7899680079715853E-2</c:v>
                        </c:pt>
                        <c:pt idx="22">
                          <c:v>1.7579604695244458E-2</c:v>
                        </c:pt>
                        <c:pt idx="23">
                          <c:v>1.8225454893355673E-2</c:v>
                        </c:pt>
                        <c:pt idx="24">
                          <c:v>1.7529828310111295E-2</c:v>
                        </c:pt>
                        <c:pt idx="25">
                          <c:v>1.8703363631793441E-2</c:v>
                        </c:pt>
                        <c:pt idx="26">
                          <c:v>1.7861974803005685E-2</c:v>
                        </c:pt>
                        <c:pt idx="27">
                          <c:v>1.790086223635207E-2</c:v>
                        </c:pt>
                        <c:pt idx="28">
                          <c:v>1.7287343390524564E-2</c:v>
                        </c:pt>
                        <c:pt idx="29">
                          <c:v>1.7672145814137844E-2</c:v>
                        </c:pt>
                        <c:pt idx="30">
                          <c:v>1.7901038165532901E-2</c:v>
                        </c:pt>
                        <c:pt idx="31">
                          <c:v>1.8218920844470483E-2</c:v>
                        </c:pt>
                        <c:pt idx="32">
                          <c:v>1.7807739667223231E-2</c:v>
                        </c:pt>
                        <c:pt idx="33">
                          <c:v>1.8661706335746497E-2</c:v>
                        </c:pt>
                        <c:pt idx="34">
                          <c:v>1.8141543705461952E-2</c:v>
                        </c:pt>
                        <c:pt idx="35">
                          <c:v>1.8468368937990035E-2</c:v>
                        </c:pt>
                        <c:pt idx="36">
                          <c:v>1.7947031821095933E-2</c:v>
                        </c:pt>
                        <c:pt idx="37">
                          <c:v>1.7704117399150759E-2</c:v>
                        </c:pt>
                        <c:pt idx="38">
                          <c:v>1.8172666459677501E-2</c:v>
                        </c:pt>
                        <c:pt idx="39">
                          <c:v>1.7275278069314014E-2</c:v>
                        </c:pt>
                        <c:pt idx="40">
                          <c:v>1.7316896118860729E-2</c:v>
                        </c:pt>
                        <c:pt idx="41">
                          <c:v>1.7801425906923216E-2</c:v>
                        </c:pt>
                        <c:pt idx="42">
                          <c:v>1.8427768846251288E-2</c:v>
                        </c:pt>
                        <c:pt idx="43">
                          <c:v>1.7380273575263738E-2</c:v>
                        </c:pt>
                        <c:pt idx="44">
                          <c:v>1.7125373001214139E-2</c:v>
                        </c:pt>
                        <c:pt idx="45">
                          <c:v>1.7046655142425822E-2</c:v>
                        </c:pt>
                        <c:pt idx="46">
                          <c:v>1.7337860614945921E-2</c:v>
                        </c:pt>
                        <c:pt idx="47">
                          <c:v>1.7202370605807874E-2</c:v>
                        </c:pt>
                        <c:pt idx="48">
                          <c:v>1.717345095508593E-2</c:v>
                        </c:pt>
                        <c:pt idx="49">
                          <c:v>1.7315479117711256E-2</c:v>
                        </c:pt>
                        <c:pt idx="50">
                          <c:v>1.6445007433572148E-2</c:v>
                        </c:pt>
                        <c:pt idx="51">
                          <c:v>1.7390196620817203E-2</c:v>
                        </c:pt>
                        <c:pt idx="52">
                          <c:v>1.7352884758522293E-2</c:v>
                        </c:pt>
                        <c:pt idx="53">
                          <c:v>1.7260426300705938E-2</c:v>
                        </c:pt>
                        <c:pt idx="54">
                          <c:v>1.7055108688791912E-2</c:v>
                        </c:pt>
                        <c:pt idx="55">
                          <c:v>1.6864620735309036E-2</c:v>
                        </c:pt>
                        <c:pt idx="56">
                          <c:v>1.7207027352537995E-2</c:v>
                        </c:pt>
                        <c:pt idx="57">
                          <c:v>1.6823534355476295E-2</c:v>
                        </c:pt>
                        <c:pt idx="58">
                          <c:v>1.7483401027083276E-2</c:v>
                        </c:pt>
                        <c:pt idx="59">
                          <c:v>1.8670974238855626E-2</c:v>
                        </c:pt>
                        <c:pt idx="60">
                          <c:v>1.8493153784643154E-2</c:v>
                        </c:pt>
                      </c:numCache>
                    </c:numRef>
                  </c:plus>
                  <c:minus>
                    <c:numRef>
                      <c:extLst xmlns:c15="http://schemas.microsoft.com/office/drawing/2012/chart">
                        <c:ext xmlns:c15="http://schemas.microsoft.com/office/drawing/2012/chart" uri="{02D57815-91ED-43cb-92C2-25804820EDAC}">
                          <c15:formulaRef>
                            <c15:sqref>'HCl-012944_1-3'!$L$154:$L$214</c15:sqref>
                          </c15:formulaRef>
                        </c:ext>
                      </c:extLst>
                      <c:numCache>
                        <c:formatCode>General</c:formatCode>
                        <c:ptCount val="61"/>
                        <c:pt idx="0">
                          <c:v>0</c:v>
                        </c:pt>
                        <c:pt idx="1">
                          <c:v>7.5940708245553889E-3</c:v>
                        </c:pt>
                        <c:pt idx="2">
                          <c:v>4.1383779289761403E-3</c:v>
                        </c:pt>
                        <c:pt idx="3">
                          <c:v>6.8657436497203033E-3</c:v>
                        </c:pt>
                        <c:pt idx="4">
                          <c:v>2.165953250857305E-2</c:v>
                        </c:pt>
                        <c:pt idx="5">
                          <c:v>3.0967392390996228E-2</c:v>
                        </c:pt>
                        <c:pt idx="6">
                          <c:v>1.7680736772517771E-2</c:v>
                        </c:pt>
                        <c:pt idx="7">
                          <c:v>1.236551449203061E-2</c:v>
                        </c:pt>
                        <c:pt idx="8">
                          <c:v>7.0560807345401407E-3</c:v>
                        </c:pt>
                        <c:pt idx="9">
                          <c:v>1.6511724507703781E-3</c:v>
                        </c:pt>
                        <c:pt idx="10">
                          <c:v>7.1590931042757365E-3</c:v>
                        </c:pt>
                        <c:pt idx="11">
                          <c:v>1.4502685596357029E-2</c:v>
                        </c:pt>
                        <c:pt idx="12">
                          <c:v>1.7502458987866298E-2</c:v>
                        </c:pt>
                        <c:pt idx="13">
                          <c:v>1.8054803437535072E-2</c:v>
                        </c:pt>
                        <c:pt idx="14">
                          <c:v>1.8548010671669567E-2</c:v>
                        </c:pt>
                        <c:pt idx="15">
                          <c:v>1.8134586598357236E-2</c:v>
                        </c:pt>
                        <c:pt idx="16">
                          <c:v>1.772160261613042E-2</c:v>
                        </c:pt>
                        <c:pt idx="17">
                          <c:v>1.7917178563336602E-2</c:v>
                        </c:pt>
                        <c:pt idx="18">
                          <c:v>1.7892842666471342E-2</c:v>
                        </c:pt>
                        <c:pt idx="19">
                          <c:v>1.7455499536488766E-2</c:v>
                        </c:pt>
                        <c:pt idx="20">
                          <c:v>1.7553362551587907E-2</c:v>
                        </c:pt>
                        <c:pt idx="21">
                          <c:v>1.7899680079715853E-2</c:v>
                        </c:pt>
                        <c:pt idx="22">
                          <c:v>1.7579604695244458E-2</c:v>
                        </c:pt>
                        <c:pt idx="23">
                          <c:v>1.8225454893355673E-2</c:v>
                        </c:pt>
                        <c:pt idx="24">
                          <c:v>1.7529828310111295E-2</c:v>
                        </c:pt>
                        <c:pt idx="25">
                          <c:v>1.8703363631793441E-2</c:v>
                        </c:pt>
                        <c:pt idx="26">
                          <c:v>1.7861974803005685E-2</c:v>
                        </c:pt>
                        <c:pt idx="27">
                          <c:v>1.790086223635207E-2</c:v>
                        </c:pt>
                        <c:pt idx="28">
                          <c:v>1.7287343390524564E-2</c:v>
                        </c:pt>
                        <c:pt idx="29">
                          <c:v>1.7672145814137844E-2</c:v>
                        </c:pt>
                        <c:pt idx="30">
                          <c:v>1.7901038165532901E-2</c:v>
                        </c:pt>
                        <c:pt idx="31">
                          <c:v>1.8218920844470483E-2</c:v>
                        </c:pt>
                        <c:pt idx="32">
                          <c:v>1.7807739667223231E-2</c:v>
                        </c:pt>
                        <c:pt idx="33">
                          <c:v>1.8661706335746497E-2</c:v>
                        </c:pt>
                        <c:pt idx="34">
                          <c:v>1.8141543705461952E-2</c:v>
                        </c:pt>
                        <c:pt idx="35">
                          <c:v>1.8468368937990035E-2</c:v>
                        </c:pt>
                        <c:pt idx="36">
                          <c:v>1.7947031821095933E-2</c:v>
                        </c:pt>
                        <c:pt idx="37">
                          <c:v>1.7704117399150759E-2</c:v>
                        </c:pt>
                        <c:pt idx="38">
                          <c:v>1.8172666459677501E-2</c:v>
                        </c:pt>
                        <c:pt idx="39">
                          <c:v>1.7275278069314014E-2</c:v>
                        </c:pt>
                        <c:pt idx="40">
                          <c:v>1.7316896118860729E-2</c:v>
                        </c:pt>
                        <c:pt idx="41">
                          <c:v>1.7801425906923216E-2</c:v>
                        </c:pt>
                        <c:pt idx="42">
                          <c:v>1.8427768846251288E-2</c:v>
                        </c:pt>
                        <c:pt idx="43">
                          <c:v>1.7380273575263738E-2</c:v>
                        </c:pt>
                        <c:pt idx="44">
                          <c:v>1.7125373001214139E-2</c:v>
                        </c:pt>
                        <c:pt idx="45">
                          <c:v>1.7046655142425822E-2</c:v>
                        </c:pt>
                        <c:pt idx="46">
                          <c:v>1.7337860614945921E-2</c:v>
                        </c:pt>
                        <c:pt idx="47">
                          <c:v>1.7202370605807874E-2</c:v>
                        </c:pt>
                        <c:pt idx="48">
                          <c:v>1.717345095508593E-2</c:v>
                        </c:pt>
                        <c:pt idx="49">
                          <c:v>1.7315479117711256E-2</c:v>
                        </c:pt>
                        <c:pt idx="50">
                          <c:v>1.6445007433572148E-2</c:v>
                        </c:pt>
                        <c:pt idx="51">
                          <c:v>1.7390196620817203E-2</c:v>
                        </c:pt>
                        <c:pt idx="52">
                          <c:v>1.7352884758522293E-2</c:v>
                        </c:pt>
                        <c:pt idx="53">
                          <c:v>1.7260426300705938E-2</c:v>
                        </c:pt>
                        <c:pt idx="54">
                          <c:v>1.7055108688791912E-2</c:v>
                        </c:pt>
                        <c:pt idx="55">
                          <c:v>1.6864620735309036E-2</c:v>
                        </c:pt>
                        <c:pt idx="56">
                          <c:v>1.7207027352537995E-2</c:v>
                        </c:pt>
                        <c:pt idx="57">
                          <c:v>1.6823534355476295E-2</c:v>
                        </c:pt>
                        <c:pt idx="58">
                          <c:v>1.7483401027083276E-2</c:v>
                        </c:pt>
                        <c:pt idx="59">
                          <c:v>1.8670974238855626E-2</c:v>
                        </c:pt>
                        <c:pt idx="60">
                          <c:v>1.8493153784643154E-2</c:v>
                        </c:pt>
                      </c:numCache>
                    </c:numRef>
                  </c:minus>
                </c:errBars>
                <c:xVal>
                  <c:numRef>
                    <c:extLst xmlns:c15="http://schemas.microsoft.com/office/drawing/2012/chart">
                      <c:ext xmlns:c15="http://schemas.microsoft.com/office/drawing/2012/chart" uri="{02D57815-91ED-43cb-92C2-25804820EDAC}">
                        <c15:formulaRef>
                          <c15:sqref>'HCl-012944_1-3'!$A$154:$A$214</c15:sqref>
                        </c15:formulaRef>
                      </c:ext>
                    </c:extLst>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HCl-012944_1-3'!$K$154:$K$214</c15:sqref>
                        </c15:formulaRef>
                      </c:ext>
                    </c:extLst>
                    <c:numCache>
                      <c:formatCode>0.00%</c:formatCode>
                      <c:ptCount val="61"/>
                      <c:pt idx="0">
                        <c:v>0</c:v>
                      </c:pt>
                      <c:pt idx="1">
                        <c:v>2.1107787845520434E-2</c:v>
                      </c:pt>
                      <c:pt idx="2">
                        <c:v>0.16720662670290062</c:v>
                      </c:pt>
                      <c:pt idx="3">
                        <c:v>0.31255630897764841</c:v>
                      </c:pt>
                      <c:pt idx="4">
                        <c:v>0.46152945644113852</c:v>
                      </c:pt>
                      <c:pt idx="5">
                        <c:v>0.61003754150917633</c:v>
                      </c:pt>
                      <c:pt idx="6">
                        <c:v>0.71979924210203938</c:v>
                      </c:pt>
                      <c:pt idx="7">
                        <c:v>0.78895222742558635</c:v>
                      </c:pt>
                      <c:pt idx="8">
                        <c:v>0.84120380901076774</c:v>
                      </c:pt>
                      <c:pt idx="9">
                        <c:v>0.88505739961268404</c:v>
                      </c:pt>
                      <c:pt idx="10">
                        <c:v>0.92274314087269815</c:v>
                      </c:pt>
                      <c:pt idx="11">
                        <c:v>0.94218226259997595</c:v>
                      </c:pt>
                      <c:pt idx="12">
                        <c:v>0.95065927670420469</c:v>
                      </c:pt>
                      <c:pt idx="13">
                        <c:v>0.95247488663829982</c:v>
                      </c:pt>
                      <c:pt idx="14">
                        <c:v>0.95318828183298798</c:v>
                      </c:pt>
                      <c:pt idx="15">
                        <c:v>0.95285787040877379</c:v>
                      </c:pt>
                      <c:pt idx="16">
                        <c:v>0.95221840700883498</c:v>
                      </c:pt>
                      <c:pt idx="17">
                        <c:v>0.95262246826031349</c:v>
                      </c:pt>
                      <c:pt idx="18">
                        <c:v>0.95297478715650163</c:v>
                      </c:pt>
                      <c:pt idx="19">
                        <c:v>0.95254399645486532</c:v>
                      </c:pt>
                      <c:pt idx="20">
                        <c:v>0.95217804041799259</c:v>
                      </c:pt>
                      <c:pt idx="21">
                        <c:v>0.95218440561075568</c:v>
                      </c:pt>
                      <c:pt idx="22">
                        <c:v>0.95386454326163539</c:v>
                      </c:pt>
                      <c:pt idx="23">
                        <c:v>0.9539227401933319</c:v>
                      </c:pt>
                      <c:pt idx="24">
                        <c:v>0.95397656266360997</c:v>
                      </c:pt>
                      <c:pt idx="25">
                        <c:v>0.95584918290168763</c:v>
                      </c:pt>
                      <c:pt idx="26">
                        <c:v>0.95606333498688656</c:v>
                      </c:pt>
                      <c:pt idx="27">
                        <c:v>0.95458913086459363</c:v>
                      </c:pt>
                      <c:pt idx="28">
                        <c:v>0.95480823596080544</c:v>
                      </c:pt>
                      <c:pt idx="29">
                        <c:v>0.95525080081257918</c:v>
                      </c:pt>
                      <c:pt idx="30">
                        <c:v>0.95458809123107347</c:v>
                      </c:pt>
                      <c:pt idx="31">
                        <c:v>0.95472717003454377</c:v>
                      </c:pt>
                      <c:pt idx="32">
                        <c:v>0.95369357105758257</c:v>
                      </c:pt>
                      <c:pt idx="33">
                        <c:v>0.95400961570722398</c:v>
                      </c:pt>
                      <c:pt idx="34">
                        <c:v>0.95375256196741909</c:v>
                      </c:pt>
                      <c:pt idx="35">
                        <c:v>0.95428437449116921</c:v>
                      </c:pt>
                      <c:pt idx="36">
                        <c:v>0.95426359688430595</c:v>
                      </c:pt>
                      <c:pt idx="37">
                        <c:v>0.95385174997835565</c:v>
                      </c:pt>
                      <c:pt idx="38">
                        <c:v>0.95399322782483409</c:v>
                      </c:pt>
                      <c:pt idx="39">
                        <c:v>0.95521421511990201</c:v>
                      </c:pt>
                      <c:pt idx="40">
                        <c:v>0.95463327401410503</c:v>
                      </c:pt>
                      <c:pt idx="41">
                        <c:v>0.9552782328620637</c:v>
                      </c:pt>
                      <c:pt idx="42">
                        <c:v>0.95404661260456169</c:v>
                      </c:pt>
                      <c:pt idx="43">
                        <c:v>0.95463586040363213</c:v>
                      </c:pt>
                      <c:pt idx="44">
                        <c:v>0.9555402161197476</c:v>
                      </c:pt>
                      <c:pt idx="45">
                        <c:v>0.95567295920910011</c:v>
                      </c:pt>
                      <c:pt idx="46">
                        <c:v>0.95612247214272805</c:v>
                      </c:pt>
                      <c:pt idx="47">
                        <c:v>0.95553900455240115</c:v>
                      </c:pt>
                      <c:pt idx="48">
                        <c:v>0.95753062699027591</c:v>
                      </c:pt>
                      <c:pt idx="49">
                        <c:v>0.95717621126954633</c:v>
                      </c:pt>
                      <c:pt idx="50">
                        <c:v>0.95561028516445801</c:v>
                      </c:pt>
                      <c:pt idx="51">
                        <c:v>0.95669085768982232</c:v>
                      </c:pt>
                      <c:pt idx="52">
                        <c:v>0.95718013197929108</c:v>
                      </c:pt>
                      <c:pt idx="53">
                        <c:v>0.95723027395836446</c:v>
                      </c:pt>
                      <c:pt idx="54">
                        <c:v>0.95583579306239885</c:v>
                      </c:pt>
                      <c:pt idx="55">
                        <c:v>0.95568397604235766</c:v>
                      </c:pt>
                      <c:pt idx="56">
                        <c:v>0.95399942427604378</c:v>
                      </c:pt>
                      <c:pt idx="57">
                        <c:v>0.95462040641072055</c:v>
                      </c:pt>
                      <c:pt idx="58">
                        <c:v>0.95537135710063514</c:v>
                      </c:pt>
                      <c:pt idx="59">
                        <c:v>0.95430230583753506</c:v>
                      </c:pt>
                      <c:pt idx="60">
                        <c:v>0.95480938039066121</c:v>
                      </c:pt>
                    </c:numCache>
                  </c:numRef>
                </c:yVal>
                <c:smooth val="0"/>
                <c:extLst xmlns:c15="http://schemas.microsoft.com/office/drawing/2012/chart">
                  <c:ext xmlns:c16="http://schemas.microsoft.com/office/drawing/2014/chart" uri="{C3380CC4-5D6E-409C-BE32-E72D297353CC}">
                    <c16:uniqueId val="{00000008-7CBB-4E7B-AAD7-8E02881B1772}"/>
                  </c:ext>
                </c:extLst>
              </c15:ser>
            </c15:filteredScatterSeries>
            <c15:filteredScatterSeries>
              <c15:ser>
                <c:idx val="2"/>
                <c:order val="3"/>
                <c:tx>
                  <c:v>012860-2b</c:v>
                </c:tx>
                <c:errBars>
                  <c:errDir val="y"/>
                  <c:errBarType val="both"/>
                  <c:errValType val="cust"/>
                  <c:noEndCap val="0"/>
                  <c:plus>
                    <c:numRef>
                      <c:extLst xmlns:c15="http://schemas.microsoft.com/office/drawing/2012/chart">
                        <c:ext xmlns:c15="http://schemas.microsoft.com/office/drawing/2012/chart" uri="{02D57815-91ED-43cb-92C2-25804820EDAC}">
                          <c15:formulaRef>
                            <c15:sqref>'HCL-012944_4-6'!$L$16:$L$76</c15:sqref>
                          </c15:formulaRef>
                        </c:ext>
                      </c:extLst>
                      <c:numCache>
                        <c:formatCode>General</c:formatCode>
                        <c:ptCount val="61"/>
                        <c:pt idx="0">
                          <c:v>0</c:v>
                        </c:pt>
                        <c:pt idx="1">
                          <c:v>1.5608201455355419E-2</c:v>
                        </c:pt>
                        <c:pt idx="2">
                          <c:v>4.1726230256368242E-2</c:v>
                        </c:pt>
                        <c:pt idx="3">
                          <c:v>5.8581900481770935E-2</c:v>
                        </c:pt>
                        <c:pt idx="4">
                          <c:v>7.8087569328786882E-2</c:v>
                        </c:pt>
                        <c:pt idx="5">
                          <c:v>7.7628914100060217E-2</c:v>
                        </c:pt>
                        <c:pt idx="6">
                          <c:v>6.4453843014128473E-2</c:v>
                        </c:pt>
                        <c:pt idx="7">
                          <c:v>6.6913279617444699E-2</c:v>
                        </c:pt>
                        <c:pt idx="8">
                          <c:v>6.5016063812146599E-2</c:v>
                        </c:pt>
                        <c:pt idx="9">
                          <c:v>5.8753283266177729E-2</c:v>
                        </c:pt>
                        <c:pt idx="10">
                          <c:v>4.6313844125432532E-2</c:v>
                        </c:pt>
                        <c:pt idx="11">
                          <c:v>4.2082695796389527E-2</c:v>
                        </c:pt>
                        <c:pt idx="12">
                          <c:v>4.2368161862006086E-2</c:v>
                        </c:pt>
                        <c:pt idx="13">
                          <c:v>4.2656957517114069E-2</c:v>
                        </c:pt>
                        <c:pt idx="14">
                          <c:v>4.2370824179461503E-2</c:v>
                        </c:pt>
                        <c:pt idx="15">
                          <c:v>4.2323979877380631E-2</c:v>
                        </c:pt>
                        <c:pt idx="16">
                          <c:v>4.2245987933144165E-2</c:v>
                        </c:pt>
                        <c:pt idx="17">
                          <c:v>4.263136961735204E-2</c:v>
                        </c:pt>
                        <c:pt idx="18">
                          <c:v>4.2920519815994498E-2</c:v>
                        </c:pt>
                        <c:pt idx="19">
                          <c:v>4.3209189093199915E-2</c:v>
                        </c:pt>
                        <c:pt idx="20">
                          <c:v>4.2912926902856793E-2</c:v>
                        </c:pt>
                        <c:pt idx="21">
                          <c:v>4.2956439416562797E-2</c:v>
                        </c:pt>
                        <c:pt idx="22">
                          <c:v>4.2572131975473382E-2</c:v>
                        </c:pt>
                        <c:pt idx="23">
                          <c:v>4.2216333388649045E-2</c:v>
                        </c:pt>
                        <c:pt idx="24">
                          <c:v>4.2678844618489677E-2</c:v>
                        </c:pt>
                        <c:pt idx="25">
                          <c:v>4.2559072368081298E-2</c:v>
                        </c:pt>
                        <c:pt idx="26">
                          <c:v>4.2622855251051972E-2</c:v>
                        </c:pt>
                        <c:pt idx="27">
                          <c:v>4.2525234302439652E-2</c:v>
                        </c:pt>
                        <c:pt idx="28">
                          <c:v>4.2713008628723514E-2</c:v>
                        </c:pt>
                        <c:pt idx="29">
                          <c:v>4.2876009615804803E-2</c:v>
                        </c:pt>
                        <c:pt idx="30">
                          <c:v>4.2650292355999889E-2</c:v>
                        </c:pt>
                        <c:pt idx="31">
                          <c:v>4.2592677047768715E-2</c:v>
                        </c:pt>
                        <c:pt idx="32">
                          <c:v>4.2843408217260279E-2</c:v>
                        </c:pt>
                        <c:pt idx="33">
                          <c:v>4.2596374014641523E-2</c:v>
                        </c:pt>
                        <c:pt idx="34">
                          <c:v>4.3004868633307179E-2</c:v>
                        </c:pt>
                        <c:pt idx="35">
                          <c:v>4.2908081389615792E-2</c:v>
                        </c:pt>
                        <c:pt idx="36">
                          <c:v>4.2914081647341548E-2</c:v>
                        </c:pt>
                        <c:pt idx="37">
                          <c:v>4.2424276766233587E-2</c:v>
                        </c:pt>
                        <c:pt idx="38">
                          <c:v>4.3192797543122601E-2</c:v>
                        </c:pt>
                        <c:pt idx="39">
                          <c:v>4.3286715204253277E-2</c:v>
                        </c:pt>
                        <c:pt idx="40">
                          <c:v>4.3436587223713248E-2</c:v>
                        </c:pt>
                        <c:pt idx="41">
                          <c:v>4.2544916773892667E-2</c:v>
                        </c:pt>
                        <c:pt idx="42">
                          <c:v>4.3733229141632517E-2</c:v>
                        </c:pt>
                        <c:pt idx="43">
                          <c:v>4.2852660319796371E-2</c:v>
                        </c:pt>
                        <c:pt idx="44">
                          <c:v>4.3024399407240656E-2</c:v>
                        </c:pt>
                        <c:pt idx="45">
                          <c:v>4.2965471661985118E-2</c:v>
                        </c:pt>
                        <c:pt idx="46">
                          <c:v>4.2797019663020734E-2</c:v>
                        </c:pt>
                        <c:pt idx="47">
                          <c:v>4.2570505058871562E-2</c:v>
                        </c:pt>
                        <c:pt idx="48">
                          <c:v>4.2444599030976596E-2</c:v>
                        </c:pt>
                        <c:pt idx="49">
                          <c:v>4.2600925220786151E-2</c:v>
                        </c:pt>
                        <c:pt idx="50">
                          <c:v>4.2812811396978019E-2</c:v>
                        </c:pt>
                        <c:pt idx="51">
                          <c:v>4.3320860384528197E-2</c:v>
                        </c:pt>
                        <c:pt idx="52">
                          <c:v>4.250577908576627E-2</c:v>
                        </c:pt>
                        <c:pt idx="53">
                          <c:v>4.2938080295216473E-2</c:v>
                        </c:pt>
                        <c:pt idx="54">
                          <c:v>4.24785034456596E-2</c:v>
                        </c:pt>
                        <c:pt idx="55">
                          <c:v>4.2638757234377211E-2</c:v>
                        </c:pt>
                        <c:pt idx="56">
                          <c:v>4.2674038796509849E-2</c:v>
                        </c:pt>
                        <c:pt idx="57">
                          <c:v>4.2536363287368865E-2</c:v>
                        </c:pt>
                        <c:pt idx="58">
                          <c:v>4.2365843700826057E-2</c:v>
                        </c:pt>
                        <c:pt idx="59">
                          <c:v>4.2880881921012116E-2</c:v>
                        </c:pt>
                        <c:pt idx="60">
                          <c:v>4.2132790588663552E-2</c:v>
                        </c:pt>
                      </c:numCache>
                    </c:numRef>
                  </c:plus>
                  <c:minus>
                    <c:numRef>
                      <c:extLst xmlns:c15="http://schemas.microsoft.com/office/drawing/2012/chart">
                        <c:ext xmlns:c15="http://schemas.microsoft.com/office/drawing/2012/chart" uri="{02D57815-91ED-43cb-92C2-25804820EDAC}">
                          <c15:formulaRef>
                            <c15:sqref>'HCL-012944_4-6'!$L$16:$L$76</c15:sqref>
                          </c15:formulaRef>
                        </c:ext>
                      </c:extLst>
                      <c:numCache>
                        <c:formatCode>General</c:formatCode>
                        <c:ptCount val="61"/>
                        <c:pt idx="0">
                          <c:v>0</c:v>
                        </c:pt>
                        <c:pt idx="1">
                          <c:v>1.5608201455355419E-2</c:v>
                        </c:pt>
                        <c:pt idx="2">
                          <c:v>4.1726230256368242E-2</c:v>
                        </c:pt>
                        <c:pt idx="3">
                          <c:v>5.8581900481770935E-2</c:v>
                        </c:pt>
                        <c:pt idx="4">
                          <c:v>7.8087569328786882E-2</c:v>
                        </c:pt>
                        <c:pt idx="5">
                          <c:v>7.7628914100060217E-2</c:v>
                        </c:pt>
                        <c:pt idx="6">
                          <c:v>6.4453843014128473E-2</c:v>
                        </c:pt>
                        <c:pt idx="7">
                          <c:v>6.6913279617444699E-2</c:v>
                        </c:pt>
                        <c:pt idx="8">
                          <c:v>6.5016063812146599E-2</c:v>
                        </c:pt>
                        <c:pt idx="9">
                          <c:v>5.8753283266177729E-2</c:v>
                        </c:pt>
                        <c:pt idx="10">
                          <c:v>4.6313844125432532E-2</c:v>
                        </c:pt>
                        <c:pt idx="11">
                          <c:v>4.2082695796389527E-2</c:v>
                        </c:pt>
                        <c:pt idx="12">
                          <c:v>4.2368161862006086E-2</c:v>
                        </c:pt>
                        <c:pt idx="13">
                          <c:v>4.2656957517114069E-2</c:v>
                        </c:pt>
                        <c:pt idx="14">
                          <c:v>4.2370824179461503E-2</c:v>
                        </c:pt>
                        <c:pt idx="15">
                          <c:v>4.2323979877380631E-2</c:v>
                        </c:pt>
                        <c:pt idx="16">
                          <c:v>4.2245987933144165E-2</c:v>
                        </c:pt>
                        <c:pt idx="17">
                          <c:v>4.263136961735204E-2</c:v>
                        </c:pt>
                        <c:pt idx="18">
                          <c:v>4.2920519815994498E-2</c:v>
                        </c:pt>
                        <c:pt idx="19">
                          <c:v>4.3209189093199915E-2</c:v>
                        </c:pt>
                        <c:pt idx="20">
                          <c:v>4.2912926902856793E-2</c:v>
                        </c:pt>
                        <c:pt idx="21">
                          <c:v>4.2956439416562797E-2</c:v>
                        </c:pt>
                        <c:pt idx="22">
                          <c:v>4.2572131975473382E-2</c:v>
                        </c:pt>
                        <c:pt idx="23">
                          <c:v>4.2216333388649045E-2</c:v>
                        </c:pt>
                        <c:pt idx="24">
                          <c:v>4.2678844618489677E-2</c:v>
                        </c:pt>
                        <c:pt idx="25">
                          <c:v>4.2559072368081298E-2</c:v>
                        </c:pt>
                        <c:pt idx="26">
                          <c:v>4.2622855251051972E-2</c:v>
                        </c:pt>
                        <c:pt idx="27">
                          <c:v>4.2525234302439652E-2</c:v>
                        </c:pt>
                        <c:pt idx="28">
                          <c:v>4.2713008628723514E-2</c:v>
                        </c:pt>
                        <c:pt idx="29">
                          <c:v>4.2876009615804803E-2</c:v>
                        </c:pt>
                        <c:pt idx="30">
                          <c:v>4.2650292355999889E-2</c:v>
                        </c:pt>
                        <c:pt idx="31">
                          <c:v>4.2592677047768715E-2</c:v>
                        </c:pt>
                        <c:pt idx="32">
                          <c:v>4.2843408217260279E-2</c:v>
                        </c:pt>
                        <c:pt idx="33">
                          <c:v>4.2596374014641523E-2</c:v>
                        </c:pt>
                        <c:pt idx="34">
                          <c:v>4.3004868633307179E-2</c:v>
                        </c:pt>
                        <c:pt idx="35">
                          <c:v>4.2908081389615792E-2</c:v>
                        </c:pt>
                        <c:pt idx="36">
                          <c:v>4.2914081647341548E-2</c:v>
                        </c:pt>
                        <c:pt idx="37">
                          <c:v>4.2424276766233587E-2</c:v>
                        </c:pt>
                        <c:pt idx="38">
                          <c:v>4.3192797543122601E-2</c:v>
                        </c:pt>
                        <c:pt idx="39">
                          <c:v>4.3286715204253277E-2</c:v>
                        </c:pt>
                        <c:pt idx="40">
                          <c:v>4.3436587223713248E-2</c:v>
                        </c:pt>
                        <c:pt idx="41">
                          <c:v>4.2544916773892667E-2</c:v>
                        </c:pt>
                        <c:pt idx="42">
                          <c:v>4.3733229141632517E-2</c:v>
                        </c:pt>
                        <c:pt idx="43">
                          <c:v>4.2852660319796371E-2</c:v>
                        </c:pt>
                        <c:pt idx="44">
                          <c:v>4.3024399407240656E-2</c:v>
                        </c:pt>
                        <c:pt idx="45">
                          <c:v>4.2965471661985118E-2</c:v>
                        </c:pt>
                        <c:pt idx="46">
                          <c:v>4.2797019663020734E-2</c:v>
                        </c:pt>
                        <c:pt idx="47">
                          <c:v>4.2570505058871562E-2</c:v>
                        </c:pt>
                        <c:pt idx="48">
                          <c:v>4.2444599030976596E-2</c:v>
                        </c:pt>
                        <c:pt idx="49">
                          <c:v>4.2600925220786151E-2</c:v>
                        </c:pt>
                        <c:pt idx="50">
                          <c:v>4.2812811396978019E-2</c:v>
                        </c:pt>
                        <c:pt idx="51">
                          <c:v>4.3320860384528197E-2</c:v>
                        </c:pt>
                        <c:pt idx="52">
                          <c:v>4.250577908576627E-2</c:v>
                        </c:pt>
                        <c:pt idx="53">
                          <c:v>4.2938080295216473E-2</c:v>
                        </c:pt>
                        <c:pt idx="54">
                          <c:v>4.24785034456596E-2</c:v>
                        </c:pt>
                        <c:pt idx="55">
                          <c:v>4.2638757234377211E-2</c:v>
                        </c:pt>
                        <c:pt idx="56">
                          <c:v>4.2674038796509849E-2</c:v>
                        </c:pt>
                        <c:pt idx="57">
                          <c:v>4.2536363287368865E-2</c:v>
                        </c:pt>
                        <c:pt idx="58">
                          <c:v>4.2365843700826057E-2</c:v>
                        </c:pt>
                        <c:pt idx="59">
                          <c:v>4.2880881921012116E-2</c:v>
                        </c:pt>
                        <c:pt idx="60">
                          <c:v>4.2132790588663552E-2</c:v>
                        </c:pt>
                      </c:numCache>
                    </c:numRef>
                  </c:minus>
                </c:errBars>
                <c:xVal>
                  <c:numRef>
                    <c:extLst xmlns:c15="http://schemas.microsoft.com/office/drawing/2012/chart">
                      <c:ext xmlns:c15="http://schemas.microsoft.com/office/drawing/2012/chart" uri="{02D57815-91ED-43cb-92C2-25804820EDAC}">
                        <c15:formulaRef>
                          <c15:sqref>'HCL-012944_4-6'!$A$16:$A$76</c15:sqref>
                        </c15:formulaRef>
                      </c:ext>
                    </c:extLst>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HCL-012944_4-6'!$K$16:$K$76</c15:sqref>
                        </c15:formulaRef>
                      </c:ext>
                    </c:extLst>
                    <c:numCache>
                      <c:formatCode>0.00%</c:formatCode>
                      <c:ptCount val="61"/>
                      <c:pt idx="0">
                        <c:v>0</c:v>
                      </c:pt>
                      <c:pt idx="1">
                        <c:v>3.8334376816082254E-2</c:v>
                      </c:pt>
                      <c:pt idx="2">
                        <c:v>0.19681055760818222</c:v>
                      </c:pt>
                      <c:pt idx="3">
                        <c:v>0.34418663010723827</c:v>
                      </c:pt>
                      <c:pt idx="4">
                        <c:v>0.50370576267495293</c:v>
                      </c:pt>
                      <c:pt idx="5">
                        <c:v>0.64406670646653641</c:v>
                      </c:pt>
                      <c:pt idx="6">
                        <c:v>0.74453789745109378</c:v>
                      </c:pt>
                      <c:pt idx="7">
                        <c:v>0.82237485486426853</c:v>
                      </c:pt>
                      <c:pt idx="8">
                        <c:v>0.88468186529036752</c:v>
                      </c:pt>
                      <c:pt idx="9">
                        <c:v>0.92926097079942471</c:v>
                      </c:pt>
                      <c:pt idx="10">
                        <c:v>0.96282922630503442</c:v>
                      </c:pt>
                      <c:pt idx="11">
                        <c:v>0.978795683547105</c:v>
                      </c:pt>
                      <c:pt idx="12">
                        <c:v>0.98706349381620384</c:v>
                      </c:pt>
                      <c:pt idx="13">
                        <c:v>0.98909460474852506</c:v>
                      </c:pt>
                      <c:pt idx="14">
                        <c:v>0.98976004297446829</c:v>
                      </c:pt>
                      <c:pt idx="15">
                        <c:v>0.98960109605069102</c:v>
                      </c:pt>
                      <c:pt idx="16">
                        <c:v>0.98868270466254105</c:v>
                      </c:pt>
                      <c:pt idx="17">
                        <c:v>0.98878808884388469</c:v>
                      </c:pt>
                      <c:pt idx="18">
                        <c:v>0.98929409647575339</c:v>
                      </c:pt>
                      <c:pt idx="19">
                        <c:v>0.98848802189059015</c:v>
                      </c:pt>
                      <c:pt idx="20">
                        <c:v>0.98806208923574201</c:v>
                      </c:pt>
                      <c:pt idx="21">
                        <c:v>0.98817717662682603</c:v>
                      </c:pt>
                      <c:pt idx="22">
                        <c:v>0.98957924391890051</c:v>
                      </c:pt>
                      <c:pt idx="23">
                        <c:v>0.98963296154374625</c:v>
                      </c:pt>
                      <c:pt idx="24">
                        <c:v>0.99031466980508576</c:v>
                      </c:pt>
                      <c:pt idx="25">
                        <c:v>0.99120004968310971</c:v>
                      </c:pt>
                      <c:pt idx="26">
                        <c:v>0.99155162631403826</c:v>
                      </c:pt>
                      <c:pt idx="27">
                        <c:v>0.99055281500433756</c:v>
                      </c:pt>
                      <c:pt idx="28">
                        <c:v>0.99096733912836965</c:v>
                      </c:pt>
                      <c:pt idx="29">
                        <c:v>0.99148000580761486</c:v>
                      </c:pt>
                      <c:pt idx="30">
                        <c:v>0.98991096110394172</c:v>
                      </c:pt>
                      <c:pt idx="31">
                        <c:v>0.99048229508901164</c:v>
                      </c:pt>
                      <c:pt idx="32">
                        <c:v>0.98929771820301704</c:v>
                      </c:pt>
                      <c:pt idx="33">
                        <c:v>0.98885307689618995</c:v>
                      </c:pt>
                      <c:pt idx="34">
                        <c:v>0.9891815131995374</c:v>
                      </c:pt>
                      <c:pt idx="35">
                        <c:v>0.98920551624828013</c:v>
                      </c:pt>
                      <c:pt idx="36">
                        <c:v>0.98949206529772349</c:v>
                      </c:pt>
                      <c:pt idx="37">
                        <c:v>0.98932689924255646</c:v>
                      </c:pt>
                      <c:pt idx="38">
                        <c:v>0.98948835357088838</c:v>
                      </c:pt>
                      <c:pt idx="39">
                        <c:v>0.99004180040897394</c:v>
                      </c:pt>
                      <c:pt idx="40">
                        <c:v>0.99025727004221065</c:v>
                      </c:pt>
                      <c:pt idx="41">
                        <c:v>0.99014583038162973</c:v>
                      </c:pt>
                      <c:pt idx="42">
                        <c:v>0.9886642979488407</c:v>
                      </c:pt>
                      <c:pt idx="43">
                        <c:v>0.98877582273010445</c:v>
                      </c:pt>
                      <c:pt idx="44">
                        <c:v>0.99007151262021209</c:v>
                      </c:pt>
                      <c:pt idx="45">
                        <c:v>0.99107712356985356</c:v>
                      </c:pt>
                      <c:pt idx="46">
                        <c:v>0.99191489114546127</c:v>
                      </c:pt>
                      <c:pt idx="47">
                        <c:v>0.99075328402725005</c:v>
                      </c:pt>
                      <c:pt idx="48">
                        <c:v>0.99250066298389916</c:v>
                      </c:pt>
                      <c:pt idx="49">
                        <c:v>0.99253323147164485</c:v>
                      </c:pt>
                      <c:pt idx="50">
                        <c:v>0.9919855201570843</c:v>
                      </c:pt>
                      <c:pt idx="51">
                        <c:v>0.9922135204882423</c:v>
                      </c:pt>
                      <c:pt idx="52">
                        <c:v>0.99186405722499293</c:v>
                      </c:pt>
                      <c:pt idx="53">
                        <c:v>0.99214242993098711</c:v>
                      </c:pt>
                      <c:pt idx="54">
                        <c:v>0.99108152333897903</c:v>
                      </c:pt>
                      <c:pt idx="55">
                        <c:v>0.99143773520352685</c:v>
                      </c:pt>
                      <c:pt idx="56">
                        <c:v>0.98884084183128618</c:v>
                      </c:pt>
                      <c:pt idx="57">
                        <c:v>0.99030194207671085</c:v>
                      </c:pt>
                      <c:pt idx="58">
                        <c:v>0.9907615580230148</c:v>
                      </c:pt>
                      <c:pt idx="59">
                        <c:v>0.99018667759129964</c:v>
                      </c:pt>
                      <c:pt idx="60">
                        <c:v>0.99032305640077734</c:v>
                      </c:pt>
                    </c:numCache>
                  </c:numRef>
                </c:yVal>
                <c:smooth val="0"/>
                <c:extLst xmlns:c15="http://schemas.microsoft.com/office/drawing/2012/chart">
                  <c:ext xmlns:c16="http://schemas.microsoft.com/office/drawing/2014/chart" uri="{C3380CC4-5D6E-409C-BE32-E72D297353CC}">
                    <c16:uniqueId val="{00000009-7CBB-4E7B-AAD7-8E02881B1772}"/>
                  </c:ext>
                </c:extLst>
              </c15:ser>
            </c15:filteredScatterSeries>
            <c15:filteredScatterSeries>
              <c15:ser>
                <c:idx val="3"/>
                <c:order val="4"/>
                <c:tx>
                  <c:v>012860-3a</c:v>
                </c:tx>
                <c:errBars>
                  <c:errDir val="y"/>
                  <c:errBarType val="both"/>
                  <c:errValType val="cust"/>
                  <c:noEndCap val="0"/>
                  <c:plus>
                    <c:numRef>
                      <c:extLst xmlns:c15="http://schemas.microsoft.com/office/drawing/2012/chart">
                        <c:ext xmlns:c15="http://schemas.microsoft.com/office/drawing/2012/chart" uri="{02D57815-91ED-43cb-92C2-25804820EDAC}">
                          <c15:formulaRef>
                            <c15:sqref>'HCL-012944_4-6'!$L$85:$L$145</c15:sqref>
                          </c15:formulaRef>
                        </c:ext>
                      </c:extLst>
                      <c:numCache>
                        <c:formatCode>General</c:formatCode>
                        <c:ptCount val="61"/>
                        <c:pt idx="0">
                          <c:v>0</c:v>
                        </c:pt>
                        <c:pt idx="1">
                          <c:v>1.3452629585762691E-2</c:v>
                        </c:pt>
                        <c:pt idx="2">
                          <c:v>4.1565753245567452E-2</c:v>
                        </c:pt>
                        <c:pt idx="3">
                          <c:v>6.6507132676138961E-2</c:v>
                        </c:pt>
                        <c:pt idx="4">
                          <c:v>9.6379557646959282E-2</c:v>
                        </c:pt>
                        <c:pt idx="5">
                          <c:v>0.11211287207295953</c:v>
                        </c:pt>
                        <c:pt idx="6">
                          <c:v>8.4326955122148037E-2</c:v>
                        </c:pt>
                        <c:pt idx="7">
                          <c:v>6.5373759556690003E-2</c:v>
                        </c:pt>
                        <c:pt idx="8">
                          <c:v>5.0020420560650383E-2</c:v>
                        </c:pt>
                        <c:pt idx="9">
                          <c:v>3.2459250688846725E-2</c:v>
                        </c:pt>
                        <c:pt idx="10">
                          <c:v>2.2129984587089889E-2</c:v>
                        </c:pt>
                        <c:pt idx="11">
                          <c:v>1.2560852686035545E-2</c:v>
                        </c:pt>
                        <c:pt idx="12">
                          <c:v>1.0536235521727274E-2</c:v>
                        </c:pt>
                        <c:pt idx="13">
                          <c:v>1.0869845703357047E-2</c:v>
                        </c:pt>
                        <c:pt idx="14">
                          <c:v>1.1657429623202792E-2</c:v>
                        </c:pt>
                        <c:pt idx="15">
                          <c:v>1.1657429623202792E-2</c:v>
                        </c:pt>
                        <c:pt idx="16">
                          <c:v>1.1657429623202792E-2</c:v>
                        </c:pt>
                        <c:pt idx="17">
                          <c:v>1.1657429623202792E-2</c:v>
                        </c:pt>
                        <c:pt idx="18">
                          <c:v>1.1657429623202792E-2</c:v>
                        </c:pt>
                        <c:pt idx="19">
                          <c:v>1.1657429623202792E-2</c:v>
                        </c:pt>
                        <c:pt idx="20">
                          <c:v>1.1657429623202792E-2</c:v>
                        </c:pt>
                        <c:pt idx="21">
                          <c:v>1.1657429623202792E-2</c:v>
                        </c:pt>
                        <c:pt idx="22">
                          <c:v>1.1657429623202792E-2</c:v>
                        </c:pt>
                        <c:pt idx="23">
                          <c:v>1.1657429623202792E-2</c:v>
                        </c:pt>
                        <c:pt idx="24">
                          <c:v>1.1657429623202792E-2</c:v>
                        </c:pt>
                        <c:pt idx="25">
                          <c:v>1.1657429623202792E-2</c:v>
                        </c:pt>
                        <c:pt idx="26">
                          <c:v>1.1657429623202792E-2</c:v>
                        </c:pt>
                        <c:pt idx="27">
                          <c:v>1.1657429623202792E-2</c:v>
                        </c:pt>
                        <c:pt idx="28">
                          <c:v>1.1657429623202792E-2</c:v>
                        </c:pt>
                        <c:pt idx="29">
                          <c:v>1.1657429623202792E-2</c:v>
                        </c:pt>
                        <c:pt idx="30">
                          <c:v>1.1657429623202792E-2</c:v>
                        </c:pt>
                        <c:pt idx="31">
                          <c:v>1.1657429623202792E-2</c:v>
                        </c:pt>
                        <c:pt idx="32">
                          <c:v>1.1657429623202792E-2</c:v>
                        </c:pt>
                        <c:pt idx="33">
                          <c:v>1.1657429623202792E-2</c:v>
                        </c:pt>
                        <c:pt idx="34">
                          <c:v>1.1657429623202792E-2</c:v>
                        </c:pt>
                        <c:pt idx="35">
                          <c:v>1.1657429623202792E-2</c:v>
                        </c:pt>
                        <c:pt idx="36">
                          <c:v>1.1657429623202792E-2</c:v>
                        </c:pt>
                        <c:pt idx="37">
                          <c:v>1.1657429623202792E-2</c:v>
                        </c:pt>
                        <c:pt idx="38">
                          <c:v>1.1657429623202792E-2</c:v>
                        </c:pt>
                        <c:pt idx="39">
                          <c:v>1.1657429623202792E-2</c:v>
                        </c:pt>
                        <c:pt idx="40">
                          <c:v>1.1657429623202792E-2</c:v>
                        </c:pt>
                        <c:pt idx="41">
                          <c:v>1.1657429623202792E-2</c:v>
                        </c:pt>
                        <c:pt idx="42">
                          <c:v>1.1657429623202792E-2</c:v>
                        </c:pt>
                        <c:pt idx="43">
                          <c:v>1.1657429623202792E-2</c:v>
                        </c:pt>
                        <c:pt idx="44">
                          <c:v>1.1657429623202792E-2</c:v>
                        </c:pt>
                        <c:pt idx="45">
                          <c:v>1.1657429623202792E-2</c:v>
                        </c:pt>
                        <c:pt idx="46">
                          <c:v>1.1657429623202792E-2</c:v>
                        </c:pt>
                        <c:pt idx="47">
                          <c:v>1.1657429623202792E-2</c:v>
                        </c:pt>
                        <c:pt idx="48">
                          <c:v>1.1657429623202792E-2</c:v>
                        </c:pt>
                        <c:pt idx="49">
                          <c:v>1.1657429623202792E-2</c:v>
                        </c:pt>
                        <c:pt idx="50">
                          <c:v>1.1657429623202792E-2</c:v>
                        </c:pt>
                        <c:pt idx="51">
                          <c:v>1.1657429623202792E-2</c:v>
                        </c:pt>
                        <c:pt idx="52">
                          <c:v>1.1657429623202792E-2</c:v>
                        </c:pt>
                        <c:pt idx="53">
                          <c:v>1.1657429623202792E-2</c:v>
                        </c:pt>
                        <c:pt idx="54">
                          <c:v>1.1657429623202792E-2</c:v>
                        </c:pt>
                        <c:pt idx="55">
                          <c:v>1.1657429623202792E-2</c:v>
                        </c:pt>
                        <c:pt idx="56">
                          <c:v>1.1657429623202792E-2</c:v>
                        </c:pt>
                        <c:pt idx="57">
                          <c:v>1.1657429623202792E-2</c:v>
                        </c:pt>
                        <c:pt idx="58">
                          <c:v>1.1657429623202792E-2</c:v>
                        </c:pt>
                        <c:pt idx="59">
                          <c:v>1.1657429623202792E-2</c:v>
                        </c:pt>
                        <c:pt idx="60">
                          <c:v>1.1657429623202792E-2</c:v>
                        </c:pt>
                      </c:numCache>
                    </c:numRef>
                  </c:plus>
                  <c:minus>
                    <c:numRef>
                      <c:extLst xmlns:c15="http://schemas.microsoft.com/office/drawing/2012/chart">
                        <c:ext xmlns:c15="http://schemas.microsoft.com/office/drawing/2012/chart" uri="{02D57815-91ED-43cb-92C2-25804820EDAC}">
                          <c15:formulaRef>
                            <c15:sqref>'HCL-012944_4-6'!$L$85:$L$145</c15:sqref>
                          </c15:formulaRef>
                        </c:ext>
                      </c:extLst>
                      <c:numCache>
                        <c:formatCode>General</c:formatCode>
                        <c:ptCount val="61"/>
                        <c:pt idx="0">
                          <c:v>0</c:v>
                        </c:pt>
                        <c:pt idx="1">
                          <c:v>1.3452629585762691E-2</c:v>
                        </c:pt>
                        <c:pt idx="2">
                          <c:v>4.1565753245567452E-2</c:v>
                        </c:pt>
                        <c:pt idx="3">
                          <c:v>6.6507132676138961E-2</c:v>
                        </c:pt>
                        <c:pt idx="4">
                          <c:v>9.6379557646959282E-2</c:v>
                        </c:pt>
                        <c:pt idx="5">
                          <c:v>0.11211287207295953</c:v>
                        </c:pt>
                        <c:pt idx="6">
                          <c:v>8.4326955122148037E-2</c:v>
                        </c:pt>
                        <c:pt idx="7">
                          <c:v>6.5373759556690003E-2</c:v>
                        </c:pt>
                        <c:pt idx="8">
                          <c:v>5.0020420560650383E-2</c:v>
                        </c:pt>
                        <c:pt idx="9">
                          <c:v>3.2459250688846725E-2</c:v>
                        </c:pt>
                        <c:pt idx="10">
                          <c:v>2.2129984587089889E-2</c:v>
                        </c:pt>
                        <c:pt idx="11">
                          <c:v>1.2560852686035545E-2</c:v>
                        </c:pt>
                        <c:pt idx="12">
                          <c:v>1.0536235521727274E-2</c:v>
                        </c:pt>
                        <c:pt idx="13">
                          <c:v>1.0869845703357047E-2</c:v>
                        </c:pt>
                        <c:pt idx="14">
                          <c:v>1.1657429623202792E-2</c:v>
                        </c:pt>
                        <c:pt idx="15">
                          <c:v>1.1657429623202792E-2</c:v>
                        </c:pt>
                        <c:pt idx="16">
                          <c:v>1.1657429623202792E-2</c:v>
                        </c:pt>
                        <c:pt idx="17">
                          <c:v>1.1657429623202792E-2</c:v>
                        </c:pt>
                        <c:pt idx="18">
                          <c:v>1.1657429623202792E-2</c:v>
                        </c:pt>
                        <c:pt idx="19">
                          <c:v>1.1657429623202792E-2</c:v>
                        </c:pt>
                        <c:pt idx="20">
                          <c:v>1.1657429623202792E-2</c:v>
                        </c:pt>
                        <c:pt idx="21">
                          <c:v>1.1657429623202792E-2</c:v>
                        </c:pt>
                        <c:pt idx="22">
                          <c:v>1.1657429623202792E-2</c:v>
                        </c:pt>
                        <c:pt idx="23">
                          <c:v>1.1657429623202792E-2</c:v>
                        </c:pt>
                        <c:pt idx="24">
                          <c:v>1.1657429623202792E-2</c:v>
                        </c:pt>
                        <c:pt idx="25">
                          <c:v>1.1657429623202792E-2</c:v>
                        </c:pt>
                        <c:pt idx="26">
                          <c:v>1.1657429623202792E-2</c:v>
                        </c:pt>
                        <c:pt idx="27">
                          <c:v>1.1657429623202792E-2</c:v>
                        </c:pt>
                        <c:pt idx="28">
                          <c:v>1.1657429623202792E-2</c:v>
                        </c:pt>
                        <c:pt idx="29">
                          <c:v>1.1657429623202792E-2</c:v>
                        </c:pt>
                        <c:pt idx="30">
                          <c:v>1.1657429623202792E-2</c:v>
                        </c:pt>
                        <c:pt idx="31">
                          <c:v>1.1657429623202792E-2</c:v>
                        </c:pt>
                        <c:pt idx="32">
                          <c:v>1.1657429623202792E-2</c:v>
                        </c:pt>
                        <c:pt idx="33">
                          <c:v>1.1657429623202792E-2</c:v>
                        </c:pt>
                        <c:pt idx="34">
                          <c:v>1.1657429623202792E-2</c:v>
                        </c:pt>
                        <c:pt idx="35">
                          <c:v>1.1657429623202792E-2</c:v>
                        </c:pt>
                        <c:pt idx="36">
                          <c:v>1.1657429623202792E-2</c:v>
                        </c:pt>
                        <c:pt idx="37">
                          <c:v>1.1657429623202792E-2</c:v>
                        </c:pt>
                        <c:pt idx="38">
                          <c:v>1.1657429623202792E-2</c:v>
                        </c:pt>
                        <c:pt idx="39">
                          <c:v>1.1657429623202792E-2</c:v>
                        </c:pt>
                        <c:pt idx="40">
                          <c:v>1.1657429623202792E-2</c:v>
                        </c:pt>
                        <c:pt idx="41">
                          <c:v>1.1657429623202792E-2</c:v>
                        </c:pt>
                        <c:pt idx="42">
                          <c:v>1.1657429623202792E-2</c:v>
                        </c:pt>
                        <c:pt idx="43">
                          <c:v>1.1657429623202792E-2</c:v>
                        </c:pt>
                        <c:pt idx="44">
                          <c:v>1.1657429623202792E-2</c:v>
                        </c:pt>
                        <c:pt idx="45">
                          <c:v>1.1657429623202792E-2</c:v>
                        </c:pt>
                        <c:pt idx="46">
                          <c:v>1.1657429623202792E-2</c:v>
                        </c:pt>
                        <c:pt idx="47">
                          <c:v>1.1657429623202792E-2</c:v>
                        </c:pt>
                        <c:pt idx="48">
                          <c:v>1.1657429623202792E-2</c:v>
                        </c:pt>
                        <c:pt idx="49">
                          <c:v>1.1657429623202792E-2</c:v>
                        </c:pt>
                        <c:pt idx="50">
                          <c:v>1.1657429623202792E-2</c:v>
                        </c:pt>
                        <c:pt idx="51">
                          <c:v>1.1657429623202792E-2</c:v>
                        </c:pt>
                        <c:pt idx="52">
                          <c:v>1.1657429623202792E-2</c:v>
                        </c:pt>
                        <c:pt idx="53">
                          <c:v>1.1657429623202792E-2</c:v>
                        </c:pt>
                        <c:pt idx="54">
                          <c:v>1.1657429623202792E-2</c:v>
                        </c:pt>
                        <c:pt idx="55">
                          <c:v>1.1657429623202792E-2</c:v>
                        </c:pt>
                        <c:pt idx="56">
                          <c:v>1.1657429623202792E-2</c:v>
                        </c:pt>
                        <c:pt idx="57">
                          <c:v>1.1657429623202792E-2</c:v>
                        </c:pt>
                        <c:pt idx="58">
                          <c:v>1.1657429623202792E-2</c:v>
                        </c:pt>
                        <c:pt idx="59">
                          <c:v>1.1657429623202792E-2</c:v>
                        </c:pt>
                        <c:pt idx="60">
                          <c:v>1.1657429623202792E-2</c:v>
                        </c:pt>
                      </c:numCache>
                    </c:numRef>
                  </c:minus>
                </c:errBars>
                <c:xVal>
                  <c:numRef>
                    <c:extLst xmlns:c15="http://schemas.microsoft.com/office/drawing/2012/chart">
                      <c:ext xmlns:c15="http://schemas.microsoft.com/office/drawing/2012/chart" uri="{02D57815-91ED-43cb-92C2-25804820EDAC}">
                        <c15:formulaRef>
                          <c15:sqref>'HCL-012944_4-6'!$A$85:$A$145</c15:sqref>
                        </c15:formulaRef>
                      </c:ext>
                    </c:extLst>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HCL-012944_4-6'!$K$85:$K$145</c15:sqref>
                        </c15:formulaRef>
                      </c:ext>
                    </c:extLst>
                    <c:numCache>
                      <c:formatCode>0.00%</c:formatCode>
                      <c:ptCount val="61"/>
                      <c:pt idx="0">
                        <c:v>0</c:v>
                      </c:pt>
                      <c:pt idx="1">
                        <c:v>1.6857800342548409E-2</c:v>
                      </c:pt>
                      <c:pt idx="2">
                        <c:v>0.13486618340518461</c:v>
                      </c:pt>
                      <c:pt idx="3">
                        <c:v>0.26602819976613185</c:v>
                      </c:pt>
                      <c:pt idx="4">
                        <c:v>0.40539230284853517</c:v>
                      </c:pt>
                      <c:pt idx="5">
                        <c:v>0.54269774743358856</c:v>
                      </c:pt>
                      <c:pt idx="6">
                        <c:v>0.66093043634724979</c:v>
                      </c:pt>
                      <c:pt idx="7">
                        <c:v>0.74767821187433714</c:v>
                      </c:pt>
                      <c:pt idx="8">
                        <c:v>0.81998198048892235</c:v>
                      </c:pt>
                      <c:pt idx="9">
                        <c:v>0.88253962908311234</c:v>
                      </c:pt>
                      <c:pt idx="10">
                        <c:v>0.91934955318581812</c:v>
                      </c:pt>
                      <c:pt idx="11">
                        <c:v>0.94490851706293177</c:v>
                      </c:pt>
                      <c:pt idx="12">
                        <c:v>0.95388440904563809</c:v>
                      </c:pt>
                      <c:pt idx="13">
                        <c:v>0.95648966054836004</c:v>
                      </c:pt>
                      <c:pt idx="14">
                        <c:v>0.95732586036286849</c:v>
                      </c:pt>
                      <c:pt idx="15">
                        <c:v>0.95732586036286849</c:v>
                      </c:pt>
                      <c:pt idx="16">
                        <c:v>0.95732586036286849</c:v>
                      </c:pt>
                      <c:pt idx="17">
                        <c:v>0.95732586036286849</c:v>
                      </c:pt>
                      <c:pt idx="18">
                        <c:v>0.95732586036286849</c:v>
                      </c:pt>
                      <c:pt idx="19">
                        <c:v>0.95732586036286849</c:v>
                      </c:pt>
                      <c:pt idx="20">
                        <c:v>0.95732586036286849</c:v>
                      </c:pt>
                      <c:pt idx="21">
                        <c:v>0.95732586036286849</c:v>
                      </c:pt>
                      <c:pt idx="22">
                        <c:v>0.95732586036286849</c:v>
                      </c:pt>
                      <c:pt idx="23">
                        <c:v>0.95732586036286849</c:v>
                      </c:pt>
                      <c:pt idx="24">
                        <c:v>0.95732586036286849</c:v>
                      </c:pt>
                      <c:pt idx="25">
                        <c:v>0.95732586036286849</c:v>
                      </c:pt>
                      <c:pt idx="26">
                        <c:v>0.95732586036286849</c:v>
                      </c:pt>
                      <c:pt idx="27">
                        <c:v>0.95732586036286849</c:v>
                      </c:pt>
                      <c:pt idx="28">
                        <c:v>0.95732586036286849</c:v>
                      </c:pt>
                      <c:pt idx="29">
                        <c:v>0.95732586036286849</c:v>
                      </c:pt>
                      <c:pt idx="30">
                        <c:v>0.95732586036286849</c:v>
                      </c:pt>
                      <c:pt idx="31">
                        <c:v>0.95732586036286849</c:v>
                      </c:pt>
                      <c:pt idx="32">
                        <c:v>0.95732586036286849</c:v>
                      </c:pt>
                      <c:pt idx="33">
                        <c:v>0.95732586036286849</c:v>
                      </c:pt>
                      <c:pt idx="34">
                        <c:v>0.95732586036286849</c:v>
                      </c:pt>
                      <c:pt idx="35">
                        <c:v>0.95732586036286849</c:v>
                      </c:pt>
                      <c:pt idx="36">
                        <c:v>0.95732586036286849</c:v>
                      </c:pt>
                      <c:pt idx="37">
                        <c:v>0.95732586036286849</c:v>
                      </c:pt>
                      <c:pt idx="38">
                        <c:v>0.95732586036286849</c:v>
                      </c:pt>
                      <c:pt idx="39">
                        <c:v>0.95732586036286849</c:v>
                      </c:pt>
                      <c:pt idx="40">
                        <c:v>0.95732586036286849</c:v>
                      </c:pt>
                      <c:pt idx="41">
                        <c:v>0.95732586036286849</c:v>
                      </c:pt>
                      <c:pt idx="42">
                        <c:v>0.95732586036286849</c:v>
                      </c:pt>
                      <c:pt idx="43">
                        <c:v>0.95732586036286849</c:v>
                      </c:pt>
                      <c:pt idx="44">
                        <c:v>0.95732586036286849</c:v>
                      </c:pt>
                      <c:pt idx="45">
                        <c:v>0.95732586036286849</c:v>
                      </c:pt>
                      <c:pt idx="46">
                        <c:v>0.95732586036286849</c:v>
                      </c:pt>
                      <c:pt idx="47">
                        <c:v>0.95732586036286849</c:v>
                      </c:pt>
                      <c:pt idx="48">
                        <c:v>0.95732586036286849</c:v>
                      </c:pt>
                      <c:pt idx="49">
                        <c:v>0.95732586036286849</c:v>
                      </c:pt>
                      <c:pt idx="50">
                        <c:v>0.95732586036286849</c:v>
                      </c:pt>
                      <c:pt idx="51">
                        <c:v>0.95732586036286849</c:v>
                      </c:pt>
                      <c:pt idx="52">
                        <c:v>0.95732586036286849</c:v>
                      </c:pt>
                      <c:pt idx="53">
                        <c:v>0.95732586036286849</c:v>
                      </c:pt>
                      <c:pt idx="54">
                        <c:v>0.95732586036286849</c:v>
                      </c:pt>
                      <c:pt idx="55">
                        <c:v>0.95732586036286849</c:v>
                      </c:pt>
                      <c:pt idx="56">
                        <c:v>0.95732586036286849</c:v>
                      </c:pt>
                      <c:pt idx="57">
                        <c:v>0.95732586036286849</c:v>
                      </c:pt>
                      <c:pt idx="58">
                        <c:v>0.95732586036286849</c:v>
                      </c:pt>
                      <c:pt idx="59">
                        <c:v>0.95732586036286849</c:v>
                      </c:pt>
                      <c:pt idx="60">
                        <c:v>0.95732586036286849</c:v>
                      </c:pt>
                    </c:numCache>
                  </c:numRef>
                </c:yVal>
                <c:smooth val="0"/>
                <c:extLst xmlns:c15="http://schemas.microsoft.com/office/drawing/2012/chart">
                  <c:ext xmlns:c16="http://schemas.microsoft.com/office/drawing/2014/chart" uri="{C3380CC4-5D6E-409C-BE32-E72D297353CC}">
                    <c16:uniqueId val="{0000000A-7CBB-4E7B-AAD7-8E02881B1772}"/>
                  </c:ext>
                </c:extLst>
              </c15:ser>
            </c15:filteredScatterSeries>
            <c15:filteredScatterSeries>
              <c15:ser>
                <c:idx val="7"/>
                <c:order val="5"/>
                <c:tx>
                  <c:v>012680-3b</c:v>
                </c:tx>
                <c:errBars>
                  <c:errDir val="y"/>
                  <c:errBarType val="both"/>
                  <c:errValType val="cust"/>
                  <c:noEndCap val="0"/>
                  <c:plus>
                    <c:numRef>
                      <c:extLst xmlns:c15="http://schemas.microsoft.com/office/drawing/2012/chart">
                        <c:ext xmlns:c15="http://schemas.microsoft.com/office/drawing/2012/chart" uri="{02D57815-91ED-43cb-92C2-25804820EDAC}">
                          <c15:formulaRef>
                            <c15:sqref>'HCL-012944_4-6'!$L$154:$L$214</c15:sqref>
                          </c15:formulaRef>
                        </c:ext>
                      </c:extLst>
                      <c:numCache>
                        <c:formatCode>General</c:formatCode>
                        <c:ptCount val="61"/>
                        <c:pt idx="0">
                          <c:v>0</c:v>
                        </c:pt>
                        <c:pt idx="1">
                          <c:v>2.9333010924860871E-3</c:v>
                        </c:pt>
                        <c:pt idx="2">
                          <c:v>7.5511947163286871E-3</c:v>
                        </c:pt>
                        <c:pt idx="3">
                          <c:v>1.9400963044178026E-2</c:v>
                        </c:pt>
                        <c:pt idx="4">
                          <c:v>2.6662632187366132E-2</c:v>
                        </c:pt>
                        <c:pt idx="5">
                          <c:v>3.0188947258113382E-2</c:v>
                        </c:pt>
                        <c:pt idx="6">
                          <c:v>3.0550658030946053E-2</c:v>
                        </c:pt>
                        <c:pt idx="7">
                          <c:v>2.7042917636364232E-2</c:v>
                        </c:pt>
                        <c:pt idx="8">
                          <c:v>2.0067654987213735E-2</c:v>
                        </c:pt>
                        <c:pt idx="9">
                          <c:v>1.4245672039838456E-2</c:v>
                        </c:pt>
                        <c:pt idx="10">
                          <c:v>1.5316622726868664E-2</c:v>
                        </c:pt>
                        <c:pt idx="11">
                          <c:v>1.4346342473283685E-2</c:v>
                        </c:pt>
                        <c:pt idx="12">
                          <c:v>1.6624070091722846E-2</c:v>
                        </c:pt>
                        <c:pt idx="13">
                          <c:v>1.8557764020648241E-2</c:v>
                        </c:pt>
                        <c:pt idx="14">
                          <c:v>1.9011015862379254E-2</c:v>
                        </c:pt>
                        <c:pt idx="15">
                          <c:v>1.9032253580823763E-2</c:v>
                        </c:pt>
                        <c:pt idx="16">
                          <c:v>1.9098647687369377E-2</c:v>
                        </c:pt>
                        <c:pt idx="17">
                          <c:v>1.9397579465285926E-2</c:v>
                        </c:pt>
                        <c:pt idx="18">
                          <c:v>1.9397579465285926E-2</c:v>
                        </c:pt>
                        <c:pt idx="19">
                          <c:v>1.9397579465285926E-2</c:v>
                        </c:pt>
                        <c:pt idx="20">
                          <c:v>1.9397579465285926E-2</c:v>
                        </c:pt>
                        <c:pt idx="21">
                          <c:v>1.9397579465285926E-2</c:v>
                        </c:pt>
                        <c:pt idx="22">
                          <c:v>1.9397579465285926E-2</c:v>
                        </c:pt>
                        <c:pt idx="23">
                          <c:v>1.9397579465285926E-2</c:v>
                        </c:pt>
                        <c:pt idx="24">
                          <c:v>1.9397579465285926E-2</c:v>
                        </c:pt>
                        <c:pt idx="25">
                          <c:v>1.9397579465285926E-2</c:v>
                        </c:pt>
                        <c:pt idx="26">
                          <c:v>1.9397579465285926E-2</c:v>
                        </c:pt>
                        <c:pt idx="27">
                          <c:v>1.9397579465285926E-2</c:v>
                        </c:pt>
                        <c:pt idx="28">
                          <c:v>1.9397579465285926E-2</c:v>
                        </c:pt>
                        <c:pt idx="29">
                          <c:v>1.9397579465285926E-2</c:v>
                        </c:pt>
                        <c:pt idx="30">
                          <c:v>1.9397579465285926E-2</c:v>
                        </c:pt>
                        <c:pt idx="31">
                          <c:v>1.9397579465285926E-2</c:v>
                        </c:pt>
                        <c:pt idx="32">
                          <c:v>1.9397579465285926E-2</c:v>
                        </c:pt>
                        <c:pt idx="33">
                          <c:v>1.9397579465285926E-2</c:v>
                        </c:pt>
                        <c:pt idx="34">
                          <c:v>1.9397579465285926E-2</c:v>
                        </c:pt>
                        <c:pt idx="35">
                          <c:v>1.9397579465285926E-2</c:v>
                        </c:pt>
                        <c:pt idx="36">
                          <c:v>1.9397579465285926E-2</c:v>
                        </c:pt>
                        <c:pt idx="37">
                          <c:v>1.9397579465285926E-2</c:v>
                        </c:pt>
                        <c:pt idx="38">
                          <c:v>1.9397579465285926E-2</c:v>
                        </c:pt>
                        <c:pt idx="39">
                          <c:v>1.9397579465285926E-2</c:v>
                        </c:pt>
                        <c:pt idx="40">
                          <c:v>1.9397579465285926E-2</c:v>
                        </c:pt>
                        <c:pt idx="41">
                          <c:v>1.9397579465285926E-2</c:v>
                        </c:pt>
                        <c:pt idx="42">
                          <c:v>1.9397579465285926E-2</c:v>
                        </c:pt>
                        <c:pt idx="43">
                          <c:v>1.9397579465285926E-2</c:v>
                        </c:pt>
                        <c:pt idx="44">
                          <c:v>1.9397579465285926E-2</c:v>
                        </c:pt>
                        <c:pt idx="45">
                          <c:v>1.9397579465285926E-2</c:v>
                        </c:pt>
                        <c:pt idx="46">
                          <c:v>1.9397579465285926E-2</c:v>
                        </c:pt>
                        <c:pt idx="47">
                          <c:v>1.9397579465285926E-2</c:v>
                        </c:pt>
                        <c:pt idx="48">
                          <c:v>1.9397579465285926E-2</c:v>
                        </c:pt>
                        <c:pt idx="49">
                          <c:v>1.9397579465285926E-2</c:v>
                        </c:pt>
                        <c:pt idx="50">
                          <c:v>1.9397579465285926E-2</c:v>
                        </c:pt>
                        <c:pt idx="51">
                          <c:v>1.9397579465285926E-2</c:v>
                        </c:pt>
                        <c:pt idx="52">
                          <c:v>1.9397579465285926E-2</c:v>
                        </c:pt>
                        <c:pt idx="53">
                          <c:v>1.9397579465285926E-2</c:v>
                        </c:pt>
                        <c:pt idx="54">
                          <c:v>1.9397579465285926E-2</c:v>
                        </c:pt>
                        <c:pt idx="55">
                          <c:v>1.9397579465285926E-2</c:v>
                        </c:pt>
                        <c:pt idx="56">
                          <c:v>1.9397579465285926E-2</c:v>
                        </c:pt>
                        <c:pt idx="57">
                          <c:v>1.9397579465285926E-2</c:v>
                        </c:pt>
                        <c:pt idx="58">
                          <c:v>1.9397579465285926E-2</c:v>
                        </c:pt>
                        <c:pt idx="59">
                          <c:v>1.9397579465285926E-2</c:v>
                        </c:pt>
                        <c:pt idx="60">
                          <c:v>1.9397579465285926E-2</c:v>
                        </c:pt>
                      </c:numCache>
                    </c:numRef>
                  </c:plus>
                  <c:minus>
                    <c:numRef>
                      <c:extLst xmlns:c15="http://schemas.microsoft.com/office/drawing/2012/chart">
                        <c:ext xmlns:c15="http://schemas.microsoft.com/office/drawing/2012/chart" uri="{02D57815-91ED-43cb-92C2-25804820EDAC}">
                          <c15:formulaRef>
                            <c15:sqref>'HCL-012944_4-6'!$L$154:$L$214</c15:sqref>
                          </c15:formulaRef>
                        </c:ext>
                      </c:extLst>
                      <c:numCache>
                        <c:formatCode>General</c:formatCode>
                        <c:ptCount val="61"/>
                        <c:pt idx="0">
                          <c:v>0</c:v>
                        </c:pt>
                        <c:pt idx="1">
                          <c:v>2.9333010924860871E-3</c:v>
                        </c:pt>
                        <c:pt idx="2">
                          <c:v>7.5511947163286871E-3</c:v>
                        </c:pt>
                        <c:pt idx="3">
                          <c:v>1.9400963044178026E-2</c:v>
                        </c:pt>
                        <c:pt idx="4">
                          <c:v>2.6662632187366132E-2</c:v>
                        </c:pt>
                        <c:pt idx="5">
                          <c:v>3.0188947258113382E-2</c:v>
                        </c:pt>
                        <c:pt idx="6">
                          <c:v>3.0550658030946053E-2</c:v>
                        </c:pt>
                        <c:pt idx="7">
                          <c:v>2.7042917636364232E-2</c:v>
                        </c:pt>
                        <c:pt idx="8">
                          <c:v>2.0067654987213735E-2</c:v>
                        </c:pt>
                        <c:pt idx="9">
                          <c:v>1.4245672039838456E-2</c:v>
                        </c:pt>
                        <c:pt idx="10">
                          <c:v>1.5316622726868664E-2</c:v>
                        </c:pt>
                        <c:pt idx="11">
                          <c:v>1.4346342473283685E-2</c:v>
                        </c:pt>
                        <c:pt idx="12">
                          <c:v>1.6624070091722846E-2</c:v>
                        </c:pt>
                        <c:pt idx="13">
                          <c:v>1.8557764020648241E-2</c:v>
                        </c:pt>
                        <c:pt idx="14">
                          <c:v>1.9011015862379254E-2</c:v>
                        </c:pt>
                        <c:pt idx="15">
                          <c:v>1.9032253580823763E-2</c:v>
                        </c:pt>
                        <c:pt idx="16">
                          <c:v>1.9098647687369377E-2</c:v>
                        </c:pt>
                        <c:pt idx="17">
                          <c:v>1.9397579465285926E-2</c:v>
                        </c:pt>
                        <c:pt idx="18">
                          <c:v>1.9397579465285926E-2</c:v>
                        </c:pt>
                        <c:pt idx="19">
                          <c:v>1.9397579465285926E-2</c:v>
                        </c:pt>
                        <c:pt idx="20">
                          <c:v>1.9397579465285926E-2</c:v>
                        </c:pt>
                        <c:pt idx="21">
                          <c:v>1.9397579465285926E-2</c:v>
                        </c:pt>
                        <c:pt idx="22">
                          <c:v>1.9397579465285926E-2</c:v>
                        </c:pt>
                        <c:pt idx="23">
                          <c:v>1.9397579465285926E-2</c:v>
                        </c:pt>
                        <c:pt idx="24">
                          <c:v>1.9397579465285926E-2</c:v>
                        </c:pt>
                        <c:pt idx="25">
                          <c:v>1.9397579465285926E-2</c:v>
                        </c:pt>
                        <c:pt idx="26">
                          <c:v>1.9397579465285926E-2</c:v>
                        </c:pt>
                        <c:pt idx="27">
                          <c:v>1.9397579465285926E-2</c:v>
                        </c:pt>
                        <c:pt idx="28">
                          <c:v>1.9397579465285926E-2</c:v>
                        </c:pt>
                        <c:pt idx="29">
                          <c:v>1.9397579465285926E-2</c:v>
                        </c:pt>
                        <c:pt idx="30">
                          <c:v>1.9397579465285926E-2</c:v>
                        </c:pt>
                        <c:pt idx="31">
                          <c:v>1.9397579465285926E-2</c:v>
                        </c:pt>
                        <c:pt idx="32">
                          <c:v>1.9397579465285926E-2</c:v>
                        </c:pt>
                        <c:pt idx="33">
                          <c:v>1.9397579465285926E-2</c:v>
                        </c:pt>
                        <c:pt idx="34">
                          <c:v>1.9397579465285926E-2</c:v>
                        </c:pt>
                        <c:pt idx="35">
                          <c:v>1.9397579465285926E-2</c:v>
                        </c:pt>
                        <c:pt idx="36">
                          <c:v>1.9397579465285926E-2</c:v>
                        </c:pt>
                        <c:pt idx="37">
                          <c:v>1.9397579465285926E-2</c:v>
                        </c:pt>
                        <c:pt idx="38">
                          <c:v>1.9397579465285926E-2</c:v>
                        </c:pt>
                        <c:pt idx="39">
                          <c:v>1.9397579465285926E-2</c:v>
                        </c:pt>
                        <c:pt idx="40">
                          <c:v>1.9397579465285926E-2</c:v>
                        </c:pt>
                        <c:pt idx="41">
                          <c:v>1.9397579465285926E-2</c:v>
                        </c:pt>
                        <c:pt idx="42">
                          <c:v>1.9397579465285926E-2</c:v>
                        </c:pt>
                        <c:pt idx="43">
                          <c:v>1.9397579465285926E-2</c:v>
                        </c:pt>
                        <c:pt idx="44">
                          <c:v>1.9397579465285926E-2</c:v>
                        </c:pt>
                        <c:pt idx="45">
                          <c:v>1.9397579465285926E-2</c:v>
                        </c:pt>
                        <c:pt idx="46">
                          <c:v>1.9397579465285926E-2</c:v>
                        </c:pt>
                        <c:pt idx="47">
                          <c:v>1.9397579465285926E-2</c:v>
                        </c:pt>
                        <c:pt idx="48">
                          <c:v>1.9397579465285926E-2</c:v>
                        </c:pt>
                        <c:pt idx="49">
                          <c:v>1.9397579465285926E-2</c:v>
                        </c:pt>
                        <c:pt idx="50">
                          <c:v>1.9397579465285926E-2</c:v>
                        </c:pt>
                        <c:pt idx="51">
                          <c:v>1.9397579465285926E-2</c:v>
                        </c:pt>
                        <c:pt idx="52">
                          <c:v>1.9397579465285926E-2</c:v>
                        </c:pt>
                        <c:pt idx="53">
                          <c:v>1.9397579465285926E-2</c:v>
                        </c:pt>
                        <c:pt idx="54">
                          <c:v>1.9397579465285926E-2</c:v>
                        </c:pt>
                        <c:pt idx="55">
                          <c:v>1.9397579465285926E-2</c:v>
                        </c:pt>
                        <c:pt idx="56">
                          <c:v>1.9397579465285926E-2</c:v>
                        </c:pt>
                        <c:pt idx="57">
                          <c:v>1.9397579465285926E-2</c:v>
                        </c:pt>
                        <c:pt idx="58">
                          <c:v>1.9397579465285926E-2</c:v>
                        </c:pt>
                        <c:pt idx="59">
                          <c:v>1.9397579465285926E-2</c:v>
                        </c:pt>
                        <c:pt idx="60">
                          <c:v>1.9397579465285926E-2</c:v>
                        </c:pt>
                      </c:numCache>
                    </c:numRef>
                  </c:minus>
                </c:errBars>
                <c:xVal>
                  <c:numRef>
                    <c:extLst xmlns:c15="http://schemas.microsoft.com/office/drawing/2012/chart">
                      <c:ext xmlns:c15="http://schemas.microsoft.com/office/drawing/2012/chart" uri="{02D57815-91ED-43cb-92C2-25804820EDAC}">
                        <c15:formulaRef>
                          <c15:sqref>'HCL-012944_4-6'!$A$154:$A$214</c15:sqref>
                        </c15:formulaRef>
                      </c:ext>
                    </c:extLst>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HCL-012944_4-6'!$K$154:$K$214</c15:sqref>
                        </c15:formulaRef>
                      </c:ext>
                    </c:extLst>
                    <c:numCache>
                      <c:formatCode>0.00%</c:formatCode>
                      <c:ptCount val="61"/>
                      <c:pt idx="0">
                        <c:v>0</c:v>
                      </c:pt>
                      <c:pt idx="1">
                        <c:v>7.4644122233653463E-3</c:v>
                      </c:pt>
                      <c:pt idx="2">
                        <c:v>0.13640119949996912</c:v>
                      </c:pt>
                      <c:pt idx="3">
                        <c:v>0.26776361092809137</c:v>
                      </c:pt>
                      <c:pt idx="4">
                        <c:v>0.40073256866959944</c:v>
                      </c:pt>
                      <c:pt idx="5">
                        <c:v>0.53902497802251437</c:v>
                      </c:pt>
                      <c:pt idx="6">
                        <c:v>0.67276555275318584</c:v>
                      </c:pt>
                      <c:pt idx="7">
                        <c:v>0.75337435743249725</c:v>
                      </c:pt>
                      <c:pt idx="8">
                        <c:v>0.81744459750801168</c:v>
                      </c:pt>
                      <c:pt idx="9">
                        <c:v>0.8676604080876128</c:v>
                      </c:pt>
                      <c:pt idx="10">
                        <c:v>0.91113526611088569</c:v>
                      </c:pt>
                      <c:pt idx="11">
                        <c:v>0.93823063301219201</c:v>
                      </c:pt>
                      <c:pt idx="12">
                        <c:v>0.9520626163506799</c:v>
                      </c:pt>
                      <c:pt idx="13">
                        <c:v>0.95730041450867942</c:v>
                      </c:pt>
                      <c:pt idx="14">
                        <c:v>0.9593040414526387</c:v>
                      </c:pt>
                      <c:pt idx="15">
                        <c:v>0.95969741925894125</c:v>
                      </c:pt>
                      <c:pt idx="16">
                        <c:v>0.95930229276184598</c:v>
                      </c:pt>
                      <c:pt idx="17">
                        <c:v>0.95930056486395243</c:v>
                      </c:pt>
                      <c:pt idx="18">
                        <c:v>0.95930056486395243</c:v>
                      </c:pt>
                      <c:pt idx="19">
                        <c:v>0.95930056486395243</c:v>
                      </c:pt>
                      <c:pt idx="20">
                        <c:v>0.95930056486395243</c:v>
                      </c:pt>
                      <c:pt idx="21">
                        <c:v>0.95930056486395243</c:v>
                      </c:pt>
                      <c:pt idx="22">
                        <c:v>0.95930056486395243</c:v>
                      </c:pt>
                      <c:pt idx="23">
                        <c:v>0.95930056486395243</c:v>
                      </c:pt>
                      <c:pt idx="24">
                        <c:v>0.95930056486395243</c:v>
                      </c:pt>
                      <c:pt idx="25">
                        <c:v>0.95930056486395243</c:v>
                      </c:pt>
                      <c:pt idx="26">
                        <c:v>0.95930056486395243</c:v>
                      </c:pt>
                      <c:pt idx="27">
                        <c:v>0.95930056486395243</c:v>
                      </c:pt>
                      <c:pt idx="28">
                        <c:v>0.95930056486395243</c:v>
                      </c:pt>
                      <c:pt idx="29">
                        <c:v>0.95930056486395243</c:v>
                      </c:pt>
                      <c:pt idx="30">
                        <c:v>0.95930056486395243</c:v>
                      </c:pt>
                      <c:pt idx="31">
                        <c:v>0.95930056486395243</c:v>
                      </c:pt>
                      <c:pt idx="32">
                        <c:v>0.95930056486395243</c:v>
                      </c:pt>
                      <c:pt idx="33">
                        <c:v>0.95930056486395243</c:v>
                      </c:pt>
                      <c:pt idx="34">
                        <c:v>0.95930056486395243</c:v>
                      </c:pt>
                      <c:pt idx="35">
                        <c:v>0.95930056486395243</c:v>
                      </c:pt>
                      <c:pt idx="36">
                        <c:v>0.95930056486395243</c:v>
                      </c:pt>
                      <c:pt idx="37">
                        <c:v>0.95930056486395243</c:v>
                      </c:pt>
                      <c:pt idx="38">
                        <c:v>0.95930056486395243</c:v>
                      </c:pt>
                      <c:pt idx="39">
                        <c:v>0.95930056486395243</c:v>
                      </c:pt>
                      <c:pt idx="40">
                        <c:v>0.95930056486395243</c:v>
                      </c:pt>
                      <c:pt idx="41">
                        <c:v>0.95930056486395243</c:v>
                      </c:pt>
                      <c:pt idx="42">
                        <c:v>0.95930056486395243</c:v>
                      </c:pt>
                      <c:pt idx="43">
                        <c:v>0.95930056486395243</c:v>
                      </c:pt>
                      <c:pt idx="44">
                        <c:v>0.95930056486395243</c:v>
                      </c:pt>
                      <c:pt idx="45">
                        <c:v>0.95930056486395243</c:v>
                      </c:pt>
                      <c:pt idx="46">
                        <c:v>0.95930056486395243</c:v>
                      </c:pt>
                      <c:pt idx="47">
                        <c:v>0.95930056486395243</c:v>
                      </c:pt>
                      <c:pt idx="48">
                        <c:v>0.95930056486395243</c:v>
                      </c:pt>
                      <c:pt idx="49">
                        <c:v>0.95930056486395243</c:v>
                      </c:pt>
                      <c:pt idx="50">
                        <c:v>0.95930056486395243</c:v>
                      </c:pt>
                      <c:pt idx="51">
                        <c:v>0.95930056486395243</c:v>
                      </c:pt>
                      <c:pt idx="52">
                        <c:v>0.95930056486395243</c:v>
                      </c:pt>
                      <c:pt idx="53">
                        <c:v>0.95930056486395243</c:v>
                      </c:pt>
                      <c:pt idx="54">
                        <c:v>0.95930056486395243</c:v>
                      </c:pt>
                      <c:pt idx="55">
                        <c:v>0.95930056486395243</c:v>
                      </c:pt>
                      <c:pt idx="56">
                        <c:v>0.95930056486395243</c:v>
                      </c:pt>
                      <c:pt idx="57">
                        <c:v>0.95930056486395243</c:v>
                      </c:pt>
                      <c:pt idx="58">
                        <c:v>0.95930056486395243</c:v>
                      </c:pt>
                      <c:pt idx="59">
                        <c:v>0.95930056486395243</c:v>
                      </c:pt>
                      <c:pt idx="60">
                        <c:v>0.95930056486395243</c:v>
                      </c:pt>
                    </c:numCache>
                  </c:numRef>
                </c:yVal>
                <c:smooth val="0"/>
                <c:extLst xmlns:c15="http://schemas.microsoft.com/office/drawing/2012/chart">
                  <c:ext xmlns:c16="http://schemas.microsoft.com/office/drawing/2014/chart" uri="{C3380CC4-5D6E-409C-BE32-E72D297353CC}">
                    <c16:uniqueId val="{0000000B-7CBB-4E7B-AAD7-8E02881B1772}"/>
                  </c:ext>
                </c:extLst>
              </c15:ser>
            </c15:filteredScatterSeries>
            <c15:filteredScatterSeries>
              <c15:ser>
                <c:idx val="8"/>
                <c:order val="6"/>
                <c:tx>
                  <c:v>012860-4a</c:v>
                </c:tx>
                <c:errBars>
                  <c:errDir val="y"/>
                  <c:errBarType val="both"/>
                  <c:errValType val="cust"/>
                  <c:noEndCap val="0"/>
                  <c:plus>
                    <c:numRef>
                      <c:extLst xmlns:c15="http://schemas.microsoft.com/office/drawing/2012/chart">
                        <c:ext xmlns:c15="http://schemas.microsoft.com/office/drawing/2012/chart" uri="{02D57815-91ED-43cb-92C2-25804820EDAC}">
                          <c15:formulaRef>
                            <c15:sqref>'HCL-012944_7-9 '!$L$16:$L$76</c15:sqref>
                          </c15:formulaRef>
                        </c:ext>
                      </c:extLst>
                      <c:numCache>
                        <c:formatCode>General</c:formatCode>
                        <c:ptCount val="61"/>
                        <c:pt idx="0">
                          <c:v>0</c:v>
                        </c:pt>
                        <c:pt idx="1">
                          <c:v>1.1328793457465331E-2</c:v>
                        </c:pt>
                        <c:pt idx="2">
                          <c:v>2.6559976017309011E-2</c:v>
                        </c:pt>
                        <c:pt idx="3">
                          <c:v>3.4462022488086171E-2</c:v>
                        </c:pt>
                        <c:pt idx="4">
                          <c:v>3.8092454791069284E-2</c:v>
                        </c:pt>
                        <c:pt idx="5">
                          <c:v>4.006161114718066E-2</c:v>
                        </c:pt>
                        <c:pt idx="6">
                          <c:v>3.7809622204874153E-2</c:v>
                        </c:pt>
                        <c:pt idx="7">
                          <c:v>2.9913797091637117E-2</c:v>
                        </c:pt>
                        <c:pt idx="8">
                          <c:v>2.2500592939082374E-2</c:v>
                        </c:pt>
                        <c:pt idx="9">
                          <c:v>1.9866383192992366E-2</c:v>
                        </c:pt>
                        <c:pt idx="10">
                          <c:v>2.5627192164601784E-2</c:v>
                        </c:pt>
                        <c:pt idx="11">
                          <c:v>3.0147347957019701E-2</c:v>
                        </c:pt>
                        <c:pt idx="12">
                          <c:v>3.2504328728063782E-2</c:v>
                        </c:pt>
                        <c:pt idx="13">
                          <c:v>3.3024747383701723E-2</c:v>
                        </c:pt>
                        <c:pt idx="14">
                          <c:v>3.3563032578532374E-2</c:v>
                        </c:pt>
                        <c:pt idx="15">
                          <c:v>3.3497499194425753E-2</c:v>
                        </c:pt>
                        <c:pt idx="16">
                          <c:v>3.2990328842984036E-2</c:v>
                        </c:pt>
                        <c:pt idx="17">
                          <c:v>3.3309244193454567E-2</c:v>
                        </c:pt>
                        <c:pt idx="18">
                          <c:v>3.3309244193454567E-2</c:v>
                        </c:pt>
                        <c:pt idx="19">
                          <c:v>3.3309244193454567E-2</c:v>
                        </c:pt>
                        <c:pt idx="20">
                          <c:v>3.3309244193454567E-2</c:v>
                        </c:pt>
                        <c:pt idx="21">
                          <c:v>3.3309244193454567E-2</c:v>
                        </c:pt>
                        <c:pt idx="22">
                          <c:v>3.3309244193454567E-2</c:v>
                        </c:pt>
                        <c:pt idx="23">
                          <c:v>3.3309244193454567E-2</c:v>
                        </c:pt>
                        <c:pt idx="24">
                          <c:v>3.3309244193454567E-2</c:v>
                        </c:pt>
                        <c:pt idx="25">
                          <c:v>3.3309244193454567E-2</c:v>
                        </c:pt>
                        <c:pt idx="26">
                          <c:v>3.3309244193454567E-2</c:v>
                        </c:pt>
                        <c:pt idx="27">
                          <c:v>3.3309244193454567E-2</c:v>
                        </c:pt>
                        <c:pt idx="28">
                          <c:v>3.3309244193454567E-2</c:v>
                        </c:pt>
                        <c:pt idx="29">
                          <c:v>3.3309244193454567E-2</c:v>
                        </c:pt>
                        <c:pt idx="30">
                          <c:v>3.3309244193454567E-2</c:v>
                        </c:pt>
                        <c:pt idx="31">
                          <c:v>3.3309244193454567E-2</c:v>
                        </c:pt>
                        <c:pt idx="32">
                          <c:v>3.3309244193454567E-2</c:v>
                        </c:pt>
                        <c:pt idx="33">
                          <c:v>3.3309244193454567E-2</c:v>
                        </c:pt>
                        <c:pt idx="34">
                          <c:v>3.3309244193454567E-2</c:v>
                        </c:pt>
                        <c:pt idx="35">
                          <c:v>3.3309244193454567E-2</c:v>
                        </c:pt>
                        <c:pt idx="36">
                          <c:v>3.3309244193454567E-2</c:v>
                        </c:pt>
                        <c:pt idx="37">
                          <c:v>3.3309244193454567E-2</c:v>
                        </c:pt>
                        <c:pt idx="38">
                          <c:v>3.3309244193454567E-2</c:v>
                        </c:pt>
                        <c:pt idx="39">
                          <c:v>3.3309244193454567E-2</c:v>
                        </c:pt>
                        <c:pt idx="40">
                          <c:v>3.3309244193454567E-2</c:v>
                        </c:pt>
                        <c:pt idx="41">
                          <c:v>3.3309244193454567E-2</c:v>
                        </c:pt>
                        <c:pt idx="42">
                          <c:v>3.3309244193454567E-2</c:v>
                        </c:pt>
                        <c:pt idx="43">
                          <c:v>3.3309244193454567E-2</c:v>
                        </c:pt>
                        <c:pt idx="44">
                          <c:v>3.3309244193454567E-2</c:v>
                        </c:pt>
                        <c:pt idx="45">
                          <c:v>3.3309244193454567E-2</c:v>
                        </c:pt>
                        <c:pt idx="46">
                          <c:v>3.3309244193454567E-2</c:v>
                        </c:pt>
                        <c:pt idx="47">
                          <c:v>3.3309244193454567E-2</c:v>
                        </c:pt>
                        <c:pt idx="48">
                          <c:v>3.3309244193454567E-2</c:v>
                        </c:pt>
                        <c:pt idx="49">
                          <c:v>3.3309244193454567E-2</c:v>
                        </c:pt>
                        <c:pt idx="50">
                          <c:v>3.3309244193454567E-2</c:v>
                        </c:pt>
                        <c:pt idx="51">
                          <c:v>3.3309244193454567E-2</c:v>
                        </c:pt>
                        <c:pt idx="52">
                          <c:v>3.3309244193454567E-2</c:v>
                        </c:pt>
                        <c:pt idx="53">
                          <c:v>3.3309244193454567E-2</c:v>
                        </c:pt>
                        <c:pt idx="54">
                          <c:v>3.3309244193454567E-2</c:v>
                        </c:pt>
                        <c:pt idx="55">
                          <c:v>3.3309244193454567E-2</c:v>
                        </c:pt>
                        <c:pt idx="56">
                          <c:v>3.3309244193454567E-2</c:v>
                        </c:pt>
                        <c:pt idx="57">
                          <c:v>3.3309244193454567E-2</c:v>
                        </c:pt>
                        <c:pt idx="58">
                          <c:v>3.3309244193454567E-2</c:v>
                        </c:pt>
                        <c:pt idx="59">
                          <c:v>3.3309244193454567E-2</c:v>
                        </c:pt>
                        <c:pt idx="60">
                          <c:v>3.3309244193454567E-2</c:v>
                        </c:pt>
                      </c:numCache>
                    </c:numRef>
                  </c:plus>
                  <c:minus>
                    <c:numRef>
                      <c:extLst xmlns:c15="http://schemas.microsoft.com/office/drawing/2012/chart">
                        <c:ext xmlns:c15="http://schemas.microsoft.com/office/drawing/2012/chart" uri="{02D57815-91ED-43cb-92C2-25804820EDAC}">
                          <c15:formulaRef>
                            <c15:sqref>'HCL-012944_7-9 '!$L$16:$L$76</c15:sqref>
                          </c15:formulaRef>
                        </c:ext>
                      </c:extLst>
                      <c:numCache>
                        <c:formatCode>General</c:formatCode>
                        <c:ptCount val="61"/>
                        <c:pt idx="0">
                          <c:v>0</c:v>
                        </c:pt>
                        <c:pt idx="1">
                          <c:v>1.1328793457465331E-2</c:v>
                        </c:pt>
                        <c:pt idx="2">
                          <c:v>2.6559976017309011E-2</c:v>
                        </c:pt>
                        <c:pt idx="3">
                          <c:v>3.4462022488086171E-2</c:v>
                        </c:pt>
                        <c:pt idx="4">
                          <c:v>3.8092454791069284E-2</c:v>
                        </c:pt>
                        <c:pt idx="5">
                          <c:v>4.006161114718066E-2</c:v>
                        </c:pt>
                        <c:pt idx="6">
                          <c:v>3.7809622204874153E-2</c:v>
                        </c:pt>
                        <c:pt idx="7">
                          <c:v>2.9913797091637117E-2</c:v>
                        </c:pt>
                        <c:pt idx="8">
                          <c:v>2.2500592939082374E-2</c:v>
                        </c:pt>
                        <c:pt idx="9">
                          <c:v>1.9866383192992366E-2</c:v>
                        </c:pt>
                        <c:pt idx="10">
                          <c:v>2.5627192164601784E-2</c:v>
                        </c:pt>
                        <c:pt idx="11">
                          <c:v>3.0147347957019701E-2</c:v>
                        </c:pt>
                        <c:pt idx="12">
                          <c:v>3.2504328728063782E-2</c:v>
                        </c:pt>
                        <c:pt idx="13">
                          <c:v>3.3024747383701723E-2</c:v>
                        </c:pt>
                        <c:pt idx="14">
                          <c:v>3.3563032578532374E-2</c:v>
                        </c:pt>
                        <c:pt idx="15">
                          <c:v>3.3497499194425753E-2</c:v>
                        </c:pt>
                        <c:pt idx="16">
                          <c:v>3.2990328842984036E-2</c:v>
                        </c:pt>
                        <c:pt idx="17">
                          <c:v>3.3309244193454567E-2</c:v>
                        </c:pt>
                        <c:pt idx="18">
                          <c:v>3.3309244193454567E-2</c:v>
                        </c:pt>
                        <c:pt idx="19">
                          <c:v>3.3309244193454567E-2</c:v>
                        </c:pt>
                        <c:pt idx="20">
                          <c:v>3.3309244193454567E-2</c:v>
                        </c:pt>
                        <c:pt idx="21">
                          <c:v>3.3309244193454567E-2</c:v>
                        </c:pt>
                        <c:pt idx="22">
                          <c:v>3.3309244193454567E-2</c:v>
                        </c:pt>
                        <c:pt idx="23">
                          <c:v>3.3309244193454567E-2</c:v>
                        </c:pt>
                        <c:pt idx="24">
                          <c:v>3.3309244193454567E-2</c:v>
                        </c:pt>
                        <c:pt idx="25">
                          <c:v>3.3309244193454567E-2</c:v>
                        </c:pt>
                        <c:pt idx="26">
                          <c:v>3.3309244193454567E-2</c:v>
                        </c:pt>
                        <c:pt idx="27">
                          <c:v>3.3309244193454567E-2</c:v>
                        </c:pt>
                        <c:pt idx="28">
                          <c:v>3.3309244193454567E-2</c:v>
                        </c:pt>
                        <c:pt idx="29">
                          <c:v>3.3309244193454567E-2</c:v>
                        </c:pt>
                        <c:pt idx="30">
                          <c:v>3.3309244193454567E-2</c:v>
                        </c:pt>
                        <c:pt idx="31">
                          <c:v>3.3309244193454567E-2</c:v>
                        </c:pt>
                        <c:pt idx="32">
                          <c:v>3.3309244193454567E-2</c:v>
                        </c:pt>
                        <c:pt idx="33">
                          <c:v>3.3309244193454567E-2</c:v>
                        </c:pt>
                        <c:pt idx="34">
                          <c:v>3.3309244193454567E-2</c:v>
                        </c:pt>
                        <c:pt idx="35">
                          <c:v>3.3309244193454567E-2</c:v>
                        </c:pt>
                        <c:pt idx="36">
                          <c:v>3.3309244193454567E-2</c:v>
                        </c:pt>
                        <c:pt idx="37">
                          <c:v>3.3309244193454567E-2</c:v>
                        </c:pt>
                        <c:pt idx="38">
                          <c:v>3.3309244193454567E-2</c:v>
                        </c:pt>
                        <c:pt idx="39">
                          <c:v>3.3309244193454567E-2</c:v>
                        </c:pt>
                        <c:pt idx="40">
                          <c:v>3.3309244193454567E-2</c:v>
                        </c:pt>
                        <c:pt idx="41">
                          <c:v>3.3309244193454567E-2</c:v>
                        </c:pt>
                        <c:pt idx="42">
                          <c:v>3.3309244193454567E-2</c:v>
                        </c:pt>
                        <c:pt idx="43">
                          <c:v>3.3309244193454567E-2</c:v>
                        </c:pt>
                        <c:pt idx="44">
                          <c:v>3.3309244193454567E-2</c:v>
                        </c:pt>
                        <c:pt idx="45">
                          <c:v>3.3309244193454567E-2</c:v>
                        </c:pt>
                        <c:pt idx="46">
                          <c:v>3.3309244193454567E-2</c:v>
                        </c:pt>
                        <c:pt idx="47">
                          <c:v>3.3309244193454567E-2</c:v>
                        </c:pt>
                        <c:pt idx="48">
                          <c:v>3.3309244193454567E-2</c:v>
                        </c:pt>
                        <c:pt idx="49">
                          <c:v>3.3309244193454567E-2</c:v>
                        </c:pt>
                        <c:pt idx="50">
                          <c:v>3.3309244193454567E-2</c:v>
                        </c:pt>
                        <c:pt idx="51">
                          <c:v>3.3309244193454567E-2</c:v>
                        </c:pt>
                        <c:pt idx="52">
                          <c:v>3.3309244193454567E-2</c:v>
                        </c:pt>
                        <c:pt idx="53">
                          <c:v>3.3309244193454567E-2</c:v>
                        </c:pt>
                        <c:pt idx="54">
                          <c:v>3.3309244193454567E-2</c:v>
                        </c:pt>
                        <c:pt idx="55">
                          <c:v>3.3309244193454567E-2</c:v>
                        </c:pt>
                        <c:pt idx="56">
                          <c:v>3.3309244193454567E-2</c:v>
                        </c:pt>
                        <c:pt idx="57">
                          <c:v>3.3309244193454567E-2</c:v>
                        </c:pt>
                        <c:pt idx="58">
                          <c:v>3.3309244193454567E-2</c:v>
                        </c:pt>
                        <c:pt idx="59">
                          <c:v>3.3309244193454567E-2</c:v>
                        </c:pt>
                        <c:pt idx="60">
                          <c:v>3.3309244193454567E-2</c:v>
                        </c:pt>
                      </c:numCache>
                    </c:numRef>
                  </c:minus>
                </c:errBars>
                <c:xVal>
                  <c:numRef>
                    <c:extLst xmlns:c15="http://schemas.microsoft.com/office/drawing/2012/chart">
                      <c:ext xmlns:c15="http://schemas.microsoft.com/office/drawing/2012/chart" uri="{02D57815-91ED-43cb-92C2-25804820EDAC}">
                        <c15:formulaRef>
                          <c15:sqref>'HCL-012944_7-9 '!$A$16:$A$76</c15:sqref>
                        </c15:formulaRef>
                      </c:ext>
                    </c:extLst>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HCL-012944_7-9 '!$K$16:$K$76</c15:sqref>
                        </c15:formulaRef>
                      </c:ext>
                    </c:extLst>
                    <c:numCache>
                      <c:formatCode>0.00%</c:formatCode>
                      <c:ptCount val="61"/>
                      <c:pt idx="0">
                        <c:v>0</c:v>
                      </c:pt>
                      <c:pt idx="1">
                        <c:v>5.4107839848372051E-2</c:v>
                      </c:pt>
                      <c:pt idx="2">
                        <c:v>0.22422078599365722</c:v>
                      </c:pt>
                      <c:pt idx="3">
                        <c:v>0.397731008637979</c:v>
                      </c:pt>
                      <c:pt idx="4">
                        <c:v>0.58030653513169339</c:v>
                      </c:pt>
                      <c:pt idx="5">
                        <c:v>0.70668968482616268</c:v>
                      </c:pt>
                      <c:pt idx="6">
                        <c:v>0.79661739132343268</c:v>
                      </c:pt>
                      <c:pt idx="7">
                        <c:v>0.85958046879663674</c:v>
                      </c:pt>
                      <c:pt idx="8">
                        <c:v>0.91211839943264839</c:v>
                      </c:pt>
                      <c:pt idx="9">
                        <c:v>0.94997437121188566</c:v>
                      </c:pt>
                      <c:pt idx="10">
                        <c:v>0.97353588225536614</c:v>
                      </c:pt>
                      <c:pt idx="11">
                        <c:v>0.98285457691465838</c:v>
                      </c:pt>
                      <c:pt idx="12">
                        <c:v>0.98612486502046115</c:v>
                      </c:pt>
                      <c:pt idx="13">
                        <c:v>0.9868095629664535</c:v>
                      </c:pt>
                      <c:pt idx="14">
                        <c:v>0.98739968381510046</c:v>
                      </c:pt>
                      <c:pt idx="15">
                        <c:v>0.98719023451607246</c:v>
                      </c:pt>
                      <c:pt idx="16">
                        <c:v>0.98698241952203836</c:v>
                      </c:pt>
                      <c:pt idx="17">
                        <c:v>0.98798201205679181</c:v>
                      </c:pt>
                      <c:pt idx="18">
                        <c:v>0.98798201205679181</c:v>
                      </c:pt>
                      <c:pt idx="19">
                        <c:v>0.98798201205679181</c:v>
                      </c:pt>
                      <c:pt idx="20">
                        <c:v>0.98798201205679181</c:v>
                      </c:pt>
                      <c:pt idx="21">
                        <c:v>0.98798201205679181</c:v>
                      </c:pt>
                      <c:pt idx="22">
                        <c:v>0.98798201205679181</c:v>
                      </c:pt>
                      <c:pt idx="23">
                        <c:v>0.98798201205679181</c:v>
                      </c:pt>
                      <c:pt idx="24">
                        <c:v>0.98798201205679181</c:v>
                      </c:pt>
                      <c:pt idx="25">
                        <c:v>0.98798201205679181</c:v>
                      </c:pt>
                      <c:pt idx="26">
                        <c:v>0.98798201205679181</c:v>
                      </c:pt>
                      <c:pt idx="27">
                        <c:v>0.98798201205679181</c:v>
                      </c:pt>
                      <c:pt idx="28">
                        <c:v>0.98798201205679181</c:v>
                      </c:pt>
                      <c:pt idx="29">
                        <c:v>0.98798201205679181</c:v>
                      </c:pt>
                      <c:pt idx="30">
                        <c:v>0.98798201205679181</c:v>
                      </c:pt>
                      <c:pt idx="31">
                        <c:v>0.98798201205679181</c:v>
                      </c:pt>
                      <c:pt idx="32">
                        <c:v>0.98798201205679181</c:v>
                      </c:pt>
                      <c:pt idx="33">
                        <c:v>0.98798201205679181</c:v>
                      </c:pt>
                      <c:pt idx="34">
                        <c:v>0.98798201205679181</c:v>
                      </c:pt>
                      <c:pt idx="35">
                        <c:v>0.98798201205679181</c:v>
                      </c:pt>
                      <c:pt idx="36">
                        <c:v>0.98798201205679181</c:v>
                      </c:pt>
                      <c:pt idx="37">
                        <c:v>0.98798201205679181</c:v>
                      </c:pt>
                      <c:pt idx="38">
                        <c:v>0.98798201205679181</c:v>
                      </c:pt>
                      <c:pt idx="39">
                        <c:v>0.98798201205679181</c:v>
                      </c:pt>
                      <c:pt idx="40">
                        <c:v>0.98798201205679181</c:v>
                      </c:pt>
                      <c:pt idx="41">
                        <c:v>0.98798201205679181</c:v>
                      </c:pt>
                      <c:pt idx="42">
                        <c:v>0.98798201205679181</c:v>
                      </c:pt>
                      <c:pt idx="43">
                        <c:v>0.98798201205679181</c:v>
                      </c:pt>
                      <c:pt idx="44">
                        <c:v>0.98798201205679181</c:v>
                      </c:pt>
                      <c:pt idx="45">
                        <c:v>0.98798201205679181</c:v>
                      </c:pt>
                      <c:pt idx="46">
                        <c:v>0.98798201205679181</c:v>
                      </c:pt>
                      <c:pt idx="47">
                        <c:v>0.98798201205679181</c:v>
                      </c:pt>
                      <c:pt idx="48">
                        <c:v>0.98798201205679181</c:v>
                      </c:pt>
                      <c:pt idx="49">
                        <c:v>0.98798201205679181</c:v>
                      </c:pt>
                      <c:pt idx="50">
                        <c:v>0.98798201205679181</c:v>
                      </c:pt>
                      <c:pt idx="51">
                        <c:v>0.98798201205679181</c:v>
                      </c:pt>
                      <c:pt idx="52">
                        <c:v>0.98798201205679181</c:v>
                      </c:pt>
                      <c:pt idx="53">
                        <c:v>0.98798201205679181</c:v>
                      </c:pt>
                      <c:pt idx="54">
                        <c:v>0.98798201205679181</c:v>
                      </c:pt>
                      <c:pt idx="55">
                        <c:v>0.98798201205679181</c:v>
                      </c:pt>
                      <c:pt idx="56">
                        <c:v>0.98798201205679181</c:v>
                      </c:pt>
                      <c:pt idx="57">
                        <c:v>0.98798201205679181</c:v>
                      </c:pt>
                      <c:pt idx="58">
                        <c:v>0.98798201205679181</c:v>
                      </c:pt>
                      <c:pt idx="59">
                        <c:v>0.98798201205679181</c:v>
                      </c:pt>
                      <c:pt idx="60">
                        <c:v>0.98798201205679181</c:v>
                      </c:pt>
                    </c:numCache>
                  </c:numRef>
                </c:yVal>
                <c:smooth val="0"/>
                <c:extLst xmlns:c15="http://schemas.microsoft.com/office/drawing/2012/chart">
                  <c:ext xmlns:c16="http://schemas.microsoft.com/office/drawing/2014/chart" uri="{C3380CC4-5D6E-409C-BE32-E72D297353CC}">
                    <c16:uniqueId val="{0000000C-7CBB-4E7B-AAD7-8E02881B1772}"/>
                  </c:ext>
                </c:extLst>
              </c15:ser>
            </c15:filteredScatterSeries>
            <c15:filteredScatterSeries>
              <c15:ser>
                <c:idx val="15"/>
                <c:order val="7"/>
                <c:tx>
                  <c:v>012680-4b</c:v>
                </c:tx>
                <c:errBars>
                  <c:errDir val="y"/>
                  <c:errBarType val="both"/>
                  <c:errValType val="cust"/>
                  <c:noEndCap val="0"/>
                  <c:plus>
                    <c:numRef>
                      <c:extLst xmlns:c15="http://schemas.microsoft.com/office/drawing/2012/chart">
                        <c:ext xmlns:c15="http://schemas.microsoft.com/office/drawing/2012/chart" uri="{02D57815-91ED-43cb-92C2-25804820EDAC}">
                          <c15:formulaRef>
                            <c15:sqref>'HCL-012944_7-9 '!$L$85:$L$145</c15:sqref>
                          </c15:formulaRef>
                        </c:ext>
                      </c:extLst>
                      <c:numCache>
                        <c:formatCode>General</c:formatCode>
                        <c:ptCount val="61"/>
                        <c:pt idx="0">
                          <c:v>0</c:v>
                        </c:pt>
                        <c:pt idx="1">
                          <c:v>1.181023472869871E-2</c:v>
                        </c:pt>
                        <c:pt idx="2">
                          <c:v>6.5173167414536326E-2</c:v>
                        </c:pt>
                        <c:pt idx="3">
                          <c:v>7.6553259537003579E-2</c:v>
                        </c:pt>
                        <c:pt idx="4">
                          <c:v>7.6489743531002213E-2</c:v>
                        </c:pt>
                        <c:pt idx="5">
                          <c:v>6.236046698817585E-2</c:v>
                        </c:pt>
                        <c:pt idx="6">
                          <c:v>5.7565995452810013E-2</c:v>
                        </c:pt>
                        <c:pt idx="7">
                          <c:v>4.3567167450991061E-2</c:v>
                        </c:pt>
                        <c:pt idx="8">
                          <c:v>3.2976755213662778E-2</c:v>
                        </c:pt>
                        <c:pt idx="9">
                          <c:v>2.089725283567934E-2</c:v>
                        </c:pt>
                        <c:pt idx="10">
                          <c:v>1.3257459530300771E-2</c:v>
                        </c:pt>
                        <c:pt idx="11">
                          <c:v>1.1430299287468101E-2</c:v>
                        </c:pt>
                        <c:pt idx="12">
                          <c:v>1.1433904287621968E-2</c:v>
                        </c:pt>
                        <c:pt idx="13">
                          <c:v>1.1201021062473299E-2</c:v>
                        </c:pt>
                        <c:pt idx="14">
                          <c:v>1.0731625767064264E-2</c:v>
                        </c:pt>
                        <c:pt idx="15">
                          <c:v>1.059232918853505E-2</c:v>
                        </c:pt>
                        <c:pt idx="16">
                          <c:v>1.0234992966643798E-2</c:v>
                        </c:pt>
                        <c:pt idx="17">
                          <c:v>1.0798500733104824E-2</c:v>
                        </c:pt>
                        <c:pt idx="18">
                          <c:v>1.0798500733104824E-2</c:v>
                        </c:pt>
                        <c:pt idx="19">
                          <c:v>1.0798500733104824E-2</c:v>
                        </c:pt>
                        <c:pt idx="20">
                          <c:v>1.0798500733104824E-2</c:v>
                        </c:pt>
                        <c:pt idx="21">
                          <c:v>1.0798500733104824E-2</c:v>
                        </c:pt>
                        <c:pt idx="22">
                          <c:v>1.0798500733104824E-2</c:v>
                        </c:pt>
                        <c:pt idx="23">
                          <c:v>1.0798500733104824E-2</c:v>
                        </c:pt>
                        <c:pt idx="24">
                          <c:v>1.0798500733104824E-2</c:v>
                        </c:pt>
                        <c:pt idx="25">
                          <c:v>1.0798500733104824E-2</c:v>
                        </c:pt>
                        <c:pt idx="26">
                          <c:v>1.0798500733104824E-2</c:v>
                        </c:pt>
                        <c:pt idx="27">
                          <c:v>1.0798500733104824E-2</c:v>
                        </c:pt>
                        <c:pt idx="28">
                          <c:v>1.0798500733104824E-2</c:v>
                        </c:pt>
                        <c:pt idx="29">
                          <c:v>1.0798500733104824E-2</c:v>
                        </c:pt>
                        <c:pt idx="30">
                          <c:v>1.0798500733104824E-2</c:v>
                        </c:pt>
                        <c:pt idx="31">
                          <c:v>1.0798500733104824E-2</c:v>
                        </c:pt>
                        <c:pt idx="32">
                          <c:v>1.0798500733104824E-2</c:v>
                        </c:pt>
                        <c:pt idx="33">
                          <c:v>1.0798500733104824E-2</c:v>
                        </c:pt>
                        <c:pt idx="34">
                          <c:v>1.0798500733104824E-2</c:v>
                        </c:pt>
                        <c:pt idx="35">
                          <c:v>1.0798500733104824E-2</c:v>
                        </c:pt>
                        <c:pt idx="36">
                          <c:v>1.0798500733104824E-2</c:v>
                        </c:pt>
                        <c:pt idx="37">
                          <c:v>1.0798500733104824E-2</c:v>
                        </c:pt>
                        <c:pt idx="38">
                          <c:v>1.0798500733104824E-2</c:v>
                        </c:pt>
                        <c:pt idx="39">
                          <c:v>1.0798500733104824E-2</c:v>
                        </c:pt>
                        <c:pt idx="40">
                          <c:v>1.0798500733104824E-2</c:v>
                        </c:pt>
                        <c:pt idx="41">
                          <c:v>1.0798500733104824E-2</c:v>
                        </c:pt>
                        <c:pt idx="42">
                          <c:v>1.0798500733104824E-2</c:v>
                        </c:pt>
                        <c:pt idx="43">
                          <c:v>1.0798500733104824E-2</c:v>
                        </c:pt>
                        <c:pt idx="44">
                          <c:v>1.0798500733104824E-2</c:v>
                        </c:pt>
                        <c:pt idx="45">
                          <c:v>1.0798500733104824E-2</c:v>
                        </c:pt>
                        <c:pt idx="46">
                          <c:v>1.0798500733104824E-2</c:v>
                        </c:pt>
                        <c:pt idx="47">
                          <c:v>1.0798500733104824E-2</c:v>
                        </c:pt>
                        <c:pt idx="48">
                          <c:v>1.0798500733104824E-2</c:v>
                        </c:pt>
                        <c:pt idx="49">
                          <c:v>1.0798500733104824E-2</c:v>
                        </c:pt>
                        <c:pt idx="50">
                          <c:v>1.0798500733104824E-2</c:v>
                        </c:pt>
                        <c:pt idx="51">
                          <c:v>1.0798500733104824E-2</c:v>
                        </c:pt>
                        <c:pt idx="52">
                          <c:v>1.0798500733104824E-2</c:v>
                        </c:pt>
                        <c:pt idx="53">
                          <c:v>1.0798500733104824E-2</c:v>
                        </c:pt>
                        <c:pt idx="54">
                          <c:v>1.0798500733104824E-2</c:v>
                        </c:pt>
                        <c:pt idx="55">
                          <c:v>1.0798500733104824E-2</c:v>
                        </c:pt>
                        <c:pt idx="56">
                          <c:v>1.0798500733104824E-2</c:v>
                        </c:pt>
                        <c:pt idx="57">
                          <c:v>1.0798500733104824E-2</c:v>
                        </c:pt>
                        <c:pt idx="58">
                          <c:v>1.0798500733104824E-2</c:v>
                        </c:pt>
                        <c:pt idx="59">
                          <c:v>1.0798500733104824E-2</c:v>
                        </c:pt>
                        <c:pt idx="60">
                          <c:v>1.0798500733104824E-2</c:v>
                        </c:pt>
                      </c:numCache>
                    </c:numRef>
                  </c:plus>
                  <c:minus>
                    <c:numRef>
                      <c:extLst xmlns:c15="http://schemas.microsoft.com/office/drawing/2012/chart">
                        <c:ext xmlns:c15="http://schemas.microsoft.com/office/drawing/2012/chart" uri="{02D57815-91ED-43cb-92C2-25804820EDAC}">
                          <c15:formulaRef>
                            <c15:sqref>'HCL-012944_7-9 '!$L$85:$L$145</c15:sqref>
                          </c15:formulaRef>
                        </c:ext>
                      </c:extLst>
                      <c:numCache>
                        <c:formatCode>General</c:formatCode>
                        <c:ptCount val="61"/>
                        <c:pt idx="0">
                          <c:v>0</c:v>
                        </c:pt>
                        <c:pt idx="1">
                          <c:v>1.181023472869871E-2</c:v>
                        </c:pt>
                        <c:pt idx="2">
                          <c:v>6.5173167414536326E-2</c:v>
                        </c:pt>
                        <c:pt idx="3">
                          <c:v>7.6553259537003579E-2</c:v>
                        </c:pt>
                        <c:pt idx="4">
                          <c:v>7.6489743531002213E-2</c:v>
                        </c:pt>
                        <c:pt idx="5">
                          <c:v>6.236046698817585E-2</c:v>
                        </c:pt>
                        <c:pt idx="6">
                          <c:v>5.7565995452810013E-2</c:v>
                        </c:pt>
                        <c:pt idx="7">
                          <c:v>4.3567167450991061E-2</c:v>
                        </c:pt>
                        <c:pt idx="8">
                          <c:v>3.2976755213662778E-2</c:v>
                        </c:pt>
                        <c:pt idx="9">
                          <c:v>2.089725283567934E-2</c:v>
                        </c:pt>
                        <c:pt idx="10">
                          <c:v>1.3257459530300771E-2</c:v>
                        </c:pt>
                        <c:pt idx="11">
                          <c:v>1.1430299287468101E-2</c:v>
                        </c:pt>
                        <c:pt idx="12">
                          <c:v>1.1433904287621968E-2</c:v>
                        </c:pt>
                        <c:pt idx="13">
                          <c:v>1.1201021062473299E-2</c:v>
                        </c:pt>
                        <c:pt idx="14">
                          <c:v>1.0731625767064264E-2</c:v>
                        </c:pt>
                        <c:pt idx="15">
                          <c:v>1.059232918853505E-2</c:v>
                        </c:pt>
                        <c:pt idx="16">
                          <c:v>1.0234992966643798E-2</c:v>
                        </c:pt>
                        <c:pt idx="17">
                          <c:v>1.0798500733104824E-2</c:v>
                        </c:pt>
                        <c:pt idx="18">
                          <c:v>1.0798500733104824E-2</c:v>
                        </c:pt>
                        <c:pt idx="19">
                          <c:v>1.0798500733104824E-2</c:v>
                        </c:pt>
                        <c:pt idx="20">
                          <c:v>1.0798500733104824E-2</c:v>
                        </c:pt>
                        <c:pt idx="21">
                          <c:v>1.0798500733104824E-2</c:v>
                        </c:pt>
                        <c:pt idx="22">
                          <c:v>1.0798500733104824E-2</c:v>
                        </c:pt>
                        <c:pt idx="23">
                          <c:v>1.0798500733104824E-2</c:v>
                        </c:pt>
                        <c:pt idx="24">
                          <c:v>1.0798500733104824E-2</c:v>
                        </c:pt>
                        <c:pt idx="25">
                          <c:v>1.0798500733104824E-2</c:v>
                        </c:pt>
                        <c:pt idx="26">
                          <c:v>1.0798500733104824E-2</c:v>
                        </c:pt>
                        <c:pt idx="27">
                          <c:v>1.0798500733104824E-2</c:v>
                        </c:pt>
                        <c:pt idx="28">
                          <c:v>1.0798500733104824E-2</c:v>
                        </c:pt>
                        <c:pt idx="29">
                          <c:v>1.0798500733104824E-2</c:v>
                        </c:pt>
                        <c:pt idx="30">
                          <c:v>1.0798500733104824E-2</c:v>
                        </c:pt>
                        <c:pt idx="31">
                          <c:v>1.0798500733104824E-2</c:v>
                        </c:pt>
                        <c:pt idx="32">
                          <c:v>1.0798500733104824E-2</c:v>
                        </c:pt>
                        <c:pt idx="33">
                          <c:v>1.0798500733104824E-2</c:v>
                        </c:pt>
                        <c:pt idx="34">
                          <c:v>1.0798500733104824E-2</c:v>
                        </c:pt>
                        <c:pt idx="35">
                          <c:v>1.0798500733104824E-2</c:v>
                        </c:pt>
                        <c:pt idx="36">
                          <c:v>1.0798500733104824E-2</c:v>
                        </c:pt>
                        <c:pt idx="37">
                          <c:v>1.0798500733104824E-2</c:v>
                        </c:pt>
                        <c:pt idx="38">
                          <c:v>1.0798500733104824E-2</c:v>
                        </c:pt>
                        <c:pt idx="39">
                          <c:v>1.0798500733104824E-2</c:v>
                        </c:pt>
                        <c:pt idx="40">
                          <c:v>1.0798500733104824E-2</c:v>
                        </c:pt>
                        <c:pt idx="41">
                          <c:v>1.0798500733104824E-2</c:v>
                        </c:pt>
                        <c:pt idx="42">
                          <c:v>1.0798500733104824E-2</c:v>
                        </c:pt>
                        <c:pt idx="43">
                          <c:v>1.0798500733104824E-2</c:v>
                        </c:pt>
                        <c:pt idx="44">
                          <c:v>1.0798500733104824E-2</c:v>
                        </c:pt>
                        <c:pt idx="45">
                          <c:v>1.0798500733104824E-2</c:v>
                        </c:pt>
                        <c:pt idx="46">
                          <c:v>1.0798500733104824E-2</c:v>
                        </c:pt>
                        <c:pt idx="47">
                          <c:v>1.0798500733104824E-2</c:v>
                        </c:pt>
                        <c:pt idx="48">
                          <c:v>1.0798500733104824E-2</c:v>
                        </c:pt>
                        <c:pt idx="49">
                          <c:v>1.0798500733104824E-2</c:v>
                        </c:pt>
                        <c:pt idx="50">
                          <c:v>1.0798500733104824E-2</c:v>
                        </c:pt>
                        <c:pt idx="51">
                          <c:v>1.0798500733104824E-2</c:v>
                        </c:pt>
                        <c:pt idx="52">
                          <c:v>1.0798500733104824E-2</c:v>
                        </c:pt>
                        <c:pt idx="53">
                          <c:v>1.0798500733104824E-2</c:v>
                        </c:pt>
                        <c:pt idx="54">
                          <c:v>1.0798500733104824E-2</c:v>
                        </c:pt>
                        <c:pt idx="55">
                          <c:v>1.0798500733104824E-2</c:v>
                        </c:pt>
                        <c:pt idx="56">
                          <c:v>1.0798500733104824E-2</c:v>
                        </c:pt>
                        <c:pt idx="57">
                          <c:v>1.0798500733104824E-2</c:v>
                        </c:pt>
                        <c:pt idx="58">
                          <c:v>1.0798500733104824E-2</c:v>
                        </c:pt>
                        <c:pt idx="59">
                          <c:v>1.0798500733104824E-2</c:v>
                        </c:pt>
                        <c:pt idx="60">
                          <c:v>1.0798500733104824E-2</c:v>
                        </c:pt>
                      </c:numCache>
                    </c:numRef>
                  </c:minus>
                </c:errBars>
                <c:xVal>
                  <c:numRef>
                    <c:extLst xmlns:c15="http://schemas.microsoft.com/office/drawing/2012/chart">
                      <c:ext xmlns:c15="http://schemas.microsoft.com/office/drawing/2012/chart" uri="{02D57815-91ED-43cb-92C2-25804820EDAC}">
                        <c15:formulaRef>
                          <c15:sqref>'HCL-012944_7-9 '!$A$85:$A$145</c15:sqref>
                        </c15:formulaRef>
                      </c:ext>
                    </c:extLst>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HCL-012944_7-9 '!$K$85:$K$145</c15:sqref>
                        </c15:formulaRef>
                      </c:ext>
                    </c:extLst>
                    <c:numCache>
                      <c:formatCode>0.00%</c:formatCode>
                      <c:ptCount val="61"/>
                      <c:pt idx="0">
                        <c:v>0</c:v>
                      </c:pt>
                      <c:pt idx="1">
                        <c:v>2.9452101455958155E-2</c:v>
                      </c:pt>
                      <c:pt idx="2">
                        <c:v>0.201883592631768</c:v>
                      </c:pt>
                      <c:pt idx="3">
                        <c:v>0.36904400608682497</c:v>
                      </c:pt>
                      <c:pt idx="4">
                        <c:v>0.52924320415479054</c:v>
                      </c:pt>
                      <c:pt idx="5">
                        <c:v>0.65690899785871537</c:v>
                      </c:pt>
                      <c:pt idx="6">
                        <c:v>0.76054478207222542</c:v>
                      </c:pt>
                      <c:pt idx="7">
                        <c:v>0.83284310687305407</c:v>
                      </c:pt>
                      <c:pt idx="8">
                        <c:v>0.89116294519755446</c:v>
                      </c:pt>
                      <c:pt idx="9">
                        <c:v>0.93419895669296682</c:v>
                      </c:pt>
                      <c:pt idx="10">
                        <c:v>0.96194537458528961</c:v>
                      </c:pt>
                      <c:pt idx="11">
                        <c:v>0.97489669472750362</c:v>
                      </c:pt>
                      <c:pt idx="12">
                        <c:v>0.97826957707711715</c:v>
                      </c:pt>
                      <c:pt idx="13">
                        <c:v>0.97913591965286473</c:v>
                      </c:pt>
                      <c:pt idx="14">
                        <c:v>0.97933625866758101</c:v>
                      </c:pt>
                      <c:pt idx="15">
                        <c:v>0.97853872221065341</c:v>
                      </c:pt>
                      <c:pt idx="16">
                        <c:v>0.97880222893992774</c:v>
                      </c:pt>
                      <c:pt idx="17">
                        <c:v>0.98005117201114034</c:v>
                      </c:pt>
                      <c:pt idx="18">
                        <c:v>0.98005117201114034</c:v>
                      </c:pt>
                      <c:pt idx="19">
                        <c:v>0.98005117201114034</c:v>
                      </c:pt>
                      <c:pt idx="20">
                        <c:v>0.98005117201114034</c:v>
                      </c:pt>
                      <c:pt idx="21">
                        <c:v>0.98005117201114034</c:v>
                      </c:pt>
                      <c:pt idx="22">
                        <c:v>0.98005117201114034</c:v>
                      </c:pt>
                      <c:pt idx="23">
                        <c:v>0.98005117201114034</c:v>
                      </c:pt>
                      <c:pt idx="24">
                        <c:v>0.98005117201114034</c:v>
                      </c:pt>
                      <c:pt idx="25">
                        <c:v>0.98005117201114034</c:v>
                      </c:pt>
                      <c:pt idx="26">
                        <c:v>0.98005117201114034</c:v>
                      </c:pt>
                      <c:pt idx="27">
                        <c:v>0.98005117201114034</c:v>
                      </c:pt>
                      <c:pt idx="28">
                        <c:v>0.98005117201114034</c:v>
                      </c:pt>
                      <c:pt idx="29">
                        <c:v>0.98005117201114034</c:v>
                      </c:pt>
                      <c:pt idx="30">
                        <c:v>0.98005117201114034</c:v>
                      </c:pt>
                      <c:pt idx="31">
                        <c:v>0.98005117201114034</c:v>
                      </c:pt>
                      <c:pt idx="32">
                        <c:v>0.98005117201114034</c:v>
                      </c:pt>
                      <c:pt idx="33">
                        <c:v>0.98005117201114034</c:v>
                      </c:pt>
                      <c:pt idx="34">
                        <c:v>0.98005117201114034</c:v>
                      </c:pt>
                      <c:pt idx="35">
                        <c:v>0.98005117201114034</c:v>
                      </c:pt>
                      <c:pt idx="36">
                        <c:v>0.98005117201114034</c:v>
                      </c:pt>
                      <c:pt idx="37">
                        <c:v>0.98005117201114034</c:v>
                      </c:pt>
                      <c:pt idx="38">
                        <c:v>0.98005117201114034</c:v>
                      </c:pt>
                      <c:pt idx="39">
                        <c:v>0.98005117201114034</c:v>
                      </c:pt>
                      <c:pt idx="40">
                        <c:v>0.98005117201114034</c:v>
                      </c:pt>
                      <c:pt idx="41">
                        <c:v>0.98005117201114034</c:v>
                      </c:pt>
                      <c:pt idx="42">
                        <c:v>0.98005117201114034</c:v>
                      </c:pt>
                      <c:pt idx="43">
                        <c:v>0.98005117201114034</c:v>
                      </c:pt>
                      <c:pt idx="44">
                        <c:v>0.98005117201114034</c:v>
                      </c:pt>
                      <c:pt idx="45">
                        <c:v>0.98005117201114034</c:v>
                      </c:pt>
                      <c:pt idx="46">
                        <c:v>0.98005117201114034</c:v>
                      </c:pt>
                      <c:pt idx="47">
                        <c:v>0.98005117201114034</c:v>
                      </c:pt>
                      <c:pt idx="48">
                        <c:v>0.98005117201114034</c:v>
                      </c:pt>
                      <c:pt idx="49">
                        <c:v>0.98005117201114034</c:v>
                      </c:pt>
                      <c:pt idx="50">
                        <c:v>0.98005117201114034</c:v>
                      </c:pt>
                      <c:pt idx="51">
                        <c:v>0.98005117201114034</c:v>
                      </c:pt>
                      <c:pt idx="52">
                        <c:v>0.98005117201114034</c:v>
                      </c:pt>
                      <c:pt idx="53">
                        <c:v>0.98005117201114034</c:v>
                      </c:pt>
                      <c:pt idx="54">
                        <c:v>0.98005117201114034</c:v>
                      </c:pt>
                      <c:pt idx="55">
                        <c:v>0.98005117201114034</c:v>
                      </c:pt>
                      <c:pt idx="56">
                        <c:v>0.98005117201114034</c:v>
                      </c:pt>
                      <c:pt idx="57">
                        <c:v>0.98005117201114034</c:v>
                      </c:pt>
                      <c:pt idx="58">
                        <c:v>0.98005117201114034</c:v>
                      </c:pt>
                      <c:pt idx="59">
                        <c:v>0.98005117201114034</c:v>
                      </c:pt>
                      <c:pt idx="60">
                        <c:v>0.98005117201114034</c:v>
                      </c:pt>
                    </c:numCache>
                  </c:numRef>
                </c:yVal>
                <c:smooth val="0"/>
                <c:extLst xmlns:c15="http://schemas.microsoft.com/office/drawing/2012/chart">
                  <c:ext xmlns:c16="http://schemas.microsoft.com/office/drawing/2014/chart" uri="{C3380CC4-5D6E-409C-BE32-E72D297353CC}">
                    <c16:uniqueId val="{0000000D-7CBB-4E7B-AAD7-8E02881B1772}"/>
                  </c:ext>
                </c:extLst>
              </c15:ser>
            </c15:filteredScatterSeries>
            <c15:filteredScatterSeries>
              <c15:ser>
                <c:idx val="9"/>
                <c:order val="8"/>
                <c:tx>
                  <c:v>012861-1a</c:v>
                </c:tx>
                <c:errBars>
                  <c:errDir val="y"/>
                  <c:errBarType val="both"/>
                  <c:errValType val="cust"/>
                  <c:noEndCap val="0"/>
                  <c:plus>
                    <c:numRef>
                      <c:extLst xmlns:c15="http://schemas.microsoft.com/office/drawing/2012/chart">
                        <c:ext xmlns:c15="http://schemas.microsoft.com/office/drawing/2012/chart" uri="{02D57815-91ED-43cb-92C2-25804820EDAC}">
                          <c15:formulaRef>
                            <c15:sqref>'HCL-012944_7-9 '!$L$85:$L$145</c15:sqref>
                          </c15:formulaRef>
                        </c:ext>
                      </c:extLst>
                      <c:numCache>
                        <c:formatCode>General</c:formatCode>
                        <c:ptCount val="61"/>
                        <c:pt idx="0">
                          <c:v>0</c:v>
                        </c:pt>
                        <c:pt idx="1">
                          <c:v>1.181023472869871E-2</c:v>
                        </c:pt>
                        <c:pt idx="2">
                          <c:v>6.5173167414536326E-2</c:v>
                        </c:pt>
                        <c:pt idx="3">
                          <c:v>7.6553259537003579E-2</c:v>
                        </c:pt>
                        <c:pt idx="4">
                          <c:v>7.6489743531002213E-2</c:v>
                        </c:pt>
                        <c:pt idx="5">
                          <c:v>6.236046698817585E-2</c:v>
                        </c:pt>
                        <c:pt idx="6">
                          <c:v>5.7565995452810013E-2</c:v>
                        </c:pt>
                        <c:pt idx="7">
                          <c:v>4.3567167450991061E-2</c:v>
                        </c:pt>
                        <c:pt idx="8">
                          <c:v>3.2976755213662778E-2</c:v>
                        </c:pt>
                        <c:pt idx="9">
                          <c:v>2.089725283567934E-2</c:v>
                        </c:pt>
                        <c:pt idx="10">
                          <c:v>1.3257459530300771E-2</c:v>
                        </c:pt>
                        <c:pt idx="11">
                          <c:v>1.1430299287468101E-2</c:v>
                        </c:pt>
                        <c:pt idx="12">
                          <c:v>1.1433904287621968E-2</c:v>
                        </c:pt>
                        <c:pt idx="13">
                          <c:v>1.1201021062473299E-2</c:v>
                        </c:pt>
                        <c:pt idx="14">
                          <c:v>1.0731625767064264E-2</c:v>
                        </c:pt>
                        <c:pt idx="15">
                          <c:v>1.059232918853505E-2</c:v>
                        </c:pt>
                        <c:pt idx="16">
                          <c:v>1.0234992966643798E-2</c:v>
                        </c:pt>
                        <c:pt idx="17">
                          <c:v>1.0798500733104824E-2</c:v>
                        </c:pt>
                        <c:pt idx="18">
                          <c:v>1.0798500733104824E-2</c:v>
                        </c:pt>
                        <c:pt idx="19">
                          <c:v>1.0798500733104824E-2</c:v>
                        </c:pt>
                        <c:pt idx="20">
                          <c:v>1.0798500733104824E-2</c:v>
                        </c:pt>
                        <c:pt idx="21">
                          <c:v>1.0798500733104824E-2</c:v>
                        </c:pt>
                        <c:pt idx="22">
                          <c:v>1.0798500733104824E-2</c:v>
                        </c:pt>
                        <c:pt idx="23">
                          <c:v>1.0798500733104824E-2</c:v>
                        </c:pt>
                        <c:pt idx="24">
                          <c:v>1.0798500733104824E-2</c:v>
                        </c:pt>
                        <c:pt idx="25">
                          <c:v>1.0798500733104824E-2</c:v>
                        </c:pt>
                        <c:pt idx="26">
                          <c:v>1.0798500733104824E-2</c:v>
                        </c:pt>
                        <c:pt idx="27">
                          <c:v>1.0798500733104824E-2</c:v>
                        </c:pt>
                        <c:pt idx="28">
                          <c:v>1.0798500733104824E-2</c:v>
                        </c:pt>
                        <c:pt idx="29">
                          <c:v>1.0798500733104824E-2</c:v>
                        </c:pt>
                        <c:pt idx="30">
                          <c:v>1.0798500733104824E-2</c:v>
                        </c:pt>
                        <c:pt idx="31">
                          <c:v>1.0798500733104824E-2</c:v>
                        </c:pt>
                        <c:pt idx="32">
                          <c:v>1.0798500733104824E-2</c:v>
                        </c:pt>
                        <c:pt idx="33">
                          <c:v>1.0798500733104824E-2</c:v>
                        </c:pt>
                        <c:pt idx="34">
                          <c:v>1.0798500733104824E-2</c:v>
                        </c:pt>
                        <c:pt idx="35">
                          <c:v>1.0798500733104824E-2</c:v>
                        </c:pt>
                        <c:pt idx="36">
                          <c:v>1.0798500733104824E-2</c:v>
                        </c:pt>
                        <c:pt idx="37">
                          <c:v>1.0798500733104824E-2</c:v>
                        </c:pt>
                        <c:pt idx="38">
                          <c:v>1.0798500733104824E-2</c:v>
                        </c:pt>
                        <c:pt idx="39">
                          <c:v>1.0798500733104824E-2</c:v>
                        </c:pt>
                        <c:pt idx="40">
                          <c:v>1.0798500733104824E-2</c:v>
                        </c:pt>
                        <c:pt idx="41">
                          <c:v>1.0798500733104824E-2</c:v>
                        </c:pt>
                        <c:pt idx="42">
                          <c:v>1.0798500733104824E-2</c:v>
                        </c:pt>
                        <c:pt idx="43">
                          <c:v>1.0798500733104824E-2</c:v>
                        </c:pt>
                        <c:pt idx="44">
                          <c:v>1.0798500733104824E-2</c:v>
                        </c:pt>
                        <c:pt idx="45">
                          <c:v>1.0798500733104824E-2</c:v>
                        </c:pt>
                        <c:pt idx="46">
                          <c:v>1.0798500733104824E-2</c:v>
                        </c:pt>
                        <c:pt idx="47">
                          <c:v>1.0798500733104824E-2</c:v>
                        </c:pt>
                        <c:pt idx="48">
                          <c:v>1.0798500733104824E-2</c:v>
                        </c:pt>
                        <c:pt idx="49">
                          <c:v>1.0798500733104824E-2</c:v>
                        </c:pt>
                        <c:pt idx="50">
                          <c:v>1.0798500733104824E-2</c:v>
                        </c:pt>
                        <c:pt idx="51">
                          <c:v>1.0798500733104824E-2</c:v>
                        </c:pt>
                        <c:pt idx="52">
                          <c:v>1.0798500733104824E-2</c:v>
                        </c:pt>
                        <c:pt idx="53">
                          <c:v>1.0798500733104824E-2</c:v>
                        </c:pt>
                        <c:pt idx="54">
                          <c:v>1.0798500733104824E-2</c:v>
                        </c:pt>
                        <c:pt idx="55">
                          <c:v>1.0798500733104824E-2</c:v>
                        </c:pt>
                        <c:pt idx="56">
                          <c:v>1.0798500733104824E-2</c:v>
                        </c:pt>
                        <c:pt idx="57">
                          <c:v>1.0798500733104824E-2</c:v>
                        </c:pt>
                        <c:pt idx="58">
                          <c:v>1.0798500733104824E-2</c:v>
                        </c:pt>
                        <c:pt idx="59">
                          <c:v>1.0798500733104824E-2</c:v>
                        </c:pt>
                        <c:pt idx="60">
                          <c:v>1.0798500733104824E-2</c:v>
                        </c:pt>
                      </c:numCache>
                    </c:numRef>
                  </c:plus>
                  <c:minus>
                    <c:numRef>
                      <c:extLst xmlns:c15="http://schemas.microsoft.com/office/drawing/2012/chart">
                        <c:ext xmlns:c15="http://schemas.microsoft.com/office/drawing/2012/chart" uri="{02D57815-91ED-43cb-92C2-25804820EDAC}">
                          <c15:formulaRef>
                            <c15:sqref>'HCL-012944_7-9 '!$L$85:$L$145</c15:sqref>
                          </c15:formulaRef>
                        </c:ext>
                      </c:extLst>
                      <c:numCache>
                        <c:formatCode>General</c:formatCode>
                        <c:ptCount val="61"/>
                        <c:pt idx="0">
                          <c:v>0</c:v>
                        </c:pt>
                        <c:pt idx="1">
                          <c:v>1.181023472869871E-2</c:v>
                        </c:pt>
                        <c:pt idx="2">
                          <c:v>6.5173167414536326E-2</c:v>
                        </c:pt>
                        <c:pt idx="3">
                          <c:v>7.6553259537003579E-2</c:v>
                        </c:pt>
                        <c:pt idx="4">
                          <c:v>7.6489743531002213E-2</c:v>
                        </c:pt>
                        <c:pt idx="5">
                          <c:v>6.236046698817585E-2</c:v>
                        </c:pt>
                        <c:pt idx="6">
                          <c:v>5.7565995452810013E-2</c:v>
                        </c:pt>
                        <c:pt idx="7">
                          <c:v>4.3567167450991061E-2</c:v>
                        </c:pt>
                        <c:pt idx="8">
                          <c:v>3.2976755213662778E-2</c:v>
                        </c:pt>
                        <c:pt idx="9">
                          <c:v>2.089725283567934E-2</c:v>
                        </c:pt>
                        <c:pt idx="10">
                          <c:v>1.3257459530300771E-2</c:v>
                        </c:pt>
                        <c:pt idx="11">
                          <c:v>1.1430299287468101E-2</c:v>
                        </c:pt>
                        <c:pt idx="12">
                          <c:v>1.1433904287621968E-2</c:v>
                        </c:pt>
                        <c:pt idx="13">
                          <c:v>1.1201021062473299E-2</c:v>
                        </c:pt>
                        <c:pt idx="14">
                          <c:v>1.0731625767064264E-2</c:v>
                        </c:pt>
                        <c:pt idx="15">
                          <c:v>1.059232918853505E-2</c:v>
                        </c:pt>
                        <c:pt idx="16">
                          <c:v>1.0234992966643798E-2</c:v>
                        </c:pt>
                        <c:pt idx="17">
                          <c:v>1.0798500733104824E-2</c:v>
                        </c:pt>
                        <c:pt idx="18">
                          <c:v>1.0798500733104824E-2</c:v>
                        </c:pt>
                        <c:pt idx="19">
                          <c:v>1.0798500733104824E-2</c:v>
                        </c:pt>
                        <c:pt idx="20">
                          <c:v>1.0798500733104824E-2</c:v>
                        </c:pt>
                        <c:pt idx="21">
                          <c:v>1.0798500733104824E-2</c:v>
                        </c:pt>
                        <c:pt idx="22">
                          <c:v>1.0798500733104824E-2</c:v>
                        </c:pt>
                        <c:pt idx="23">
                          <c:v>1.0798500733104824E-2</c:v>
                        </c:pt>
                        <c:pt idx="24">
                          <c:v>1.0798500733104824E-2</c:v>
                        </c:pt>
                        <c:pt idx="25">
                          <c:v>1.0798500733104824E-2</c:v>
                        </c:pt>
                        <c:pt idx="26">
                          <c:v>1.0798500733104824E-2</c:v>
                        </c:pt>
                        <c:pt idx="27">
                          <c:v>1.0798500733104824E-2</c:v>
                        </c:pt>
                        <c:pt idx="28">
                          <c:v>1.0798500733104824E-2</c:v>
                        </c:pt>
                        <c:pt idx="29">
                          <c:v>1.0798500733104824E-2</c:v>
                        </c:pt>
                        <c:pt idx="30">
                          <c:v>1.0798500733104824E-2</c:v>
                        </c:pt>
                        <c:pt idx="31">
                          <c:v>1.0798500733104824E-2</c:v>
                        </c:pt>
                        <c:pt idx="32">
                          <c:v>1.0798500733104824E-2</c:v>
                        </c:pt>
                        <c:pt idx="33">
                          <c:v>1.0798500733104824E-2</c:v>
                        </c:pt>
                        <c:pt idx="34">
                          <c:v>1.0798500733104824E-2</c:v>
                        </c:pt>
                        <c:pt idx="35">
                          <c:v>1.0798500733104824E-2</c:v>
                        </c:pt>
                        <c:pt idx="36">
                          <c:v>1.0798500733104824E-2</c:v>
                        </c:pt>
                        <c:pt idx="37">
                          <c:v>1.0798500733104824E-2</c:v>
                        </c:pt>
                        <c:pt idx="38">
                          <c:v>1.0798500733104824E-2</c:v>
                        </c:pt>
                        <c:pt idx="39">
                          <c:v>1.0798500733104824E-2</c:v>
                        </c:pt>
                        <c:pt idx="40">
                          <c:v>1.0798500733104824E-2</c:v>
                        </c:pt>
                        <c:pt idx="41">
                          <c:v>1.0798500733104824E-2</c:v>
                        </c:pt>
                        <c:pt idx="42">
                          <c:v>1.0798500733104824E-2</c:v>
                        </c:pt>
                        <c:pt idx="43">
                          <c:v>1.0798500733104824E-2</c:v>
                        </c:pt>
                        <c:pt idx="44">
                          <c:v>1.0798500733104824E-2</c:v>
                        </c:pt>
                        <c:pt idx="45">
                          <c:v>1.0798500733104824E-2</c:v>
                        </c:pt>
                        <c:pt idx="46">
                          <c:v>1.0798500733104824E-2</c:v>
                        </c:pt>
                        <c:pt idx="47">
                          <c:v>1.0798500733104824E-2</c:v>
                        </c:pt>
                        <c:pt idx="48">
                          <c:v>1.0798500733104824E-2</c:v>
                        </c:pt>
                        <c:pt idx="49">
                          <c:v>1.0798500733104824E-2</c:v>
                        </c:pt>
                        <c:pt idx="50">
                          <c:v>1.0798500733104824E-2</c:v>
                        </c:pt>
                        <c:pt idx="51">
                          <c:v>1.0798500733104824E-2</c:v>
                        </c:pt>
                        <c:pt idx="52">
                          <c:v>1.0798500733104824E-2</c:v>
                        </c:pt>
                        <c:pt idx="53">
                          <c:v>1.0798500733104824E-2</c:v>
                        </c:pt>
                        <c:pt idx="54">
                          <c:v>1.0798500733104824E-2</c:v>
                        </c:pt>
                        <c:pt idx="55">
                          <c:v>1.0798500733104824E-2</c:v>
                        </c:pt>
                        <c:pt idx="56">
                          <c:v>1.0798500733104824E-2</c:v>
                        </c:pt>
                        <c:pt idx="57">
                          <c:v>1.0798500733104824E-2</c:v>
                        </c:pt>
                        <c:pt idx="58">
                          <c:v>1.0798500733104824E-2</c:v>
                        </c:pt>
                        <c:pt idx="59">
                          <c:v>1.0798500733104824E-2</c:v>
                        </c:pt>
                        <c:pt idx="60">
                          <c:v>1.0798500733104824E-2</c:v>
                        </c:pt>
                      </c:numCache>
                    </c:numRef>
                  </c:minus>
                </c:errBars>
                <c:xVal>
                  <c:numRef>
                    <c:extLst xmlns:c15="http://schemas.microsoft.com/office/drawing/2012/chart">
                      <c:ext xmlns:c15="http://schemas.microsoft.com/office/drawing/2012/chart" uri="{02D57815-91ED-43cb-92C2-25804820EDAC}">
                        <c15:formulaRef>
                          <c15:sqref>'HCL-012944_7-9 '!$A$154:$A$214</c15:sqref>
                        </c15:formulaRef>
                      </c:ext>
                    </c:extLst>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HCL-012944_7-9 '!$K$154:$K$214</c15:sqref>
                        </c15:formulaRef>
                      </c:ext>
                    </c:extLst>
                    <c:numCache>
                      <c:formatCode>0.00%</c:formatCode>
                      <c:ptCount val="61"/>
                      <c:pt idx="0">
                        <c:v>0</c:v>
                      </c:pt>
                      <c:pt idx="1">
                        <c:v>1.6388885675921828E-2</c:v>
                      </c:pt>
                      <c:pt idx="2">
                        <c:v>0.17841850742177037</c:v>
                      </c:pt>
                      <c:pt idx="3">
                        <c:v>0.34962798925429817</c:v>
                      </c:pt>
                      <c:pt idx="4">
                        <c:v>0.51775993525886832</c:v>
                      </c:pt>
                      <c:pt idx="5">
                        <c:v>0.66669816472464527</c:v>
                      </c:pt>
                      <c:pt idx="6">
                        <c:v>0.76827102713806517</c:v>
                      </c:pt>
                      <c:pt idx="7">
                        <c:v>0.8382244371592652</c:v>
                      </c:pt>
                      <c:pt idx="8">
                        <c:v>0.89093537073825946</c:v>
                      </c:pt>
                      <c:pt idx="9">
                        <c:v>0.9209285528931056</c:v>
                      </c:pt>
                      <c:pt idx="10">
                        <c:v>0.93827427883009717</c:v>
                      </c:pt>
                      <c:pt idx="11">
                        <c:v>0.94709927821506745</c:v>
                      </c:pt>
                      <c:pt idx="12">
                        <c:v>0.95101153183317544</c:v>
                      </c:pt>
                      <c:pt idx="13">
                        <c:v>0.95075652517541409</c:v>
                      </c:pt>
                      <c:pt idx="14">
                        <c:v>0.95102124393813769</c:v>
                      </c:pt>
                      <c:pt idx="15">
                        <c:v>0.95182003019606132</c:v>
                      </c:pt>
                      <c:pt idx="16">
                        <c:v>0.95182003019606132</c:v>
                      </c:pt>
                      <c:pt idx="17">
                        <c:v>0.95182003019606132</c:v>
                      </c:pt>
                      <c:pt idx="18">
                        <c:v>0.95182003019606132</c:v>
                      </c:pt>
                      <c:pt idx="19">
                        <c:v>0.95182003019606132</c:v>
                      </c:pt>
                      <c:pt idx="20">
                        <c:v>0.95182003019606132</c:v>
                      </c:pt>
                      <c:pt idx="21">
                        <c:v>0.95182003019606132</c:v>
                      </c:pt>
                      <c:pt idx="22">
                        <c:v>0.95182003019606132</c:v>
                      </c:pt>
                      <c:pt idx="23">
                        <c:v>0.95182003019606132</c:v>
                      </c:pt>
                      <c:pt idx="24">
                        <c:v>0.95182003019606132</c:v>
                      </c:pt>
                      <c:pt idx="25">
                        <c:v>0.95182003019606132</c:v>
                      </c:pt>
                      <c:pt idx="26">
                        <c:v>0.95182003019606132</c:v>
                      </c:pt>
                      <c:pt idx="27">
                        <c:v>0.95182003019606132</c:v>
                      </c:pt>
                      <c:pt idx="28">
                        <c:v>0.95182003019606132</c:v>
                      </c:pt>
                      <c:pt idx="29">
                        <c:v>0.95182003019606132</c:v>
                      </c:pt>
                      <c:pt idx="30">
                        <c:v>0.95182003019606132</c:v>
                      </c:pt>
                      <c:pt idx="31">
                        <c:v>0.95182003019606132</c:v>
                      </c:pt>
                      <c:pt idx="32">
                        <c:v>0.95182003019606132</c:v>
                      </c:pt>
                      <c:pt idx="33">
                        <c:v>0.95182003019606132</c:v>
                      </c:pt>
                      <c:pt idx="34">
                        <c:v>0.95182003019606132</c:v>
                      </c:pt>
                      <c:pt idx="35">
                        <c:v>0.95182003019606132</c:v>
                      </c:pt>
                      <c:pt idx="36">
                        <c:v>0.95182003019606132</c:v>
                      </c:pt>
                      <c:pt idx="37">
                        <c:v>0.95182003019606132</c:v>
                      </c:pt>
                      <c:pt idx="38">
                        <c:v>0.95182003019606132</c:v>
                      </c:pt>
                      <c:pt idx="39">
                        <c:v>0.95182003019606132</c:v>
                      </c:pt>
                      <c:pt idx="40">
                        <c:v>0.95182003019606132</c:v>
                      </c:pt>
                      <c:pt idx="41">
                        <c:v>0.95182003019606132</c:v>
                      </c:pt>
                      <c:pt idx="42">
                        <c:v>0.95182003019606132</c:v>
                      </c:pt>
                      <c:pt idx="43">
                        <c:v>0.95182003019606132</c:v>
                      </c:pt>
                      <c:pt idx="44">
                        <c:v>0.95182003019606132</c:v>
                      </c:pt>
                      <c:pt idx="45">
                        <c:v>0.95182003019606132</c:v>
                      </c:pt>
                      <c:pt idx="46">
                        <c:v>0.95182003019606132</c:v>
                      </c:pt>
                      <c:pt idx="47">
                        <c:v>0.95182003019606132</c:v>
                      </c:pt>
                      <c:pt idx="48">
                        <c:v>0.95182003019606132</c:v>
                      </c:pt>
                      <c:pt idx="49">
                        <c:v>0.95182003019606132</c:v>
                      </c:pt>
                      <c:pt idx="50">
                        <c:v>0.95182003019606132</c:v>
                      </c:pt>
                      <c:pt idx="51">
                        <c:v>0.95182003019606132</c:v>
                      </c:pt>
                      <c:pt idx="52">
                        <c:v>0.95182003019606132</c:v>
                      </c:pt>
                      <c:pt idx="53">
                        <c:v>0.95182003019606132</c:v>
                      </c:pt>
                      <c:pt idx="54">
                        <c:v>0.95182003019606132</c:v>
                      </c:pt>
                      <c:pt idx="55">
                        <c:v>0.95182003019606132</c:v>
                      </c:pt>
                      <c:pt idx="56">
                        <c:v>0.95182003019606132</c:v>
                      </c:pt>
                      <c:pt idx="57">
                        <c:v>0.95182003019606132</c:v>
                      </c:pt>
                      <c:pt idx="58">
                        <c:v>0.95182003019606132</c:v>
                      </c:pt>
                      <c:pt idx="59">
                        <c:v>0.95182003019606132</c:v>
                      </c:pt>
                      <c:pt idx="60">
                        <c:v>0.95182003019606132</c:v>
                      </c:pt>
                    </c:numCache>
                  </c:numRef>
                </c:yVal>
                <c:smooth val="0"/>
                <c:extLst xmlns:c15="http://schemas.microsoft.com/office/drawing/2012/chart">
                  <c:ext xmlns:c16="http://schemas.microsoft.com/office/drawing/2014/chart" uri="{C3380CC4-5D6E-409C-BE32-E72D297353CC}">
                    <c16:uniqueId val="{0000000E-7CBB-4E7B-AAD7-8E02881B1772}"/>
                  </c:ext>
                </c:extLst>
              </c15:ser>
            </c15:filteredScatterSeries>
            <c15:filteredScatterSeries>
              <c15:ser>
                <c:idx val="4"/>
                <c:order val="9"/>
                <c:tx>
                  <c:v>012861-1b</c:v>
                </c:tx>
                <c:errBars>
                  <c:errDir val="y"/>
                  <c:errBarType val="both"/>
                  <c:errValType val="cust"/>
                  <c:noEndCap val="0"/>
                  <c:plus>
                    <c:numRef>
                      <c:extLst xmlns:c15="http://schemas.microsoft.com/office/drawing/2012/chart">
                        <c:ext xmlns:c15="http://schemas.microsoft.com/office/drawing/2012/chart" uri="{02D57815-91ED-43cb-92C2-25804820EDAC}">
                          <c15:formulaRef>
                            <c15:sqref>'HCL-012944_Kerne ungecoatet'!$L$16:$L$76</c15:sqref>
                          </c15:formulaRef>
                        </c:ext>
                      </c:extLst>
                      <c:numCache>
                        <c:formatCode>General</c:formatCode>
                        <c:ptCount val="61"/>
                        <c:pt idx="0">
                          <c:v>0</c:v>
                        </c:pt>
                        <c:pt idx="1">
                          <c:v>3.8845253122085678E-3</c:v>
                        </c:pt>
                        <c:pt idx="2">
                          <c:v>1.6989034152248724E-2</c:v>
                        </c:pt>
                        <c:pt idx="3">
                          <c:v>2.0684178428976348E-2</c:v>
                        </c:pt>
                        <c:pt idx="4">
                          <c:v>2.1729279063342665E-2</c:v>
                        </c:pt>
                        <c:pt idx="5">
                          <c:v>1.7619801718754904E-2</c:v>
                        </c:pt>
                        <c:pt idx="6">
                          <c:v>1.8076254155488341E-2</c:v>
                        </c:pt>
                        <c:pt idx="7">
                          <c:v>1.9135020212163057E-2</c:v>
                        </c:pt>
                        <c:pt idx="8">
                          <c:v>2.7069517709868509E-2</c:v>
                        </c:pt>
                        <c:pt idx="9">
                          <c:v>2.6802559061111456E-2</c:v>
                        </c:pt>
                        <c:pt idx="10">
                          <c:v>2.5855398153749029E-2</c:v>
                        </c:pt>
                        <c:pt idx="11">
                          <c:v>2.2964291136958047E-2</c:v>
                        </c:pt>
                        <c:pt idx="12">
                          <c:v>2.2323809181431557E-2</c:v>
                        </c:pt>
                        <c:pt idx="13">
                          <c:v>2.2685821510382308E-2</c:v>
                        </c:pt>
                        <c:pt idx="14">
                          <c:v>2.2343514299461874E-2</c:v>
                        </c:pt>
                        <c:pt idx="15">
                          <c:v>2.2375883137435128E-2</c:v>
                        </c:pt>
                        <c:pt idx="16">
                          <c:v>2.2375883137435128E-2</c:v>
                        </c:pt>
                        <c:pt idx="17">
                          <c:v>2.2375883137435128E-2</c:v>
                        </c:pt>
                        <c:pt idx="18">
                          <c:v>2.2375883137435128E-2</c:v>
                        </c:pt>
                        <c:pt idx="19">
                          <c:v>2.2375883137435128E-2</c:v>
                        </c:pt>
                        <c:pt idx="20">
                          <c:v>2.2375883137435128E-2</c:v>
                        </c:pt>
                        <c:pt idx="21">
                          <c:v>2.2375883137435128E-2</c:v>
                        </c:pt>
                        <c:pt idx="22">
                          <c:v>2.2375883137435128E-2</c:v>
                        </c:pt>
                        <c:pt idx="23">
                          <c:v>2.2375883137435128E-2</c:v>
                        </c:pt>
                        <c:pt idx="24">
                          <c:v>2.2375883137435128E-2</c:v>
                        </c:pt>
                        <c:pt idx="25">
                          <c:v>2.2375883137435128E-2</c:v>
                        </c:pt>
                        <c:pt idx="26">
                          <c:v>2.2375883137435128E-2</c:v>
                        </c:pt>
                        <c:pt idx="27">
                          <c:v>2.2375883137435128E-2</c:v>
                        </c:pt>
                        <c:pt idx="28">
                          <c:v>2.2375883137435128E-2</c:v>
                        </c:pt>
                        <c:pt idx="29">
                          <c:v>2.2375883137435128E-2</c:v>
                        </c:pt>
                        <c:pt idx="30">
                          <c:v>2.2375883137435128E-2</c:v>
                        </c:pt>
                        <c:pt idx="31">
                          <c:v>2.2375883137435128E-2</c:v>
                        </c:pt>
                        <c:pt idx="32">
                          <c:v>2.2375883137435128E-2</c:v>
                        </c:pt>
                        <c:pt idx="33">
                          <c:v>2.2375883137435128E-2</c:v>
                        </c:pt>
                        <c:pt idx="34">
                          <c:v>2.2375883137435128E-2</c:v>
                        </c:pt>
                        <c:pt idx="35">
                          <c:v>2.2375883137435128E-2</c:v>
                        </c:pt>
                        <c:pt idx="36">
                          <c:v>2.2375883137435128E-2</c:v>
                        </c:pt>
                        <c:pt idx="37">
                          <c:v>2.2375883137435128E-2</c:v>
                        </c:pt>
                        <c:pt idx="38">
                          <c:v>2.2375883137435128E-2</c:v>
                        </c:pt>
                        <c:pt idx="39">
                          <c:v>2.2375883137435128E-2</c:v>
                        </c:pt>
                        <c:pt idx="40">
                          <c:v>2.2375883137435128E-2</c:v>
                        </c:pt>
                        <c:pt idx="41">
                          <c:v>2.2375883137435128E-2</c:v>
                        </c:pt>
                        <c:pt idx="42">
                          <c:v>2.2375883137435128E-2</c:v>
                        </c:pt>
                        <c:pt idx="43">
                          <c:v>2.2375883137435128E-2</c:v>
                        </c:pt>
                        <c:pt idx="44">
                          <c:v>2.2375883137435128E-2</c:v>
                        </c:pt>
                        <c:pt idx="45">
                          <c:v>2.2375883137435128E-2</c:v>
                        </c:pt>
                        <c:pt idx="46">
                          <c:v>2.2375883137435128E-2</c:v>
                        </c:pt>
                        <c:pt idx="47">
                          <c:v>2.2375883137435128E-2</c:v>
                        </c:pt>
                        <c:pt idx="48">
                          <c:v>2.2375883137435128E-2</c:v>
                        </c:pt>
                        <c:pt idx="49">
                          <c:v>2.2375883137435128E-2</c:v>
                        </c:pt>
                        <c:pt idx="50">
                          <c:v>2.2375883137435128E-2</c:v>
                        </c:pt>
                        <c:pt idx="51">
                          <c:v>2.2375883137435128E-2</c:v>
                        </c:pt>
                        <c:pt idx="52">
                          <c:v>2.2375883137435128E-2</c:v>
                        </c:pt>
                        <c:pt idx="53">
                          <c:v>2.2375883137435128E-2</c:v>
                        </c:pt>
                        <c:pt idx="54">
                          <c:v>2.2375883137435128E-2</c:v>
                        </c:pt>
                        <c:pt idx="55">
                          <c:v>2.2375883137435128E-2</c:v>
                        </c:pt>
                        <c:pt idx="56">
                          <c:v>2.2375883137435128E-2</c:v>
                        </c:pt>
                        <c:pt idx="57">
                          <c:v>2.2375883137435128E-2</c:v>
                        </c:pt>
                        <c:pt idx="58">
                          <c:v>2.2375883137435128E-2</c:v>
                        </c:pt>
                        <c:pt idx="59">
                          <c:v>2.2375883137435128E-2</c:v>
                        </c:pt>
                        <c:pt idx="60">
                          <c:v>2.2375883137435128E-2</c:v>
                        </c:pt>
                      </c:numCache>
                    </c:numRef>
                  </c:plus>
                  <c:minus>
                    <c:numRef>
                      <c:extLst xmlns:c15="http://schemas.microsoft.com/office/drawing/2012/chart">
                        <c:ext xmlns:c15="http://schemas.microsoft.com/office/drawing/2012/chart" uri="{02D57815-91ED-43cb-92C2-25804820EDAC}">
                          <c15:formulaRef>
                            <c15:sqref>'HCL-012944_Kerne ungecoatet'!$L$16:$L$76</c15:sqref>
                          </c15:formulaRef>
                        </c:ext>
                      </c:extLst>
                      <c:numCache>
                        <c:formatCode>General</c:formatCode>
                        <c:ptCount val="61"/>
                        <c:pt idx="0">
                          <c:v>0</c:v>
                        </c:pt>
                        <c:pt idx="1">
                          <c:v>3.8845253122085678E-3</c:v>
                        </c:pt>
                        <c:pt idx="2">
                          <c:v>1.6989034152248724E-2</c:v>
                        </c:pt>
                        <c:pt idx="3">
                          <c:v>2.0684178428976348E-2</c:v>
                        </c:pt>
                        <c:pt idx="4">
                          <c:v>2.1729279063342665E-2</c:v>
                        </c:pt>
                        <c:pt idx="5">
                          <c:v>1.7619801718754904E-2</c:v>
                        </c:pt>
                        <c:pt idx="6">
                          <c:v>1.8076254155488341E-2</c:v>
                        </c:pt>
                        <c:pt idx="7">
                          <c:v>1.9135020212163057E-2</c:v>
                        </c:pt>
                        <c:pt idx="8">
                          <c:v>2.7069517709868509E-2</c:v>
                        </c:pt>
                        <c:pt idx="9">
                          <c:v>2.6802559061111456E-2</c:v>
                        </c:pt>
                        <c:pt idx="10">
                          <c:v>2.5855398153749029E-2</c:v>
                        </c:pt>
                        <c:pt idx="11">
                          <c:v>2.2964291136958047E-2</c:v>
                        </c:pt>
                        <c:pt idx="12">
                          <c:v>2.2323809181431557E-2</c:v>
                        </c:pt>
                        <c:pt idx="13">
                          <c:v>2.2685821510382308E-2</c:v>
                        </c:pt>
                        <c:pt idx="14">
                          <c:v>2.2343514299461874E-2</c:v>
                        </c:pt>
                        <c:pt idx="15">
                          <c:v>2.2375883137435128E-2</c:v>
                        </c:pt>
                        <c:pt idx="16">
                          <c:v>2.2375883137435128E-2</c:v>
                        </c:pt>
                        <c:pt idx="17">
                          <c:v>2.2375883137435128E-2</c:v>
                        </c:pt>
                        <c:pt idx="18">
                          <c:v>2.2375883137435128E-2</c:v>
                        </c:pt>
                        <c:pt idx="19">
                          <c:v>2.2375883137435128E-2</c:v>
                        </c:pt>
                        <c:pt idx="20">
                          <c:v>2.2375883137435128E-2</c:v>
                        </c:pt>
                        <c:pt idx="21">
                          <c:v>2.2375883137435128E-2</c:v>
                        </c:pt>
                        <c:pt idx="22">
                          <c:v>2.2375883137435128E-2</c:v>
                        </c:pt>
                        <c:pt idx="23">
                          <c:v>2.2375883137435128E-2</c:v>
                        </c:pt>
                        <c:pt idx="24">
                          <c:v>2.2375883137435128E-2</c:v>
                        </c:pt>
                        <c:pt idx="25">
                          <c:v>2.2375883137435128E-2</c:v>
                        </c:pt>
                        <c:pt idx="26">
                          <c:v>2.2375883137435128E-2</c:v>
                        </c:pt>
                        <c:pt idx="27">
                          <c:v>2.2375883137435128E-2</c:v>
                        </c:pt>
                        <c:pt idx="28">
                          <c:v>2.2375883137435128E-2</c:v>
                        </c:pt>
                        <c:pt idx="29">
                          <c:v>2.2375883137435128E-2</c:v>
                        </c:pt>
                        <c:pt idx="30">
                          <c:v>2.2375883137435128E-2</c:v>
                        </c:pt>
                        <c:pt idx="31">
                          <c:v>2.2375883137435128E-2</c:v>
                        </c:pt>
                        <c:pt idx="32">
                          <c:v>2.2375883137435128E-2</c:v>
                        </c:pt>
                        <c:pt idx="33">
                          <c:v>2.2375883137435128E-2</c:v>
                        </c:pt>
                        <c:pt idx="34">
                          <c:v>2.2375883137435128E-2</c:v>
                        </c:pt>
                        <c:pt idx="35">
                          <c:v>2.2375883137435128E-2</c:v>
                        </c:pt>
                        <c:pt idx="36">
                          <c:v>2.2375883137435128E-2</c:v>
                        </c:pt>
                        <c:pt idx="37">
                          <c:v>2.2375883137435128E-2</c:v>
                        </c:pt>
                        <c:pt idx="38">
                          <c:v>2.2375883137435128E-2</c:v>
                        </c:pt>
                        <c:pt idx="39">
                          <c:v>2.2375883137435128E-2</c:v>
                        </c:pt>
                        <c:pt idx="40">
                          <c:v>2.2375883137435128E-2</c:v>
                        </c:pt>
                        <c:pt idx="41">
                          <c:v>2.2375883137435128E-2</c:v>
                        </c:pt>
                        <c:pt idx="42">
                          <c:v>2.2375883137435128E-2</c:v>
                        </c:pt>
                        <c:pt idx="43">
                          <c:v>2.2375883137435128E-2</c:v>
                        </c:pt>
                        <c:pt idx="44">
                          <c:v>2.2375883137435128E-2</c:v>
                        </c:pt>
                        <c:pt idx="45">
                          <c:v>2.2375883137435128E-2</c:v>
                        </c:pt>
                        <c:pt idx="46">
                          <c:v>2.2375883137435128E-2</c:v>
                        </c:pt>
                        <c:pt idx="47">
                          <c:v>2.2375883137435128E-2</c:v>
                        </c:pt>
                        <c:pt idx="48">
                          <c:v>2.2375883137435128E-2</c:v>
                        </c:pt>
                        <c:pt idx="49">
                          <c:v>2.2375883137435128E-2</c:v>
                        </c:pt>
                        <c:pt idx="50">
                          <c:v>2.2375883137435128E-2</c:v>
                        </c:pt>
                        <c:pt idx="51">
                          <c:v>2.2375883137435128E-2</c:v>
                        </c:pt>
                        <c:pt idx="52">
                          <c:v>2.2375883137435128E-2</c:v>
                        </c:pt>
                        <c:pt idx="53">
                          <c:v>2.2375883137435128E-2</c:v>
                        </c:pt>
                        <c:pt idx="54">
                          <c:v>2.2375883137435128E-2</c:v>
                        </c:pt>
                        <c:pt idx="55">
                          <c:v>2.2375883137435128E-2</c:v>
                        </c:pt>
                        <c:pt idx="56">
                          <c:v>2.2375883137435128E-2</c:v>
                        </c:pt>
                        <c:pt idx="57">
                          <c:v>2.2375883137435128E-2</c:v>
                        </c:pt>
                        <c:pt idx="58">
                          <c:v>2.2375883137435128E-2</c:v>
                        </c:pt>
                        <c:pt idx="59">
                          <c:v>2.2375883137435128E-2</c:v>
                        </c:pt>
                        <c:pt idx="60">
                          <c:v>2.2375883137435128E-2</c:v>
                        </c:pt>
                      </c:numCache>
                    </c:numRef>
                  </c:minus>
                </c:errBars>
                <c:xVal>
                  <c:numRef>
                    <c:extLst xmlns:c15="http://schemas.microsoft.com/office/drawing/2012/chart">
                      <c:ext xmlns:c15="http://schemas.microsoft.com/office/drawing/2012/chart" uri="{02D57815-91ED-43cb-92C2-25804820EDAC}">
                        <c15:formulaRef>
                          <c15:sqref>'HCL-012944_Kerne ungecoatet'!$A$16:$A$76</c15:sqref>
                        </c15:formulaRef>
                      </c:ext>
                    </c:extLst>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HCL-012944_Kerne ungecoatet'!$K$16:$K$76</c15:sqref>
                        </c15:formulaRef>
                      </c:ext>
                    </c:extLst>
                    <c:numCache>
                      <c:formatCode>0.00%</c:formatCode>
                      <c:ptCount val="61"/>
                      <c:pt idx="0">
                        <c:v>0</c:v>
                      </c:pt>
                      <c:pt idx="1">
                        <c:v>8.9828227371337957E-2</c:v>
                      </c:pt>
                      <c:pt idx="2">
                        <c:v>0.24421050932582419</c:v>
                      </c:pt>
                      <c:pt idx="3">
                        <c:v>0.39756427643485859</c:v>
                      </c:pt>
                      <c:pt idx="4">
                        <c:v>0.56482417305938404</c:v>
                      </c:pt>
                      <c:pt idx="5">
                        <c:v>0.70247207963668601</c:v>
                      </c:pt>
                      <c:pt idx="6">
                        <c:v>0.79364956603561987</c:v>
                      </c:pt>
                      <c:pt idx="7">
                        <c:v>0.87282091229807446</c:v>
                      </c:pt>
                      <c:pt idx="8">
                        <c:v>0.92663565185678343</c:v>
                      </c:pt>
                      <c:pt idx="9">
                        <c:v>0.95793516734888351</c:v>
                      </c:pt>
                      <c:pt idx="10">
                        <c:v>0.97808269009461457</c:v>
                      </c:pt>
                      <c:pt idx="11">
                        <c:v>0.98554358705751532</c:v>
                      </c:pt>
                      <c:pt idx="12">
                        <c:v>0.98721264607394799</c:v>
                      </c:pt>
                      <c:pt idx="13">
                        <c:v>0.98579653782822574</c:v>
                      </c:pt>
                      <c:pt idx="14">
                        <c:v>0.98582706707742485</c:v>
                      </c:pt>
                      <c:pt idx="15">
                        <c:v>0.98596676644296777</c:v>
                      </c:pt>
                      <c:pt idx="16">
                        <c:v>0.98596676644296777</c:v>
                      </c:pt>
                      <c:pt idx="17">
                        <c:v>0.98596676644296777</c:v>
                      </c:pt>
                      <c:pt idx="18">
                        <c:v>0.98596676644296777</c:v>
                      </c:pt>
                      <c:pt idx="19">
                        <c:v>0.98596676644296777</c:v>
                      </c:pt>
                      <c:pt idx="20">
                        <c:v>0.98596676644296777</c:v>
                      </c:pt>
                      <c:pt idx="21">
                        <c:v>0.98596676644296777</c:v>
                      </c:pt>
                      <c:pt idx="22">
                        <c:v>0.98596676644296777</c:v>
                      </c:pt>
                      <c:pt idx="23">
                        <c:v>0.98596676644296777</c:v>
                      </c:pt>
                      <c:pt idx="24">
                        <c:v>0.98596676644296777</c:v>
                      </c:pt>
                      <c:pt idx="25">
                        <c:v>0.98596676644296777</c:v>
                      </c:pt>
                      <c:pt idx="26">
                        <c:v>0.98596676644296777</c:v>
                      </c:pt>
                      <c:pt idx="27">
                        <c:v>0.98596676644296777</c:v>
                      </c:pt>
                      <c:pt idx="28">
                        <c:v>0.98596676644296777</c:v>
                      </c:pt>
                      <c:pt idx="29">
                        <c:v>0.98596676644296777</c:v>
                      </c:pt>
                      <c:pt idx="30">
                        <c:v>0.98596676644296777</c:v>
                      </c:pt>
                      <c:pt idx="31">
                        <c:v>0.98596676644296777</c:v>
                      </c:pt>
                      <c:pt idx="32">
                        <c:v>0.98596676644296777</c:v>
                      </c:pt>
                      <c:pt idx="33">
                        <c:v>0.98596676644296777</c:v>
                      </c:pt>
                      <c:pt idx="34">
                        <c:v>0.98596676644296777</c:v>
                      </c:pt>
                      <c:pt idx="35">
                        <c:v>0.98596676644296777</c:v>
                      </c:pt>
                      <c:pt idx="36">
                        <c:v>0.98596676644296777</c:v>
                      </c:pt>
                      <c:pt idx="37">
                        <c:v>0.98596676644296777</c:v>
                      </c:pt>
                      <c:pt idx="38">
                        <c:v>0.98596676644296777</c:v>
                      </c:pt>
                      <c:pt idx="39">
                        <c:v>0.98596676644296777</c:v>
                      </c:pt>
                      <c:pt idx="40">
                        <c:v>0.98596676644296777</c:v>
                      </c:pt>
                      <c:pt idx="41">
                        <c:v>0.98596676644296777</c:v>
                      </c:pt>
                      <c:pt idx="42">
                        <c:v>0.98596676644296777</c:v>
                      </c:pt>
                      <c:pt idx="43">
                        <c:v>0.98596676644296777</c:v>
                      </c:pt>
                      <c:pt idx="44">
                        <c:v>0.98596676644296777</c:v>
                      </c:pt>
                      <c:pt idx="45">
                        <c:v>0.98596676644296777</c:v>
                      </c:pt>
                      <c:pt idx="46">
                        <c:v>0.98596676644296777</c:v>
                      </c:pt>
                      <c:pt idx="47">
                        <c:v>0.98596676644296777</c:v>
                      </c:pt>
                      <c:pt idx="48">
                        <c:v>0.98596676644296777</c:v>
                      </c:pt>
                      <c:pt idx="49">
                        <c:v>0.98596676644296777</c:v>
                      </c:pt>
                      <c:pt idx="50">
                        <c:v>0.98596676644296777</c:v>
                      </c:pt>
                      <c:pt idx="51">
                        <c:v>0.98596676644296777</c:v>
                      </c:pt>
                      <c:pt idx="52">
                        <c:v>0.98596676644296777</c:v>
                      </c:pt>
                      <c:pt idx="53">
                        <c:v>0.98596676644296777</c:v>
                      </c:pt>
                      <c:pt idx="54">
                        <c:v>0.98596676644296777</c:v>
                      </c:pt>
                      <c:pt idx="55">
                        <c:v>0.98596676644296777</c:v>
                      </c:pt>
                      <c:pt idx="56">
                        <c:v>0.98596676644296777</c:v>
                      </c:pt>
                      <c:pt idx="57">
                        <c:v>0.98596676644296777</c:v>
                      </c:pt>
                      <c:pt idx="58">
                        <c:v>0.98596676644296777</c:v>
                      </c:pt>
                      <c:pt idx="59">
                        <c:v>0.98596676644296777</c:v>
                      </c:pt>
                      <c:pt idx="60">
                        <c:v>0.98596676644296777</c:v>
                      </c:pt>
                    </c:numCache>
                  </c:numRef>
                </c:yVal>
                <c:smooth val="0"/>
                <c:extLst xmlns:c15="http://schemas.microsoft.com/office/drawing/2012/chart">
                  <c:ext xmlns:c16="http://schemas.microsoft.com/office/drawing/2014/chart" uri="{C3380CC4-5D6E-409C-BE32-E72D297353CC}">
                    <c16:uniqueId val="{0000000F-7CBB-4E7B-AAD7-8E02881B1772}"/>
                  </c:ext>
                </c:extLst>
              </c15:ser>
            </c15:filteredScatterSeries>
            <c15:filteredScatterSeries>
              <c15:ser>
                <c:idx val="5"/>
                <c:order val="10"/>
                <c:tx>
                  <c:v>012861-2a</c:v>
                </c:tx>
                <c:errBars>
                  <c:errDir val="y"/>
                  <c:errBarType val="both"/>
                  <c:errValType val="cust"/>
                  <c:noEndCap val="0"/>
                  <c:plus>
                    <c:numRef>
                      <c:extLst xmlns:c15="http://schemas.microsoft.com/office/drawing/2012/chart">
                        <c:ext xmlns:c15="http://schemas.microsoft.com/office/drawing/2012/chart" uri="{02D57815-91ED-43cb-92C2-25804820EDAC}">
                          <c15:formulaRef>
                            <c15:sqref>'HCL-012944_Kerne ungecoatet'!$L$85:$L$145</c15:sqref>
                          </c15:formulaRef>
                        </c:ext>
                      </c:extLst>
                      <c:numCache>
                        <c:formatCode>General</c:formatCode>
                        <c:ptCount val="61"/>
                        <c:pt idx="0">
                          <c:v>0</c:v>
                        </c:pt>
                        <c:pt idx="1">
                          <c:v>0</c:v>
                        </c:pt>
                        <c:pt idx="2">
                          <c:v>2.6399611207179815E-2</c:v>
                        </c:pt>
                        <c:pt idx="3">
                          <c:v>3.1431351332562578E-2</c:v>
                        </c:pt>
                        <c:pt idx="4">
                          <c:v>3.3287355119289756E-2</c:v>
                        </c:pt>
                        <c:pt idx="5">
                          <c:v>3.6665864336459825E-2</c:v>
                        </c:pt>
                        <c:pt idx="6">
                          <c:v>3.7904981836164663E-2</c:v>
                        </c:pt>
                        <c:pt idx="7">
                          <c:v>3.9151877148507284E-2</c:v>
                        </c:pt>
                        <c:pt idx="8">
                          <c:v>3.8098429958614642E-2</c:v>
                        </c:pt>
                        <c:pt idx="9">
                          <c:v>3.3763396797753253E-2</c:v>
                        </c:pt>
                        <c:pt idx="10">
                          <c:v>2.9245949210926901E-2</c:v>
                        </c:pt>
                        <c:pt idx="11">
                          <c:v>1.9709563350550751E-2</c:v>
                        </c:pt>
                        <c:pt idx="12">
                          <c:v>1.4253732382687123E-2</c:v>
                        </c:pt>
                        <c:pt idx="13">
                          <c:v>1.4408843496492688E-2</c:v>
                        </c:pt>
                        <c:pt idx="14">
                          <c:v>1.7465267711281998E-2</c:v>
                        </c:pt>
                        <c:pt idx="15">
                          <c:v>1.874821635066665E-2</c:v>
                        </c:pt>
                        <c:pt idx="16">
                          <c:v>2.0260105946619433E-2</c:v>
                        </c:pt>
                        <c:pt idx="17">
                          <c:v>2.0161843619456769E-2</c:v>
                        </c:pt>
                        <c:pt idx="18">
                          <c:v>2.0770060453652834E-2</c:v>
                        </c:pt>
                        <c:pt idx="19">
                          <c:v>2.0276636216237043E-2</c:v>
                        </c:pt>
                        <c:pt idx="20">
                          <c:v>1.9638007621277393E-2</c:v>
                        </c:pt>
                        <c:pt idx="21">
                          <c:v>1.7638487149355852E-2</c:v>
                        </c:pt>
                        <c:pt idx="22">
                          <c:v>1.8644932829411383E-2</c:v>
                        </c:pt>
                        <c:pt idx="23">
                          <c:v>1.8479271435101932E-2</c:v>
                        </c:pt>
                        <c:pt idx="24">
                          <c:v>1.8310170115650084E-2</c:v>
                        </c:pt>
                        <c:pt idx="25">
                          <c:v>1.7711726104186903E-2</c:v>
                        </c:pt>
                        <c:pt idx="26">
                          <c:v>1.7451720748086173E-2</c:v>
                        </c:pt>
                        <c:pt idx="27">
                          <c:v>1.7746766307566959E-2</c:v>
                        </c:pt>
                        <c:pt idx="28">
                          <c:v>1.7669224488179012E-2</c:v>
                        </c:pt>
                        <c:pt idx="29">
                          <c:v>1.7716170234283457E-2</c:v>
                        </c:pt>
                        <c:pt idx="30">
                          <c:v>1.7167489453237619E-2</c:v>
                        </c:pt>
                        <c:pt idx="31">
                          <c:v>1.7105990330496517E-2</c:v>
                        </c:pt>
                        <c:pt idx="32">
                          <c:v>1.6775139164353851E-2</c:v>
                        </c:pt>
                        <c:pt idx="33">
                          <c:v>1.7584528646279934E-2</c:v>
                        </c:pt>
                        <c:pt idx="34">
                          <c:v>1.7475281668806839E-2</c:v>
                        </c:pt>
                        <c:pt idx="35">
                          <c:v>1.7633376626526441E-2</c:v>
                        </c:pt>
                        <c:pt idx="36">
                          <c:v>1.77465695650183E-2</c:v>
                        </c:pt>
                        <c:pt idx="37">
                          <c:v>1.7863374921744335E-2</c:v>
                        </c:pt>
                        <c:pt idx="38">
                          <c:v>1.7593325687620193E-2</c:v>
                        </c:pt>
                        <c:pt idx="39">
                          <c:v>1.730470702396102E-2</c:v>
                        </c:pt>
                        <c:pt idx="40">
                          <c:v>1.7359571442073812E-2</c:v>
                        </c:pt>
                        <c:pt idx="41">
                          <c:v>1.7075391375084303E-2</c:v>
                        </c:pt>
                        <c:pt idx="42">
                          <c:v>1.6727760056252532E-2</c:v>
                        </c:pt>
                        <c:pt idx="43">
                          <c:v>1.6315566516002456E-2</c:v>
                        </c:pt>
                        <c:pt idx="44">
                          <c:v>1.7209496028733205E-2</c:v>
                        </c:pt>
                        <c:pt idx="45">
                          <c:v>1.7392044991926644E-2</c:v>
                        </c:pt>
                        <c:pt idx="46">
                          <c:v>1.6754946858353829E-2</c:v>
                        </c:pt>
                        <c:pt idx="47">
                          <c:v>1.69660891143361E-2</c:v>
                        </c:pt>
                        <c:pt idx="48">
                          <c:v>1.8065159953390086E-2</c:v>
                        </c:pt>
                        <c:pt idx="49">
                          <c:v>1.825204407043916E-2</c:v>
                        </c:pt>
                        <c:pt idx="50">
                          <c:v>1.8023019203264132E-2</c:v>
                        </c:pt>
                        <c:pt idx="51">
                          <c:v>1.8060319138317248E-2</c:v>
                        </c:pt>
                        <c:pt idx="52">
                          <c:v>1.8375829327910462E-2</c:v>
                        </c:pt>
                        <c:pt idx="53">
                          <c:v>1.8908712100819808E-2</c:v>
                        </c:pt>
                        <c:pt idx="54">
                          <c:v>1.9064715416544701E-2</c:v>
                        </c:pt>
                        <c:pt idx="55">
                          <c:v>1.902617495253078E-2</c:v>
                        </c:pt>
                        <c:pt idx="56">
                          <c:v>1.9243341368510893E-2</c:v>
                        </c:pt>
                        <c:pt idx="57">
                          <c:v>1.9482467583380549E-2</c:v>
                        </c:pt>
                        <c:pt idx="58">
                          <c:v>1.9876888308059518E-2</c:v>
                        </c:pt>
                        <c:pt idx="59">
                          <c:v>1.9793881265676105E-2</c:v>
                        </c:pt>
                        <c:pt idx="60">
                          <c:v>1.9718303878187127E-2</c:v>
                        </c:pt>
                      </c:numCache>
                    </c:numRef>
                  </c:plus>
                  <c:minus>
                    <c:numRef>
                      <c:extLst xmlns:c15="http://schemas.microsoft.com/office/drawing/2012/chart">
                        <c:ext xmlns:c15="http://schemas.microsoft.com/office/drawing/2012/chart" uri="{02D57815-91ED-43cb-92C2-25804820EDAC}">
                          <c15:formulaRef>
                            <c15:sqref>'HCL-012944_Kerne ungecoatet'!$L$85:$L$145</c15:sqref>
                          </c15:formulaRef>
                        </c:ext>
                      </c:extLst>
                      <c:numCache>
                        <c:formatCode>General</c:formatCode>
                        <c:ptCount val="61"/>
                        <c:pt idx="0">
                          <c:v>0</c:v>
                        </c:pt>
                        <c:pt idx="1">
                          <c:v>0</c:v>
                        </c:pt>
                        <c:pt idx="2">
                          <c:v>2.6399611207179815E-2</c:v>
                        </c:pt>
                        <c:pt idx="3">
                          <c:v>3.1431351332562578E-2</c:v>
                        </c:pt>
                        <c:pt idx="4">
                          <c:v>3.3287355119289756E-2</c:v>
                        </c:pt>
                        <c:pt idx="5">
                          <c:v>3.6665864336459825E-2</c:v>
                        </c:pt>
                        <c:pt idx="6">
                          <c:v>3.7904981836164663E-2</c:v>
                        </c:pt>
                        <c:pt idx="7">
                          <c:v>3.9151877148507284E-2</c:v>
                        </c:pt>
                        <c:pt idx="8">
                          <c:v>3.8098429958614642E-2</c:v>
                        </c:pt>
                        <c:pt idx="9">
                          <c:v>3.3763396797753253E-2</c:v>
                        </c:pt>
                        <c:pt idx="10">
                          <c:v>2.9245949210926901E-2</c:v>
                        </c:pt>
                        <c:pt idx="11">
                          <c:v>1.9709563350550751E-2</c:v>
                        </c:pt>
                        <c:pt idx="12">
                          <c:v>1.4253732382687123E-2</c:v>
                        </c:pt>
                        <c:pt idx="13">
                          <c:v>1.4408843496492688E-2</c:v>
                        </c:pt>
                        <c:pt idx="14">
                          <c:v>1.7465267711281998E-2</c:v>
                        </c:pt>
                        <c:pt idx="15">
                          <c:v>1.874821635066665E-2</c:v>
                        </c:pt>
                        <c:pt idx="16">
                          <c:v>2.0260105946619433E-2</c:v>
                        </c:pt>
                        <c:pt idx="17">
                          <c:v>2.0161843619456769E-2</c:v>
                        </c:pt>
                        <c:pt idx="18">
                          <c:v>2.0770060453652834E-2</c:v>
                        </c:pt>
                        <c:pt idx="19">
                          <c:v>2.0276636216237043E-2</c:v>
                        </c:pt>
                        <c:pt idx="20">
                          <c:v>1.9638007621277393E-2</c:v>
                        </c:pt>
                        <c:pt idx="21">
                          <c:v>1.7638487149355852E-2</c:v>
                        </c:pt>
                        <c:pt idx="22">
                          <c:v>1.8644932829411383E-2</c:v>
                        </c:pt>
                        <c:pt idx="23">
                          <c:v>1.8479271435101932E-2</c:v>
                        </c:pt>
                        <c:pt idx="24">
                          <c:v>1.8310170115650084E-2</c:v>
                        </c:pt>
                        <c:pt idx="25">
                          <c:v>1.7711726104186903E-2</c:v>
                        </c:pt>
                        <c:pt idx="26">
                          <c:v>1.7451720748086173E-2</c:v>
                        </c:pt>
                        <c:pt idx="27">
                          <c:v>1.7746766307566959E-2</c:v>
                        </c:pt>
                        <c:pt idx="28">
                          <c:v>1.7669224488179012E-2</c:v>
                        </c:pt>
                        <c:pt idx="29">
                          <c:v>1.7716170234283457E-2</c:v>
                        </c:pt>
                        <c:pt idx="30">
                          <c:v>1.7167489453237619E-2</c:v>
                        </c:pt>
                        <c:pt idx="31">
                          <c:v>1.7105990330496517E-2</c:v>
                        </c:pt>
                        <c:pt idx="32">
                          <c:v>1.6775139164353851E-2</c:v>
                        </c:pt>
                        <c:pt idx="33">
                          <c:v>1.7584528646279934E-2</c:v>
                        </c:pt>
                        <c:pt idx="34">
                          <c:v>1.7475281668806839E-2</c:v>
                        </c:pt>
                        <c:pt idx="35">
                          <c:v>1.7633376626526441E-2</c:v>
                        </c:pt>
                        <c:pt idx="36">
                          <c:v>1.77465695650183E-2</c:v>
                        </c:pt>
                        <c:pt idx="37">
                          <c:v>1.7863374921744335E-2</c:v>
                        </c:pt>
                        <c:pt idx="38">
                          <c:v>1.7593325687620193E-2</c:v>
                        </c:pt>
                        <c:pt idx="39">
                          <c:v>1.730470702396102E-2</c:v>
                        </c:pt>
                        <c:pt idx="40">
                          <c:v>1.7359571442073812E-2</c:v>
                        </c:pt>
                        <c:pt idx="41">
                          <c:v>1.7075391375084303E-2</c:v>
                        </c:pt>
                        <c:pt idx="42">
                          <c:v>1.6727760056252532E-2</c:v>
                        </c:pt>
                        <c:pt idx="43">
                          <c:v>1.6315566516002456E-2</c:v>
                        </c:pt>
                        <c:pt idx="44">
                          <c:v>1.7209496028733205E-2</c:v>
                        </c:pt>
                        <c:pt idx="45">
                          <c:v>1.7392044991926644E-2</c:v>
                        </c:pt>
                        <c:pt idx="46">
                          <c:v>1.6754946858353829E-2</c:v>
                        </c:pt>
                        <c:pt idx="47">
                          <c:v>1.69660891143361E-2</c:v>
                        </c:pt>
                        <c:pt idx="48">
                          <c:v>1.8065159953390086E-2</c:v>
                        </c:pt>
                        <c:pt idx="49">
                          <c:v>1.825204407043916E-2</c:v>
                        </c:pt>
                        <c:pt idx="50">
                          <c:v>1.8023019203264132E-2</c:v>
                        </c:pt>
                        <c:pt idx="51">
                          <c:v>1.8060319138317248E-2</c:v>
                        </c:pt>
                        <c:pt idx="52">
                          <c:v>1.8375829327910462E-2</c:v>
                        </c:pt>
                        <c:pt idx="53">
                          <c:v>1.8908712100819808E-2</c:v>
                        </c:pt>
                        <c:pt idx="54">
                          <c:v>1.9064715416544701E-2</c:v>
                        </c:pt>
                        <c:pt idx="55">
                          <c:v>1.902617495253078E-2</c:v>
                        </c:pt>
                        <c:pt idx="56">
                          <c:v>1.9243341368510893E-2</c:v>
                        </c:pt>
                        <c:pt idx="57">
                          <c:v>1.9482467583380549E-2</c:v>
                        </c:pt>
                        <c:pt idx="58">
                          <c:v>1.9876888308059518E-2</c:v>
                        </c:pt>
                        <c:pt idx="59">
                          <c:v>1.9793881265676105E-2</c:v>
                        </c:pt>
                        <c:pt idx="60">
                          <c:v>1.9718303878187127E-2</c:v>
                        </c:pt>
                      </c:numCache>
                    </c:numRef>
                  </c:minus>
                </c:errBars>
                <c:xVal>
                  <c:numRef>
                    <c:extLst xmlns:c15="http://schemas.microsoft.com/office/drawing/2012/chart">
                      <c:ext xmlns:c15="http://schemas.microsoft.com/office/drawing/2012/chart" uri="{02D57815-91ED-43cb-92C2-25804820EDAC}">
                        <c15:formulaRef>
                          <c15:sqref>'HCL-012944_Kerne ungecoatet'!$A$85:$A$145</c15:sqref>
                        </c15:formulaRef>
                      </c:ext>
                    </c:extLst>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HCL-012944_Kerne ungecoatet'!$K$85:$K$145</c15:sqref>
                        </c15:formulaRef>
                      </c:ext>
                    </c:extLst>
                    <c:numCache>
                      <c:formatCode>0.00%</c:formatCode>
                      <c:ptCount val="61"/>
                      <c:pt idx="0">
                        <c:v>0</c:v>
                      </c:pt>
                      <c:pt idx="1">
                        <c:v>0</c:v>
                      </c:pt>
                      <c:pt idx="2">
                        <c:v>3.8867977405107758E-2</c:v>
                      </c:pt>
                      <c:pt idx="3">
                        <c:v>0.13188206702375904</c:v>
                      </c:pt>
                      <c:pt idx="4">
                        <c:v>0.2247943892005039</c:v>
                      </c:pt>
                      <c:pt idx="5">
                        <c:v>0.31078572475023553</c:v>
                      </c:pt>
                      <c:pt idx="6">
                        <c:v>0.39197743380280009</c:v>
                      </c:pt>
                      <c:pt idx="7">
                        <c:v>0.465901578413152</c:v>
                      </c:pt>
                      <c:pt idx="8">
                        <c:v>0.53915196295576584</c:v>
                      </c:pt>
                      <c:pt idx="9">
                        <c:v>0.60635913833727628</c:v>
                      </c:pt>
                      <c:pt idx="10">
                        <c:v>0.66630137792319832</c:v>
                      </c:pt>
                      <c:pt idx="11">
                        <c:v>0.72306009926914738</c:v>
                      </c:pt>
                      <c:pt idx="12">
                        <c:v>0.76967163069164579</c:v>
                      </c:pt>
                      <c:pt idx="13">
                        <c:v>0.81020213108541428</c:v>
                      </c:pt>
                      <c:pt idx="14">
                        <c:v>0.84301240288881363</c:v>
                      </c:pt>
                      <c:pt idx="15">
                        <c:v>0.8709893462563908</c:v>
                      </c:pt>
                      <c:pt idx="16">
                        <c:v>0.89559982584595865</c:v>
                      </c:pt>
                      <c:pt idx="17">
                        <c:v>0.91611025773525967</c:v>
                      </c:pt>
                      <c:pt idx="18">
                        <c:v>0.9350348540435558</c:v>
                      </c:pt>
                      <c:pt idx="19">
                        <c:v>0.94993736636881232</c:v>
                      </c:pt>
                      <c:pt idx="20">
                        <c:v>0.96090788667555549</c:v>
                      </c:pt>
                      <c:pt idx="21">
                        <c:v>0.96794449845798669</c:v>
                      </c:pt>
                      <c:pt idx="22">
                        <c:v>0.97066255585634353</c:v>
                      </c:pt>
                      <c:pt idx="23">
                        <c:v>0.97215078971351498</c:v>
                      </c:pt>
                      <c:pt idx="24">
                        <c:v>0.97243680816349765</c:v>
                      </c:pt>
                      <c:pt idx="25">
                        <c:v>0.97297888349134076</c:v>
                      </c:pt>
                      <c:pt idx="26">
                        <c:v>0.97305185263290517</c:v>
                      </c:pt>
                      <c:pt idx="27">
                        <c:v>0.97313496380208175</c:v>
                      </c:pt>
                      <c:pt idx="28">
                        <c:v>0.97271953845090264</c:v>
                      </c:pt>
                      <c:pt idx="29">
                        <c:v>0.97321624287805408</c:v>
                      </c:pt>
                      <c:pt idx="30">
                        <c:v>0.9738285417102982</c:v>
                      </c:pt>
                      <c:pt idx="31">
                        <c:v>0.9742089479635494</c:v>
                      </c:pt>
                      <c:pt idx="32">
                        <c:v>0.97477168918641854</c:v>
                      </c:pt>
                      <c:pt idx="33">
                        <c:v>0.97405974199978118</c:v>
                      </c:pt>
                      <c:pt idx="34">
                        <c:v>0.97444210253767405</c:v>
                      </c:pt>
                      <c:pt idx="35">
                        <c:v>0.9748786497928501</c:v>
                      </c:pt>
                      <c:pt idx="36">
                        <c:v>0.97525385311122081</c:v>
                      </c:pt>
                      <c:pt idx="37">
                        <c:v>0.97448056627609503</c:v>
                      </c:pt>
                      <c:pt idx="38">
                        <c:v>0.97533337390999375</c:v>
                      </c:pt>
                      <c:pt idx="39">
                        <c:v>0.97667742593320772</c:v>
                      </c:pt>
                      <c:pt idx="40">
                        <c:v>0.97657553349541393</c:v>
                      </c:pt>
                      <c:pt idx="41">
                        <c:v>0.97654823957399162</c:v>
                      </c:pt>
                      <c:pt idx="42">
                        <c:v>0.97653284642676752</c:v>
                      </c:pt>
                      <c:pt idx="43">
                        <c:v>0.97624172955544442</c:v>
                      </c:pt>
                      <c:pt idx="44">
                        <c:v>0.97613159869405763</c:v>
                      </c:pt>
                      <c:pt idx="45">
                        <c:v>0.97695123854883636</c:v>
                      </c:pt>
                      <c:pt idx="46">
                        <c:v>0.97596041988544924</c:v>
                      </c:pt>
                      <c:pt idx="47">
                        <c:v>0.9767511732235028</c:v>
                      </c:pt>
                      <c:pt idx="48">
                        <c:v>0.9768239566534308</c:v>
                      </c:pt>
                      <c:pt idx="49">
                        <c:v>0.97533933972770626</c:v>
                      </c:pt>
                      <c:pt idx="50">
                        <c:v>0.97595147828315731</c:v>
                      </c:pt>
                      <c:pt idx="51">
                        <c:v>0.97570306338216461</c:v>
                      </c:pt>
                      <c:pt idx="52">
                        <c:v>0.97616803782051387</c:v>
                      </c:pt>
                      <c:pt idx="53">
                        <c:v>0.97743199139905279</c:v>
                      </c:pt>
                      <c:pt idx="54">
                        <c:v>0.97699523046631265</c:v>
                      </c:pt>
                      <c:pt idx="55">
                        <c:v>0.97687331865027038</c:v>
                      </c:pt>
                      <c:pt idx="56">
                        <c:v>0.97743414173124099</c:v>
                      </c:pt>
                      <c:pt idx="57">
                        <c:v>0.97795144442169013</c:v>
                      </c:pt>
                      <c:pt idx="58">
                        <c:v>0.9783186511584363</c:v>
                      </c:pt>
                      <c:pt idx="59">
                        <c:v>0.97830641827523779</c:v>
                      </c:pt>
                      <c:pt idx="60">
                        <c:v>0.97777119634631682</c:v>
                      </c:pt>
                    </c:numCache>
                  </c:numRef>
                </c:yVal>
                <c:smooth val="0"/>
                <c:extLst xmlns:c15="http://schemas.microsoft.com/office/drawing/2012/chart">
                  <c:ext xmlns:c16="http://schemas.microsoft.com/office/drawing/2014/chart" uri="{C3380CC4-5D6E-409C-BE32-E72D297353CC}">
                    <c16:uniqueId val="{00000010-7CBB-4E7B-AAD7-8E02881B1772}"/>
                  </c:ext>
                </c:extLst>
              </c15:ser>
            </c15:filteredScatterSeries>
            <c15:filteredScatterSeries>
              <c15:ser>
                <c:idx val="10"/>
                <c:order val="11"/>
                <c:tx>
                  <c:v>012681-2b</c:v>
                </c:tx>
                <c:errBars>
                  <c:errDir val="y"/>
                  <c:errBarType val="both"/>
                  <c:errValType val="cust"/>
                  <c:noEndCap val="0"/>
                  <c:plus>
                    <c:numRef>
                      <c:extLst xmlns:c15="http://schemas.microsoft.com/office/drawing/2012/chart">
                        <c:ext xmlns:c15="http://schemas.microsoft.com/office/drawing/2012/chart" uri="{02D57815-91ED-43cb-92C2-25804820EDAC}">
                          <c15:formulaRef>
                            <c15:sqref>'HCL-012944_Kerne ungecoatet'!$L$154:$L$214</c15:sqref>
                          </c15:formulaRef>
                        </c:ext>
                      </c:extLst>
                      <c:numCache>
                        <c:formatCode>General</c:formatCode>
                        <c:ptCount val="61"/>
                        <c:pt idx="0">
                          <c:v>0</c:v>
                        </c:pt>
                        <c:pt idx="1">
                          <c:v>0</c:v>
                        </c:pt>
                        <c:pt idx="2">
                          <c:v>1.6442240513936989E-4</c:v>
                        </c:pt>
                        <c:pt idx="3">
                          <c:v>5.44935518363632E-3</c:v>
                        </c:pt>
                        <c:pt idx="4">
                          <c:v>5.5002116053835216E-3</c:v>
                        </c:pt>
                        <c:pt idx="5">
                          <c:v>8.3302829230788057E-3</c:v>
                        </c:pt>
                        <c:pt idx="6">
                          <c:v>1.3073588663028539E-2</c:v>
                        </c:pt>
                        <c:pt idx="7">
                          <c:v>1.9477286573853704E-2</c:v>
                        </c:pt>
                        <c:pt idx="8">
                          <c:v>2.2441675077771211E-2</c:v>
                        </c:pt>
                        <c:pt idx="9">
                          <c:v>2.276625882233663E-2</c:v>
                        </c:pt>
                        <c:pt idx="10">
                          <c:v>2.3732328830561297E-2</c:v>
                        </c:pt>
                        <c:pt idx="11">
                          <c:v>2.2452114287754676E-2</c:v>
                        </c:pt>
                        <c:pt idx="12">
                          <c:v>1.856380645128888E-2</c:v>
                        </c:pt>
                        <c:pt idx="13">
                          <c:v>1.772113122444461E-2</c:v>
                        </c:pt>
                        <c:pt idx="14">
                          <c:v>1.7511437391873327E-2</c:v>
                        </c:pt>
                        <c:pt idx="15">
                          <c:v>1.6846501143317906E-2</c:v>
                        </c:pt>
                        <c:pt idx="16">
                          <c:v>1.6198347908990683E-2</c:v>
                        </c:pt>
                        <c:pt idx="17">
                          <c:v>1.4104324021476206E-2</c:v>
                        </c:pt>
                        <c:pt idx="18">
                          <c:v>1.2100295145845626E-2</c:v>
                        </c:pt>
                        <c:pt idx="19">
                          <c:v>1.085831309054157E-2</c:v>
                        </c:pt>
                        <c:pt idx="20">
                          <c:v>1.2989832797659553E-2</c:v>
                        </c:pt>
                        <c:pt idx="21">
                          <c:v>1.44681503866849E-2</c:v>
                        </c:pt>
                        <c:pt idx="22">
                          <c:v>1.617784790960982E-2</c:v>
                        </c:pt>
                        <c:pt idx="23">
                          <c:v>1.6861363491341524E-2</c:v>
                        </c:pt>
                        <c:pt idx="24">
                          <c:v>1.5948487118916832E-2</c:v>
                        </c:pt>
                        <c:pt idx="25">
                          <c:v>1.5123450337749242E-2</c:v>
                        </c:pt>
                        <c:pt idx="26">
                          <c:v>1.5266139986478232E-2</c:v>
                        </c:pt>
                        <c:pt idx="27">
                          <c:v>1.5784948133816486E-2</c:v>
                        </c:pt>
                        <c:pt idx="28">
                          <c:v>1.5829409082168847E-2</c:v>
                        </c:pt>
                        <c:pt idx="29">
                          <c:v>1.5760842537291049E-2</c:v>
                        </c:pt>
                        <c:pt idx="30">
                          <c:v>1.5503214288848835E-2</c:v>
                        </c:pt>
                        <c:pt idx="31">
                          <c:v>1.6264654572838863E-2</c:v>
                        </c:pt>
                        <c:pt idx="32">
                          <c:v>1.5843543221951018E-2</c:v>
                        </c:pt>
                        <c:pt idx="33">
                          <c:v>1.59409506910261E-2</c:v>
                        </c:pt>
                        <c:pt idx="34">
                          <c:v>1.5538288840467117E-2</c:v>
                        </c:pt>
                        <c:pt idx="35">
                          <c:v>1.5726901044614411E-2</c:v>
                        </c:pt>
                        <c:pt idx="36">
                          <c:v>1.5921079864211572E-2</c:v>
                        </c:pt>
                        <c:pt idx="37">
                          <c:v>1.5854148135973405E-2</c:v>
                        </c:pt>
                        <c:pt idx="38">
                          <c:v>1.5453541861846453E-2</c:v>
                        </c:pt>
                        <c:pt idx="39">
                          <c:v>1.5918325343158311E-2</c:v>
                        </c:pt>
                        <c:pt idx="40">
                          <c:v>1.5533917614504794E-2</c:v>
                        </c:pt>
                        <c:pt idx="41">
                          <c:v>1.5590492128812659E-2</c:v>
                        </c:pt>
                        <c:pt idx="42">
                          <c:v>1.5064192487419591E-2</c:v>
                        </c:pt>
                        <c:pt idx="43">
                          <c:v>1.5690365098879232E-2</c:v>
                        </c:pt>
                        <c:pt idx="44">
                          <c:v>1.5498900960743129E-2</c:v>
                        </c:pt>
                        <c:pt idx="45">
                          <c:v>1.5323070401555536E-2</c:v>
                        </c:pt>
                        <c:pt idx="46">
                          <c:v>1.511938565724869E-2</c:v>
                        </c:pt>
                        <c:pt idx="47">
                          <c:v>1.4995117938560409E-2</c:v>
                        </c:pt>
                        <c:pt idx="48">
                          <c:v>1.5036035027367603E-2</c:v>
                        </c:pt>
                        <c:pt idx="49">
                          <c:v>1.5029936506198953E-2</c:v>
                        </c:pt>
                        <c:pt idx="50">
                          <c:v>1.4925608863164144E-2</c:v>
                        </c:pt>
                        <c:pt idx="51">
                          <c:v>1.4991486126496917E-2</c:v>
                        </c:pt>
                        <c:pt idx="52">
                          <c:v>1.4880773108767007E-2</c:v>
                        </c:pt>
                        <c:pt idx="53">
                          <c:v>1.5029988258282169E-2</c:v>
                        </c:pt>
                        <c:pt idx="54">
                          <c:v>1.4510951079213262E-2</c:v>
                        </c:pt>
                        <c:pt idx="55">
                          <c:v>1.4325310376555125E-2</c:v>
                        </c:pt>
                        <c:pt idx="56">
                          <c:v>1.4367114069211732E-2</c:v>
                        </c:pt>
                        <c:pt idx="57">
                          <c:v>1.4090088270694372E-2</c:v>
                        </c:pt>
                        <c:pt idx="58">
                          <c:v>1.4803775961512328E-2</c:v>
                        </c:pt>
                        <c:pt idx="59">
                          <c:v>1.4470661166276917E-2</c:v>
                        </c:pt>
                        <c:pt idx="60">
                          <c:v>1.4342938553711562E-2</c:v>
                        </c:pt>
                      </c:numCache>
                    </c:numRef>
                  </c:plus>
                  <c:minus>
                    <c:numRef>
                      <c:extLst xmlns:c15="http://schemas.microsoft.com/office/drawing/2012/chart">
                        <c:ext xmlns:c15="http://schemas.microsoft.com/office/drawing/2012/chart" uri="{02D57815-91ED-43cb-92C2-25804820EDAC}">
                          <c15:formulaRef>
                            <c15:sqref>'HCL-012944_Kerne ungecoatet'!$L$154:$L$214</c15:sqref>
                          </c15:formulaRef>
                        </c:ext>
                      </c:extLst>
                      <c:numCache>
                        <c:formatCode>General</c:formatCode>
                        <c:ptCount val="61"/>
                        <c:pt idx="0">
                          <c:v>0</c:v>
                        </c:pt>
                        <c:pt idx="1">
                          <c:v>0</c:v>
                        </c:pt>
                        <c:pt idx="2">
                          <c:v>1.6442240513936989E-4</c:v>
                        </c:pt>
                        <c:pt idx="3">
                          <c:v>5.44935518363632E-3</c:v>
                        </c:pt>
                        <c:pt idx="4">
                          <c:v>5.5002116053835216E-3</c:v>
                        </c:pt>
                        <c:pt idx="5">
                          <c:v>8.3302829230788057E-3</c:v>
                        </c:pt>
                        <c:pt idx="6">
                          <c:v>1.3073588663028539E-2</c:v>
                        </c:pt>
                        <c:pt idx="7">
                          <c:v>1.9477286573853704E-2</c:v>
                        </c:pt>
                        <c:pt idx="8">
                          <c:v>2.2441675077771211E-2</c:v>
                        </c:pt>
                        <c:pt idx="9">
                          <c:v>2.276625882233663E-2</c:v>
                        </c:pt>
                        <c:pt idx="10">
                          <c:v>2.3732328830561297E-2</c:v>
                        </c:pt>
                        <c:pt idx="11">
                          <c:v>2.2452114287754676E-2</c:v>
                        </c:pt>
                        <c:pt idx="12">
                          <c:v>1.856380645128888E-2</c:v>
                        </c:pt>
                        <c:pt idx="13">
                          <c:v>1.772113122444461E-2</c:v>
                        </c:pt>
                        <c:pt idx="14">
                          <c:v>1.7511437391873327E-2</c:v>
                        </c:pt>
                        <c:pt idx="15">
                          <c:v>1.6846501143317906E-2</c:v>
                        </c:pt>
                        <c:pt idx="16">
                          <c:v>1.6198347908990683E-2</c:v>
                        </c:pt>
                        <c:pt idx="17">
                          <c:v>1.4104324021476206E-2</c:v>
                        </c:pt>
                        <c:pt idx="18">
                          <c:v>1.2100295145845626E-2</c:v>
                        </c:pt>
                        <c:pt idx="19">
                          <c:v>1.085831309054157E-2</c:v>
                        </c:pt>
                        <c:pt idx="20">
                          <c:v>1.2989832797659553E-2</c:v>
                        </c:pt>
                        <c:pt idx="21">
                          <c:v>1.44681503866849E-2</c:v>
                        </c:pt>
                        <c:pt idx="22">
                          <c:v>1.617784790960982E-2</c:v>
                        </c:pt>
                        <c:pt idx="23">
                          <c:v>1.6861363491341524E-2</c:v>
                        </c:pt>
                        <c:pt idx="24">
                          <c:v>1.5948487118916832E-2</c:v>
                        </c:pt>
                        <c:pt idx="25">
                          <c:v>1.5123450337749242E-2</c:v>
                        </c:pt>
                        <c:pt idx="26">
                          <c:v>1.5266139986478232E-2</c:v>
                        </c:pt>
                        <c:pt idx="27">
                          <c:v>1.5784948133816486E-2</c:v>
                        </c:pt>
                        <c:pt idx="28">
                          <c:v>1.5829409082168847E-2</c:v>
                        </c:pt>
                        <c:pt idx="29">
                          <c:v>1.5760842537291049E-2</c:v>
                        </c:pt>
                        <c:pt idx="30">
                          <c:v>1.5503214288848835E-2</c:v>
                        </c:pt>
                        <c:pt idx="31">
                          <c:v>1.6264654572838863E-2</c:v>
                        </c:pt>
                        <c:pt idx="32">
                          <c:v>1.5843543221951018E-2</c:v>
                        </c:pt>
                        <c:pt idx="33">
                          <c:v>1.59409506910261E-2</c:v>
                        </c:pt>
                        <c:pt idx="34">
                          <c:v>1.5538288840467117E-2</c:v>
                        </c:pt>
                        <c:pt idx="35">
                          <c:v>1.5726901044614411E-2</c:v>
                        </c:pt>
                        <c:pt idx="36">
                          <c:v>1.5921079864211572E-2</c:v>
                        </c:pt>
                        <c:pt idx="37">
                          <c:v>1.5854148135973405E-2</c:v>
                        </c:pt>
                        <c:pt idx="38">
                          <c:v>1.5453541861846453E-2</c:v>
                        </c:pt>
                        <c:pt idx="39">
                          <c:v>1.5918325343158311E-2</c:v>
                        </c:pt>
                        <c:pt idx="40">
                          <c:v>1.5533917614504794E-2</c:v>
                        </c:pt>
                        <c:pt idx="41">
                          <c:v>1.5590492128812659E-2</c:v>
                        </c:pt>
                        <c:pt idx="42">
                          <c:v>1.5064192487419591E-2</c:v>
                        </c:pt>
                        <c:pt idx="43">
                          <c:v>1.5690365098879232E-2</c:v>
                        </c:pt>
                        <c:pt idx="44">
                          <c:v>1.5498900960743129E-2</c:v>
                        </c:pt>
                        <c:pt idx="45">
                          <c:v>1.5323070401555536E-2</c:v>
                        </c:pt>
                        <c:pt idx="46">
                          <c:v>1.511938565724869E-2</c:v>
                        </c:pt>
                        <c:pt idx="47">
                          <c:v>1.4995117938560409E-2</c:v>
                        </c:pt>
                        <c:pt idx="48">
                          <c:v>1.5036035027367603E-2</c:v>
                        </c:pt>
                        <c:pt idx="49">
                          <c:v>1.5029936506198953E-2</c:v>
                        </c:pt>
                        <c:pt idx="50">
                          <c:v>1.4925608863164144E-2</c:v>
                        </c:pt>
                        <c:pt idx="51">
                          <c:v>1.4991486126496917E-2</c:v>
                        </c:pt>
                        <c:pt idx="52">
                          <c:v>1.4880773108767007E-2</c:v>
                        </c:pt>
                        <c:pt idx="53">
                          <c:v>1.5029988258282169E-2</c:v>
                        </c:pt>
                        <c:pt idx="54">
                          <c:v>1.4510951079213262E-2</c:v>
                        </c:pt>
                        <c:pt idx="55">
                          <c:v>1.4325310376555125E-2</c:v>
                        </c:pt>
                        <c:pt idx="56">
                          <c:v>1.4367114069211732E-2</c:v>
                        </c:pt>
                        <c:pt idx="57">
                          <c:v>1.4090088270694372E-2</c:v>
                        </c:pt>
                        <c:pt idx="58">
                          <c:v>1.4803775961512328E-2</c:v>
                        </c:pt>
                        <c:pt idx="59">
                          <c:v>1.4470661166276917E-2</c:v>
                        </c:pt>
                        <c:pt idx="60">
                          <c:v>1.4342938553711562E-2</c:v>
                        </c:pt>
                      </c:numCache>
                    </c:numRef>
                  </c:minus>
                </c:errBars>
                <c:xVal>
                  <c:numRef>
                    <c:extLst xmlns:c15="http://schemas.microsoft.com/office/drawing/2012/chart">
                      <c:ext xmlns:c15="http://schemas.microsoft.com/office/drawing/2012/chart" uri="{02D57815-91ED-43cb-92C2-25804820EDAC}">
                        <c15:formulaRef>
                          <c15:sqref>'HCL-012944_Kerne ungecoatet'!$A$154:$A$214</c15:sqref>
                        </c15:formulaRef>
                      </c:ext>
                    </c:extLst>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HCL-012944_Kerne ungecoatet'!$K$154:$K$214</c15:sqref>
                        </c15:formulaRef>
                      </c:ext>
                    </c:extLst>
                    <c:numCache>
                      <c:formatCode>0.00%</c:formatCode>
                      <c:ptCount val="61"/>
                      <c:pt idx="0">
                        <c:v>0</c:v>
                      </c:pt>
                      <c:pt idx="1">
                        <c:v>0</c:v>
                      </c:pt>
                      <c:pt idx="2">
                        <c:v>9.4929319868020904E-5</c:v>
                      </c:pt>
                      <c:pt idx="3">
                        <c:v>5.9597137204157935E-2</c:v>
                      </c:pt>
                      <c:pt idx="4">
                        <c:v>0.14113940804003866</c:v>
                      </c:pt>
                      <c:pt idx="5">
                        <c:v>0.21885221511928443</c:v>
                      </c:pt>
                      <c:pt idx="6">
                        <c:v>0.29504451642776569</c:v>
                      </c:pt>
                      <c:pt idx="7">
                        <c:v>0.36359878740071411</c:v>
                      </c:pt>
                      <c:pt idx="8">
                        <c:v>0.43334069247239965</c:v>
                      </c:pt>
                      <c:pt idx="9">
                        <c:v>0.49761833879163347</c:v>
                      </c:pt>
                      <c:pt idx="10">
                        <c:v>0.56239806719302121</c:v>
                      </c:pt>
                      <c:pt idx="11">
                        <c:v>0.6203983644127492</c:v>
                      </c:pt>
                      <c:pt idx="12">
                        <c:v>0.67613655483196311</c:v>
                      </c:pt>
                      <c:pt idx="13">
                        <c:v>0.7271959153026083</c:v>
                      </c:pt>
                      <c:pt idx="14">
                        <c:v>0.76854672036061744</c:v>
                      </c:pt>
                      <c:pt idx="15">
                        <c:v>0.80711500399129454</c:v>
                      </c:pt>
                      <c:pt idx="16">
                        <c:v>0.84199348453942768</c:v>
                      </c:pt>
                      <c:pt idx="17">
                        <c:v>0.87353595141718243</c:v>
                      </c:pt>
                      <c:pt idx="18">
                        <c:v>0.9001637254369862</c:v>
                      </c:pt>
                      <c:pt idx="19">
                        <c:v>0.92265942522181332</c:v>
                      </c:pt>
                      <c:pt idx="20">
                        <c:v>0.93866555710853994</c:v>
                      </c:pt>
                      <c:pt idx="21">
                        <c:v>0.9541342829146493</c:v>
                      </c:pt>
                      <c:pt idx="22">
                        <c:v>0.96568622205254417</c:v>
                      </c:pt>
                      <c:pt idx="23">
                        <c:v>0.97392006495565886</c:v>
                      </c:pt>
                      <c:pt idx="24">
                        <c:v>0.98178964637856048</c:v>
                      </c:pt>
                      <c:pt idx="25">
                        <c:v>0.98440065200348481</c:v>
                      </c:pt>
                      <c:pt idx="26">
                        <c:v>0.98288679193085737</c:v>
                      </c:pt>
                      <c:pt idx="27">
                        <c:v>0.98334696550703493</c:v>
                      </c:pt>
                      <c:pt idx="28">
                        <c:v>0.98372766480610618</c:v>
                      </c:pt>
                      <c:pt idx="29">
                        <c:v>0.98485410992585798</c:v>
                      </c:pt>
                      <c:pt idx="30">
                        <c:v>0.98367213762082617</c:v>
                      </c:pt>
                      <c:pt idx="31">
                        <c:v>0.98441521305894197</c:v>
                      </c:pt>
                      <c:pt idx="32">
                        <c:v>0.98401781631671348</c:v>
                      </c:pt>
                      <c:pt idx="33">
                        <c:v>0.98380744522812691</c:v>
                      </c:pt>
                      <c:pt idx="34">
                        <c:v>0.98269362911584135</c:v>
                      </c:pt>
                      <c:pt idx="35">
                        <c:v>0.9832110998553184</c:v>
                      </c:pt>
                      <c:pt idx="36">
                        <c:v>0.98259089402741173</c:v>
                      </c:pt>
                      <c:pt idx="37">
                        <c:v>0.98184250516874449</c:v>
                      </c:pt>
                      <c:pt idx="38">
                        <c:v>0.98062953766694505</c:v>
                      </c:pt>
                      <c:pt idx="39">
                        <c:v>0.98138781490296367</c:v>
                      </c:pt>
                      <c:pt idx="40">
                        <c:v>0.98119836838722918</c:v>
                      </c:pt>
                      <c:pt idx="41">
                        <c:v>0.98237594621585211</c:v>
                      </c:pt>
                      <c:pt idx="42">
                        <c:v>0.98203083704627137</c:v>
                      </c:pt>
                      <c:pt idx="43">
                        <c:v>0.98141203728348891</c:v>
                      </c:pt>
                      <c:pt idx="44">
                        <c:v>0.98136478911828551</c:v>
                      </c:pt>
                      <c:pt idx="45">
                        <c:v>0.98232068849368626</c:v>
                      </c:pt>
                      <c:pt idx="46">
                        <c:v>0.98265754323936516</c:v>
                      </c:pt>
                      <c:pt idx="47">
                        <c:v>0.98195536502592173</c:v>
                      </c:pt>
                      <c:pt idx="48">
                        <c:v>0.98248094770229477</c:v>
                      </c:pt>
                      <c:pt idx="49">
                        <c:v>0.98361948175235048</c:v>
                      </c:pt>
                      <c:pt idx="50">
                        <c:v>0.98235170226209956</c:v>
                      </c:pt>
                      <c:pt idx="51">
                        <c:v>0.98229612763009921</c:v>
                      </c:pt>
                      <c:pt idx="52">
                        <c:v>0.98315474879149134</c:v>
                      </c:pt>
                      <c:pt idx="53">
                        <c:v>0.98307159509584829</c:v>
                      </c:pt>
                      <c:pt idx="54">
                        <c:v>0.98286986760001172</c:v>
                      </c:pt>
                      <c:pt idx="55">
                        <c:v>0.98366264108923362</c:v>
                      </c:pt>
                      <c:pt idx="56">
                        <c:v>0.98350969634750385</c:v>
                      </c:pt>
                      <c:pt idx="57">
                        <c:v>0.98360701843307385</c:v>
                      </c:pt>
                      <c:pt idx="58">
                        <c:v>0.98392068927529153</c:v>
                      </c:pt>
                      <c:pt idx="59">
                        <c:v>0.9836980820810205</c:v>
                      </c:pt>
                      <c:pt idx="60">
                        <c:v>0.98353140195082245</c:v>
                      </c:pt>
                    </c:numCache>
                  </c:numRef>
                </c:yVal>
                <c:smooth val="0"/>
                <c:extLst xmlns:c15="http://schemas.microsoft.com/office/drawing/2012/chart">
                  <c:ext xmlns:c16="http://schemas.microsoft.com/office/drawing/2014/chart" uri="{C3380CC4-5D6E-409C-BE32-E72D297353CC}">
                    <c16:uniqueId val="{00000011-7CBB-4E7B-AAD7-8E02881B1772}"/>
                  </c:ext>
                </c:extLst>
              </c15:ser>
            </c15:filteredScatterSeries>
            <c15:filteredScatterSeries>
              <c15:ser>
                <c:idx val="11"/>
                <c:order val="12"/>
                <c:tx>
                  <c:v>012861-3a</c:v>
                </c:tx>
                <c:errBars>
                  <c:errDir val="y"/>
                  <c:errBarType val="both"/>
                  <c:errValType val="cust"/>
                  <c:noEndCap val="0"/>
                  <c:plus>
                    <c:numRef>
                      <c:extLst xmlns:c15="http://schemas.microsoft.com/office/drawing/2012/chart">
                        <c:ext xmlns:c15="http://schemas.microsoft.com/office/drawing/2012/chart" uri="{02D57815-91ED-43cb-92C2-25804820EDAC}">
                          <c15:formulaRef>
                            <c15:sqref>#REF!</c15:sqref>
                          </c15:formulaRef>
                        </c:ext>
                      </c:extLst>
                      <c:numCache>
                        <c:formatCode>General</c:formatCode>
                        <c:ptCount val="1"/>
                        <c:pt idx="0">
                          <c:v>1</c:v>
                        </c:pt>
                      </c:numCache>
                    </c:numRef>
                  </c:plus>
                  <c:minus>
                    <c:numRef>
                      <c:extLst xmlns:c15="http://schemas.microsoft.com/office/drawing/2012/chart">
                        <c:ext xmlns:c15="http://schemas.microsoft.com/office/drawing/2012/chart" uri="{02D57815-91ED-43cb-92C2-25804820EDAC}">
                          <c15:formulaRef>
                            <c15:sqref>#REF!</c15:sqref>
                          </c15:formulaRef>
                        </c:ext>
                      </c:extLst>
                      <c:numCache>
                        <c:formatCode>General</c:formatCode>
                        <c:ptCount val="1"/>
                        <c:pt idx="0">
                          <c:v>1</c:v>
                        </c:pt>
                      </c:numCache>
                    </c:numRef>
                  </c:minus>
                </c:errBars>
                <c:xVal>
                  <c:numRef>
                    <c:extLst xmlns:c15="http://schemas.microsoft.com/office/drawing/2012/chart">
                      <c:ext xmlns:c15="http://schemas.microsoft.com/office/drawing/2012/chart" uri="{02D57815-91ED-43cb-92C2-25804820EDAC}">
                        <c15:formulaRef>
                          <c15:sqref>#REF!</c15:sqref>
                        </c15:formulaRef>
                      </c:ext>
                    </c:extLst>
                  </c:numRef>
                </c:xVal>
                <c:yVal>
                  <c:numRef>
                    <c:extLst xmlns:c15="http://schemas.microsoft.com/office/drawing/2012/chart">
                      <c:ext xmlns:c15="http://schemas.microsoft.com/office/drawing/2012/chart" uri="{02D57815-91ED-43cb-92C2-25804820EDAC}">
                        <c15:formulaRef>
                          <c15:sqref>#REF!</c15:sqref>
                        </c15:formulaRef>
                      </c:ext>
                    </c:extLst>
                    <c:numCache>
                      <c:formatCode>General</c:formatCode>
                      <c:ptCount val="1"/>
                      <c:pt idx="0">
                        <c:v>1</c:v>
                      </c:pt>
                    </c:numCache>
                  </c:numRef>
                </c:yVal>
                <c:smooth val="0"/>
                <c:extLst xmlns:c15="http://schemas.microsoft.com/office/drawing/2012/chart">
                  <c:ext xmlns:c16="http://schemas.microsoft.com/office/drawing/2014/chart" uri="{C3380CC4-5D6E-409C-BE32-E72D297353CC}">
                    <c16:uniqueId val="{00000012-7CBB-4E7B-AAD7-8E02881B1772}"/>
                  </c:ext>
                </c:extLst>
              </c15:ser>
            </c15:filteredScatterSeries>
            <c15:filteredScatterSeries>
              <c15:ser>
                <c:idx val="12"/>
                <c:order val="13"/>
                <c:tx>
                  <c:v>012861-3b</c:v>
                </c:tx>
                <c:errBars>
                  <c:errDir val="y"/>
                  <c:errBarType val="both"/>
                  <c:errValType val="cust"/>
                  <c:noEndCap val="0"/>
                  <c:plus>
                    <c:numRef>
                      <c:extLst xmlns:c15="http://schemas.microsoft.com/office/drawing/2012/chart">
                        <c:ext xmlns:c15="http://schemas.microsoft.com/office/drawing/2012/chart" uri="{02D57815-91ED-43cb-92C2-25804820EDAC}">
                          <c15:formulaRef>
                            <c15:sqref>#REF!</c15:sqref>
                          </c15:formulaRef>
                        </c:ext>
                      </c:extLst>
                      <c:numCache>
                        <c:formatCode>General</c:formatCode>
                        <c:ptCount val="1"/>
                        <c:pt idx="0">
                          <c:v>1</c:v>
                        </c:pt>
                      </c:numCache>
                    </c:numRef>
                  </c:plus>
                  <c:minus>
                    <c:numRef>
                      <c:extLst xmlns:c15="http://schemas.microsoft.com/office/drawing/2012/chart">
                        <c:ext xmlns:c15="http://schemas.microsoft.com/office/drawing/2012/chart" uri="{02D57815-91ED-43cb-92C2-25804820EDAC}">
                          <c15:formulaRef>
                            <c15:sqref>#REF!</c15:sqref>
                          </c15:formulaRef>
                        </c:ext>
                      </c:extLst>
                      <c:numCache>
                        <c:formatCode>General</c:formatCode>
                        <c:ptCount val="1"/>
                        <c:pt idx="0">
                          <c:v>1</c:v>
                        </c:pt>
                      </c:numCache>
                    </c:numRef>
                  </c:minus>
                </c:errBars>
                <c:xVal>
                  <c:numRef>
                    <c:extLst xmlns:c15="http://schemas.microsoft.com/office/drawing/2012/chart">
                      <c:ext xmlns:c15="http://schemas.microsoft.com/office/drawing/2012/chart" uri="{02D57815-91ED-43cb-92C2-25804820EDAC}">
                        <c15:formulaRef>
                          <c15:sqref>#REF!</c15:sqref>
                        </c15:formulaRef>
                      </c:ext>
                    </c:extLst>
                  </c:numRef>
                </c:xVal>
                <c:yVal>
                  <c:numRef>
                    <c:extLst xmlns:c15="http://schemas.microsoft.com/office/drawing/2012/chart">
                      <c:ext xmlns:c15="http://schemas.microsoft.com/office/drawing/2012/chart" uri="{02D57815-91ED-43cb-92C2-25804820EDAC}">
                        <c15:formulaRef>
                          <c15:sqref>#REF!</c15:sqref>
                        </c15:formulaRef>
                      </c:ext>
                    </c:extLst>
                    <c:numCache>
                      <c:formatCode>General</c:formatCode>
                      <c:ptCount val="1"/>
                      <c:pt idx="0">
                        <c:v>1</c:v>
                      </c:pt>
                    </c:numCache>
                  </c:numRef>
                </c:yVal>
                <c:smooth val="0"/>
                <c:extLst xmlns:c15="http://schemas.microsoft.com/office/drawing/2012/chart">
                  <c:ext xmlns:c16="http://schemas.microsoft.com/office/drawing/2014/chart" uri="{C3380CC4-5D6E-409C-BE32-E72D297353CC}">
                    <c16:uniqueId val="{00000013-7CBB-4E7B-AAD7-8E02881B1772}"/>
                  </c:ext>
                </c:extLst>
              </c15:ser>
            </c15:filteredScatterSeries>
            <c15:filteredScatterSeries>
              <c15:ser>
                <c:idx val="13"/>
                <c:order val="14"/>
                <c:tx>
                  <c:v>012681-3c</c:v>
                </c:tx>
                <c:errBars>
                  <c:errDir val="y"/>
                  <c:errBarType val="both"/>
                  <c:errValType val="cust"/>
                  <c:noEndCap val="0"/>
                  <c:plus>
                    <c:numRef>
                      <c:extLst xmlns:c15="http://schemas.microsoft.com/office/drawing/2012/chart">
                        <c:ext xmlns:c15="http://schemas.microsoft.com/office/drawing/2012/chart" uri="{02D57815-91ED-43cb-92C2-25804820EDAC}">
                          <c15:formulaRef>
                            <c15:sqref>#REF!</c15:sqref>
                          </c15:formulaRef>
                        </c:ext>
                      </c:extLst>
                      <c:numCache>
                        <c:formatCode>General</c:formatCode>
                        <c:ptCount val="1"/>
                        <c:pt idx="0">
                          <c:v>1</c:v>
                        </c:pt>
                      </c:numCache>
                    </c:numRef>
                  </c:plus>
                  <c:minus>
                    <c:numRef>
                      <c:extLst xmlns:c15="http://schemas.microsoft.com/office/drawing/2012/chart">
                        <c:ext xmlns:c15="http://schemas.microsoft.com/office/drawing/2012/chart" uri="{02D57815-91ED-43cb-92C2-25804820EDAC}">
                          <c15:formulaRef>
                            <c15:sqref>#REF!</c15:sqref>
                          </c15:formulaRef>
                        </c:ext>
                      </c:extLst>
                      <c:numCache>
                        <c:formatCode>General</c:formatCode>
                        <c:ptCount val="1"/>
                        <c:pt idx="0">
                          <c:v>1</c:v>
                        </c:pt>
                      </c:numCache>
                    </c:numRef>
                  </c:minus>
                </c:errBars>
                <c:xVal>
                  <c:numRef>
                    <c:extLst xmlns:c15="http://schemas.microsoft.com/office/drawing/2012/chart">
                      <c:ext xmlns:c15="http://schemas.microsoft.com/office/drawing/2012/chart" uri="{02D57815-91ED-43cb-92C2-25804820EDAC}">
                        <c15:formulaRef>
                          <c15:sqref>#REF!</c15:sqref>
                        </c15:formulaRef>
                      </c:ext>
                    </c:extLst>
                  </c:numRef>
                </c:xVal>
                <c:yVal>
                  <c:numRef>
                    <c:extLst xmlns:c15="http://schemas.microsoft.com/office/drawing/2012/chart">
                      <c:ext xmlns:c15="http://schemas.microsoft.com/office/drawing/2012/chart" uri="{02D57815-91ED-43cb-92C2-25804820EDAC}">
                        <c15:formulaRef>
                          <c15:sqref>#REF!</c15:sqref>
                        </c15:formulaRef>
                      </c:ext>
                    </c:extLst>
                    <c:numCache>
                      <c:formatCode>General</c:formatCode>
                      <c:ptCount val="1"/>
                      <c:pt idx="0">
                        <c:v>1</c:v>
                      </c:pt>
                    </c:numCache>
                  </c:numRef>
                </c:yVal>
                <c:smooth val="0"/>
                <c:extLst xmlns:c15="http://schemas.microsoft.com/office/drawing/2012/chart">
                  <c:ext xmlns:c16="http://schemas.microsoft.com/office/drawing/2014/chart" uri="{C3380CC4-5D6E-409C-BE32-E72D297353CC}">
                    <c16:uniqueId val="{00000014-7CBB-4E7B-AAD7-8E02881B1772}"/>
                  </c:ext>
                </c:extLst>
              </c15:ser>
            </c15:filteredScatterSeries>
            <c15:filteredScatterSeries>
              <c15:ser>
                <c:idx val="14"/>
                <c:order val="15"/>
                <c:tx>
                  <c:v>012681-3d</c:v>
                </c:tx>
                <c:errBars>
                  <c:errDir val="y"/>
                  <c:errBarType val="both"/>
                  <c:errValType val="cust"/>
                  <c:noEndCap val="0"/>
                  <c:plus>
                    <c:numRef>
                      <c:extLst xmlns:c15="http://schemas.microsoft.com/office/drawing/2012/chart">
                        <c:ext xmlns:c15="http://schemas.microsoft.com/office/drawing/2012/chart" uri="{02D57815-91ED-43cb-92C2-25804820EDAC}">
                          <c15:formulaRef>
                            <c15:sqref>#REF!</c15:sqref>
                          </c15:formulaRef>
                        </c:ext>
                      </c:extLst>
                      <c:numCache>
                        <c:formatCode>General</c:formatCode>
                        <c:ptCount val="1"/>
                        <c:pt idx="0">
                          <c:v>1</c:v>
                        </c:pt>
                      </c:numCache>
                    </c:numRef>
                  </c:plus>
                  <c:minus>
                    <c:numRef>
                      <c:extLst xmlns:c15="http://schemas.microsoft.com/office/drawing/2012/chart">
                        <c:ext xmlns:c15="http://schemas.microsoft.com/office/drawing/2012/chart" uri="{02D57815-91ED-43cb-92C2-25804820EDAC}">
                          <c15:formulaRef>
                            <c15:sqref>#REF!</c15:sqref>
                          </c15:formulaRef>
                        </c:ext>
                      </c:extLst>
                      <c:numCache>
                        <c:formatCode>General</c:formatCode>
                        <c:ptCount val="1"/>
                        <c:pt idx="0">
                          <c:v>1</c:v>
                        </c:pt>
                      </c:numCache>
                    </c:numRef>
                  </c:minus>
                </c:errBars>
                <c:xVal>
                  <c:numRef>
                    <c:extLst xmlns:c15="http://schemas.microsoft.com/office/drawing/2012/chart">
                      <c:ext xmlns:c15="http://schemas.microsoft.com/office/drawing/2012/chart" uri="{02D57815-91ED-43cb-92C2-25804820EDAC}">
                        <c15:formulaRef>
                          <c15:sqref>#REF!</c15:sqref>
                        </c15:formulaRef>
                      </c:ext>
                    </c:extLst>
                  </c:numRef>
                </c:xVal>
                <c:yVal>
                  <c:numRef>
                    <c:extLst xmlns:c15="http://schemas.microsoft.com/office/drawing/2012/chart">
                      <c:ext xmlns:c15="http://schemas.microsoft.com/office/drawing/2012/chart" uri="{02D57815-91ED-43cb-92C2-25804820EDAC}">
                        <c15:formulaRef>
                          <c15:sqref>#REF!</c15:sqref>
                        </c15:formulaRef>
                      </c:ext>
                    </c:extLst>
                    <c:numCache>
                      <c:formatCode>General</c:formatCode>
                      <c:ptCount val="1"/>
                      <c:pt idx="0">
                        <c:v>1</c:v>
                      </c:pt>
                    </c:numCache>
                  </c:numRef>
                </c:yVal>
                <c:smooth val="0"/>
                <c:extLst xmlns:c15="http://schemas.microsoft.com/office/drawing/2012/chart">
                  <c:ext xmlns:c16="http://schemas.microsoft.com/office/drawing/2014/chart" uri="{C3380CC4-5D6E-409C-BE32-E72D297353CC}">
                    <c16:uniqueId val="{00000015-7CBB-4E7B-AAD7-8E02881B1772}"/>
                  </c:ext>
                </c:extLst>
              </c15:ser>
            </c15:filteredScatterSeries>
            <c15:filteredScatterSeries>
              <c15:ser>
                <c:idx val="16"/>
                <c:order val="16"/>
                <c:tx>
                  <c:v>012860-4a-Test</c:v>
                </c:tx>
                <c:xVal>
                  <c:numRef>
                    <c:extLst xmlns:c15="http://schemas.microsoft.com/office/drawing/2012/chart">
                      <c:ext xmlns:c15="http://schemas.microsoft.com/office/drawing/2012/chart" uri="{02D57815-91ED-43cb-92C2-25804820EDAC}">
                        <c15:formulaRef>
                          <c15:sqref>#REF!</c15:sqref>
                        </c15:formulaRef>
                      </c:ext>
                    </c:extLst>
                  </c:numRef>
                </c:xVal>
                <c:yVal>
                  <c:numRef>
                    <c:extLst xmlns:c15="http://schemas.microsoft.com/office/drawing/2012/chart">
                      <c:ext xmlns:c15="http://schemas.microsoft.com/office/drawing/2012/chart" uri="{02D57815-91ED-43cb-92C2-25804820EDAC}">
                        <c15:formulaRef>
                          <c15:sqref>#REF!</c15:sqref>
                        </c15:formulaRef>
                      </c:ext>
                    </c:extLst>
                    <c:numCache>
                      <c:formatCode>General</c:formatCode>
                      <c:ptCount val="1"/>
                      <c:pt idx="0">
                        <c:v>1</c:v>
                      </c:pt>
                    </c:numCache>
                  </c:numRef>
                </c:yVal>
                <c:smooth val="0"/>
                <c:extLst xmlns:c15="http://schemas.microsoft.com/office/drawing/2012/chart">
                  <c:ext xmlns:c16="http://schemas.microsoft.com/office/drawing/2014/chart" uri="{C3380CC4-5D6E-409C-BE32-E72D297353CC}">
                    <c16:uniqueId val="{00000016-7CBB-4E7B-AAD7-8E02881B1772}"/>
                  </c:ext>
                </c:extLst>
              </c15:ser>
            </c15:filteredScatterSeries>
            <c15:filteredScatterSeries>
              <c15:ser>
                <c:idx val="17"/>
                <c:order val="17"/>
                <c:tx>
                  <c:v>Kerne ungecoated</c:v>
                </c:tx>
                <c:xVal>
                  <c:numRef>
                    <c:extLst xmlns:c15="http://schemas.microsoft.com/office/drawing/2012/chart">
                      <c:ext xmlns:c15="http://schemas.microsoft.com/office/drawing/2012/chart" uri="{02D57815-91ED-43cb-92C2-25804820EDAC}">
                        <c15:formulaRef>
                          <c15:sqref>#REF!</c15:sqref>
                        </c15:formulaRef>
                      </c:ext>
                    </c:extLst>
                  </c:numRef>
                </c:xVal>
                <c:yVal>
                  <c:numRef>
                    <c:extLst xmlns:c15="http://schemas.microsoft.com/office/drawing/2012/chart">
                      <c:ext xmlns:c15="http://schemas.microsoft.com/office/drawing/2012/chart" uri="{02D57815-91ED-43cb-92C2-25804820EDAC}">
                        <c15:formulaRef>
                          <c15:sqref>#REF!</c15:sqref>
                        </c15:formulaRef>
                      </c:ext>
                    </c:extLst>
                    <c:numCache>
                      <c:formatCode>General</c:formatCode>
                      <c:ptCount val="1"/>
                      <c:pt idx="0">
                        <c:v>1</c:v>
                      </c:pt>
                    </c:numCache>
                  </c:numRef>
                </c:yVal>
                <c:smooth val="0"/>
                <c:extLst xmlns:c15="http://schemas.microsoft.com/office/drawing/2012/chart">
                  <c:ext xmlns:c16="http://schemas.microsoft.com/office/drawing/2014/chart" uri="{C3380CC4-5D6E-409C-BE32-E72D297353CC}">
                    <c16:uniqueId val="{00000017-7CBB-4E7B-AAD7-8E02881B1772}"/>
                  </c:ext>
                </c:extLst>
              </c15:ser>
            </c15:filteredScatterSeries>
            <c15:filteredScatterSeries>
              <c15:ser>
                <c:idx val="19"/>
                <c:order val="18"/>
                <c:tx>
                  <c:strRef>
                    <c:extLst xmlns:c15="http://schemas.microsoft.com/office/drawing/2012/chart">
                      <c:ext xmlns:c15="http://schemas.microsoft.com/office/drawing/2012/chart" uri="{02D57815-91ED-43cb-92C2-25804820EDAC}">
                        <c15:formulaRef>
                          <c15:sqref>'PP-012944_1-3'!$B$80:$D$80</c15:sqref>
                        </c15:formulaRef>
                      </c:ext>
                    </c:extLst>
                    <c:strCache>
                      <c:ptCount val="1"/>
                      <c:pt idx="0">
                        <c:v>012944-2_EudragitEPO_4mg/cm²_alte Vorschrift</c:v>
                      </c:pt>
                    </c:strCache>
                  </c:strRef>
                </c:tx>
                <c:errBars>
                  <c:errDir val="y"/>
                  <c:errBarType val="both"/>
                  <c:errValType val="cust"/>
                  <c:noEndCap val="0"/>
                  <c:plus>
                    <c:numRef>
                      <c:extLst xmlns:c15="http://schemas.microsoft.com/office/drawing/2012/chart">
                        <c:ext xmlns:c15="http://schemas.microsoft.com/office/drawing/2012/chart" uri="{02D57815-91ED-43cb-92C2-25804820EDAC}">
                          <c15:formulaRef>
                            <c15:sqref>'PP-012944_1-3'!$L$85:$L$145</c15:sqref>
                          </c15:formulaRef>
                        </c:ext>
                      </c:extLst>
                      <c:numCache>
                        <c:formatCode>General</c:formatCode>
                        <c:ptCount val="61"/>
                        <c:pt idx="0">
                          <c:v>0</c:v>
                        </c:pt>
                        <c:pt idx="1">
                          <c:v>0</c:v>
                        </c:pt>
                        <c:pt idx="2">
                          <c:v>0</c:v>
                        </c:pt>
                        <c:pt idx="3">
                          <c:v>0</c:v>
                        </c:pt>
                        <c:pt idx="4">
                          <c:v>0</c:v>
                        </c:pt>
                        <c:pt idx="5">
                          <c:v>0</c:v>
                        </c:pt>
                        <c:pt idx="6">
                          <c:v>1.4098638708469785E-2</c:v>
                        </c:pt>
                        <c:pt idx="7">
                          <c:v>7.1027886197537984E-2</c:v>
                        </c:pt>
                        <c:pt idx="8">
                          <c:v>0.11907018327476032</c:v>
                        </c:pt>
                        <c:pt idx="9">
                          <c:v>0.14545153935300636</c:v>
                        </c:pt>
                        <c:pt idx="10">
                          <c:v>0.11843443741567829</c:v>
                        </c:pt>
                        <c:pt idx="11">
                          <c:v>0.10830064723928594</c:v>
                        </c:pt>
                        <c:pt idx="12">
                          <c:v>8.4013676236507365E-2</c:v>
                        </c:pt>
                        <c:pt idx="13">
                          <c:v>7.3829914105489086E-2</c:v>
                        </c:pt>
                        <c:pt idx="14">
                          <c:v>7.0678494928151522E-2</c:v>
                        </c:pt>
                        <c:pt idx="15">
                          <c:v>7.0248120187384799E-2</c:v>
                        </c:pt>
                        <c:pt idx="16">
                          <c:v>6.6600424967057203E-2</c:v>
                        </c:pt>
                        <c:pt idx="17">
                          <c:v>6.7310193676644384E-2</c:v>
                        </c:pt>
                        <c:pt idx="18">
                          <c:v>6.7311369298577547E-2</c:v>
                        </c:pt>
                        <c:pt idx="19">
                          <c:v>6.6123869233933902E-2</c:v>
                        </c:pt>
                        <c:pt idx="20">
                          <c:v>6.6899639005272224E-2</c:v>
                        </c:pt>
                        <c:pt idx="21">
                          <c:v>6.3719006069220332E-2</c:v>
                        </c:pt>
                        <c:pt idx="22">
                          <c:v>5.9374521926152661E-2</c:v>
                        </c:pt>
                        <c:pt idx="23">
                          <c:v>5.3488865139393174E-2</c:v>
                        </c:pt>
                        <c:pt idx="24">
                          <c:v>4.4298450116307966E-2</c:v>
                        </c:pt>
                        <c:pt idx="25">
                          <c:v>3.8648716047644534E-2</c:v>
                        </c:pt>
                        <c:pt idx="26">
                          <c:v>3.3245236247939132E-2</c:v>
                        </c:pt>
                        <c:pt idx="27">
                          <c:v>3.3500654052653948E-2</c:v>
                        </c:pt>
                        <c:pt idx="28">
                          <c:v>3.515551547529544E-2</c:v>
                        </c:pt>
                        <c:pt idx="29">
                          <c:v>3.7667842655953576E-2</c:v>
                        </c:pt>
                        <c:pt idx="30">
                          <c:v>3.8364616588543392E-2</c:v>
                        </c:pt>
                        <c:pt idx="31">
                          <c:v>4.0225755890414189E-2</c:v>
                        </c:pt>
                        <c:pt idx="32">
                          <c:v>3.9599303435009565E-2</c:v>
                        </c:pt>
                        <c:pt idx="33">
                          <c:v>4.0169729250123583E-2</c:v>
                        </c:pt>
                        <c:pt idx="34">
                          <c:v>4.0401187343754377E-2</c:v>
                        </c:pt>
                        <c:pt idx="35">
                          <c:v>4.0638815433980353E-2</c:v>
                        </c:pt>
                        <c:pt idx="36">
                          <c:v>4.0682171357589753E-2</c:v>
                        </c:pt>
                        <c:pt idx="37">
                          <c:v>4.1734698840280741E-2</c:v>
                        </c:pt>
                        <c:pt idx="38">
                          <c:v>4.030128765660302E-2</c:v>
                        </c:pt>
                        <c:pt idx="39">
                          <c:v>4.1283244631582554E-2</c:v>
                        </c:pt>
                        <c:pt idx="40">
                          <c:v>4.1217742412641999E-2</c:v>
                        </c:pt>
                        <c:pt idx="41">
                          <c:v>4.1727693307416908E-2</c:v>
                        </c:pt>
                        <c:pt idx="42">
                          <c:v>4.0870453232976715E-2</c:v>
                        </c:pt>
                        <c:pt idx="43">
                          <c:v>4.1207380130426678E-2</c:v>
                        </c:pt>
                        <c:pt idx="44">
                          <c:v>4.1136195453749254E-2</c:v>
                        </c:pt>
                        <c:pt idx="45">
                          <c:v>4.1098932308142731E-2</c:v>
                        </c:pt>
                        <c:pt idx="46">
                          <c:v>4.1262173977815432E-2</c:v>
                        </c:pt>
                        <c:pt idx="47">
                          <c:v>4.0952612333403873E-2</c:v>
                        </c:pt>
                        <c:pt idx="48">
                          <c:v>4.0878507015657713E-2</c:v>
                        </c:pt>
                        <c:pt idx="49">
                          <c:v>4.0262091947404856E-2</c:v>
                        </c:pt>
                        <c:pt idx="50">
                          <c:v>4.1039108423832744E-2</c:v>
                        </c:pt>
                        <c:pt idx="51">
                          <c:v>4.0664677584847431E-2</c:v>
                        </c:pt>
                        <c:pt idx="52">
                          <c:v>4.1094260025914042E-2</c:v>
                        </c:pt>
                        <c:pt idx="53">
                          <c:v>4.0925866868243052E-2</c:v>
                        </c:pt>
                        <c:pt idx="54">
                          <c:v>4.1088166296378542E-2</c:v>
                        </c:pt>
                        <c:pt idx="55">
                          <c:v>4.0678810932468903E-2</c:v>
                        </c:pt>
                        <c:pt idx="56">
                          <c:v>4.097891453888676E-2</c:v>
                        </c:pt>
                        <c:pt idx="57">
                          <c:v>4.0844089614037675E-2</c:v>
                        </c:pt>
                        <c:pt idx="58">
                          <c:v>4.1474915077938955E-2</c:v>
                        </c:pt>
                        <c:pt idx="59">
                          <c:v>4.0891248046733504E-2</c:v>
                        </c:pt>
                        <c:pt idx="60">
                          <c:v>4.0837106751193571E-2</c:v>
                        </c:pt>
                      </c:numCache>
                    </c:numRef>
                  </c:plus>
                  <c:minus>
                    <c:numRef>
                      <c:extLst xmlns:c15="http://schemas.microsoft.com/office/drawing/2012/chart">
                        <c:ext xmlns:c15="http://schemas.microsoft.com/office/drawing/2012/chart" uri="{02D57815-91ED-43cb-92C2-25804820EDAC}">
                          <c15:formulaRef>
                            <c15:sqref>'PP-012944_1-3'!$L$85:$L$145</c15:sqref>
                          </c15:formulaRef>
                        </c:ext>
                      </c:extLst>
                      <c:numCache>
                        <c:formatCode>General</c:formatCode>
                        <c:ptCount val="61"/>
                        <c:pt idx="0">
                          <c:v>0</c:v>
                        </c:pt>
                        <c:pt idx="1">
                          <c:v>0</c:v>
                        </c:pt>
                        <c:pt idx="2">
                          <c:v>0</c:v>
                        </c:pt>
                        <c:pt idx="3">
                          <c:v>0</c:v>
                        </c:pt>
                        <c:pt idx="4">
                          <c:v>0</c:v>
                        </c:pt>
                        <c:pt idx="5">
                          <c:v>0</c:v>
                        </c:pt>
                        <c:pt idx="6">
                          <c:v>1.4098638708469785E-2</c:v>
                        </c:pt>
                        <c:pt idx="7">
                          <c:v>7.1027886197537984E-2</c:v>
                        </c:pt>
                        <c:pt idx="8">
                          <c:v>0.11907018327476032</c:v>
                        </c:pt>
                        <c:pt idx="9">
                          <c:v>0.14545153935300636</c:v>
                        </c:pt>
                        <c:pt idx="10">
                          <c:v>0.11843443741567829</c:v>
                        </c:pt>
                        <c:pt idx="11">
                          <c:v>0.10830064723928594</c:v>
                        </c:pt>
                        <c:pt idx="12">
                          <c:v>8.4013676236507365E-2</c:v>
                        </c:pt>
                        <c:pt idx="13">
                          <c:v>7.3829914105489086E-2</c:v>
                        </c:pt>
                        <c:pt idx="14">
                          <c:v>7.0678494928151522E-2</c:v>
                        </c:pt>
                        <c:pt idx="15">
                          <c:v>7.0248120187384799E-2</c:v>
                        </c:pt>
                        <c:pt idx="16">
                          <c:v>6.6600424967057203E-2</c:v>
                        </c:pt>
                        <c:pt idx="17">
                          <c:v>6.7310193676644384E-2</c:v>
                        </c:pt>
                        <c:pt idx="18">
                          <c:v>6.7311369298577547E-2</c:v>
                        </c:pt>
                        <c:pt idx="19">
                          <c:v>6.6123869233933902E-2</c:v>
                        </c:pt>
                        <c:pt idx="20">
                          <c:v>6.6899639005272224E-2</c:v>
                        </c:pt>
                        <c:pt idx="21">
                          <c:v>6.3719006069220332E-2</c:v>
                        </c:pt>
                        <c:pt idx="22">
                          <c:v>5.9374521926152661E-2</c:v>
                        </c:pt>
                        <c:pt idx="23">
                          <c:v>5.3488865139393174E-2</c:v>
                        </c:pt>
                        <c:pt idx="24">
                          <c:v>4.4298450116307966E-2</c:v>
                        </c:pt>
                        <c:pt idx="25">
                          <c:v>3.8648716047644534E-2</c:v>
                        </c:pt>
                        <c:pt idx="26">
                          <c:v>3.3245236247939132E-2</c:v>
                        </c:pt>
                        <c:pt idx="27">
                          <c:v>3.3500654052653948E-2</c:v>
                        </c:pt>
                        <c:pt idx="28">
                          <c:v>3.515551547529544E-2</c:v>
                        </c:pt>
                        <c:pt idx="29">
                          <c:v>3.7667842655953576E-2</c:v>
                        </c:pt>
                        <c:pt idx="30">
                          <c:v>3.8364616588543392E-2</c:v>
                        </c:pt>
                        <c:pt idx="31">
                          <c:v>4.0225755890414189E-2</c:v>
                        </c:pt>
                        <c:pt idx="32">
                          <c:v>3.9599303435009565E-2</c:v>
                        </c:pt>
                        <c:pt idx="33">
                          <c:v>4.0169729250123583E-2</c:v>
                        </c:pt>
                        <c:pt idx="34">
                          <c:v>4.0401187343754377E-2</c:v>
                        </c:pt>
                        <c:pt idx="35">
                          <c:v>4.0638815433980353E-2</c:v>
                        </c:pt>
                        <c:pt idx="36">
                          <c:v>4.0682171357589753E-2</c:v>
                        </c:pt>
                        <c:pt idx="37">
                          <c:v>4.1734698840280741E-2</c:v>
                        </c:pt>
                        <c:pt idx="38">
                          <c:v>4.030128765660302E-2</c:v>
                        </c:pt>
                        <c:pt idx="39">
                          <c:v>4.1283244631582554E-2</c:v>
                        </c:pt>
                        <c:pt idx="40">
                          <c:v>4.1217742412641999E-2</c:v>
                        </c:pt>
                        <c:pt idx="41">
                          <c:v>4.1727693307416908E-2</c:v>
                        </c:pt>
                        <c:pt idx="42">
                          <c:v>4.0870453232976715E-2</c:v>
                        </c:pt>
                        <c:pt idx="43">
                          <c:v>4.1207380130426678E-2</c:v>
                        </c:pt>
                        <c:pt idx="44">
                          <c:v>4.1136195453749254E-2</c:v>
                        </c:pt>
                        <c:pt idx="45">
                          <c:v>4.1098932308142731E-2</c:v>
                        </c:pt>
                        <c:pt idx="46">
                          <c:v>4.1262173977815432E-2</c:v>
                        </c:pt>
                        <c:pt idx="47">
                          <c:v>4.0952612333403873E-2</c:v>
                        </c:pt>
                        <c:pt idx="48">
                          <c:v>4.0878507015657713E-2</c:v>
                        </c:pt>
                        <c:pt idx="49">
                          <c:v>4.0262091947404856E-2</c:v>
                        </c:pt>
                        <c:pt idx="50">
                          <c:v>4.1039108423832744E-2</c:v>
                        </c:pt>
                        <c:pt idx="51">
                          <c:v>4.0664677584847431E-2</c:v>
                        </c:pt>
                        <c:pt idx="52">
                          <c:v>4.1094260025914042E-2</c:v>
                        </c:pt>
                        <c:pt idx="53">
                          <c:v>4.0925866868243052E-2</c:v>
                        </c:pt>
                        <c:pt idx="54">
                          <c:v>4.1088166296378542E-2</c:v>
                        </c:pt>
                        <c:pt idx="55">
                          <c:v>4.0678810932468903E-2</c:v>
                        </c:pt>
                        <c:pt idx="56">
                          <c:v>4.097891453888676E-2</c:v>
                        </c:pt>
                        <c:pt idx="57">
                          <c:v>4.0844089614037675E-2</c:v>
                        </c:pt>
                        <c:pt idx="58">
                          <c:v>4.1474915077938955E-2</c:v>
                        </c:pt>
                        <c:pt idx="59">
                          <c:v>4.0891248046733504E-2</c:v>
                        </c:pt>
                        <c:pt idx="60">
                          <c:v>4.0837106751193571E-2</c:v>
                        </c:pt>
                      </c:numCache>
                    </c:numRef>
                  </c:minus>
                </c:errBars>
                <c:xVal>
                  <c:numRef>
                    <c:extLst xmlns:c15="http://schemas.microsoft.com/office/drawing/2012/chart">
                      <c:ext xmlns:c15="http://schemas.microsoft.com/office/drawing/2012/chart" uri="{02D57815-91ED-43cb-92C2-25804820EDAC}">
                        <c15:formulaRef>
                          <c15:sqref>'PP-012944_1-3'!$A$85:$A$145</c15:sqref>
                        </c15:formulaRef>
                      </c:ext>
                    </c:extLst>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PP-012944_1-3'!$K$85:$K$145</c15:sqref>
                        </c15:formulaRef>
                      </c:ext>
                    </c:extLst>
                    <c:numCache>
                      <c:formatCode>0.00%</c:formatCode>
                      <c:ptCount val="61"/>
                      <c:pt idx="0">
                        <c:v>0</c:v>
                      </c:pt>
                      <c:pt idx="1">
                        <c:v>0</c:v>
                      </c:pt>
                      <c:pt idx="2">
                        <c:v>0</c:v>
                      </c:pt>
                      <c:pt idx="3">
                        <c:v>0</c:v>
                      </c:pt>
                      <c:pt idx="4">
                        <c:v>0</c:v>
                      </c:pt>
                      <c:pt idx="5">
                        <c:v>0</c:v>
                      </c:pt>
                      <c:pt idx="6">
                        <c:v>8.1398528535423075E-3</c:v>
                      </c:pt>
                      <c:pt idx="7">
                        <c:v>4.1285641915510915E-2</c:v>
                      </c:pt>
                      <c:pt idx="8">
                        <c:v>0.10536079898536227</c:v>
                      </c:pt>
                      <c:pt idx="9">
                        <c:v>0.19631036922882886</c:v>
                      </c:pt>
                      <c:pt idx="10">
                        <c:v>0.31262071173572803</c:v>
                      </c:pt>
                      <c:pt idx="11">
                        <c:v>0.41087923856162795</c:v>
                      </c:pt>
                      <c:pt idx="12">
                        <c:v>0.4950119393691037</c:v>
                      </c:pt>
                      <c:pt idx="13">
                        <c:v>0.56969803683447051</c:v>
                      </c:pt>
                      <c:pt idx="14">
                        <c:v>0.63120891599395546</c:v>
                      </c:pt>
                      <c:pt idx="15">
                        <c:v>0.68475521767625969</c:v>
                      </c:pt>
                      <c:pt idx="16">
                        <c:v>0.72937511741000705</c:v>
                      </c:pt>
                      <c:pt idx="17">
                        <c:v>0.77130915641656783</c:v>
                      </c:pt>
                      <c:pt idx="18">
                        <c:v>0.80410213227717653</c:v>
                      </c:pt>
                      <c:pt idx="19">
                        <c:v>0.83166159379717219</c:v>
                      </c:pt>
                      <c:pt idx="20">
                        <c:v>0.8598518358402657</c:v>
                      </c:pt>
                      <c:pt idx="21">
                        <c:v>0.88035303140345655</c:v>
                      </c:pt>
                      <c:pt idx="22">
                        <c:v>0.90180694948072926</c:v>
                      </c:pt>
                      <c:pt idx="23">
                        <c:v>0.91956977529160999</c:v>
                      </c:pt>
                      <c:pt idx="24">
                        <c:v>0.933766457770977</c:v>
                      </c:pt>
                      <c:pt idx="25">
                        <c:v>0.94285733003964689</c:v>
                      </c:pt>
                      <c:pt idx="26">
                        <c:v>0.95034067405292344</c:v>
                      </c:pt>
                      <c:pt idx="27">
                        <c:v>0.95599129468556565</c:v>
                      </c:pt>
                      <c:pt idx="28">
                        <c:v>0.95956260242373725</c:v>
                      </c:pt>
                      <c:pt idx="29">
                        <c:v>0.96182869095940671</c:v>
                      </c:pt>
                      <c:pt idx="30">
                        <c:v>0.96315916282555303</c:v>
                      </c:pt>
                      <c:pt idx="31">
                        <c:v>0.96308817080040887</c:v>
                      </c:pt>
                      <c:pt idx="32">
                        <c:v>0.96342802553765361</c:v>
                      </c:pt>
                      <c:pt idx="33">
                        <c:v>0.96372505465961089</c:v>
                      </c:pt>
                      <c:pt idx="34">
                        <c:v>0.96398355967732663</c:v>
                      </c:pt>
                      <c:pt idx="35">
                        <c:v>0.96411129239360693</c:v>
                      </c:pt>
                      <c:pt idx="36">
                        <c:v>0.9636395699372392</c:v>
                      </c:pt>
                      <c:pt idx="37">
                        <c:v>0.96500451371682872</c:v>
                      </c:pt>
                      <c:pt idx="38">
                        <c:v>0.9632422465880387</c:v>
                      </c:pt>
                      <c:pt idx="39">
                        <c:v>0.96345061672238186</c:v>
                      </c:pt>
                      <c:pt idx="40">
                        <c:v>0.96452419236423514</c:v>
                      </c:pt>
                      <c:pt idx="41">
                        <c:v>0.96409387976136651</c:v>
                      </c:pt>
                      <c:pt idx="42">
                        <c:v>0.96300538144800374</c:v>
                      </c:pt>
                      <c:pt idx="43">
                        <c:v>0.96398594177610653</c:v>
                      </c:pt>
                      <c:pt idx="44">
                        <c:v>0.96365548723739891</c:v>
                      </c:pt>
                      <c:pt idx="45">
                        <c:v>0.96443215340743793</c:v>
                      </c:pt>
                      <c:pt idx="46">
                        <c:v>0.96398326791958933</c:v>
                      </c:pt>
                      <c:pt idx="47">
                        <c:v>0.96296181317665719</c:v>
                      </c:pt>
                      <c:pt idx="48">
                        <c:v>0.96339751033065824</c:v>
                      </c:pt>
                      <c:pt idx="49">
                        <c:v>0.96284113805057581</c:v>
                      </c:pt>
                      <c:pt idx="50">
                        <c:v>0.96470457733216453</c:v>
                      </c:pt>
                      <c:pt idx="51">
                        <c:v>0.96364312171931177</c:v>
                      </c:pt>
                      <c:pt idx="52">
                        <c:v>0.96288111740704674</c:v>
                      </c:pt>
                      <c:pt idx="53">
                        <c:v>0.96279216666169531</c:v>
                      </c:pt>
                      <c:pt idx="54">
                        <c:v>0.963630624173481</c:v>
                      </c:pt>
                      <c:pt idx="55">
                        <c:v>0.96388625257778748</c:v>
                      </c:pt>
                      <c:pt idx="56">
                        <c:v>0.96355041348794745</c:v>
                      </c:pt>
                      <c:pt idx="57">
                        <c:v>0.96370486679240719</c:v>
                      </c:pt>
                      <c:pt idx="58">
                        <c:v>0.96261310167649927</c:v>
                      </c:pt>
                      <c:pt idx="59">
                        <c:v>0.96302201104962959</c:v>
                      </c:pt>
                      <c:pt idx="60">
                        <c:v>0.96430424239476287</c:v>
                      </c:pt>
                    </c:numCache>
                  </c:numRef>
                </c:yVal>
                <c:smooth val="0"/>
                <c:extLst xmlns:c15="http://schemas.microsoft.com/office/drawing/2012/chart">
                  <c:ext xmlns:c16="http://schemas.microsoft.com/office/drawing/2014/chart" uri="{C3380CC4-5D6E-409C-BE32-E72D297353CC}">
                    <c16:uniqueId val="{00000018-7CBB-4E7B-AAD7-8E02881B1772}"/>
                  </c:ext>
                </c:extLst>
              </c15:ser>
            </c15:filteredScatterSeries>
            <c15:filteredScatterSeries>
              <c15:ser>
                <c:idx val="20"/>
                <c:order val="19"/>
                <c:tx>
                  <c:strRef>
                    <c:extLst xmlns:c15="http://schemas.microsoft.com/office/drawing/2012/chart">
                      <c:ext xmlns:c15="http://schemas.microsoft.com/office/drawing/2012/chart" uri="{02D57815-91ED-43cb-92C2-25804820EDAC}">
                        <c15:formulaRef>
                          <c15:sqref>'PP-012944_1-3'!$B$149:$D$149</c15:sqref>
                        </c15:formulaRef>
                      </c:ext>
                    </c:extLst>
                    <c:strCache>
                      <c:ptCount val="1"/>
                      <c:pt idx="0">
                        <c:v>012944-3_EudragitEPO_5mg/cm²_alte Vorschrift</c:v>
                      </c:pt>
                    </c:strCache>
                  </c:strRef>
                </c:tx>
                <c:errBars>
                  <c:errDir val="y"/>
                  <c:errBarType val="both"/>
                  <c:errValType val="cust"/>
                  <c:noEndCap val="0"/>
                  <c:plus>
                    <c:numRef>
                      <c:extLst xmlns:c15="http://schemas.microsoft.com/office/drawing/2012/chart">
                        <c:ext xmlns:c15="http://schemas.microsoft.com/office/drawing/2012/chart" uri="{02D57815-91ED-43cb-92C2-25804820EDAC}">
                          <c15:formulaRef>
                            <c15:sqref>'PP-012944_1-3'!$L$154:$L$214</c15:sqref>
                          </c15:formulaRef>
                        </c:ext>
                      </c:extLst>
                      <c:numCache>
                        <c:formatCode>General</c:formatCode>
                        <c:ptCount val="61"/>
                        <c:pt idx="0">
                          <c:v>0</c:v>
                        </c:pt>
                        <c:pt idx="1">
                          <c:v>0</c:v>
                        </c:pt>
                        <c:pt idx="2">
                          <c:v>0</c:v>
                        </c:pt>
                        <c:pt idx="3">
                          <c:v>0</c:v>
                        </c:pt>
                        <c:pt idx="4">
                          <c:v>0</c:v>
                        </c:pt>
                        <c:pt idx="5">
                          <c:v>0</c:v>
                        </c:pt>
                        <c:pt idx="6">
                          <c:v>0</c:v>
                        </c:pt>
                        <c:pt idx="7">
                          <c:v>0</c:v>
                        </c:pt>
                        <c:pt idx="8">
                          <c:v>0</c:v>
                        </c:pt>
                        <c:pt idx="9">
                          <c:v>0</c:v>
                        </c:pt>
                        <c:pt idx="10">
                          <c:v>2.9186953545334713E-2</c:v>
                        </c:pt>
                        <c:pt idx="11">
                          <c:v>8.2854720803594559E-2</c:v>
                        </c:pt>
                        <c:pt idx="12">
                          <c:v>0.1465974170841953</c:v>
                        </c:pt>
                        <c:pt idx="13">
                          <c:v>0.18025752884584839</c:v>
                        </c:pt>
                        <c:pt idx="14">
                          <c:v>0.19119152997386241</c:v>
                        </c:pt>
                        <c:pt idx="15">
                          <c:v>0.18699433667834536</c:v>
                        </c:pt>
                        <c:pt idx="16">
                          <c:v>0.18188608200396764</c:v>
                        </c:pt>
                        <c:pt idx="17">
                          <c:v>0.18558137076401987</c:v>
                        </c:pt>
                        <c:pt idx="18">
                          <c:v>0.1628564864468916</c:v>
                        </c:pt>
                        <c:pt idx="19">
                          <c:v>0.15645755559401681</c:v>
                        </c:pt>
                        <c:pt idx="20">
                          <c:v>0.14517251359103245</c:v>
                        </c:pt>
                        <c:pt idx="21">
                          <c:v>0.12997923101593051</c:v>
                        </c:pt>
                        <c:pt idx="22">
                          <c:v>0.1170957140870828</c:v>
                        </c:pt>
                        <c:pt idx="23">
                          <c:v>0.10002332246391049</c:v>
                        </c:pt>
                        <c:pt idx="24">
                          <c:v>8.7451864525778841E-2</c:v>
                        </c:pt>
                        <c:pt idx="25">
                          <c:v>7.9109971881656929E-2</c:v>
                        </c:pt>
                        <c:pt idx="26">
                          <c:v>6.6778759817987615E-2</c:v>
                        </c:pt>
                        <c:pt idx="27">
                          <c:v>5.8099116376103897E-2</c:v>
                        </c:pt>
                        <c:pt idx="28">
                          <c:v>4.9717199620272337E-2</c:v>
                        </c:pt>
                        <c:pt idx="29">
                          <c:v>4.1909332307332382E-2</c:v>
                        </c:pt>
                        <c:pt idx="30">
                          <c:v>3.6373959490719983E-2</c:v>
                        </c:pt>
                        <c:pt idx="31">
                          <c:v>3.0514906518191859E-2</c:v>
                        </c:pt>
                        <c:pt idx="32">
                          <c:v>2.6367625980989667E-2</c:v>
                        </c:pt>
                        <c:pt idx="33">
                          <c:v>2.2413913292998189E-2</c:v>
                        </c:pt>
                        <c:pt idx="34">
                          <c:v>1.9086633445272415E-2</c:v>
                        </c:pt>
                        <c:pt idx="35">
                          <c:v>1.465028053642594E-2</c:v>
                        </c:pt>
                        <c:pt idx="36">
                          <c:v>1.2143490507166281E-2</c:v>
                        </c:pt>
                        <c:pt idx="37">
                          <c:v>8.311549842808753E-3</c:v>
                        </c:pt>
                        <c:pt idx="38">
                          <c:v>5.7918085917187702E-3</c:v>
                        </c:pt>
                        <c:pt idx="39">
                          <c:v>3.2976726160669385E-3</c:v>
                        </c:pt>
                        <c:pt idx="40">
                          <c:v>1.8305415547273528E-3</c:v>
                        </c:pt>
                        <c:pt idx="41">
                          <c:v>3.2251367864509269E-3</c:v>
                        </c:pt>
                        <c:pt idx="42">
                          <c:v>4.1611352438544044E-3</c:v>
                        </c:pt>
                        <c:pt idx="43">
                          <c:v>6.9981861898619647E-3</c:v>
                        </c:pt>
                        <c:pt idx="44">
                          <c:v>8.15953352743253E-3</c:v>
                        </c:pt>
                        <c:pt idx="45">
                          <c:v>1.002988147592768E-2</c:v>
                        </c:pt>
                        <c:pt idx="46">
                          <c:v>1.0900760209172401E-2</c:v>
                        </c:pt>
                        <c:pt idx="47">
                          <c:v>1.2562410742401454E-2</c:v>
                        </c:pt>
                        <c:pt idx="48">
                          <c:v>4.9220352798773848E-2</c:v>
                        </c:pt>
                        <c:pt idx="49">
                          <c:v>4.6524167559613028E-2</c:v>
                        </c:pt>
                        <c:pt idx="50">
                          <c:v>4.3538814294728251E-2</c:v>
                        </c:pt>
                        <c:pt idx="51">
                          <c:v>4.0748484629659652E-2</c:v>
                        </c:pt>
                        <c:pt idx="52">
                          <c:v>3.8075800879770957E-2</c:v>
                        </c:pt>
                        <c:pt idx="53">
                          <c:v>3.6480490060377103E-2</c:v>
                        </c:pt>
                        <c:pt idx="54">
                          <c:v>3.5340387547942081E-2</c:v>
                        </c:pt>
                        <c:pt idx="55">
                          <c:v>3.3428117402823171E-2</c:v>
                        </c:pt>
                        <c:pt idx="56">
                          <c:v>3.168834024563736E-2</c:v>
                        </c:pt>
                        <c:pt idx="57">
                          <c:v>3.0028073999992959E-2</c:v>
                        </c:pt>
                        <c:pt idx="58">
                          <c:v>2.8175517300305004E-2</c:v>
                        </c:pt>
                        <c:pt idx="59">
                          <c:v>2.778141409722373E-2</c:v>
                        </c:pt>
                        <c:pt idx="60">
                          <c:v>2.6413319639316646E-2</c:v>
                        </c:pt>
                      </c:numCache>
                    </c:numRef>
                  </c:plus>
                  <c:minus>
                    <c:numRef>
                      <c:extLst xmlns:c15="http://schemas.microsoft.com/office/drawing/2012/chart">
                        <c:ext xmlns:c15="http://schemas.microsoft.com/office/drawing/2012/chart" uri="{02D57815-91ED-43cb-92C2-25804820EDAC}">
                          <c15:formulaRef>
                            <c15:sqref>'PP-012944_1-3'!$L$154:$L$214</c15:sqref>
                          </c15:formulaRef>
                        </c:ext>
                      </c:extLst>
                      <c:numCache>
                        <c:formatCode>General</c:formatCode>
                        <c:ptCount val="61"/>
                        <c:pt idx="0">
                          <c:v>0</c:v>
                        </c:pt>
                        <c:pt idx="1">
                          <c:v>0</c:v>
                        </c:pt>
                        <c:pt idx="2">
                          <c:v>0</c:v>
                        </c:pt>
                        <c:pt idx="3">
                          <c:v>0</c:v>
                        </c:pt>
                        <c:pt idx="4">
                          <c:v>0</c:v>
                        </c:pt>
                        <c:pt idx="5">
                          <c:v>0</c:v>
                        </c:pt>
                        <c:pt idx="6">
                          <c:v>0</c:v>
                        </c:pt>
                        <c:pt idx="7">
                          <c:v>0</c:v>
                        </c:pt>
                        <c:pt idx="8">
                          <c:v>0</c:v>
                        </c:pt>
                        <c:pt idx="9">
                          <c:v>0</c:v>
                        </c:pt>
                        <c:pt idx="10">
                          <c:v>2.9186953545334713E-2</c:v>
                        </c:pt>
                        <c:pt idx="11">
                          <c:v>8.2854720803594559E-2</c:v>
                        </c:pt>
                        <c:pt idx="12">
                          <c:v>0.1465974170841953</c:v>
                        </c:pt>
                        <c:pt idx="13">
                          <c:v>0.18025752884584839</c:v>
                        </c:pt>
                        <c:pt idx="14">
                          <c:v>0.19119152997386241</c:v>
                        </c:pt>
                        <c:pt idx="15">
                          <c:v>0.18699433667834536</c:v>
                        </c:pt>
                        <c:pt idx="16">
                          <c:v>0.18188608200396764</c:v>
                        </c:pt>
                        <c:pt idx="17">
                          <c:v>0.18558137076401987</c:v>
                        </c:pt>
                        <c:pt idx="18">
                          <c:v>0.1628564864468916</c:v>
                        </c:pt>
                        <c:pt idx="19">
                          <c:v>0.15645755559401681</c:v>
                        </c:pt>
                        <c:pt idx="20">
                          <c:v>0.14517251359103245</c:v>
                        </c:pt>
                        <c:pt idx="21">
                          <c:v>0.12997923101593051</c:v>
                        </c:pt>
                        <c:pt idx="22">
                          <c:v>0.1170957140870828</c:v>
                        </c:pt>
                        <c:pt idx="23">
                          <c:v>0.10002332246391049</c:v>
                        </c:pt>
                        <c:pt idx="24">
                          <c:v>8.7451864525778841E-2</c:v>
                        </c:pt>
                        <c:pt idx="25">
                          <c:v>7.9109971881656929E-2</c:v>
                        </c:pt>
                        <c:pt idx="26">
                          <c:v>6.6778759817987615E-2</c:v>
                        </c:pt>
                        <c:pt idx="27">
                          <c:v>5.8099116376103897E-2</c:v>
                        </c:pt>
                        <c:pt idx="28">
                          <c:v>4.9717199620272337E-2</c:v>
                        </c:pt>
                        <c:pt idx="29">
                          <c:v>4.1909332307332382E-2</c:v>
                        </c:pt>
                        <c:pt idx="30">
                          <c:v>3.6373959490719983E-2</c:v>
                        </c:pt>
                        <c:pt idx="31">
                          <c:v>3.0514906518191859E-2</c:v>
                        </c:pt>
                        <c:pt idx="32">
                          <c:v>2.6367625980989667E-2</c:v>
                        </c:pt>
                        <c:pt idx="33">
                          <c:v>2.2413913292998189E-2</c:v>
                        </c:pt>
                        <c:pt idx="34">
                          <c:v>1.9086633445272415E-2</c:v>
                        </c:pt>
                        <c:pt idx="35">
                          <c:v>1.465028053642594E-2</c:v>
                        </c:pt>
                        <c:pt idx="36">
                          <c:v>1.2143490507166281E-2</c:v>
                        </c:pt>
                        <c:pt idx="37">
                          <c:v>8.311549842808753E-3</c:v>
                        </c:pt>
                        <c:pt idx="38">
                          <c:v>5.7918085917187702E-3</c:v>
                        </c:pt>
                        <c:pt idx="39">
                          <c:v>3.2976726160669385E-3</c:v>
                        </c:pt>
                        <c:pt idx="40">
                          <c:v>1.8305415547273528E-3</c:v>
                        </c:pt>
                        <c:pt idx="41">
                          <c:v>3.2251367864509269E-3</c:v>
                        </c:pt>
                        <c:pt idx="42">
                          <c:v>4.1611352438544044E-3</c:v>
                        </c:pt>
                        <c:pt idx="43">
                          <c:v>6.9981861898619647E-3</c:v>
                        </c:pt>
                        <c:pt idx="44">
                          <c:v>8.15953352743253E-3</c:v>
                        </c:pt>
                        <c:pt idx="45">
                          <c:v>1.002988147592768E-2</c:v>
                        </c:pt>
                        <c:pt idx="46">
                          <c:v>1.0900760209172401E-2</c:v>
                        </c:pt>
                        <c:pt idx="47">
                          <c:v>1.2562410742401454E-2</c:v>
                        </c:pt>
                        <c:pt idx="48">
                          <c:v>4.9220352798773848E-2</c:v>
                        </c:pt>
                        <c:pt idx="49">
                          <c:v>4.6524167559613028E-2</c:v>
                        </c:pt>
                        <c:pt idx="50">
                          <c:v>4.3538814294728251E-2</c:v>
                        </c:pt>
                        <c:pt idx="51">
                          <c:v>4.0748484629659652E-2</c:v>
                        </c:pt>
                        <c:pt idx="52">
                          <c:v>3.8075800879770957E-2</c:v>
                        </c:pt>
                        <c:pt idx="53">
                          <c:v>3.6480490060377103E-2</c:v>
                        </c:pt>
                        <c:pt idx="54">
                          <c:v>3.5340387547942081E-2</c:v>
                        </c:pt>
                        <c:pt idx="55">
                          <c:v>3.3428117402823171E-2</c:v>
                        </c:pt>
                        <c:pt idx="56">
                          <c:v>3.168834024563736E-2</c:v>
                        </c:pt>
                        <c:pt idx="57">
                          <c:v>3.0028073999992959E-2</c:v>
                        </c:pt>
                        <c:pt idx="58">
                          <c:v>2.8175517300305004E-2</c:v>
                        </c:pt>
                        <c:pt idx="59">
                          <c:v>2.778141409722373E-2</c:v>
                        </c:pt>
                        <c:pt idx="60">
                          <c:v>2.6413319639316646E-2</c:v>
                        </c:pt>
                      </c:numCache>
                    </c:numRef>
                  </c:minus>
                </c:errBars>
                <c:xVal>
                  <c:numRef>
                    <c:extLst xmlns:c15="http://schemas.microsoft.com/office/drawing/2012/chart">
                      <c:ext xmlns:c15="http://schemas.microsoft.com/office/drawing/2012/chart" uri="{02D57815-91ED-43cb-92C2-25804820EDAC}">
                        <c15:formulaRef>
                          <c15:sqref>'PP-012944_1-3'!$A$154:$A$214</c15:sqref>
                        </c15:formulaRef>
                      </c:ext>
                    </c:extLst>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PP-012944_1-3'!$K$154:$K$214</c15:sqref>
                        </c15:formulaRef>
                      </c:ext>
                    </c:extLst>
                    <c:numCache>
                      <c:formatCode>0.00%</c:formatCode>
                      <c:ptCount val="61"/>
                      <c:pt idx="0">
                        <c:v>0</c:v>
                      </c:pt>
                      <c:pt idx="1">
                        <c:v>0</c:v>
                      </c:pt>
                      <c:pt idx="2">
                        <c:v>0</c:v>
                      </c:pt>
                      <c:pt idx="3">
                        <c:v>0</c:v>
                      </c:pt>
                      <c:pt idx="4">
                        <c:v>0</c:v>
                      </c:pt>
                      <c:pt idx="5">
                        <c:v>0</c:v>
                      </c:pt>
                      <c:pt idx="6">
                        <c:v>0</c:v>
                      </c:pt>
                      <c:pt idx="7">
                        <c:v>0</c:v>
                      </c:pt>
                      <c:pt idx="8">
                        <c:v>0</c:v>
                      </c:pt>
                      <c:pt idx="9">
                        <c:v>0</c:v>
                      </c:pt>
                      <c:pt idx="10">
                        <c:v>1.6851095486224099E-2</c:v>
                      </c:pt>
                      <c:pt idx="11">
                        <c:v>6.1058706539619902E-2</c:v>
                      </c:pt>
                      <c:pt idx="12">
                        <c:v>0.16572618082794344</c:v>
                      </c:pt>
                      <c:pt idx="13">
                        <c:v>0.27711096087549814</c:v>
                      </c:pt>
                      <c:pt idx="14">
                        <c:v>0.38659164636688081</c:v>
                      </c:pt>
                      <c:pt idx="15">
                        <c:v>0.49412486472391626</c:v>
                      </c:pt>
                      <c:pt idx="16">
                        <c:v>0.59453535275527769</c:v>
                      </c:pt>
                      <c:pt idx="17">
                        <c:v>0.66991754317018348</c:v>
                      </c:pt>
                      <c:pt idx="18">
                        <c:v>0.73397915735716668</c:v>
                      </c:pt>
                      <c:pt idx="19">
                        <c:v>0.78312187115697307</c:v>
                      </c:pt>
                      <c:pt idx="20">
                        <c:v>0.82068110391662297</c:v>
                      </c:pt>
                      <c:pt idx="21">
                        <c:v>0.85001127349370742</c:v>
                      </c:pt>
                      <c:pt idx="22">
                        <c:v>0.87032305888285133</c:v>
                      </c:pt>
                      <c:pt idx="23">
                        <c:v>0.88623195824605927</c:v>
                      </c:pt>
                      <c:pt idx="24">
                        <c:v>0.89859925181761635</c:v>
                      </c:pt>
                      <c:pt idx="25">
                        <c:v>0.90599752993723115</c:v>
                      </c:pt>
                      <c:pt idx="26">
                        <c:v>0.91436627331833764</c:v>
                      </c:pt>
                      <c:pt idx="27">
                        <c:v>0.92053328667323475</c:v>
                      </c:pt>
                      <c:pt idx="28">
                        <c:v>0.9263607512812464</c:v>
                      </c:pt>
                      <c:pt idx="29">
                        <c:v>0.93057925404588115</c:v>
                      </c:pt>
                      <c:pt idx="30">
                        <c:v>0.93508969380532558</c:v>
                      </c:pt>
                      <c:pt idx="31">
                        <c:v>0.93883494476271512</c:v>
                      </c:pt>
                      <c:pt idx="32">
                        <c:v>0.94071112194423956</c:v>
                      </c:pt>
                      <c:pt idx="33">
                        <c:v>0.94449299596252079</c:v>
                      </c:pt>
                      <c:pt idx="34">
                        <c:v>0.94673929765405218</c:v>
                      </c:pt>
                      <c:pt idx="35">
                        <c:v>0.94783277807475275</c:v>
                      </c:pt>
                      <c:pt idx="36">
                        <c:v>0.95017327568956633</c:v>
                      </c:pt>
                      <c:pt idx="37">
                        <c:v>0.95270370176300412</c:v>
                      </c:pt>
                      <c:pt idx="38">
                        <c:v>0.95518398340693855</c:v>
                      </c:pt>
                      <c:pt idx="39">
                        <c:v>0.95639966716309821</c:v>
                      </c:pt>
                      <c:pt idx="40">
                        <c:v>0.95774829426144736</c:v>
                      </c:pt>
                      <c:pt idx="41">
                        <c:v>0.9590922177685437</c:v>
                      </c:pt>
                      <c:pt idx="42">
                        <c:v>0.95987872849307454</c:v>
                      </c:pt>
                      <c:pt idx="43">
                        <c:v>0.96118891137435802</c:v>
                      </c:pt>
                      <c:pt idx="44">
                        <c:v>0.96163740492311589</c:v>
                      </c:pt>
                      <c:pt idx="45">
                        <c:v>0.96377157268427061</c:v>
                      </c:pt>
                      <c:pt idx="46">
                        <c:v>0.96563156323661303</c:v>
                      </c:pt>
                      <c:pt idx="47">
                        <c:v>0.9651993460988274</c:v>
                      </c:pt>
                      <c:pt idx="48">
                        <c:v>0.96476061432006333</c:v>
                      </c:pt>
                      <c:pt idx="49">
                        <c:v>0.96635676306945195</c:v>
                      </c:pt>
                      <c:pt idx="50">
                        <c:v>0.96859551316788295</c:v>
                      </c:pt>
                      <c:pt idx="51">
                        <c:v>0.97024305915016651</c:v>
                      </c:pt>
                      <c:pt idx="52">
                        <c:v>0.97200703058444249</c:v>
                      </c:pt>
                      <c:pt idx="53">
                        <c:v>0.97331172243308206</c:v>
                      </c:pt>
                      <c:pt idx="54">
                        <c:v>0.97482487372048654</c:v>
                      </c:pt>
                      <c:pt idx="55">
                        <c:v>0.97602350049671127</c:v>
                      </c:pt>
                      <c:pt idx="56">
                        <c:v>0.97667413100232048</c:v>
                      </c:pt>
                      <c:pt idx="57">
                        <c:v>0.97889161921192136</c:v>
                      </c:pt>
                      <c:pt idx="58">
                        <c:v>0.9798837664209149</c:v>
                      </c:pt>
                      <c:pt idx="59">
                        <c:v>0.9804585607012406</c:v>
                      </c:pt>
                      <c:pt idx="60">
                        <c:v>0.98119651926206564</c:v>
                      </c:pt>
                    </c:numCache>
                  </c:numRef>
                </c:yVal>
                <c:smooth val="0"/>
                <c:extLst xmlns:c15="http://schemas.microsoft.com/office/drawing/2012/chart">
                  <c:ext xmlns:c16="http://schemas.microsoft.com/office/drawing/2014/chart" uri="{C3380CC4-5D6E-409C-BE32-E72D297353CC}">
                    <c16:uniqueId val="{00000019-7CBB-4E7B-AAD7-8E02881B1772}"/>
                  </c:ext>
                </c:extLst>
              </c15:ser>
            </c15:filteredScatterSeries>
            <c15:filteredScatterSeries>
              <c15:ser>
                <c:idx val="22"/>
                <c:order val="21"/>
                <c:tx>
                  <c:strRef>
                    <c:extLst xmlns:c15="http://schemas.microsoft.com/office/drawing/2012/chart">
                      <c:ext xmlns:c15="http://schemas.microsoft.com/office/drawing/2012/chart" uri="{02D57815-91ED-43cb-92C2-25804820EDAC}">
                        <c15:formulaRef>
                          <c15:sqref>'PP-012944_4-6'!$B$80:$D$80</c15:sqref>
                        </c15:formulaRef>
                      </c:ext>
                    </c:extLst>
                    <c:strCache>
                      <c:ptCount val="1"/>
                      <c:pt idx="0">
                        <c:v>012944-5_EudragitEPO_4mg/cm²_neue Vorschrift</c:v>
                      </c:pt>
                    </c:strCache>
                  </c:strRef>
                </c:tx>
                <c:errBars>
                  <c:errDir val="y"/>
                  <c:errBarType val="both"/>
                  <c:errValType val="cust"/>
                  <c:noEndCap val="0"/>
                  <c:plus>
                    <c:numRef>
                      <c:extLst xmlns:c15="http://schemas.microsoft.com/office/drawing/2012/chart">
                        <c:ext xmlns:c15="http://schemas.microsoft.com/office/drawing/2012/chart" uri="{02D57815-91ED-43cb-92C2-25804820EDAC}">
                          <c15:formulaRef>
                            <c15:sqref>'PP-012944_4-6'!$L$85:$L$145</c15:sqref>
                          </c15:formulaRef>
                        </c:ext>
                      </c:extLst>
                      <c:numCache>
                        <c:formatCode>General</c:formatCode>
                        <c:ptCount val="61"/>
                        <c:pt idx="0">
                          <c:v>0</c:v>
                        </c:pt>
                        <c:pt idx="1">
                          <c:v>0</c:v>
                        </c:pt>
                        <c:pt idx="2">
                          <c:v>0</c:v>
                        </c:pt>
                        <c:pt idx="3">
                          <c:v>0</c:v>
                        </c:pt>
                        <c:pt idx="4">
                          <c:v>1.4773244412943734E-3</c:v>
                        </c:pt>
                        <c:pt idx="5">
                          <c:v>4.3766997653171796E-2</c:v>
                        </c:pt>
                        <c:pt idx="6">
                          <c:v>5.1986321993167973E-2</c:v>
                        </c:pt>
                        <c:pt idx="7">
                          <c:v>4.6197708183045832E-2</c:v>
                        </c:pt>
                        <c:pt idx="8">
                          <c:v>6.6339706933162379E-2</c:v>
                        </c:pt>
                        <c:pt idx="9">
                          <c:v>6.3179473781005788E-2</c:v>
                        </c:pt>
                        <c:pt idx="10">
                          <c:v>5.8623220828659242E-2</c:v>
                        </c:pt>
                        <c:pt idx="11">
                          <c:v>5.9935358038817554E-2</c:v>
                        </c:pt>
                        <c:pt idx="12">
                          <c:v>5.706717671358999E-2</c:v>
                        </c:pt>
                        <c:pt idx="13">
                          <c:v>5.9630982755783692E-2</c:v>
                        </c:pt>
                        <c:pt idx="14">
                          <c:v>5.247014931727903E-2</c:v>
                        </c:pt>
                        <c:pt idx="15">
                          <c:v>4.2170689557380042E-2</c:v>
                        </c:pt>
                        <c:pt idx="16">
                          <c:v>2.9119082923524033E-2</c:v>
                        </c:pt>
                        <c:pt idx="17">
                          <c:v>1.8038485978619914E-2</c:v>
                        </c:pt>
                        <c:pt idx="18">
                          <c:v>9.5162504175382544E-3</c:v>
                        </c:pt>
                        <c:pt idx="19">
                          <c:v>5.2937265821553269E-3</c:v>
                        </c:pt>
                        <c:pt idx="20">
                          <c:v>4.321986247175E-3</c:v>
                        </c:pt>
                        <c:pt idx="21">
                          <c:v>8.0797990271014274E-3</c:v>
                        </c:pt>
                        <c:pt idx="22">
                          <c:v>1.0460448684580414E-2</c:v>
                        </c:pt>
                        <c:pt idx="23">
                          <c:v>1.2236910526240648E-2</c:v>
                        </c:pt>
                        <c:pt idx="24">
                          <c:v>1.2430507198578192E-2</c:v>
                        </c:pt>
                        <c:pt idx="25">
                          <c:v>1.3398949789922426E-2</c:v>
                        </c:pt>
                        <c:pt idx="26">
                          <c:v>1.3471923755665397E-2</c:v>
                        </c:pt>
                        <c:pt idx="27">
                          <c:v>1.3058743706676472E-2</c:v>
                        </c:pt>
                        <c:pt idx="28">
                          <c:v>1.3447199145399186E-2</c:v>
                        </c:pt>
                        <c:pt idx="29">
                          <c:v>1.3461480459103812E-2</c:v>
                        </c:pt>
                        <c:pt idx="30">
                          <c:v>1.3610694863817059E-2</c:v>
                        </c:pt>
                        <c:pt idx="31">
                          <c:v>1.3576481253192009E-2</c:v>
                        </c:pt>
                        <c:pt idx="32">
                          <c:v>1.3780652349844207E-2</c:v>
                        </c:pt>
                        <c:pt idx="33">
                          <c:v>1.433895967489956E-2</c:v>
                        </c:pt>
                        <c:pt idx="34">
                          <c:v>1.3268914864017154E-2</c:v>
                        </c:pt>
                        <c:pt idx="35">
                          <c:v>1.4254431645303592E-2</c:v>
                        </c:pt>
                        <c:pt idx="36">
                          <c:v>1.3677790207277624E-2</c:v>
                        </c:pt>
                        <c:pt idx="37">
                          <c:v>1.3177293882754683E-2</c:v>
                        </c:pt>
                        <c:pt idx="38">
                          <c:v>1.3838195576168831E-2</c:v>
                        </c:pt>
                        <c:pt idx="39">
                          <c:v>1.3735247874546722E-2</c:v>
                        </c:pt>
                        <c:pt idx="40">
                          <c:v>1.3619338724970434E-2</c:v>
                        </c:pt>
                        <c:pt idx="41">
                          <c:v>1.3693769177862974E-2</c:v>
                        </c:pt>
                        <c:pt idx="42">
                          <c:v>1.4447336151604368E-2</c:v>
                        </c:pt>
                        <c:pt idx="43">
                          <c:v>1.4072986893729312E-2</c:v>
                        </c:pt>
                        <c:pt idx="44">
                          <c:v>1.3832623327323062E-2</c:v>
                        </c:pt>
                        <c:pt idx="45">
                          <c:v>1.4147031728047568E-2</c:v>
                        </c:pt>
                        <c:pt idx="46">
                          <c:v>1.3693177326981547E-2</c:v>
                        </c:pt>
                        <c:pt idx="47">
                          <c:v>1.4853989371526237E-2</c:v>
                        </c:pt>
                        <c:pt idx="48">
                          <c:v>1.4657321916737293E-2</c:v>
                        </c:pt>
                        <c:pt idx="49">
                          <c:v>1.4037759649125533E-2</c:v>
                        </c:pt>
                        <c:pt idx="50">
                          <c:v>1.4633466527482339E-2</c:v>
                        </c:pt>
                        <c:pt idx="51">
                          <c:v>1.3515888898766277E-2</c:v>
                        </c:pt>
                        <c:pt idx="52">
                          <c:v>1.4616959891735806E-2</c:v>
                        </c:pt>
                        <c:pt idx="53">
                          <c:v>1.4125450993491344E-2</c:v>
                        </c:pt>
                        <c:pt idx="54">
                          <c:v>1.4215239128428611E-2</c:v>
                        </c:pt>
                        <c:pt idx="55">
                          <c:v>1.4903034034223163E-2</c:v>
                        </c:pt>
                        <c:pt idx="56">
                          <c:v>1.4567984313041314E-2</c:v>
                        </c:pt>
                        <c:pt idx="57">
                          <c:v>1.4613046279221328E-2</c:v>
                        </c:pt>
                        <c:pt idx="58">
                          <c:v>1.4708212659441154E-2</c:v>
                        </c:pt>
                        <c:pt idx="59">
                          <c:v>1.3898931582379301E-2</c:v>
                        </c:pt>
                        <c:pt idx="60">
                          <c:v>1.3832248141789872E-2</c:v>
                        </c:pt>
                      </c:numCache>
                    </c:numRef>
                  </c:plus>
                  <c:minus>
                    <c:numRef>
                      <c:extLst xmlns:c15="http://schemas.microsoft.com/office/drawing/2012/chart">
                        <c:ext xmlns:c15="http://schemas.microsoft.com/office/drawing/2012/chart" uri="{02D57815-91ED-43cb-92C2-25804820EDAC}">
                          <c15:formulaRef>
                            <c15:sqref>'PP-012944_4-6'!$L$85:$L$145</c15:sqref>
                          </c15:formulaRef>
                        </c:ext>
                      </c:extLst>
                      <c:numCache>
                        <c:formatCode>General</c:formatCode>
                        <c:ptCount val="61"/>
                        <c:pt idx="0">
                          <c:v>0</c:v>
                        </c:pt>
                        <c:pt idx="1">
                          <c:v>0</c:v>
                        </c:pt>
                        <c:pt idx="2">
                          <c:v>0</c:v>
                        </c:pt>
                        <c:pt idx="3">
                          <c:v>0</c:v>
                        </c:pt>
                        <c:pt idx="4">
                          <c:v>1.4773244412943734E-3</c:v>
                        </c:pt>
                        <c:pt idx="5">
                          <c:v>4.3766997653171796E-2</c:v>
                        </c:pt>
                        <c:pt idx="6">
                          <c:v>5.1986321993167973E-2</c:v>
                        </c:pt>
                        <c:pt idx="7">
                          <c:v>4.6197708183045832E-2</c:v>
                        </c:pt>
                        <c:pt idx="8">
                          <c:v>6.6339706933162379E-2</c:v>
                        </c:pt>
                        <c:pt idx="9">
                          <c:v>6.3179473781005788E-2</c:v>
                        </c:pt>
                        <c:pt idx="10">
                          <c:v>5.8623220828659242E-2</c:v>
                        </c:pt>
                        <c:pt idx="11">
                          <c:v>5.9935358038817554E-2</c:v>
                        </c:pt>
                        <c:pt idx="12">
                          <c:v>5.706717671358999E-2</c:v>
                        </c:pt>
                        <c:pt idx="13">
                          <c:v>5.9630982755783692E-2</c:v>
                        </c:pt>
                        <c:pt idx="14">
                          <c:v>5.247014931727903E-2</c:v>
                        </c:pt>
                        <c:pt idx="15">
                          <c:v>4.2170689557380042E-2</c:v>
                        </c:pt>
                        <c:pt idx="16">
                          <c:v>2.9119082923524033E-2</c:v>
                        </c:pt>
                        <c:pt idx="17">
                          <c:v>1.8038485978619914E-2</c:v>
                        </c:pt>
                        <c:pt idx="18">
                          <c:v>9.5162504175382544E-3</c:v>
                        </c:pt>
                        <c:pt idx="19">
                          <c:v>5.2937265821553269E-3</c:v>
                        </c:pt>
                        <c:pt idx="20">
                          <c:v>4.321986247175E-3</c:v>
                        </c:pt>
                        <c:pt idx="21">
                          <c:v>8.0797990271014274E-3</c:v>
                        </c:pt>
                        <c:pt idx="22">
                          <c:v>1.0460448684580414E-2</c:v>
                        </c:pt>
                        <c:pt idx="23">
                          <c:v>1.2236910526240648E-2</c:v>
                        </c:pt>
                        <c:pt idx="24">
                          <c:v>1.2430507198578192E-2</c:v>
                        </c:pt>
                        <c:pt idx="25">
                          <c:v>1.3398949789922426E-2</c:v>
                        </c:pt>
                        <c:pt idx="26">
                          <c:v>1.3471923755665397E-2</c:v>
                        </c:pt>
                        <c:pt idx="27">
                          <c:v>1.3058743706676472E-2</c:v>
                        </c:pt>
                        <c:pt idx="28">
                          <c:v>1.3447199145399186E-2</c:v>
                        </c:pt>
                        <c:pt idx="29">
                          <c:v>1.3461480459103812E-2</c:v>
                        </c:pt>
                        <c:pt idx="30">
                          <c:v>1.3610694863817059E-2</c:v>
                        </c:pt>
                        <c:pt idx="31">
                          <c:v>1.3576481253192009E-2</c:v>
                        </c:pt>
                        <c:pt idx="32">
                          <c:v>1.3780652349844207E-2</c:v>
                        </c:pt>
                        <c:pt idx="33">
                          <c:v>1.433895967489956E-2</c:v>
                        </c:pt>
                        <c:pt idx="34">
                          <c:v>1.3268914864017154E-2</c:v>
                        </c:pt>
                        <c:pt idx="35">
                          <c:v>1.4254431645303592E-2</c:v>
                        </c:pt>
                        <c:pt idx="36">
                          <c:v>1.3677790207277624E-2</c:v>
                        </c:pt>
                        <c:pt idx="37">
                          <c:v>1.3177293882754683E-2</c:v>
                        </c:pt>
                        <c:pt idx="38">
                          <c:v>1.3838195576168831E-2</c:v>
                        </c:pt>
                        <c:pt idx="39">
                          <c:v>1.3735247874546722E-2</c:v>
                        </c:pt>
                        <c:pt idx="40">
                          <c:v>1.3619338724970434E-2</c:v>
                        </c:pt>
                        <c:pt idx="41">
                          <c:v>1.3693769177862974E-2</c:v>
                        </c:pt>
                        <c:pt idx="42">
                          <c:v>1.4447336151604368E-2</c:v>
                        </c:pt>
                        <c:pt idx="43">
                          <c:v>1.4072986893729312E-2</c:v>
                        </c:pt>
                        <c:pt idx="44">
                          <c:v>1.3832623327323062E-2</c:v>
                        </c:pt>
                        <c:pt idx="45">
                          <c:v>1.4147031728047568E-2</c:v>
                        </c:pt>
                        <c:pt idx="46">
                          <c:v>1.3693177326981547E-2</c:v>
                        </c:pt>
                        <c:pt idx="47">
                          <c:v>1.4853989371526237E-2</c:v>
                        </c:pt>
                        <c:pt idx="48">
                          <c:v>1.4657321916737293E-2</c:v>
                        </c:pt>
                        <c:pt idx="49">
                          <c:v>1.4037759649125533E-2</c:v>
                        </c:pt>
                        <c:pt idx="50">
                          <c:v>1.4633466527482339E-2</c:v>
                        </c:pt>
                        <c:pt idx="51">
                          <c:v>1.3515888898766277E-2</c:v>
                        </c:pt>
                        <c:pt idx="52">
                          <c:v>1.4616959891735806E-2</c:v>
                        </c:pt>
                        <c:pt idx="53">
                          <c:v>1.4125450993491344E-2</c:v>
                        </c:pt>
                        <c:pt idx="54">
                          <c:v>1.4215239128428611E-2</c:v>
                        </c:pt>
                        <c:pt idx="55">
                          <c:v>1.4903034034223163E-2</c:v>
                        </c:pt>
                        <c:pt idx="56">
                          <c:v>1.4567984313041314E-2</c:v>
                        </c:pt>
                        <c:pt idx="57">
                          <c:v>1.4613046279221328E-2</c:v>
                        </c:pt>
                        <c:pt idx="58">
                          <c:v>1.4708212659441154E-2</c:v>
                        </c:pt>
                        <c:pt idx="59">
                          <c:v>1.3898931582379301E-2</c:v>
                        </c:pt>
                        <c:pt idx="60">
                          <c:v>1.3832248141789872E-2</c:v>
                        </c:pt>
                      </c:numCache>
                    </c:numRef>
                  </c:minus>
                </c:errBars>
                <c:xVal>
                  <c:numRef>
                    <c:extLst xmlns:c15="http://schemas.microsoft.com/office/drawing/2012/chart">
                      <c:ext xmlns:c15="http://schemas.microsoft.com/office/drawing/2012/chart" uri="{02D57815-91ED-43cb-92C2-25804820EDAC}">
                        <c15:formulaRef>
                          <c15:sqref>'PP-012944_4-6'!$A$85:$A$145</c15:sqref>
                        </c15:formulaRef>
                      </c:ext>
                    </c:extLst>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PP-012944_4-6'!$K$85:$K$145</c15:sqref>
                        </c15:formulaRef>
                      </c:ext>
                    </c:extLst>
                    <c:numCache>
                      <c:formatCode>0.00%</c:formatCode>
                      <c:ptCount val="61"/>
                      <c:pt idx="0">
                        <c:v>0</c:v>
                      </c:pt>
                      <c:pt idx="1">
                        <c:v>0</c:v>
                      </c:pt>
                      <c:pt idx="2">
                        <c:v>0</c:v>
                      </c:pt>
                      <c:pt idx="3">
                        <c:v>0</c:v>
                      </c:pt>
                      <c:pt idx="4">
                        <c:v>8.5293366386171999E-4</c:v>
                      </c:pt>
                      <c:pt idx="5">
                        <c:v>4.379462100633686E-2</c:v>
                      </c:pt>
                      <c:pt idx="6">
                        <c:v>0.14096468049172348</c:v>
                      </c:pt>
                      <c:pt idx="7">
                        <c:v>0.27035725300375574</c:v>
                      </c:pt>
                      <c:pt idx="8">
                        <c:v>0.4005025896646231</c:v>
                      </c:pt>
                      <c:pt idx="9">
                        <c:v>0.52939882551197381</c:v>
                      </c:pt>
                      <c:pt idx="10">
                        <c:v>0.61907762169709046</c:v>
                      </c:pt>
                      <c:pt idx="11">
                        <c:v>0.70838585621555128</c:v>
                      </c:pt>
                      <c:pt idx="12">
                        <c:v>0.76703026066678637</c:v>
                      </c:pt>
                      <c:pt idx="13">
                        <c:v>0.82094826161036893</c:v>
                      </c:pt>
                      <c:pt idx="14">
                        <c:v>0.85570168176875094</c:v>
                      </c:pt>
                      <c:pt idx="15">
                        <c:v>0.88723986969660718</c:v>
                      </c:pt>
                      <c:pt idx="16">
                        <c:v>0.91232406993113002</c:v>
                      </c:pt>
                      <c:pt idx="17">
                        <c:v>0.93079692388228141</c:v>
                      </c:pt>
                      <c:pt idx="18">
                        <c:v>0.94498755109549137</c:v>
                      </c:pt>
                      <c:pt idx="19">
                        <c:v>0.95310648119732999</c:v>
                      </c:pt>
                      <c:pt idx="20">
                        <c:v>0.95849862394632446</c:v>
                      </c:pt>
                      <c:pt idx="21">
                        <c:v>0.96257702095892184</c:v>
                      </c:pt>
                      <c:pt idx="22">
                        <c:v>0.96437909545215961</c:v>
                      </c:pt>
                      <c:pt idx="23">
                        <c:v>0.96587705135873991</c:v>
                      </c:pt>
                      <c:pt idx="24">
                        <c:v>0.96640477173860206</c:v>
                      </c:pt>
                      <c:pt idx="25">
                        <c:v>0.96601143175920301</c:v>
                      </c:pt>
                      <c:pt idx="26">
                        <c:v>0.96597922502742273</c:v>
                      </c:pt>
                      <c:pt idx="27">
                        <c:v>0.96670849420022298</c:v>
                      </c:pt>
                      <c:pt idx="28">
                        <c:v>0.9671264577736266</c:v>
                      </c:pt>
                      <c:pt idx="29">
                        <c:v>0.96725655012176992</c:v>
                      </c:pt>
                      <c:pt idx="30">
                        <c:v>0.96718164485487856</c:v>
                      </c:pt>
                      <c:pt idx="31">
                        <c:v>0.96628811484966859</c:v>
                      </c:pt>
                      <c:pt idx="32">
                        <c:v>0.96695989741450161</c:v>
                      </c:pt>
                      <c:pt idx="33">
                        <c:v>0.9670750047600154</c:v>
                      </c:pt>
                      <c:pt idx="34">
                        <c:v>0.96752334120739147</c:v>
                      </c:pt>
                      <c:pt idx="35">
                        <c:v>0.96691697334298776</c:v>
                      </c:pt>
                      <c:pt idx="36">
                        <c:v>0.9669241363808746</c:v>
                      </c:pt>
                      <c:pt idx="37">
                        <c:v>0.96599461700256894</c:v>
                      </c:pt>
                      <c:pt idx="38">
                        <c:v>0.96638792143006969</c:v>
                      </c:pt>
                      <c:pt idx="39">
                        <c:v>0.96703984857423286</c:v>
                      </c:pt>
                      <c:pt idx="40">
                        <c:v>0.96743099655616849</c:v>
                      </c:pt>
                      <c:pt idx="41">
                        <c:v>0.96680636177904911</c:v>
                      </c:pt>
                      <c:pt idx="42">
                        <c:v>0.96695168691315947</c:v>
                      </c:pt>
                      <c:pt idx="43">
                        <c:v>0.96748769739375284</c:v>
                      </c:pt>
                      <c:pt idx="44">
                        <c:v>0.96706944128875338</c:v>
                      </c:pt>
                      <c:pt idx="45">
                        <c:v>0.96695704241997749</c:v>
                      </c:pt>
                      <c:pt idx="46">
                        <c:v>0.96711073182086871</c:v>
                      </c:pt>
                      <c:pt idx="47">
                        <c:v>0.96676103827360238</c:v>
                      </c:pt>
                      <c:pt idx="48">
                        <c:v>0.96804278541545496</c:v>
                      </c:pt>
                      <c:pt idx="49">
                        <c:v>0.96643103847634537</c:v>
                      </c:pt>
                      <c:pt idx="50">
                        <c:v>0.96711673551265653</c:v>
                      </c:pt>
                      <c:pt idx="51">
                        <c:v>0.96740830164423242</c:v>
                      </c:pt>
                      <c:pt idx="52">
                        <c:v>0.96689757759631234</c:v>
                      </c:pt>
                      <c:pt idx="53">
                        <c:v>0.9669760891417617</c:v>
                      </c:pt>
                      <c:pt idx="54">
                        <c:v>0.96675380940686695</c:v>
                      </c:pt>
                      <c:pt idx="55">
                        <c:v>0.96706358156607319</c:v>
                      </c:pt>
                      <c:pt idx="56">
                        <c:v>0.96699851346665133</c:v>
                      </c:pt>
                      <c:pt idx="57">
                        <c:v>0.96762003280411468</c:v>
                      </c:pt>
                      <c:pt idx="58">
                        <c:v>0.96775012117804815</c:v>
                      </c:pt>
                      <c:pt idx="59">
                        <c:v>0.96765229312532997</c:v>
                      </c:pt>
                      <c:pt idx="60">
                        <c:v>0.96765420239712796</c:v>
                      </c:pt>
                    </c:numCache>
                  </c:numRef>
                </c:yVal>
                <c:smooth val="0"/>
                <c:extLst xmlns:c15="http://schemas.microsoft.com/office/drawing/2012/chart">
                  <c:ext xmlns:c16="http://schemas.microsoft.com/office/drawing/2014/chart" uri="{C3380CC4-5D6E-409C-BE32-E72D297353CC}">
                    <c16:uniqueId val="{0000001A-7CBB-4E7B-AAD7-8E02881B1772}"/>
                  </c:ext>
                </c:extLst>
              </c15:ser>
            </c15:filteredScatterSeries>
            <c15:filteredScatterSeries>
              <c15:ser>
                <c:idx val="23"/>
                <c:order val="22"/>
                <c:tx>
                  <c:strRef>
                    <c:extLst xmlns:c15="http://schemas.microsoft.com/office/drawing/2012/chart">
                      <c:ext xmlns:c15="http://schemas.microsoft.com/office/drawing/2012/chart" uri="{02D57815-91ED-43cb-92C2-25804820EDAC}">
                        <c15:formulaRef>
                          <c15:sqref>'PP-012944_4-6'!$B$149:$D$149</c15:sqref>
                        </c15:formulaRef>
                      </c:ext>
                    </c:extLst>
                    <c:strCache>
                      <c:ptCount val="1"/>
                      <c:pt idx="0">
                        <c:v>012944-6_EudragitEPO_5mg/cm²_neue Vorschrift</c:v>
                      </c:pt>
                    </c:strCache>
                  </c:strRef>
                </c:tx>
                <c:errBars>
                  <c:errDir val="y"/>
                  <c:errBarType val="both"/>
                  <c:errValType val="cust"/>
                  <c:noEndCap val="0"/>
                  <c:plus>
                    <c:numRef>
                      <c:extLst xmlns:c15="http://schemas.microsoft.com/office/drawing/2012/chart">
                        <c:ext xmlns:c15="http://schemas.microsoft.com/office/drawing/2012/chart" uri="{02D57815-91ED-43cb-92C2-25804820EDAC}">
                          <c15:formulaRef>
                            <c15:sqref>'PP-012944_4-6'!$L$154:$L$214</c15:sqref>
                          </c15:formulaRef>
                        </c:ext>
                      </c:extLst>
                      <c:numCache>
                        <c:formatCode>General</c:formatCode>
                        <c:ptCount val="61"/>
                        <c:pt idx="0">
                          <c:v>0</c:v>
                        </c:pt>
                        <c:pt idx="1">
                          <c:v>0</c:v>
                        </c:pt>
                        <c:pt idx="2">
                          <c:v>0</c:v>
                        </c:pt>
                        <c:pt idx="3">
                          <c:v>0</c:v>
                        </c:pt>
                        <c:pt idx="4">
                          <c:v>0</c:v>
                        </c:pt>
                        <c:pt idx="5">
                          <c:v>0</c:v>
                        </c:pt>
                        <c:pt idx="6">
                          <c:v>3.3872220168732771E-3</c:v>
                        </c:pt>
                        <c:pt idx="7">
                          <c:v>5.3508164477511458E-2</c:v>
                        </c:pt>
                        <c:pt idx="8">
                          <c:v>8.9055833421965311E-2</c:v>
                        </c:pt>
                        <c:pt idx="9">
                          <c:v>0.11880689192452511</c:v>
                        </c:pt>
                        <c:pt idx="10">
                          <c:v>0.11805112694935002</c:v>
                        </c:pt>
                        <c:pt idx="11">
                          <c:v>0.10267467536241574</c:v>
                        </c:pt>
                        <c:pt idx="12">
                          <c:v>9.1834453397928797E-2</c:v>
                        </c:pt>
                        <c:pt idx="13">
                          <c:v>6.2982297578440594E-2</c:v>
                        </c:pt>
                        <c:pt idx="14">
                          <c:v>4.7890084306888889E-2</c:v>
                        </c:pt>
                        <c:pt idx="15">
                          <c:v>3.9333432633757152E-2</c:v>
                        </c:pt>
                        <c:pt idx="16">
                          <c:v>3.3585913728312648E-2</c:v>
                        </c:pt>
                        <c:pt idx="17">
                          <c:v>2.7348008714436857E-2</c:v>
                        </c:pt>
                        <c:pt idx="18">
                          <c:v>2.6388323640941787E-2</c:v>
                        </c:pt>
                        <c:pt idx="19">
                          <c:v>2.718008998197528E-2</c:v>
                        </c:pt>
                        <c:pt idx="20">
                          <c:v>4.4387527578526369E-2</c:v>
                        </c:pt>
                        <c:pt idx="21">
                          <c:v>4.7277030178084135E-2</c:v>
                        </c:pt>
                        <c:pt idx="22">
                          <c:v>4.3414577767997571E-2</c:v>
                        </c:pt>
                        <c:pt idx="23">
                          <c:v>3.3438426960094601E-2</c:v>
                        </c:pt>
                        <c:pt idx="24">
                          <c:v>2.2724932011878102E-2</c:v>
                        </c:pt>
                        <c:pt idx="25">
                          <c:v>1.9602469502061376E-2</c:v>
                        </c:pt>
                        <c:pt idx="26">
                          <c:v>1.7687798756808319E-2</c:v>
                        </c:pt>
                        <c:pt idx="27">
                          <c:v>1.9030948598935084E-2</c:v>
                        </c:pt>
                        <c:pt idx="28">
                          <c:v>1.9529624701030573E-2</c:v>
                        </c:pt>
                        <c:pt idx="29">
                          <c:v>2.125840298084453E-2</c:v>
                        </c:pt>
                        <c:pt idx="30">
                          <c:v>2.2848552302374588E-2</c:v>
                        </c:pt>
                        <c:pt idx="31">
                          <c:v>2.3699545080873616E-2</c:v>
                        </c:pt>
                        <c:pt idx="32">
                          <c:v>2.3429331318828635E-2</c:v>
                        </c:pt>
                        <c:pt idx="33">
                          <c:v>2.3435879227743733E-2</c:v>
                        </c:pt>
                        <c:pt idx="34">
                          <c:v>2.3335012835016426E-2</c:v>
                        </c:pt>
                        <c:pt idx="35">
                          <c:v>2.4368737224284603E-2</c:v>
                        </c:pt>
                        <c:pt idx="36">
                          <c:v>2.4744916581904104E-2</c:v>
                        </c:pt>
                        <c:pt idx="37">
                          <c:v>2.3924729398524532E-2</c:v>
                        </c:pt>
                        <c:pt idx="38">
                          <c:v>2.4336758727371365E-2</c:v>
                        </c:pt>
                        <c:pt idx="39">
                          <c:v>2.4064624510389078E-2</c:v>
                        </c:pt>
                        <c:pt idx="40">
                          <c:v>2.3936606695455005E-2</c:v>
                        </c:pt>
                        <c:pt idx="41">
                          <c:v>2.3699819789689356E-2</c:v>
                        </c:pt>
                        <c:pt idx="42">
                          <c:v>2.372637120767157E-2</c:v>
                        </c:pt>
                        <c:pt idx="43">
                          <c:v>2.3386212956795813E-2</c:v>
                        </c:pt>
                        <c:pt idx="44">
                          <c:v>2.404641269380051E-2</c:v>
                        </c:pt>
                        <c:pt idx="45">
                          <c:v>2.4228504197644975E-2</c:v>
                        </c:pt>
                        <c:pt idx="46">
                          <c:v>2.3461037984567053E-2</c:v>
                        </c:pt>
                        <c:pt idx="47">
                          <c:v>2.4448177254561911E-2</c:v>
                        </c:pt>
                        <c:pt idx="48">
                          <c:v>2.4388324382750345E-2</c:v>
                        </c:pt>
                        <c:pt idx="49">
                          <c:v>2.3247544017848544E-2</c:v>
                        </c:pt>
                        <c:pt idx="50">
                          <c:v>2.3820929340154912E-2</c:v>
                        </c:pt>
                        <c:pt idx="51">
                          <c:v>2.4463875405579913E-2</c:v>
                        </c:pt>
                        <c:pt idx="52">
                          <c:v>2.3853616265978123E-2</c:v>
                        </c:pt>
                        <c:pt idx="53">
                          <c:v>2.3934169381208483E-2</c:v>
                        </c:pt>
                        <c:pt idx="54">
                          <c:v>2.3283527846582507E-2</c:v>
                        </c:pt>
                        <c:pt idx="55">
                          <c:v>2.3906835498465246E-2</c:v>
                        </c:pt>
                        <c:pt idx="56">
                          <c:v>2.3904850173291314E-2</c:v>
                        </c:pt>
                        <c:pt idx="57">
                          <c:v>2.3624008284947193E-2</c:v>
                        </c:pt>
                        <c:pt idx="58">
                          <c:v>2.3807569610665186E-2</c:v>
                        </c:pt>
                        <c:pt idx="59">
                          <c:v>2.4249559168012601E-2</c:v>
                        </c:pt>
                        <c:pt idx="60">
                          <c:v>2.383123293142329E-2</c:v>
                        </c:pt>
                      </c:numCache>
                    </c:numRef>
                  </c:plus>
                  <c:minus>
                    <c:numRef>
                      <c:extLst xmlns:c15="http://schemas.microsoft.com/office/drawing/2012/chart">
                        <c:ext xmlns:c15="http://schemas.microsoft.com/office/drawing/2012/chart" uri="{02D57815-91ED-43cb-92C2-25804820EDAC}">
                          <c15:formulaRef>
                            <c15:sqref>'PP-012944_4-6'!$L$154:$L$214</c15:sqref>
                          </c15:formulaRef>
                        </c:ext>
                      </c:extLst>
                      <c:numCache>
                        <c:formatCode>General</c:formatCode>
                        <c:ptCount val="61"/>
                        <c:pt idx="0">
                          <c:v>0</c:v>
                        </c:pt>
                        <c:pt idx="1">
                          <c:v>0</c:v>
                        </c:pt>
                        <c:pt idx="2">
                          <c:v>0</c:v>
                        </c:pt>
                        <c:pt idx="3">
                          <c:v>0</c:v>
                        </c:pt>
                        <c:pt idx="4">
                          <c:v>0</c:v>
                        </c:pt>
                        <c:pt idx="5">
                          <c:v>0</c:v>
                        </c:pt>
                        <c:pt idx="6">
                          <c:v>3.3872220168732771E-3</c:v>
                        </c:pt>
                        <c:pt idx="7">
                          <c:v>5.3508164477511458E-2</c:v>
                        </c:pt>
                        <c:pt idx="8">
                          <c:v>8.9055833421965311E-2</c:v>
                        </c:pt>
                        <c:pt idx="9">
                          <c:v>0.11880689192452511</c:v>
                        </c:pt>
                        <c:pt idx="10">
                          <c:v>0.11805112694935002</c:v>
                        </c:pt>
                        <c:pt idx="11">
                          <c:v>0.10267467536241574</c:v>
                        </c:pt>
                        <c:pt idx="12">
                          <c:v>9.1834453397928797E-2</c:v>
                        </c:pt>
                        <c:pt idx="13">
                          <c:v>6.2982297578440594E-2</c:v>
                        </c:pt>
                        <c:pt idx="14">
                          <c:v>4.7890084306888889E-2</c:v>
                        </c:pt>
                        <c:pt idx="15">
                          <c:v>3.9333432633757152E-2</c:v>
                        </c:pt>
                        <c:pt idx="16">
                          <c:v>3.3585913728312648E-2</c:v>
                        </c:pt>
                        <c:pt idx="17">
                          <c:v>2.7348008714436857E-2</c:v>
                        </c:pt>
                        <c:pt idx="18">
                          <c:v>2.6388323640941787E-2</c:v>
                        </c:pt>
                        <c:pt idx="19">
                          <c:v>2.718008998197528E-2</c:v>
                        </c:pt>
                        <c:pt idx="20">
                          <c:v>4.4387527578526369E-2</c:v>
                        </c:pt>
                        <c:pt idx="21">
                          <c:v>4.7277030178084135E-2</c:v>
                        </c:pt>
                        <c:pt idx="22">
                          <c:v>4.3414577767997571E-2</c:v>
                        </c:pt>
                        <c:pt idx="23">
                          <c:v>3.3438426960094601E-2</c:v>
                        </c:pt>
                        <c:pt idx="24">
                          <c:v>2.2724932011878102E-2</c:v>
                        </c:pt>
                        <c:pt idx="25">
                          <c:v>1.9602469502061376E-2</c:v>
                        </c:pt>
                        <c:pt idx="26">
                          <c:v>1.7687798756808319E-2</c:v>
                        </c:pt>
                        <c:pt idx="27">
                          <c:v>1.9030948598935084E-2</c:v>
                        </c:pt>
                        <c:pt idx="28">
                          <c:v>1.9529624701030573E-2</c:v>
                        </c:pt>
                        <c:pt idx="29">
                          <c:v>2.125840298084453E-2</c:v>
                        </c:pt>
                        <c:pt idx="30">
                          <c:v>2.2848552302374588E-2</c:v>
                        </c:pt>
                        <c:pt idx="31">
                          <c:v>2.3699545080873616E-2</c:v>
                        </c:pt>
                        <c:pt idx="32">
                          <c:v>2.3429331318828635E-2</c:v>
                        </c:pt>
                        <c:pt idx="33">
                          <c:v>2.3435879227743733E-2</c:v>
                        </c:pt>
                        <c:pt idx="34">
                          <c:v>2.3335012835016426E-2</c:v>
                        </c:pt>
                        <c:pt idx="35">
                          <c:v>2.4368737224284603E-2</c:v>
                        </c:pt>
                        <c:pt idx="36">
                          <c:v>2.4744916581904104E-2</c:v>
                        </c:pt>
                        <c:pt idx="37">
                          <c:v>2.3924729398524532E-2</c:v>
                        </c:pt>
                        <c:pt idx="38">
                          <c:v>2.4336758727371365E-2</c:v>
                        </c:pt>
                        <c:pt idx="39">
                          <c:v>2.4064624510389078E-2</c:v>
                        </c:pt>
                        <c:pt idx="40">
                          <c:v>2.3936606695455005E-2</c:v>
                        </c:pt>
                        <c:pt idx="41">
                          <c:v>2.3699819789689356E-2</c:v>
                        </c:pt>
                        <c:pt idx="42">
                          <c:v>2.372637120767157E-2</c:v>
                        </c:pt>
                        <c:pt idx="43">
                          <c:v>2.3386212956795813E-2</c:v>
                        </c:pt>
                        <c:pt idx="44">
                          <c:v>2.404641269380051E-2</c:v>
                        </c:pt>
                        <c:pt idx="45">
                          <c:v>2.4228504197644975E-2</c:v>
                        </c:pt>
                        <c:pt idx="46">
                          <c:v>2.3461037984567053E-2</c:v>
                        </c:pt>
                        <c:pt idx="47">
                          <c:v>2.4448177254561911E-2</c:v>
                        </c:pt>
                        <c:pt idx="48">
                          <c:v>2.4388324382750345E-2</c:v>
                        </c:pt>
                        <c:pt idx="49">
                          <c:v>2.3247544017848544E-2</c:v>
                        </c:pt>
                        <c:pt idx="50">
                          <c:v>2.3820929340154912E-2</c:v>
                        </c:pt>
                        <c:pt idx="51">
                          <c:v>2.4463875405579913E-2</c:v>
                        </c:pt>
                        <c:pt idx="52">
                          <c:v>2.3853616265978123E-2</c:v>
                        </c:pt>
                        <c:pt idx="53">
                          <c:v>2.3934169381208483E-2</c:v>
                        </c:pt>
                        <c:pt idx="54">
                          <c:v>2.3283527846582507E-2</c:v>
                        </c:pt>
                        <c:pt idx="55">
                          <c:v>2.3906835498465246E-2</c:v>
                        </c:pt>
                        <c:pt idx="56">
                          <c:v>2.3904850173291314E-2</c:v>
                        </c:pt>
                        <c:pt idx="57">
                          <c:v>2.3624008284947193E-2</c:v>
                        </c:pt>
                        <c:pt idx="58">
                          <c:v>2.3807569610665186E-2</c:v>
                        </c:pt>
                        <c:pt idx="59">
                          <c:v>2.4249559168012601E-2</c:v>
                        </c:pt>
                        <c:pt idx="60">
                          <c:v>2.383123293142329E-2</c:v>
                        </c:pt>
                      </c:numCache>
                    </c:numRef>
                  </c:minus>
                </c:errBars>
                <c:xVal>
                  <c:numRef>
                    <c:extLst xmlns:c15="http://schemas.microsoft.com/office/drawing/2012/chart">
                      <c:ext xmlns:c15="http://schemas.microsoft.com/office/drawing/2012/chart" uri="{02D57815-91ED-43cb-92C2-25804820EDAC}">
                        <c15:formulaRef>
                          <c15:sqref>'PP-012944_4-6'!$A$154:$A$214</c15:sqref>
                        </c15:formulaRef>
                      </c:ext>
                    </c:extLst>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PP-012944_4-6'!$K$154:$K$214</c15:sqref>
                        </c15:formulaRef>
                      </c:ext>
                    </c:extLst>
                    <c:numCache>
                      <c:formatCode>0.00%</c:formatCode>
                      <c:ptCount val="61"/>
                      <c:pt idx="0">
                        <c:v>0</c:v>
                      </c:pt>
                      <c:pt idx="1">
                        <c:v>0</c:v>
                      </c:pt>
                      <c:pt idx="2">
                        <c:v>0</c:v>
                      </c:pt>
                      <c:pt idx="3">
                        <c:v>0</c:v>
                      </c:pt>
                      <c:pt idx="4">
                        <c:v>0</c:v>
                      </c:pt>
                      <c:pt idx="5">
                        <c:v>0</c:v>
                      </c:pt>
                      <c:pt idx="6">
                        <c:v>1.9556135432468136E-3</c:v>
                      </c:pt>
                      <c:pt idx="7">
                        <c:v>3.2924086832784603E-2</c:v>
                      </c:pt>
                      <c:pt idx="8">
                        <c:v>0.13890447759586425</c:v>
                      </c:pt>
                      <c:pt idx="9">
                        <c:v>0.24501406989213873</c:v>
                      </c:pt>
                      <c:pt idx="10">
                        <c:v>0.36373177939311097</c:v>
                      </c:pt>
                      <c:pt idx="11">
                        <c:v>0.45951569768998018</c:v>
                      </c:pt>
                      <c:pt idx="12">
                        <c:v>0.53787931280489276</c:v>
                      </c:pt>
                      <c:pt idx="13">
                        <c:v>0.61132061896312095</c:v>
                      </c:pt>
                      <c:pt idx="14">
                        <c:v>0.65939249938240152</c:v>
                      </c:pt>
                      <c:pt idx="15">
                        <c:v>0.7068204501596469</c:v>
                      </c:pt>
                      <c:pt idx="16">
                        <c:v>0.74070368395662844</c:v>
                      </c:pt>
                      <c:pt idx="17">
                        <c:v>0.76884803419047687</c:v>
                      </c:pt>
                      <c:pt idx="18">
                        <c:v>0.79514074622812725</c:v>
                      </c:pt>
                      <c:pt idx="19">
                        <c:v>0.82235865769792849</c:v>
                      </c:pt>
                      <c:pt idx="20">
                        <c:v>0.85730058356176941</c:v>
                      </c:pt>
                      <c:pt idx="21">
                        <c:v>0.88478643934947065</c:v>
                      </c:pt>
                      <c:pt idx="22">
                        <c:v>0.90952874556551688</c:v>
                      </c:pt>
                      <c:pt idx="23">
                        <c:v>0.92657953385095027</c:v>
                      </c:pt>
                      <c:pt idx="24">
                        <c:v>0.94076498886329896</c:v>
                      </c:pt>
                      <c:pt idx="25">
                        <c:v>0.95008717034589074</c:v>
                      </c:pt>
                      <c:pt idx="26">
                        <c:v>0.95762205874964457</c:v>
                      </c:pt>
                      <c:pt idx="27">
                        <c:v>0.96382296217619678</c:v>
                      </c:pt>
                      <c:pt idx="28">
                        <c:v>0.96954462530060936</c:v>
                      </c:pt>
                      <c:pt idx="29">
                        <c:v>0.97264449441861833</c:v>
                      </c:pt>
                      <c:pt idx="30">
                        <c:v>0.9764755437764121</c:v>
                      </c:pt>
                      <c:pt idx="31">
                        <c:v>0.97792375971846568</c:v>
                      </c:pt>
                      <c:pt idx="32">
                        <c:v>0.9798967727936746</c:v>
                      </c:pt>
                      <c:pt idx="33">
                        <c:v>0.98103344347553756</c:v>
                      </c:pt>
                      <c:pt idx="34">
                        <c:v>0.98199747186249553</c:v>
                      </c:pt>
                      <c:pt idx="35">
                        <c:v>0.98359486459358803</c:v>
                      </c:pt>
                      <c:pt idx="36">
                        <c:v>0.98416839950023594</c:v>
                      </c:pt>
                      <c:pt idx="37">
                        <c:v>0.98286973024000324</c:v>
                      </c:pt>
                      <c:pt idx="38">
                        <c:v>0.9842805913168392</c:v>
                      </c:pt>
                      <c:pt idx="39">
                        <c:v>0.98388733958277097</c:v>
                      </c:pt>
                      <c:pt idx="40">
                        <c:v>0.98440735919991684</c:v>
                      </c:pt>
                      <c:pt idx="41">
                        <c:v>0.9833238153928382</c:v>
                      </c:pt>
                      <c:pt idx="42">
                        <c:v>0.98449898690982796</c:v>
                      </c:pt>
                      <c:pt idx="43">
                        <c:v>0.98373785078900922</c:v>
                      </c:pt>
                      <c:pt idx="44">
                        <c:v>0.9851828623624006</c:v>
                      </c:pt>
                      <c:pt idx="45">
                        <c:v>0.98385103244013472</c:v>
                      </c:pt>
                      <c:pt idx="46">
                        <c:v>0.98320235371673492</c:v>
                      </c:pt>
                      <c:pt idx="47">
                        <c:v>0.98348014910213399</c:v>
                      </c:pt>
                      <c:pt idx="48">
                        <c:v>0.98478204093092081</c:v>
                      </c:pt>
                      <c:pt idx="49">
                        <c:v>0.98379759215596341</c:v>
                      </c:pt>
                      <c:pt idx="50">
                        <c:v>0.98390118621492417</c:v>
                      </c:pt>
                      <c:pt idx="51">
                        <c:v>0.98389314051295373</c:v>
                      </c:pt>
                      <c:pt idx="52">
                        <c:v>0.98440368137881495</c:v>
                      </c:pt>
                      <c:pt idx="53">
                        <c:v>0.98404967674118549</c:v>
                      </c:pt>
                      <c:pt idx="54">
                        <c:v>0.98405677460218854</c:v>
                      </c:pt>
                      <c:pt idx="55">
                        <c:v>0.98428191146714472</c:v>
                      </c:pt>
                      <c:pt idx="56">
                        <c:v>0.98400100494957765</c:v>
                      </c:pt>
                      <c:pt idx="57">
                        <c:v>0.98364271928072744</c:v>
                      </c:pt>
                      <c:pt idx="58">
                        <c:v>0.9843233356033666</c:v>
                      </c:pt>
                      <c:pt idx="59">
                        <c:v>0.98428445052494651</c:v>
                      </c:pt>
                      <c:pt idx="60">
                        <c:v>0.98438906938547099</c:v>
                      </c:pt>
                    </c:numCache>
                  </c:numRef>
                </c:yVal>
                <c:smooth val="0"/>
                <c:extLst xmlns:c15="http://schemas.microsoft.com/office/drawing/2012/chart">
                  <c:ext xmlns:c16="http://schemas.microsoft.com/office/drawing/2014/chart" uri="{C3380CC4-5D6E-409C-BE32-E72D297353CC}">
                    <c16:uniqueId val="{0000001B-7CBB-4E7B-AAD7-8E02881B1772}"/>
                  </c:ext>
                </c:extLst>
              </c15:ser>
            </c15:filteredScatterSeries>
            <c15:filteredScatterSeries>
              <c15:ser>
                <c:idx val="25"/>
                <c:order val="24"/>
                <c:tx>
                  <c:strRef>
                    <c:extLst xmlns:c15="http://schemas.microsoft.com/office/drawing/2012/chart">
                      <c:ext xmlns:c15="http://schemas.microsoft.com/office/drawing/2012/chart" uri="{02D57815-91ED-43cb-92C2-25804820EDAC}">
                        <c15:formulaRef>
                          <c15:sqref>'PP-012944_7-9'!$B$80:$D$80</c15:sqref>
                        </c15:formulaRef>
                      </c:ext>
                    </c:extLst>
                    <c:strCache>
                      <c:ptCount val="1"/>
                      <c:pt idx="0">
                        <c:v>012944-8_DrugcoatEPO_4mg/cm²_Vorschrift von EudragitEPO</c:v>
                      </c:pt>
                    </c:strCache>
                  </c:strRef>
                </c:tx>
                <c:errBars>
                  <c:errDir val="y"/>
                  <c:errBarType val="both"/>
                  <c:errValType val="cust"/>
                  <c:noEndCap val="0"/>
                  <c:plus>
                    <c:numRef>
                      <c:extLst xmlns:c15="http://schemas.microsoft.com/office/drawing/2012/chart">
                        <c:ext xmlns:c15="http://schemas.microsoft.com/office/drawing/2012/chart" uri="{02D57815-91ED-43cb-92C2-25804820EDAC}">
                          <c15:formulaRef>
                            <c15:sqref>'PP-012944_7-9'!$L$85:$L$145</c15:sqref>
                          </c15:formulaRef>
                        </c:ext>
                      </c:extLst>
                      <c:numCache>
                        <c:formatCode>General</c:formatCode>
                        <c:ptCount val="61"/>
                        <c:pt idx="0">
                          <c:v>0</c:v>
                        </c:pt>
                        <c:pt idx="1">
                          <c:v>0</c:v>
                        </c:pt>
                        <c:pt idx="2">
                          <c:v>8.7665518754818615E-3</c:v>
                        </c:pt>
                        <c:pt idx="3">
                          <c:v>6.2319033417793726E-2</c:v>
                        </c:pt>
                        <c:pt idx="4">
                          <c:v>6.7865868755506695E-2</c:v>
                        </c:pt>
                        <c:pt idx="5">
                          <c:v>8.2261540176327183E-2</c:v>
                        </c:pt>
                        <c:pt idx="6">
                          <c:v>5.4139526451750311E-2</c:v>
                        </c:pt>
                        <c:pt idx="7">
                          <c:v>5.8521128907701642E-2</c:v>
                        </c:pt>
                        <c:pt idx="8">
                          <c:v>5.2150884277992297E-2</c:v>
                        </c:pt>
                        <c:pt idx="9">
                          <c:v>3.3353725779160265E-2</c:v>
                        </c:pt>
                        <c:pt idx="10">
                          <c:v>1.0450398756078871E-2</c:v>
                        </c:pt>
                        <c:pt idx="11">
                          <c:v>3.7815714558687499E-3</c:v>
                        </c:pt>
                        <c:pt idx="12">
                          <c:v>9.3688008377044753E-3</c:v>
                        </c:pt>
                        <c:pt idx="13">
                          <c:v>1.3818776646485717E-2</c:v>
                        </c:pt>
                        <c:pt idx="14">
                          <c:v>1.487400639453499E-2</c:v>
                        </c:pt>
                        <c:pt idx="15">
                          <c:v>1.6988931606813099E-2</c:v>
                        </c:pt>
                        <c:pt idx="16">
                          <c:v>1.6730640987397447E-2</c:v>
                        </c:pt>
                        <c:pt idx="17">
                          <c:v>1.6925997319283719E-2</c:v>
                        </c:pt>
                        <c:pt idx="18">
                          <c:v>1.6294594072951109E-2</c:v>
                        </c:pt>
                        <c:pt idx="19">
                          <c:v>1.5708456959516493E-2</c:v>
                        </c:pt>
                        <c:pt idx="20">
                          <c:v>1.6629113693243693E-2</c:v>
                        </c:pt>
                        <c:pt idx="21">
                          <c:v>1.6366771774892298E-2</c:v>
                        </c:pt>
                        <c:pt idx="22">
                          <c:v>1.5848569876977907E-2</c:v>
                        </c:pt>
                        <c:pt idx="23">
                          <c:v>1.6091048908336424E-2</c:v>
                        </c:pt>
                        <c:pt idx="24">
                          <c:v>1.6556348636878323E-2</c:v>
                        </c:pt>
                        <c:pt idx="25">
                          <c:v>1.6419630967117637E-2</c:v>
                        </c:pt>
                        <c:pt idx="26">
                          <c:v>1.7082677099626582E-2</c:v>
                        </c:pt>
                        <c:pt idx="27">
                          <c:v>1.672537295609507E-2</c:v>
                        </c:pt>
                        <c:pt idx="28">
                          <c:v>1.5690498905554007E-2</c:v>
                        </c:pt>
                        <c:pt idx="29">
                          <c:v>1.6876698761454065E-2</c:v>
                        </c:pt>
                        <c:pt idx="30">
                          <c:v>1.541801902904741E-2</c:v>
                        </c:pt>
                        <c:pt idx="31">
                          <c:v>1.6221814933367953E-2</c:v>
                        </c:pt>
                        <c:pt idx="32">
                          <c:v>1.6627500638594556E-2</c:v>
                        </c:pt>
                        <c:pt idx="33">
                          <c:v>1.5803472392582035E-2</c:v>
                        </c:pt>
                        <c:pt idx="34">
                          <c:v>1.6368711435867673E-2</c:v>
                        </c:pt>
                        <c:pt idx="35">
                          <c:v>1.5855523107810045E-2</c:v>
                        </c:pt>
                        <c:pt idx="36">
                          <c:v>1.7238610192900738E-2</c:v>
                        </c:pt>
                        <c:pt idx="37">
                          <c:v>1.5740126733780928E-2</c:v>
                        </c:pt>
                        <c:pt idx="38">
                          <c:v>1.6344721167864475E-2</c:v>
                        </c:pt>
                        <c:pt idx="39">
                          <c:v>1.755771123624834E-2</c:v>
                        </c:pt>
                        <c:pt idx="40">
                          <c:v>1.6841874690553701E-2</c:v>
                        </c:pt>
                        <c:pt idx="41">
                          <c:v>1.6750452265322395E-2</c:v>
                        </c:pt>
                        <c:pt idx="42">
                          <c:v>1.6504120962864632E-2</c:v>
                        </c:pt>
                        <c:pt idx="43">
                          <c:v>1.7234424066777311E-2</c:v>
                        </c:pt>
                        <c:pt idx="44">
                          <c:v>1.6653335812465878E-2</c:v>
                        </c:pt>
                        <c:pt idx="45">
                          <c:v>1.6481466680767085E-2</c:v>
                        </c:pt>
                        <c:pt idx="46">
                          <c:v>1.6616369834603285E-2</c:v>
                        </c:pt>
                        <c:pt idx="47">
                          <c:v>1.6418880198901781E-2</c:v>
                        </c:pt>
                        <c:pt idx="48">
                          <c:v>1.6425398320278568E-2</c:v>
                        </c:pt>
                        <c:pt idx="49">
                          <c:v>1.5756733453514183E-2</c:v>
                        </c:pt>
                        <c:pt idx="50">
                          <c:v>1.5957648338367648E-2</c:v>
                        </c:pt>
                        <c:pt idx="51">
                          <c:v>1.6300965278090541E-2</c:v>
                        </c:pt>
                        <c:pt idx="52">
                          <c:v>1.6165214082130445E-2</c:v>
                        </c:pt>
                        <c:pt idx="53">
                          <c:v>1.5835864899083951E-2</c:v>
                        </c:pt>
                        <c:pt idx="54">
                          <c:v>1.609295669637088E-2</c:v>
                        </c:pt>
                        <c:pt idx="55">
                          <c:v>1.6193567123778417E-2</c:v>
                        </c:pt>
                        <c:pt idx="56">
                          <c:v>1.6064289174523065E-2</c:v>
                        </c:pt>
                        <c:pt idx="57">
                          <c:v>1.570213026467784E-2</c:v>
                        </c:pt>
                        <c:pt idx="58">
                          <c:v>1.5612293748112915E-2</c:v>
                        </c:pt>
                        <c:pt idx="59">
                          <c:v>1.5485101342358499E-2</c:v>
                        </c:pt>
                        <c:pt idx="60">
                          <c:v>1.5599154830443652E-2</c:v>
                        </c:pt>
                      </c:numCache>
                    </c:numRef>
                  </c:plus>
                  <c:minus>
                    <c:numRef>
                      <c:extLst xmlns:c15="http://schemas.microsoft.com/office/drawing/2012/chart">
                        <c:ext xmlns:c15="http://schemas.microsoft.com/office/drawing/2012/chart" uri="{02D57815-91ED-43cb-92C2-25804820EDAC}">
                          <c15:formulaRef>
                            <c15:sqref>'PP-012944_7-9'!$L$85:$L$145</c15:sqref>
                          </c15:formulaRef>
                        </c:ext>
                      </c:extLst>
                      <c:numCache>
                        <c:formatCode>General</c:formatCode>
                        <c:ptCount val="61"/>
                        <c:pt idx="0">
                          <c:v>0</c:v>
                        </c:pt>
                        <c:pt idx="1">
                          <c:v>0</c:v>
                        </c:pt>
                        <c:pt idx="2">
                          <c:v>8.7665518754818615E-3</c:v>
                        </c:pt>
                        <c:pt idx="3">
                          <c:v>6.2319033417793726E-2</c:v>
                        </c:pt>
                        <c:pt idx="4">
                          <c:v>6.7865868755506695E-2</c:v>
                        </c:pt>
                        <c:pt idx="5">
                          <c:v>8.2261540176327183E-2</c:v>
                        </c:pt>
                        <c:pt idx="6">
                          <c:v>5.4139526451750311E-2</c:v>
                        </c:pt>
                        <c:pt idx="7">
                          <c:v>5.8521128907701642E-2</c:v>
                        </c:pt>
                        <c:pt idx="8">
                          <c:v>5.2150884277992297E-2</c:v>
                        </c:pt>
                        <c:pt idx="9">
                          <c:v>3.3353725779160265E-2</c:v>
                        </c:pt>
                        <c:pt idx="10">
                          <c:v>1.0450398756078871E-2</c:v>
                        </c:pt>
                        <c:pt idx="11">
                          <c:v>3.7815714558687499E-3</c:v>
                        </c:pt>
                        <c:pt idx="12">
                          <c:v>9.3688008377044753E-3</c:v>
                        </c:pt>
                        <c:pt idx="13">
                          <c:v>1.3818776646485717E-2</c:v>
                        </c:pt>
                        <c:pt idx="14">
                          <c:v>1.487400639453499E-2</c:v>
                        </c:pt>
                        <c:pt idx="15">
                          <c:v>1.6988931606813099E-2</c:v>
                        </c:pt>
                        <c:pt idx="16">
                          <c:v>1.6730640987397447E-2</c:v>
                        </c:pt>
                        <c:pt idx="17">
                          <c:v>1.6925997319283719E-2</c:v>
                        </c:pt>
                        <c:pt idx="18">
                          <c:v>1.6294594072951109E-2</c:v>
                        </c:pt>
                        <c:pt idx="19">
                          <c:v>1.5708456959516493E-2</c:v>
                        </c:pt>
                        <c:pt idx="20">
                          <c:v>1.6629113693243693E-2</c:v>
                        </c:pt>
                        <c:pt idx="21">
                          <c:v>1.6366771774892298E-2</c:v>
                        </c:pt>
                        <c:pt idx="22">
                          <c:v>1.5848569876977907E-2</c:v>
                        </c:pt>
                        <c:pt idx="23">
                          <c:v>1.6091048908336424E-2</c:v>
                        </c:pt>
                        <c:pt idx="24">
                          <c:v>1.6556348636878323E-2</c:v>
                        </c:pt>
                        <c:pt idx="25">
                          <c:v>1.6419630967117637E-2</c:v>
                        </c:pt>
                        <c:pt idx="26">
                          <c:v>1.7082677099626582E-2</c:v>
                        </c:pt>
                        <c:pt idx="27">
                          <c:v>1.672537295609507E-2</c:v>
                        </c:pt>
                        <c:pt idx="28">
                          <c:v>1.5690498905554007E-2</c:v>
                        </c:pt>
                        <c:pt idx="29">
                          <c:v>1.6876698761454065E-2</c:v>
                        </c:pt>
                        <c:pt idx="30">
                          <c:v>1.541801902904741E-2</c:v>
                        </c:pt>
                        <c:pt idx="31">
                          <c:v>1.6221814933367953E-2</c:v>
                        </c:pt>
                        <c:pt idx="32">
                          <c:v>1.6627500638594556E-2</c:v>
                        </c:pt>
                        <c:pt idx="33">
                          <c:v>1.5803472392582035E-2</c:v>
                        </c:pt>
                        <c:pt idx="34">
                          <c:v>1.6368711435867673E-2</c:v>
                        </c:pt>
                        <c:pt idx="35">
                          <c:v>1.5855523107810045E-2</c:v>
                        </c:pt>
                        <c:pt idx="36">
                          <c:v>1.7238610192900738E-2</c:v>
                        </c:pt>
                        <c:pt idx="37">
                          <c:v>1.5740126733780928E-2</c:v>
                        </c:pt>
                        <c:pt idx="38">
                          <c:v>1.6344721167864475E-2</c:v>
                        </c:pt>
                        <c:pt idx="39">
                          <c:v>1.755771123624834E-2</c:v>
                        </c:pt>
                        <c:pt idx="40">
                          <c:v>1.6841874690553701E-2</c:v>
                        </c:pt>
                        <c:pt idx="41">
                          <c:v>1.6750452265322395E-2</c:v>
                        </c:pt>
                        <c:pt idx="42">
                          <c:v>1.6504120962864632E-2</c:v>
                        </c:pt>
                        <c:pt idx="43">
                          <c:v>1.7234424066777311E-2</c:v>
                        </c:pt>
                        <c:pt idx="44">
                          <c:v>1.6653335812465878E-2</c:v>
                        </c:pt>
                        <c:pt idx="45">
                          <c:v>1.6481466680767085E-2</c:v>
                        </c:pt>
                        <c:pt idx="46">
                          <c:v>1.6616369834603285E-2</c:v>
                        </c:pt>
                        <c:pt idx="47">
                          <c:v>1.6418880198901781E-2</c:v>
                        </c:pt>
                        <c:pt idx="48">
                          <c:v>1.6425398320278568E-2</c:v>
                        </c:pt>
                        <c:pt idx="49">
                          <c:v>1.5756733453514183E-2</c:v>
                        </c:pt>
                        <c:pt idx="50">
                          <c:v>1.5957648338367648E-2</c:v>
                        </c:pt>
                        <c:pt idx="51">
                          <c:v>1.6300965278090541E-2</c:v>
                        </c:pt>
                        <c:pt idx="52">
                          <c:v>1.6165214082130445E-2</c:v>
                        </c:pt>
                        <c:pt idx="53">
                          <c:v>1.5835864899083951E-2</c:v>
                        </c:pt>
                        <c:pt idx="54">
                          <c:v>1.609295669637088E-2</c:v>
                        </c:pt>
                        <c:pt idx="55">
                          <c:v>1.6193567123778417E-2</c:v>
                        </c:pt>
                        <c:pt idx="56">
                          <c:v>1.6064289174523065E-2</c:v>
                        </c:pt>
                        <c:pt idx="57">
                          <c:v>1.570213026467784E-2</c:v>
                        </c:pt>
                        <c:pt idx="58">
                          <c:v>1.5612293748112915E-2</c:v>
                        </c:pt>
                        <c:pt idx="59">
                          <c:v>1.5485101342358499E-2</c:v>
                        </c:pt>
                        <c:pt idx="60">
                          <c:v>1.5599154830443652E-2</c:v>
                        </c:pt>
                      </c:numCache>
                    </c:numRef>
                  </c:minus>
                </c:errBars>
                <c:xVal>
                  <c:numRef>
                    <c:extLst xmlns:c15="http://schemas.microsoft.com/office/drawing/2012/chart">
                      <c:ext xmlns:c15="http://schemas.microsoft.com/office/drawing/2012/chart" uri="{02D57815-91ED-43cb-92C2-25804820EDAC}">
                        <c15:formulaRef>
                          <c15:sqref>'PP-012944_7-9'!$A$85:$A$145</c15:sqref>
                        </c15:formulaRef>
                      </c:ext>
                    </c:extLst>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PP-012944_7-9'!$K$85:$K$145</c15:sqref>
                        </c15:formulaRef>
                      </c:ext>
                    </c:extLst>
                    <c:numCache>
                      <c:formatCode>0.00%</c:formatCode>
                      <c:ptCount val="61"/>
                      <c:pt idx="0">
                        <c:v>0</c:v>
                      </c:pt>
                      <c:pt idx="1">
                        <c:v>0</c:v>
                      </c:pt>
                      <c:pt idx="2">
                        <c:v>8.9598690732684977E-3</c:v>
                      </c:pt>
                      <c:pt idx="3">
                        <c:v>0.12287656172085282</c:v>
                      </c:pt>
                      <c:pt idx="4">
                        <c:v>0.31215532159817466</c:v>
                      </c:pt>
                      <c:pt idx="5">
                        <c:v>0.47444689929409511</c:v>
                      </c:pt>
                      <c:pt idx="6">
                        <c:v>0.61760927552634926</c:v>
                      </c:pt>
                      <c:pt idx="7">
                        <c:v>0.71835992097722989</c:v>
                      </c:pt>
                      <c:pt idx="8">
                        <c:v>0.80353566565939272</c:v>
                      </c:pt>
                      <c:pt idx="9">
                        <c:v>0.86987690344762669</c:v>
                      </c:pt>
                      <c:pt idx="10">
                        <c:v>0.91534202298797229</c:v>
                      </c:pt>
                      <c:pt idx="11">
                        <c:v>0.94146483662154534</c:v>
                      </c:pt>
                      <c:pt idx="12">
                        <c:v>0.95601859836091585</c:v>
                      </c:pt>
                      <c:pt idx="13">
                        <c:v>0.95815167569247028</c:v>
                      </c:pt>
                      <c:pt idx="14">
                        <c:v>0.96106167116683983</c:v>
                      </c:pt>
                      <c:pt idx="15">
                        <c:v>0.96063526535279686</c:v>
                      </c:pt>
                      <c:pt idx="16">
                        <c:v>0.96151462310939995</c:v>
                      </c:pt>
                      <c:pt idx="17">
                        <c:v>0.96128104084480981</c:v>
                      </c:pt>
                      <c:pt idx="18">
                        <c:v>0.96145733977162229</c:v>
                      </c:pt>
                      <c:pt idx="19">
                        <c:v>0.96172599350205568</c:v>
                      </c:pt>
                      <c:pt idx="20">
                        <c:v>0.96228211832898947</c:v>
                      </c:pt>
                      <c:pt idx="21">
                        <c:v>0.96323797988070181</c:v>
                      </c:pt>
                      <c:pt idx="22">
                        <c:v>0.96293636726041587</c:v>
                      </c:pt>
                      <c:pt idx="23">
                        <c:v>0.96260607799721276</c:v>
                      </c:pt>
                      <c:pt idx="24">
                        <c:v>0.96139315727762054</c:v>
                      </c:pt>
                      <c:pt idx="25">
                        <c:v>0.96242783064040782</c:v>
                      </c:pt>
                      <c:pt idx="26">
                        <c:v>0.96305099684559137</c:v>
                      </c:pt>
                      <c:pt idx="27">
                        <c:v>0.96256069081261797</c:v>
                      </c:pt>
                      <c:pt idx="28">
                        <c:v>0.96363749800452092</c:v>
                      </c:pt>
                      <c:pt idx="29">
                        <c:v>0.963869104804432</c:v>
                      </c:pt>
                      <c:pt idx="30">
                        <c:v>0.96327943811188199</c:v>
                      </c:pt>
                      <c:pt idx="31">
                        <c:v>0.96392636385736541</c:v>
                      </c:pt>
                      <c:pt idx="32">
                        <c:v>0.96361107369335441</c:v>
                      </c:pt>
                      <c:pt idx="33">
                        <c:v>0.9642635281372719</c:v>
                      </c:pt>
                      <c:pt idx="34">
                        <c:v>0.96228816671346351</c:v>
                      </c:pt>
                      <c:pt idx="35">
                        <c:v>0.96314208659420764</c:v>
                      </c:pt>
                      <c:pt idx="36">
                        <c:v>0.96366452007318049</c:v>
                      </c:pt>
                      <c:pt idx="37">
                        <c:v>0.96339806819314944</c:v>
                      </c:pt>
                      <c:pt idx="38">
                        <c:v>0.96345242993430891</c:v>
                      </c:pt>
                      <c:pt idx="39">
                        <c:v>0.96269261241024184</c:v>
                      </c:pt>
                      <c:pt idx="40">
                        <c:v>0.96295656207421132</c:v>
                      </c:pt>
                      <c:pt idx="41">
                        <c:v>0.96250343480411582</c:v>
                      </c:pt>
                      <c:pt idx="42">
                        <c:v>0.96306115526724378</c:v>
                      </c:pt>
                      <c:pt idx="43">
                        <c:v>0.96374286991182323</c:v>
                      </c:pt>
                      <c:pt idx="44">
                        <c:v>0.96393391900052083</c:v>
                      </c:pt>
                      <c:pt idx="45">
                        <c:v>0.96260618306599299</c:v>
                      </c:pt>
                      <c:pt idx="46">
                        <c:v>0.96339060121579712</c:v>
                      </c:pt>
                      <c:pt idx="47">
                        <c:v>0.96429838278631441</c:v>
                      </c:pt>
                      <c:pt idx="48">
                        <c:v>0.96292705735131034</c:v>
                      </c:pt>
                      <c:pt idx="49">
                        <c:v>0.96368268314547556</c:v>
                      </c:pt>
                      <c:pt idx="50">
                        <c:v>0.96332140419515044</c:v>
                      </c:pt>
                      <c:pt idx="51">
                        <c:v>0.96355366779978224</c:v>
                      </c:pt>
                      <c:pt idx="52">
                        <c:v>0.96347990993649513</c:v>
                      </c:pt>
                      <c:pt idx="53">
                        <c:v>0.96397159641552921</c:v>
                      </c:pt>
                      <c:pt idx="54">
                        <c:v>0.96289926756363664</c:v>
                      </c:pt>
                      <c:pt idx="55">
                        <c:v>0.96395780863031844</c:v>
                      </c:pt>
                      <c:pt idx="56">
                        <c:v>0.96361308799599621</c:v>
                      </c:pt>
                      <c:pt idx="57">
                        <c:v>0.96381745548201581</c:v>
                      </c:pt>
                      <c:pt idx="58">
                        <c:v>0.96327004256608773</c:v>
                      </c:pt>
                      <c:pt idx="59">
                        <c:v>0.96425940308461244</c:v>
                      </c:pt>
                      <c:pt idx="60">
                        <c:v>0.96343311540122512</c:v>
                      </c:pt>
                    </c:numCache>
                  </c:numRef>
                </c:yVal>
                <c:smooth val="0"/>
                <c:extLst xmlns:c15="http://schemas.microsoft.com/office/drawing/2012/chart">
                  <c:ext xmlns:c16="http://schemas.microsoft.com/office/drawing/2014/chart" uri="{C3380CC4-5D6E-409C-BE32-E72D297353CC}">
                    <c16:uniqueId val="{0000001C-7CBB-4E7B-AAD7-8E02881B1772}"/>
                  </c:ext>
                </c:extLst>
              </c15:ser>
            </c15:filteredScatterSeries>
            <c15:filteredScatterSeries>
              <c15:ser>
                <c:idx val="26"/>
                <c:order val="25"/>
                <c:tx>
                  <c:strRef>
                    <c:extLst xmlns:c15="http://schemas.microsoft.com/office/drawing/2012/chart">
                      <c:ext xmlns:c15="http://schemas.microsoft.com/office/drawing/2012/chart" uri="{02D57815-91ED-43cb-92C2-25804820EDAC}">
                        <c15:formulaRef>
                          <c15:sqref>'PP-012944_7-9'!$B$149:$D$149</c15:sqref>
                        </c15:formulaRef>
                      </c:ext>
                    </c:extLst>
                    <c:strCache>
                      <c:ptCount val="1"/>
                      <c:pt idx="0">
                        <c:v>012944-9_DrugcoatEPO_5mg/cm²_Vorschrift von EudragitEPO</c:v>
                      </c:pt>
                    </c:strCache>
                  </c:strRef>
                </c:tx>
                <c:errBars>
                  <c:errDir val="y"/>
                  <c:errBarType val="both"/>
                  <c:errValType val="cust"/>
                  <c:noEndCap val="0"/>
                  <c:plus>
                    <c:numRef>
                      <c:extLst xmlns:c15="http://schemas.microsoft.com/office/drawing/2012/chart">
                        <c:ext xmlns:c15="http://schemas.microsoft.com/office/drawing/2012/chart" uri="{02D57815-91ED-43cb-92C2-25804820EDAC}">
                          <c15:formulaRef>
                            <c15:sqref>'PP-012944_7-9'!$L$154:$L$214</c15:sqref>
                          </c15:formulaRef>
                        </c:ext>
                      </c:extLst>
                      <c:numCache>
                        <c:formatCode>General</c:formatCode>
                        <c:ptCount val="61"/>
                        <c:pt idx="0">
                          <c:v>0</c:v>
                        </c:pt>
                        <c:pt idx="1">
                          <c:v>0</c:v>
                        </c:pt>
                        <c:pt idx="2">
                          <c:v>0</c:v>
                        </c:pt>
                        <c:pt idx="3">
                          <c:v>1.7855169150667656E-2</c:v>
                        </c:pt>
                        <c:pt idx="4">
                          <c:v>5.6263330998335789E-2</c:v>
                        </c:pt>
                        <c:pt idx="5">
                          <c:v>7.2748181757821592E-2</c:v>
                        </c:pt>
                        <c:pt idx="6">
                          <c:v>9.9207114993655254E-2</c:v>
                        </c:pt>
                        <c:pt idx="7">
                          <c:v>7.638971875553012E-2</c:v>
                        </c:pt>
                        <c:pt idx="8">
                          <c:v>6.8177245826333874E-2</c:v>
                        </c:pt>
                        <c:pt idx="9">
                          <c:v>6.152757603596859E-2</c:v>
                        </c:pt>
                        <c:pt idx="10">
                          <c:v>5.3220095779738623E-2</c:v>
                        </c:pt>
                        <c:pt idx="11">
                          <c:v>4.8934077045832573E-2</c:v>
                        </c:pt>
                        <c:pt idx="12">
                          <c:v>4.3195530867193785E-2</c:v>
                        </c:pt>
                        <c:pt idx="13">
                          <c:v>3.7553897754448853E-2</c:v>
                        </c:pt>
                        <c:pt idx="14">
                          <c:v>3.7573363381608563E-2</c:v>
                        </c:pt>
                        <c:pt idx="15">
                          <c:v>3.7959314979696117E-2</c:v>
                        </c:pt>
                        <c:pt idx="16">
                          <c:v>3.9635488955059972E-2</c:v>
                        </c:pt>
                        <c:pt idx="17">
                          <c:v>3.980748405652007E-2</c:v>
                        </c:pt>
                        <c:pt idx="18">
                          <c:v>4.2495320355428023E-2</c:v>
                        </c:pt>
                        <c:pt idx="19">
                          <c:v>4.3162204369398792E-2</c:v>
                        </c:pt>
                        <c:pt idx="20">
                          <c:v>4.3583276427408044E-2</c:v>
                        </c:pt>
                        <c:pt idx="21">
                          <c:v>4.4818717735747284E-2</c:v>
                        </c:pt>
                        <c:pt idx="22">
                          <c:v>4.4640387476259723E-2</c:v>
                        </c:pt>
                        <c:pt idx="23">
                          <c:v>4.3761846047871852E-2</c:v>
                        </c:pt>
                        <c:pt idx="24">
                          <c:v>4.4860046919957611E-2</c:v>
                        </c:pt>
                        <c:pt idx="25">
                          <c:v>4.4764932720605964E-2</c:v>
                        </c:pt>
                        <c:pt idx="26">
                          <c:v>4.5236184755349393E-2</c:v>
                        </c:pt>
                        <c:pt idx="27">
                          <c:v>4.449383540217651E-2</c:v>
                        </c:pt>
                        <c:pt idx="28">
                          <c:v>4.4916322267759899E-2</c:v>
                        </c:pt>
                        <c:pt idx="29">
                          <c:v>4.4931354734509335E-2</c:v>
                        </c:pt>
                        <c:pt idx="30">
                          <c:v>4.4955314532089272E-2</c:v>
                        </c:pt>
                        <c:pt idx="31">
                          <c:v>4.4338188476469573E-2</c:v>
                        </c:pt>
                        <c:pt idx="32">
                          <c:v>4.4478873819730827E-2</c:v>
                        </c:pt>
                        <c:pt idx="33">
                          <c:v>4.448439428362852E-2</c:v>
                        </c:pt>
                        <c:pt idx="34">
                          <c:v>4.4788162468059264E-2</c:v>
                        </c:pt>
                        <c:pt idx="35">
                          <c:v>4.4714362747005583E-2</c:v>
                        </c:pt>
                        <c:pt idx="36">
                          <c:v>4.4918857687981158E-2</c:v>
                        </c:pt>
                        <c:pt idx="37">
                          <c:v>4.5527015720257719E-2</c:v>
                        </c:pt>
                        <c:pt idx="38">
                          <c:v>4.5485209257887078E-2</c:v>
                        </c:pt>
                        <c:pt idx="39">
                          <c:v>4.4353991255660474E-2</c:v>
                        </c:pt>
                        <c:pt idx="40">
                          <c:v>4.462039925940494E-2</c:v>
                        </c:pt>
                        <c:pt idx="41">
                          <c:v>4.5646866429678148E-2</c:v>
                        </c:pt>
                        <c:pt idx="42">
                          <c:v>4.4000291289479958E-2</c:v>
                        </c:pt>
                        <c:pt idx="43">
                          <c:v>4.4629888638084363E-2</c:v>
                        </c:pt>
                        <c:pt idx="44">
                          <c:v>4.538217775383601E-2</c:v>
                        </c:pt>
                        <c:pt idx="45">
                          <c:v>4.4484887458986537E-2</c:v>
                        </c:pt>
                        <c:pt idx="46">
                          <c:v>4.4763405292398029E-2</c:v>
                        </c:pt>
                        <c:pt idx="47">
                          <c:v>4.3936461527490124E-2</c:v>
                        </c:pt>
                        <c:pt idx="48">
                          <c:v>4.6039457121381806E-2</c:v>
                        </c:pt>
                        <c:pt idx="49">
                          <c:v>4.559935261398549E-2</c:v>
                        </c:pt>
                        <c:pt idx="50">
                          <c:v>4.4543653482273286E-2</c:v>
                        </c:pt>
                        <c:pt idx="51">
                          <c:v>4.4584437390957354E-2</c:v>
                        </c:pt>
                        <c:pt idx="52">
                          <c:v>4.4841946234934496E-2</c:v>
                        </c:pt>
                        <c:pt idx="53">
                          <c:v>4.4783270835820364E-2</c:v>
                        </c:pt>
                        <c:pt idx="54">
                          <c:v>4.5016567730232084E-2</c:v>
                        </c:pt>
                        <c:pt idx="55">
                          <c:v>4.4591993665619084E-2</c:v>
                        </c:pt>
                        <c:pt idx="56">
                          <c:v>4.4632630219624297E-2</c:v>
                        </c:pt>
                        <c:pt idx="57">
                          <c:v>4.4799650927668543E-2</c:v>
                        </c:pt>
                        <c:pt idx="58">
                          <c:v>4.4706227638858669E-2</c:v>
                        </c:pt>
                        <c:pt idx="59">
                          <c:v>4.4476939306571685E-2</c:v>
                        </c:pt>
                        <c:pt idx="60">
                          <c:v>4.4966593471521363E-2</c:v>
                        </c:pt>
                      </c:numCache>
                    </c:numRef>
                  </c:plus>
                  <c:minus>
                    <c:numRef>
                      <c:extLst xmlns:c15="http://schemas.microsoft.com/office/drawing/2012/chart">
                        <c:ext xmlns:c15="http://schemas.microsoft.com/office/drawing/2012/chart" uri="{02D57815-91ED-43cb-92C2-25804820EDAC}">
                          <c15:formulaRef>
                            <c15:sqref>'PP-012944_7-9'!$L$154:$L$214</c15:sqref>
                          </c15:formulaRef>
                        </c:ext>
                      </c:extLst>
                      <c:numCache>
                        <c:formatCode>General</c:formatCode>
                        <c:ptCount val="61"/>
                        <c:pt idx="0">
                          <c:v>0</c:v>
                        </c:pt>
                        <c:pt idx="1">
                          <c:v>0</c:v>
                        </c:pt>
                        <c:pt idx="2">
                          <c:v>0</c:v>
                        </c:pt>
                        <c:pt idx="3">
                          <c:v>1.7855169150667656E-2</c:v>
                        </c:pt>
                        <c:pt idx="4">
                          <c:v>5.6263330998335789E-2</c:v>
                        </c:pt>
                        <c:pt idx="5">
                          <c:v>7.2748181757821592E-2</c:v>
                        </c:pt>
                        <c:pt idx="6">
                          <c:v>9.9207114993655254E-2</c:v>
                        </c:pt>
                        <c:pt idx="7">
                          <c:v>7.638971875553012E-2</c:v>
                        </c:pt>
                        <c:pt idx="8">
                          <c:v>6.8177245826333874E-2</c:v>
                        </c:pt>
                        <c:pt idx="9">
                          <c:v>6.152757603596859E-2</c:v>
                        </c:pt>
                        <c:pt idx="10">
                          <c:v>5.3220095779738623E-2</c:v>
                        </c:pt>
                        <c:pt idx="11">
                          <c:v>4.8934077045832573E-2</c:v>
                        </c:pt>
                        <c:pt idx="12">
                          <c:v>4.3195530867193785E-2</c:v>
                        </c:pt>
                        <c:pt idx="13">
                          <c:v>3.7553897754448853E-2</c:v>
                        </c:pt>
                        <c:pt idx="14">
                          <c:v>3.7573363381608563E-2</c:v>
                        </c:pt>
                        <c:pt idx="15">
                          <c:v>3.7959314979696117E-2</c:v>
                        </c:pt>
                        <c:pt idx="16">
                          <c:v>3.9635488955059972E-2</c:v>
                        </c:pt>
                        <c:pt idx="17">
                          <c:v>3.980748405652007E-2</c:v>
                        </c:pt>
                        <c:pt idx="18">
                          <c:v>4.2495320355428023E-2</c:v>
                        </c:pt>
                        <c:pt idx="19">
                          <c:v>4.3162204369398792E-2</c:v>
                        </c:pt>
                        <c:pt idx="20">
                          <c:v>4.3583276427408044E-2</c:v>
                        </c:pt>
                        <c:pt idx="21">
                          <c:v>4.4818717735747284E-2</c:v>
                        </c:pt>
                        <c:pt idx="22">
                          <c:v>4.4640387476259723E-2</c:v>
                        </c:pt>
                        <c:pt idx="23">
                          <c:v>4.3761846047871852E-2</c:v>
                        </c:pt>
                        <c:pt idx="24">
                          <c:v>4.4860046919957611E-2</c:v>
                        </c:pt>
                        <c:pt idx="25">
                          <c:v>4.4764932720605964E-2</c:v>
                        </c:pt>
                        <c:pt idx="26">
                          <c:v>4.5236184755349393E-2</c:v>
                        </c:pt>
                        <c:pt idx="27">
                          <c:v>4.449383540217651E-2</c:v>
                        </c:pt>
                        <c:pt idx="28">
                          <c:v>4.4916322267759899E-2</c:v>
                        </c:pt>
                        <c:pt idx="29">
                          <c:v>4.4931354734509335E-2</c:v>
                        </c:pt>
                        <c:pt idx="30">
                          <c:v>4.4955314532089272E-2</c:v>
                        </c:pt>
                        <c:pt idx="31">
                          <c:v>4.4338188476469573E-2</c:v>
                        </c:pt>
                        <c:pt idx="32">
                          <c:v>4.4478873819730827E-2</c:v>
                        </c:pt>
                        <c:pt idx="33">
                          <c:v>4.448439428362852E-2</c:v>
                        </c:pt>
                        <c:pt idx="34">
                          <c:v>4.4788162468059264E-2</c:v>
                        </c:pt>
                        <c:pt idx="35">
                          <c:v>4.4714362747005583E-2</c:v>
                        </c:pt>
                        <c:pt idx="36">
                          <c:v>4.4918857687981158E-2</c:v>
                        </c:pt>
                        <c:pt idx="37">
                          <c:v>4.5527015720257719E-2</c:v>
                        </c:pt>
                        <c:pt idx="38">
                          <c:v>4.5485209257887078E-2</c:v>
                        </c:pt>
                        <c:pt idx="39">
                          <c:v>4.4353991255660474E-2</c:v>
                        </c:pt>
                        <c:pt idx="40">
                          <c:v>4.462039925940494E-2</c:v>
                        </c:pt>
                        <c:pt idx="41">
                          <c:v>4.5646866429678148E-2</c:v>
                        </c:pt>
                        <c:pt idx="42">
                          <c:v>4.4000291289479958E-2</c:v>
                        </c:pt>
                        <c:pt idx="43">
                          <c:v>4.4629888638084363E-2</c:v>
                        </c:pt>
                        <c:pt idx="44">
                          <c:v>4.538217775383601E-2</c:v>
                        </c:pt>
                        <c:pt idx="45">
                          <c:v>4.4484887458986537E-2</c:v>
                        </c:pt>
                        <c:pt idx="46">
                          <c:v>4.4763405292398029E-2</c:v>
                        </c:pt>
                        <c:pt idx="47">
                          <c:v>4.3936461527490124E-2</c:v>
                        </c:pt>
                        <c:pt idx="48">
                          <c:v>4.6039457121381806E-2</c:v>
                        </c:pt>
                        <c:pt idx="49">
                          <c:v>4.559935261398549E-2</c:v>
                        </c:pt>
                        <c:pt idx="50">
                          <c:v>4.4543653482273286E-2</c:v>
                        </c:pt>
                        <c:pt idx="51">
                          <c:v>4.4584437390957354E-2</c:v>
                        </c:pt>
                        <c:pt idx="52">
                          <c:v>4.4841946234934496E-2</c:v>
                        </c:pt>
                        <c:pt idx="53">
                          <c:v>4.4783270835820364E-2</c:v>
                        </c:pt>
                        <c:pt idx="54">
                          <c:v>4.5016567730232084E-2</c:v>
                        </c:pt>
                        <c:pt idx="55">
                          <c:v>4.4591993665619084E-2</c:v>
                        </c:pt>
                        <c:pt idx="56">
                          <c:v>4.4632630219624297E-2</c:v>
                        </c:pt>
                        <c:pt idx="57">
                          <c:v>4.4799650927668543E-2</c:v>
                        </c:pt>
                        <c:pt idx="58">
                          <c:v>4.4706227638858669E-2</c:v>
                        </c:pt>
                        <c:pt idx="59">
                          <c:v>4.4476939306571685E-2</c:v>
                        </c:pt>
                        <c:pt idx="60">
                          <c:v>4.4966593471521363E-2</c:v>
                        </c:pt>
                      </c:numCache>
                    </c:numRef>
                  </c:minus>
                </c:errBars>
                <c:xVal>
                  <c:numRef>
                    <c:extLst xmlns:c15="http://schemas.microsoft.com/office/drawing/2012/chart">
                      <c:ext xmlns:c15="http://schemas.microsoft.com/office/drawing/2012/chart" uri="{02D57815-91ED-43cb-92C2-25804820EDAC}">
                        <c15:formulaRef>
                          <c15:sqref>'PP-012944_7-9'!$A$154:$A$214</c15:sqref>
                        </c15:formulaRef>
                      </c:ext>
                    </c:extLst>
                    <c:numCache>
                      <c:formatCode>General</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PP-012944_7-9'!$K$154:$K$214</c15:sqref>
                        </c15:formulaRef>
                      </c:ext>
                    </c:extLst>
                    <c:numCache>
                      <c:formatCode>0.00%</c:formatCode>
                      <c:ptCount val="61"/>
                      <c:pt idx="0">
                        <c:v>0</c:v>
                      </c:pt>
                      <c:pt idx="1">
                        <c:v>0</c:v>
                      </c:pt>
                      <c:pt idx="2">
                        <c:v>0</c:v>
                      </c:pt>
                      <c:pt idx="3">
                        <c:v>1.0833958336543596E-2</c:v>
                      </c:pt>
                      <c:pt idx="4">
                        <c:v>0.17209514361468589</c:v>
                      </c:pt>
                      <c:pt idx="5">
                        <c:v>0.34767975284316949</c:v>
                      </c:pt>
                      <c:pt idx="6">
                        <c:v>0.48538308277150916</c:v>
                      </c:pt>
                      <c:pt idx="7">
                        <c:v>0.63074101774477143</c:v>
                      </c:pt>
                      <c:pt idx="8">
                        <c:v>0.75080404491203578</c:v>
                      </c:pt>
                      <c:pt idx="9">
                        <c:v>0.82296603431290605</c:v>
                      </c:pt>
                      <c:pt idx="10">
                        <c:v>0.87590587081731552</c:v>
                      </c:pt>
                      <c:pt idx="11">
                        <c:v>0.90635442681931266</c:v>
                      </c:pt>
                      <c:pt idx="12">
                        <c:v>0.92264745763618938</c:v>
                      </c:pt>
                      <c:pt idx="13">
                        <c:v>0.93175036275584411</c:v>
                      </c:pt>
                      <c:pt idx="14">
                        <c:v>0.93795697196557715</c:v>
                      </c:pt>
                      <c:pt idx="15">
                        <c:v>0.94137085982731372</c:v>
                      </c:pt>
                      <c:pt idx="16">
                        <c:v>0.94342879281152692</c:v>
                      </c:pt>
                      <c:pt idx="17">
                        <c:v>0.94535670081816081</c:v>
                      </c:pt>
                      <c:pt idx="18">
                        <c:v>0.94637463865787896</c:v>
                      </c:pt>
                      <c:pt idx="19">
                        <c:v>0.94894917498015408</c:v>
                      </c:pt>
                      <c:pt idx="20">
                        <c:v>0.9486175686447913</c:v>
                      </c:pt>
                      <c:pt idx="21">
                        <c:v>0.94862175520746017</c:v>
                      </c:pt>
                      <c:pt idx="22">
                        <c:v>0.95021703120569201</c:v>
                      </c:pt>
                      <c:pt idx="23">
                        <c:v>0.95079297949772246</c:v>
                      </c:pt>
                      <c:pt idx="24">
                        <c:v>0.95012195341148953</c:v>
                      </c:pt>
                      <c:pt idx="25">
                        <c:v>0.95072522217186839</c:v>
                      </c:pt>
                      <c:pt idx="26">
                        <c:v>0.95032205980970286</c:v>
                      </c:pt>
                      <c:pt idx="27">
                        <c:v>0.95070424547001531</c:v>
                      </c:pt>
                      <c:pt idx="28">
                        <c:v>0.95135083515994745</c:v>
                      </c:pt>
                      <c:pt idx="29">
                        <c:v>0.95023509701527209</c:v>
                      </c:pt>
                      <c:pt idx="30">
                        <c:v>0.95114391311973667</c:v>
                      </c:pt>
                      <c:pt idx="31">
                        <c:v>0.9511255675889605</c:v>
                      </c:pt>
                      <c:pt idx="32">
                        <c:v>0.95052904129759275</c:v>
                      </c:pt>
                      <c:pt idx="33">
                        <c:v>0.95090349373563532</c:v>
                      </c:pt>
                      <c:pt idx="34">
                        <c:v>0.9507587404523451</c:v>
                      </c:pt>
                      <c:pt idx="35">
                        <c:v>0.95069469921770777</c:v>
                      </c:pt>
                      <c:pt idx="36">
                        <c:v>0.95061008543756087</c:v>
                      </c:pt>
                      <c:pt idx="37">
                        <c:v>0.95096516747410276</c:v>
                      </c:pt>
                      <c:pt idx="38">
                        <c:v>0.95081828249867462</c:v>
                      </c:pt>
                      <c:pt idx="39">
                        <c:v>0.95072204753782863</c:v>
                      </c:pt>
                      <c:pt idx="40">
                        <c:v>0.95011859719650105</c:v>
                      </c:pt>
                      <c:pt idx="41">
                        <c:v>0.95175155018610591</c:v>
                      </c:pt>
                      <c:pt idx="42">
                        <c:v>0.95120865504231122</c:v>
                      </c:pt>
                      <c:pt idx="43">
                        <c:v>0.95011566911177603</c:v>
                      </c:pt>
                      <c:pt idx="44">
                        <c:v>0.9516921889757185</c:v>
                      </c:pt>
                      <c:pt idx="45">
                        <c:v>0.95074209618156535</c:v>
                      </c:pt>
                      <c:pt idx="46">
                        <c:v>0.95188600452198369</c:v>
                      </c:pt>
                      <c:pt idx="47">
                        <c:v>0.9503811234091929</c:v>
                      </c:pt>
                      <c:pt idx="48">
                        <c:v>0.95114332927361411</c:v>
                      </c:pt>
                      <c:pt idx="49">
                        <c:v>0.95043771447618186</c:v>
                      </c:pt>
                      <c:pt idx="50">
                        <c:v>0.95014444501670958</c:v>
                      </c:pt>
                      <c:pt idx="51">
                        <c:v>0.95047111175044963</c:v>
                      </c:pt>
                      <c:pt idx="52">
                        <c:v>0.95005558599032414</c:v>
                      </c:pt>
                      <c:pt idx="53">
                        <c:v>0.95035793699967464</c:v>
                      </c:pt>
                      <c:pt idx="54">
                        <c:v>0.95127700952888683</c:v>
                      </c:pt>
                      <c:pt idx="55">
                        <c:v>0.95042968644156378</c:v>
                      </c:pt>
                      <c:pt idx="56">
                        <c:v>0.95112142694924173</c:v>
                      </c:pt>
                      <c:pt idx="57">
                        <c:v>0.95091370493468252</c:v>
                      </c:pt>
                      <c:pt idx="58">
                        <c:v>0.95198821834908021</c:v>
                      </c:pt>
                      <c:pt idx="59">
                        <c:v>0.95130618163387926</c:v>
                      </c:pt>
                      <c:pt idx="60">
                        <c:v>0.95167989737534897</c:v>
                      </c:pt>
                    </c:numCache>
                  </c:numRef>
                </c:yVal>
                <c:smooth val="0"/>
                <c:extLst xmlns:c15="http://schemas.microsoft.com/office/drawing/2012/chart">
                  <c:ext xmlns:c16="http://schemas.microsoft.com/office/drawing/2014/chart" uri="{C3380CC4-5D6E-409C-BE32-E72D297353CC}">
                    <c16:uniqueId val="{0000001D-7CBB-4E7B-AAD7-8E02881B1772}"/>
                  </c:ext>
                </c:extLst>
              </c15:ser>
            </c15:filteredScatterSeries>
          </c:ext>
        </c:extLst>
      </c:scatterChart>
      <c:valAx>
        <c:axId val="705421464"/>
        <c:scaling>
          <c:orientation val="minMax"/>
          <c:max val="120"/>
          <c:min val="0"/>
        </c:scaling>
        <c:delete val="0"/>
        <c:axPos val="b"/>
        <c:title>
          <c:tx>
            <c:rich>
              <a:bodyPr/>
              <a:lstStyle/>
              <a:p>
                <a:pPr>
                  <a:defRPr sz="1800">
                    <a:latin typeface="Arial" panose="020B0604020202020204" pitchFamily="34" charset="0"/>
                    <a:cs typeface="Arial" panose="020B0604020202020204" pitchFamily="34" charset="0"/>
                  </a:defRPr>
                </a:pPr>
                <a:r>
                  <a:rPr lang="en-US" sz="1800" dirty="0">
                    <a:latin typeface="Arial" panose="020B0604020202020204" pitchFamily="34" charset="0"/>
                    <a:cs typeface="Arial" panose="020B0604020202020204" pitchFamily="34" charset="0"/>
                  </a:rPr>
                  <a:t>Time (min)</a:t>
                </a:r>
              </a:p>
            </c:rich>
          </c:tx>
          <c:layout>
            <c:manualLayout>
              <c:xMode val="edge"/>
              <c:yMode val="edge"/>
              <c:x val="0.40627503785102093"/>
              <c:y val="0.88170974155069592"/>
            </c:manualLayout>
          </c:layout>
          <c:overlay val="0"/>
        </c:title>
        <c:numFmt formatCode="General" sourceLinked="1"/>
        <c:majorTickMark val="out"/>
        <c:minorTickMark val="none"/>
        <c:tickLblPos val="nextTo"/>
        <c:spPr>
          <a:ln w="22225">
            <a:solidFill>
              <a:srgbClr val="000000"/>
            </a:solidFill>
          </a:ln>
        </c:spPr>
        <c:txPr>
          <a:bodyPr/>
          <a:lstStyle/>
          <a:p>
            <a:pPr>
              <a:defRPr sz="1600" b="1"/>
            </a:pPr>
            <a:endParaRPr lang="en-US"/>
          </a:p>
        </c:txPr>
        <c:crossAx val="705420680"/>
        <c:crosses val="autoZero"/>
        <c:crossBetween val="midCat"/>
        <c:majorUnit val="20"/>
      </c:valAx>
      <c:valAx>
        <c:axId val="705420680"/>
        <c:scaling>
          <c:orientation val="minMax"/>
          <c:max val="1"/>
          <c:min val="0"/>
        </c:scaling>
        <c:delete val="0"/>
        <c:axPos val="l"/>
        <c:title>
          <c:tx>
            <c:rich>
              <a:bodyPr/>
              <a:lstStyle/>
              <a:p>
                <a:pPr>
                  <a:defRPr sz="1800">
                    <a:latin typeface="Arial" panose="020B0604020202020204" pitchFamily="34" charset="0"/>
                    <a:cs typeface="Arial" panose="020B0604020202020204" pitchFamily="34" charset="0"/>
                  </a:defRPr>
                </a:pPr>
                <a:r>
                  <a:rPr lang="en-US" sz="1800" dirty="0">
                    <a:latin typeface="Arial" panose="020B0604020202020204" pitchFamily="34" charset="0"/>
                    <a:cs typeface="Arial" panose="020B0604020202020204" pitchFamily="34" charset="0"/>
                  </a:rPr>
                  <a:t>Drug Release [%]</a:t>
                </a:r>
              </a:p>
            </c:rich>
          </c:tx>
          <c:layout>
            <c:manualLayout>
              <c:xMode val="edge"/>
              <c:yMode val="edge"/>
              <c:x val="9.7205349803509734E-3"/>
              <c:y val="0.16170144487406274"/>
            </c:manualLayout>
          </c:layout>
          <c:overlay val="0"/>
        </c:title>
        <c:numFmt formatCode="0%" sourceLinked="0"/>
        <c:majorTickMark val="out"/>
        <c:minorTickMark val="none"/>
        <c:tickLblPos val="nextTo"/>
        <c:spPr>
          <a:ln w="22225">
            <a:solidFill>
              <a:srgbClr val="000000"/>
            </a:solidFill>
          </a:ln>
        </c:spPr>
        <c:txPr>
          <a:bodyPr/>
          <a:lstStyle/>
          <a:p>
            <a:pPr>
              <a:defRPr sz="1400" b="1"/>
            </a:pPr>
            <a:endParaRPr lang="en-US"/>
          </a:p>
        </c:txPr>
        <c:crossAx val="705421464"/>
        <c:crosses val="autoZero"/>
        <c:crossBetween val="midCat"/>
        <c:majorUnit val="0.2"/>
      </c:valAx>
    </c:plotArea>
    <c:plotVisOnly val="1"/>
    <c:dispBlanksAs val="gap"/>
    <c:showDLblsOverMax val="0"/>
  </c:chart>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673721340388004E-2"/>
          <c:y val="9.606986899563319E-2"/>
          <c:w val="0.75121327866623255"/>
          <c:h val="0.77405777285392607"/>
        </c:manualLayout>
      </c:layout>
      <c:barChart>
        <c:barDir val="col"/>
        <c:grouping val="clustered"/>
        <c:varyColors val="0"/>
        <c:ser>
          <c:idx val="0"/>
          <c:order val="0"/>
          <c:tx>
            <c:strRef>
              <c:f>Sheet1!$A$2</c:f>
              <c:strCache>
                <c:ptCount val="1"/>
                <c:pt idx="0">
                  <c:v>Kollicoat® Smartseal 30 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D$1</c:f>
              <c:strCache>
                <c:ptCount val="3"/>
                <c:pt idx="0">
                  <c:v>3 mg/cm²</c:v>
                </c:pt>
                <c:pt idx="1">
                  <c:v>4 mg/cm²</c:v>
                </c:pt>
                <c:pt idx="2">
                  <c:v>5 mg/cm²</c:v>
                </c:pt>
              </c:strCache>
            </c:strRef>
          </c:cat>
          <c:val>
            <c:numRef>
              <c:f>Sheet1!$B$2:$D$2</c:f>
              <c:numCache>
                <c:formatCode>General</c:formatCode>
                <c:ptCount val="3"/>
                <c:pt idx="0">
                  <c:v>3</c:v>
                </c:pt>
                <c:pt idx="1">
                  <c:v>1</c:v>
                </c:pt>
                <c:pt idx="2">
                  <c:v>0</c:v>
                </c:pt>
              </c:numCache>
            </c:numRef>
          </c:val>
          <c:extLst>
            <c:ext xmlns:c16="http://schemas.microsoft.com/office/drawing/2014/chart" uri="{C3380CC4-5D6E-409C-BE32-E72D297353CC}">
              <c16:uniqueId val="{00000000-0BB5-49F3-934E-D35323ED32B4}"/>
            </c:ext>
          </c:extLst>
        </c:ser>
        <c:ser>
          <c:idx val="1"/>
          <c:order val="1"/>
          <c:tx>
            <c:strRef>
              <c:f>Sheet1!$A$3</c:f>
              <c:strCache>
                <c:ptCount val="1"/>
                <c:pt idx="0">
                  <c:v>Main Competitor</c:v>
                </c:pt>
              </c:strCache>
            </c:strRef>
          </c:tx>
          <c:spPr>
            <a:solidFill>
              <a:srgbClr val="A6C0D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D$1</c:f>
              <c:strCache>
                <c:ptCount val="3"/>
                <c:pt idx="0">
                  <c:v>3 mg/cm²</c:v>
                </c:pt>
                <c:pt idx="1">
                  <c:v>4 mg/cm²</c:v>
                </c:pt>
                <c:pt idx="2">
                  <c:v>5 mg/cm²</c:v>
                </c:pt>
              </c:strCache>
            </c:strRef>
          </c:cat>
          <c:val>
            <c:numRef>
              <c:f>Sheet1!$B$3:$D$3</c:f>
              <c:numCache>
                <c:formatCode>General</c:formatCode>
                <c:ptCount val="3"/>
                <c:pt idx="0">
                  <c:v>5</c:v>
                </c:pt>
                <c:pt idx="1">
                  <c:v>4</c:v>
                </c:pt>
                <c:pt idx="2">
                  <c:v>4</c:v>
                </c:pt>
              </c:numCache>
            </c:numRef>
          </c:val>
          <c:extLst>
            <c:ext xmlns:c16="http://schemas.microsoft.com/office/drawing/2014/chart" uri="{C3380CC4-5D6E-409C-BE32-E72D297353CC}">
              <c16:uniqueId val="{00000001-0BB5-49F3-934E-D35323ED32B4}"/>
            </c:ext>
          </c:extLst>
        </c:ser>
        <c:ser>
          <c:idx val="2"/>
          <c:order val="2"/>
          <c:tx>
            <c:strRef>
              <c:f>Sheet1!$A$4</c:f>
              <c:strCache>
                <c:ptCount val="1"/>
                <c:pt idx="0">
                  <c:v>HPMC for taste maskin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D$1</c:f>
              <c:strCache>
                <c:ptCount val="3"/>
                <c:pt idx="0">
                  <c:v>3 mg/cm²</c:v>
                </c:pt>
                <c:pt idx="1">
                  <c:v>4 mg/cm²</c:v>
                </c:pt>
                <c:pt idx="2">
                  <c:v>5 mg/cm²</c:v>
                </c:pt>
              </c:strCache>
            </c:strRef>
          </c:cat>
          <c:val>
            <c:numRef>
              <c:f>Sheet1!$B$4:$D$4</c:f>
              <c:numCache>
                <c:formatCode>General</c:formatCode>
                <c:ptCount val="3"/>
                <c:pt idx="0">
                  <c:v>7</c:v>
                </c:pt>
                <c:pt idx="1">
                  <c:v>7</c:v>
                </c:pt>
                <c:pt idx="2">
                  <c:v>7</c:v>
                </c:pt>
              </c:numCache>
            </c:numRef>
          </c:val>
          <c:extLst>
            <c:ext xmlns:c16="http://schemas.microsoft.com/office/drawing/2014/chart" uri="{C3380CC4-5D6E-409C-BE32-E72D297353CC}">
              <c16:uniqueId val="{00000002-0BB5-49F3-934E-D35323ED32B4}"/>
            </c:ext>
          </c:extLst>
        </c:ser>
        <c:dLbls>
          <c:showLegendKey val="0"/>
          <c:showVal val="0"/>
          <c:showCatName val="0"/>
          <c:showSerName val="0"/>
          <c:showPercent val="0"/>
          <c:showBubbleSize val="0"/>
        </c:dLbls>
        <c:gapWidth val="199"/>
        <c:axId val="112464480"/>
        <c:axId val="1"/>
      </c:barChart>
      <c:catAx>
        <c:axId val="112464480"/>
        <c:scaling>
          <c:orientation val="minMax"/>
        </c:scaling>
        <c:delete val="0"/>
        <c:axPos val="b"/>
        <c:numFmt formatCode="General" sourceLinked="1"/>
        <c:majorTickMark val="none"/>
        <c:minorTickMark val="none"/>
        <c:tickLblPos val="nextTo"/>
        <c:spPr>
          <a:noFill/>
          <a:ln w="22225" cap="flat" cmpd="sng" algn="ctr">
            <a:solidFill>
              <a:schemeClr val="tx1"/>
            </a:solidFill>
            <a:round/>
          </a:ln>
          <a:effectLst/>
        </c:spPr>
        <c:txPr>
          <a:bodyPr rot="0" spcFirstLastPara="1" vertOverflow="ellipsis" wrap="square" anchor="ctr" anchorCtr="1"/>
          <a:lstStyle/>
          <a:p>
            <a:pPr>
              <a:defRPr sz="1600" b="1" i="0" u="none" strike="noStrike" kern="1200" cap="none" spc="0" normalizeH="0" baseline="0">
                <a:solidFill>
                  <a:schemeClr val="tx1"/>
                </a:solidFill>
                <a:latin typeface="+mn-lt"/>
                <a:ea typeface="+mn-ea"/>
                <a:cs typeface="+mn-cs"/>
              </a:defRPr>
            </a:pPr>
            <a:endParaRPr lang="en-US"/>
          </a:p>
        </c:txPr>
        <c:crossAx val="1"/>
        <c:crosses val="autoZero"/>
        <c:auto val="1"/>
        <c:lblAlgn val="ctr"/>
        <c:lblOffset val="100"/>
        <c:tickLblSkip val="1"/>
        <c:tickMarkSkip val="1"/>
        <c:noMultiLvlLbl val="0"/>
      </c:catAx>
      <c:valAx>
        <c:axId val="1"/>
        <c:scaling>
          <c:orientation val="minMax"/>
          <c:max val="8"/>
        </c:scaling>
        <c:delete val="0"/>
        <c:axPos val="l"/>
        <c:numFmt formatCode="General" sourceLinked="1"/>
        <c:majorTickMark val="none"/>
        <c:minorTickMark val="none"/>
        <c:tickLblPos val="nextTo"/>
        <c:spPr>
          <a:noFill/>
          <a:ln w="22225">
            <a:solidFill>
              <a:schemeClr val="tx1"/>
            </a:solidFill>
          </a:ln>
          <a:effectLst/>
        </c:spPr>
        <c:txPr>
          <a:bodyPr rot="0" spcFirstLastPara="1" vertOverflow="ellipsis" wrap="square" anchor="ctr" anchorCtr="1"/>
          <a:lstStyle/>
          <a:p>
            <a:pPr>
              <a:defRPr sz="1400" b="1" i="0" u="none" strike="noStrike" kern="1200" baseline="0">
                <a:solidFill>
                  <a:schemeClr val="tx1"/>
                </a:solidFill>
                <a:latin typeface="+mn-lt"/>
                <a:ea typeface="+mn-ea"/>
                <a:cs typeface="+mn-cs"/>
              </a:defRPr>
            </a:pPr>
            <a:endParaRPr lang="en-US"/>
          </a:p>
        </c:txPr>
        <c:crossAx val="112464480"/>
        <c:crosses val="autoZero"/>
        <c:crossBetween val="between"/>
        <c:majorUnit val="2"/>
        <c:min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scatterChart>
        <c:scatterStyle val="lineMarker"/>
        <c:varyColors val="0"/>
        <c:ser>
          <c:idx val="3"/>
          <c:order val="0"/>
          <c:tx>
            <c:v>TAC</c:v>
          </c:tx>
          <c:spPr>
            <a:ln w="28575">
              <a:noFill/>
            </a:ln>
          </c:spPr>
          <c:marker>
            <c:symbol val="circle"/>
            <c:size val="4"/>
            <c:spPr>
              <a:solidFill>
                <a:srgbClr val="CE485C"/>
              </a:solidFill>
              <a:ln>
                <a:noFill/>
              </a:ln>
            </c:spPr>
          </c:marker>
          <c:xVal>
            <c:numRef>
              <c:f>'5a_SR + TEC'!$G$2:$G$17282</c:f>
              <c:numCache>
                <c:formatCode>General</c:formatCode>
                <c:ptCount val="17281"/>
                <c:pt idx="0">
                  <c:v>0</c:v>
                </c:pt>
                <c:pt idx="1">
                  <c:v>2.7777777777777779E-3</c:v>
                </c:pt>
                <c:pt idx="2">
                  <c:v>5.5555555555555558E-3</c:v>
                </c:pt>
                <c:pt idx="3">
                  <c:v>8.3333333333333332E-3</c:v>
                </c:pt>
                <c:pt idx="4">
                  <c:v>1.1111111111111112E-2</c:v>
                </c:pt>
                <c:pt idx="5">
                  <c:v>1.3888888888888888E-2</c:v>
                </c:pt>
                <c:pt idx="6">
                  <c:v>1.6666666666666666E-2</c:v>
                </c:pt>
                <c:pt idx="7">
                  <c:v>1.9444444444444445E-2</c:v>
                </c:pt>
                <c:pt idx="8">
                  <c:v>2.2222222222222223E-2</c:v>
                </c:pt>
                <c:pt idx="9">
                  <c:v>2.5000000000000001E-2</c:v>
                </c:pt>
                <c:pt idx="10">
                  <c:v>2.7777777777777776E-2</c:v>
                </c:pt>
                <c:pt idx="11">
                  <c:v>3.0555555555555555E-2</c:v>
                </c:pt>
                <c:pt idx="12">
                  <c:v>3.3333333333333333E-2</c:v>
                </c:pt>
                <c:pt idx="13">
                  <c:v>3.6111111111111108E-2</c:v>
                </c:pt>
                <c:pt idx="14">
                  <c:v>3.888888888888889E-2</c:v>
                </c:pt>
                <c:pt idx="15">
                  <c:v>4.1666666666666664E-2</c:v>
                </c:pt>
                <c:pt idx="16">
                  <c:v>4.4444444444444446E-2</c:v>
                </c:pt>
                <c:pt idx="17">
                  <c:v>4.7222222222222221E-2</c:v>
                </c:pt>
                <c:pt idx="18">
                  <c:v>0.05</c:v>
                </c:pt>
                <c:pt idx="19">
                  <c:v>5.2777777777777778E-2</c:v>
                </c:pt>
                <c:pt idx="20">
                  <c:v>5.5555555555555552E-2</c:v>
                </c:pt>
                <c:pt idx="21">
                  <c:v>5.8333333333333334E-2</c:v>
                </c:pt>
                <c:pt idx="22">
                  <c:v>6.1111111111111109E-2</c:v>
                </c:pt>
                <c:pt idx="23">
                  <c:v>6.3888888888888884E-2</c:v>
                </c:pt>
                <c:pt idx="24">
                  <c:v>6.6666666666666666E-2</c:v>
                </c:pt>
                <c:pt idx="25">
                  <c:v>6.9444444444444448E-2</c:v>
                </c:pt>
                <c:pt idx="26">
                  <c:v>7.2222222222222215E-2</c:v>
                </c:pt>
                <c:pt idx="27">
                  <c:v>7.4999999999999997E-2</c:v>
                </c:pt>
                <c:pt idx="28">
                  <c:v>7.7777777777777779E-2</c:v>
                </c:pt>
                <c:pt idx="29">
                  <c:v>8.0555555555555561E-2</c:v>
                </c:pt>
                <c:pt idx="30">
                  <c:v>8.3333333333333329E-2</c:v>
                </c:pt>
                <c:pt idx="31">
                  <c:v>8.611111111111111E-2</c:v>
                </c:pt>
                <c:pt idx="32">
                  <c:v>8.8888888888888892E-2</c:v>
                </c:pt>
                <c:pt idx="33">
                  <c:v>9.166666666666666E-2</c:v>
                </c:pt>
                <c:pt idx="34">
                  <c:v>9.4444444444444442E-2</c:v>
                </c:pt>
                <c:pt idx="35">
                  <c:v>9.7222222222222224E-2</c:v>
                </c:pt>
                <c:pt idx="36">
                  <c:v>0.1</c:v>
                </c:pt>
                <c:pt idx="37">
                  <c:v>0.10277777777777777</c:v>
                </c:pt>
                <c:pt idx="38">
                  <c:v>0.10555555555555556</c:v>
                </c:pt>
                <c:pt idx="39">
                  <c:v>0.10833333333333334</c:v>
                </c:pt>
                <c:pt idx="40">
                  <c:v>0.1111111111111111</c:v>
                </c:pt>
                <c:pt idx="41">
                  <c:v>0.11388888888888889</c:v>
                </c:pt>
                <c:pt idx="42">
                  <c:v>0.11666666666666667</c:v>
                </c:pt>
                <c:pt idx="43">
                  <c:v>0.11944444444444445</c:v>
                </c:pt>
                <c:pt idx="44">
                  <c:v>0.12222222222222222</c:v>
                </c:pt>
                <c:pt idx="45">
                  <c:v>0.125</c:v>
                </c:pt>
                <c:pt idx="46">
                  <c:v>0.12777777777777777</c:v>
                </c:pt>
                <c:pt idx="47">
                  <c:v>0.13055555555555556</c:v>
                </c:pt>
                <c:pt idx="48">
                  <c:v>0.13333333333333333</c:v>
                </c:pt>
                <c:pt idx="49">
                  <c:v>0.1361111111111111</c:v>
                </c:pt>
                <c:pt idx="50">
                  <c:v>0.1388888888888889</c:v>
                </c:pt>
                <c:pt idx="51">
                  <c:v>0.14166666666666666</c:v>
                </c:pt>
                <c:pt idx="52">
                  <c:v>0.14444444444444443</c:v>
                </c:pt>
                <c:pt idx="53">
                  <c:v>0.14722222222222223</c:v>
                </c:pt>
                <c:pt idx="54">
                  <c:v>0.15</c:v>
                </c:pt>
                <c:pt idx="55">
                  <c:v>0.15277777777777779</c:v>
                </c:pt>
                <c:pt idx="56">
                  <c:v>0.15555555555555556</c:v>
                </c:pt>
                <c:pt idx="57">
                  <c:v>0.15833333333333333</c:v>
                </c:pt>
                <c:pt idx="58">
                  <c:v>0.16111111111111112</c:v>
                </c:pt>
                <c:pt idx="59">
                  <c:v>0.16388888888888889</c:v>
                </c:pt>
                <c:pt idx="60">
                  <c:v>0.16666666666666666</c:v>
                </c:pt>
                <c:pt idx="61">
                  <c:v>0.16944444444444445</c:v>
                </c:pt>
                <c:pt idx="62">
                  <c:v>0.17222222222222222</c:v>
                </c:pt>
                <c:pt idx="63">
                  <c:v>0.17499999999999999</c:v>
                </c:pt>
                <c:pt idx="64">
                  <c:v>0.17777777777777778</c:v>
                </c:pt>
                <c:pt idx="65">
                  <c:v>0.18055555555555555</c:v>
                </c:pt>
                <c:pt idx="66">
                  <c:v>0.18333333333333332</c:v>
                </c:pt>
                <c:pt idx="67">
                  <c:v>0.18611111111111112</c:v>
                </c:pt>
                <c:pt idx="68">
                  <c:v>0.18888888888888888</c:v>
                </c:pt>
                <c:pt idx="69">
                  <c:v>0.19166666666666668</c:v>
                </c:pt>
                <c:pt idx="70">
                  <c:v>0.19444444444444445</c:v>
                </c:pt>
                <c:pt idx="71">
                  <c:v>0.19722222222222222</c:v>
                </c:pt>
                <c:pt idx="72">
                  <c:v>0.2</c:v>
                </c:pt>
                <c:pt idx="73">
                  <c:v>0.20277777777777778</c:v>
                </c:pt>
                <c:pt idx="74">
                  <c:v>0.20555555555555555</c:v>
                </c:pt>
                <c:pt idx="75">
                  <c:v>0.20833333333333334</c:v>
                </c:pt>
                <c:pt idx="76">
                  <c:v>0.21111111111111111</c:v>
                </c:pt>
                <c:pt idx="77">
                  <c:v>0.21388888888888888</c:v>
                </c:pt>
                <c:pt idx="78">
                  <c:v>0.21666666666666667</c:v>
                </c:pt>
                <c:pt idx="79">
                  <c:v>0.21944444444444444</c:v>
                </c:pt>
                <c:pt idx="80">
                  <c:v>0.22222222222222221</c:v>
                </c:pt>
                <c:pt idx="81">
                  <c:v>0.22500000000000001</c:v>
                </c:pt>
                <c:pt idx="82">
                  <c:v>0.22777777777777777</c:v>
                </c:pt>
                <c:pt idx="83">
                  <c:v>0.23055555555555557</c:v>
                </c:pt>
                <c:pt idx="84">
                  <c:v>0.23333333333333334</c:v>
                </c:pt>
                <c:pt idx="85">
                  <c:v>0.2361111111111111</c:v>
                </c:pt>
                <c:pt idx="86">
                  <c:v>0.2388888888888889</c:v>
                </c:pt>
                <c:pt idx="87">
                  <c:v>0.24166666666666667</c:v>
                </c:pt>
                <c:pt idx="88">
                  <c:v>0.24444444444444444</c:v>
                </c:pt>
                <c:pt idx="89">
                  <c:v>0.24722222222222223</c:v>
                </c:pt>
                <c:pt idx="90">
                  <c:v>0.25</c:v>
                </c:pt>
                <c:pt idx="91">
                  <c:v>0.25277777777777777</c:v>
                </c:pt>
                <c:pt idx="92">
                  <c:v>0.25555555555555554</c:v>
                </c:pt>
                <c:pt idx="93">
                  <c:v>0.25833333333333336</c:v>
                </c:pt>
                <c:pt idx="94">
                  <c:v>0.26111111111111113</c:v>
                </c:pt>
                <c:pt idx="95">
                  <c:v>0.2638888888888889</c:v>
                </c:pt>
                <c:pt idx="96">
                  <c:v>0.26666666666666666</c:v>
                </c:pt>
                <c:pt idx="97">
                  <c:v>0.26944444444444443</c:v>
                </c:pt>
                <c:pt idx="98">
                  <c:v>0.2722222222222222</c:v>
                </c:pt>
                <c:pt idx="99">
                  <c:v>0.27500000000000002</c:v>
                </c:pt>
                <c:pt idx="100">
                  <c:v>0.27777777777777779</c:v>
                </c:pt>
                <c:pt idx="101">
                  <c:v>0.28055555555555556</c:v>
                </c:pt>
                <c:pt idx="102">
                  <c:v>0.28333333333333333</c:v>
                </c:pt>
                <c:pt idx="103">
                  <c:v>0.28611111111111109</c:v>
                </c:pt>
                <c:pt idx="104">
                  <c:v>0.28888888888888886</c:v>
                </c:pt>
                <c:pt idx="105">
                  <c:v>0.29166666666666669</c:v>
                </c:pt>
                <c:pt idx="106">
                  <c:v>0.29444444444444445</c:v>
                </c:pt>
                <c:pt idx="107">
                  <c:v>0.29722222222222222</c:v>
                </c:pt>
                <c:pt idx="108">
                  <c:v>0.3</c:v>
                </c:pt>
                <c:pt idx="109">
                  <c:v>0.30277777777777776</c:v>
                </c:pt>
                <c:pt idx="110">
                  <c:v>0.30555555555555558</c:v>
                </c:pt>
                <c:pt idx="111">
                  <c:v>0.30833333333333335</c:v>
                </c:pt>
                <c:pt idx="112">
                  <c:v>0.31111111111111112</c:v>
                </c:pt>
                <c:pt idx="113">
                  <c:v>0.31388888888888888</c:v>
                </c:pt>
                <c:pt idx="114">
                  <c:v>0.31666666666666665</c:v>
                </c:pt>
                <c:pt idx="115">
                  <c:v>0.31944444444444442</c:v>
                </c:pt>
                <c:pt idx="116">
                  <c:v>0.32222222222222224</c:v>
                </c:pt>
                <c:pt idx="117">
                  <c:v>0.32500000000000001</c:v>
                </c:pt>
                <c:pt idx="118">
                  <c:v>0.32777777777777778</c:v>
                </c:pt>
                <c:pt idx="119">
                  <c:v>0.33055555555555555</c:v>
                </c:pt>
                <c:pt idx="120">
                  <c:v>0.33333333333333331</c:v>
                </c:pt>
                <c:pt idx="121">
                  <c:v>0.33611111111111114</c:v>
                </c:pt>
                <c:pt idx="122">
                  <c:v>0.33888888888888891</c:v>
                </c:pt>
                <c:pt idx="123">
                  <c:v>0.34166666666666667</c:v>
                </c:pt>
                <c:pt idx="124">
                  <c:v>0.34444444444444444</c:v>
                </c:pt>
                <c:pt idx="125">
                  <c:v>0.34722222222222221</c:v>
                </c:pt>
                <c:pt idx="126">
                  <c:v>0.35</c:v>
                </c:pt>
                <c:pt idx="127">
                  <c:v>0.3527777777777778</c:v>
                </c:pt>
                <c:pt idx="128">
                  <c:v>0.35555555555555557</c:v>
                </c:pt>
                <c:pt idx="129">
                  <c:v>0.35833333333333334</c:v>
                </c:pt>
                <c:pt idx="130">
                  <c:v>0.3611111111111111</c:v>
                </c:pt>
                <c:pt idx="131">
                  <c:v>0.36388888888888887</c:v>
                </c:pt>
                <c:pt idx="132">
                  <c:v>0.36666666666666664</c:v>
                </c:pt>
                <c:pt idx="133">
                  <c:v>0.36944444444444446</c:v>
                </c:pt>
                <c:pt idx="134">
                  <c:v>0.37222222222222223</c:v>
                </c:pt>
                <c:pt idx="135">
                  <c:v>0.375</c:v>
                </c:pt>
                <c:pt idx="136">
                  <c:v>0.37777777777777777</c:v>
                </c:pt>
                <c:pt idx="137">
                  <c:v>0.38055555555555554</c:v>
                </c:pt>
                <c:pt idx="138">
                  <c:v>0.38333333333333336</c:v>
                </c:pt>
                <c:pt idx="139">
                  <c:v>0.38611111111111113</c:v>
                </c:pt>
                <c:pt idx="140">
                  <c:v>0.3888888888888889</c:v>
                </c:pt>
                <c:pt idx="141">
                  <c:v>0.39166666666666666</c:v>
                </c:pt>
                <c:pt idx="142">
                  <c:v>0.39444444444444443</c:v>
                </c:pt>
                <c:pt idx="143">
                  <c:v>0.3972222222222222</c:v>
                </c:pt>
                <c:pt idx="144">
                  <c:v>0.4</c:v>
                </c:pt>
                <c:pt idx="145">
                  <c:v>0.40277777777777779</c:v>
                </c:pt>
                <c:pt idx="146">
                  <c:v>0.40555555555555556</c:v>
                </c:pt>
                <c:pt idx="147">
                  <c:v>0.40833333333333333</c:v>
                </c:pt>
                <c:pt idx="148">
                  <c:v>0.41111111111111109</c:v>
                </c:pt>
                <c:pt idx="149">
                  <c:v>0.41388888888888886</c:v>
                </c:pt>
                <c:pt idx="150">
                  <c:v>0.41666666666666669</c:v>
                </c:pt>
                <c:pt idx="151">
                  <c:v>0.41944444444444445</c:v>
                </c:pt>
                <c:pt idx="152">
                  <c:v>0.42222222222222222</c:v>
                </c:pt>
                <c:pt idx="153">
                  <c:v>0.42499999999999999</c:v>
                </c:pt>
                <c:pt idx="154">
                  <c:v>0.42777777777777776</c:v>
                </c:pt>
                <c:pt idx="155">
                  <c:v>0.43055555555555558</c:v>
                </c:pt>
                <c:pt idx="156">
                  <c:v>0.43333333333333335</c:v>
                </c:pt>
                <c:pt idx="157">
                  <c:v>0.43611111111111112</c:v>
                </c:pt>
                <c:pt idx="158">
                  <c:v>0.43888888888888888</c:v>
                </c:pt>
                <c:pt idx="159">
                  <c:v>0.44166666666666665</c:v>
                </c:pt>
                <c:pt idx="160">
                  <c:v>0.44444444444444442</c:v>
                </c:pt>
                <c:pt idx="161">
                  <c:v>0.44722222222222224</c:v>
                </c:pt>
                <c:pt idx="162">
                  <c:v>0.45</c:v>
                </c:pt>
                <c:pt idx="163">
                  <c:v>0.45277777777777778</c:v>
                </c:pt>
                <c:pt idx="164">
                  <c:v>0.45555555555555555</c:v>
                </c:pt>
                <c:pt idx="165">
                  <c:v>0.45833333333333331</c:v>
                </c:pt>
                <c:pt idx="166">
                  <c:v>0.46111111111111114</c:v>
                </c:pt>
                <c:pt idx="167">
                  <c:v>0.46388888888888891</c:v>
                </c:pt>
                <c:pt idx="168">
                  <c:v>0.46666666666666667</c:v>
                </c:pt>
                <c:pt idx="169">
                  <c:v>0.46944444444444444</c:v>
                </c:pt>
                <c:pt idx="170">
                  <c:v>0.47222222222222221</c:v>
                </c:pt>
                <c:pt idx="171">
                  <c:v>0.47499999999999998</c:v>
                </c:pt>
                <c:pt idx="172">
                  <c:v>0.4777777777777778</c:v>
                </c:pt>
                <c:pt idx="173">
                  <c:v>0.48055555555555557</c:v>
                </c:pt>
                <c:pt idx="174">
                  <c:v>0.48333333333333334</c:v>
                </c:pt>
                <c:pt idx="175">
                  <c:v>0.4861111111111111</c:v>
                </c:pt>
                <c:pt idx="176">
                  <c:v>0.48888888888888887</c:v>
                </c:pt>
                <c:pt idx="177">
                  <c:v>0.49166666666666664</c:v>
                </c:pt>
                <c:pt idx="178">
                  <c:v>0.49444444444444446</c:v>
                </c:pt>
                <c:pt idx="179">
                  <c:v>0.49722222222222223</c:v>
                </c:pt>
                <c:pt idx="180">
                  <c:v>0.5</c:v>
                </c:pt>
                <c:pt idx="181">
                  <c:v>0.50277777777777777</c:v>
                </c:pt>
                <c:pt idx="182">
                  <c:v>0.50555555555555554</c:v>
                </c:pt>
                <c:pt idx="183">
                  <c:v>0.5083333333333333</c:v>
                </c:pt>
                <c:pt idx="184">
                  <c:v>0.51111111111111107</c:v>
                </c:pt>
                <c:pt idx="185">
                  <c:v>0.51388888888888884</c:v>
                </c:pt>
                <c:pt idx="186">
                  <c:v>0.51666666666666672</c:v>
                </c:pt>
                <c:pt idx="187">
                  <c:v>0.51944444444444449</c:v>
                </c:pt>
                <c:pt idx="188">
                  <c:v>0.52222222222222225</c:v>
                </c:pt>
                <c:pt idx="189">
                  <c:v>0.52500000000000002</c:v>
                </c:pt>
                <c:pt idx="190">
                  <c:v>0.52777777777777779</c:v>
                </c:pt>
                <c:pt idx="191">
                  <c:v>0.53055555555555556</c:v>
                </c:pt>
                <c:pt idx="192">
                  <c:v>0.53333333333333333</c:v>
                </c:pt>
                <c:pt idx="193">
                  <c:v>0.53611111111111109</c:v>
                </c:pt>
                <c:pt idx="194">
                  <c:v>0.53888888888888886</c:v>
                </c:pt>
                <c:pt idx="195">
                  <c:v>0.54166666666666663</c:v>
                </c:pt>
                <c:pt idx="196">
                  <c:v>0.5444444444444444</c:v>
                </c:pt>
                <c:pt idx="197">
                  <c:v>0.54722222222222228</c:v>
                </c:pt>
                <c:pt idx="198">
                  <c:v>0.55000000000000004</c:v>
                </c:pt>
                <c:pt idx="199">
                  <c:v>0.55277777777777781</c:v>
                </c:pt>
                <c:pt idx="200">
                  <c:v>0.55555555555555558</c:v>
                </c:pt>
                <c:pt idx="201">
                  <c:v>0.55833333333333335</c:v>
                </c:pt>
                <c:pt idx="202">
                  <c:v>0.56111111111111112</c:v>
                </c:pt>
                <c:pt idx="203">
                  <c:v>0.56388888888888888</c:v>
                </c:pt>
                <c:pt idx="204">
                  <c:v>0.56666666666666665</c:v>
                </c:pt>
                <c:pt idx="205">
                  <c:v>0.56944444444444442</c:v>
                </c:pt>
                <c:pt idx="206">
                  <c:v>0.57222222222222219</c:v>
                </c:pt>
                <c:pt idx="207">
                  <c:v>0.57499999999999996</c:v>
                </c:pt>
                <c:pt idx="208">
                  <c:v>0.57777777777777772</c:v>
                </c:pt>
                <c:pt idx="209">
                  <c:v>0.5805555555555556</c:v>
                </c:pt>
                <c:pt idx="210">
                  <c:v>0.58333333333333337</c:v>
                </c:pt>
                <c:pt idx="211">
                  <c:v>0.58611111111111114</c:v>
                </c:pt>
                <c:pt idx="212">
                  <c:v>0.58888888888888891</c:v>
                </c:pt>
                <c:pt idx="213">
                  <c:v>0.59166666666666667</c:v>
                </c:pt>
                <c:pt idx="214">
                  <c:v>0.59444444444444444</c:v>
                </c:pt>
                <c:pt idx="215">
                  <c:v>0.59722222222222221</c:v>
                </c:pt>
                <c:pt idx="216">
                  <c:v>0.6</c:v>
                </c:pt>
                <c:pt idx="217">
                  <c:v>0.60277777777777775</c:v>
                </c:pt>
                <c:pt idx="218">
                  <c:v>0.60555555555555551</c:v>
                </c:pt>
                <c:pt idx="219">
                  <c:v>0.60833333333333328</c:v>
                </c:pt>
                <c:pt idx="220">
                  <c:v>0.61111111111111116</c:v>
                </c:pt>
                <c:pt idx="221">
                  <c:v>0.61388888888888893</c:v>
                </c:pt>
                <c:pt idx="222">
                  <c:v>0.6166666666666667</c:v>
                </c:pt>
                <c:pt idx="223">
                  <c:v>0.61944444444444446</c:v>
                </c:pt>
                <c:pt idx="224">
                  <c:v>0.62222222222222223</c:v>
                </c:pt>
                <c:pt idx="225">
                  <c:v>0.625</c:v>
                </c:pt>
                <c:pt idx="226">
                  <c:v>0.62777777777777777</c:v>
                </c:pt>
                <c:pt idx="227">
                  <c:v>0.63055555555555554</c:v>
                </c:pt>
                <c:pt idx="228">
                  <c:v>0.6333333333333333</c:v>
                </c:pt>
                <c:pt idx="229">
                  <c:v>0.63611111111111107</c:v>
                </c:pt>
                <c:pt idx="230">
                  <c:v>0.63888888888888884</c:v>
                </c:pt>
                <c:pt idx="231">
                  <c:v>0.64166666666666672</c:v>
                </c:pt>
                <c:pt idx="232">
                  <c:v>0.64444444444444449</c:v>
                </c:pt>
                <c:pt idx="233">
                  <c:v>0.64722222222222225</c:v>
                </c:pt>
                <c:pt idx="234">
                  <c:v>0.65</c:v>
                </c:pt>
                <c:pt idx="235">
                  <c:v>0.65277777777777779</c:v>
                </c:pt>
                <c:pt idx="236">
                  <c:v>0.65555555555555556</c:v>
                </c:pt>
                <c:pt idx="237">
                  <c:v>0.65833333333333333</c:v>
                </c:pt>
                <c:pt idx="238">
                  <c:v>0.66111111111111109</c:v>
                </c:pt>
                <c:pt idx="239">
                  <c:v>0.66388888888888886</c:v>
                </c:pt>
                <c:pt idx="240">
                  <c:v>0.66666666666666663</c:v>
                </c:pt>
                <c:pt idx="241">
                  <c:v>0.6694444444444444</c:v>
                </c:pt>
                <c:pt idx="242">
                  <c:v>0.67222222222222228</c:v>
                </c:pt>
                <c:pt idx="243">
                  <c:v>0.67500000000000004</c:v>
                </c:pt>
                <c:pt idx="244">
                  <c:v>0.67777777777777781</c:v>
                </c:pt>
                <c:pt idx="245">
                  <c:v>0.68055555555555558</c:v>
                </c:pt>
                <c:pt idx="246">
                  <c:v>0.68333333333333335</c:v>
                </c:pt>
                <c:pt idx="247">
                  <c:v>0.68611111111111112</c:v>
                </c:pt>
                <c:pt idx="248">
                  <c:v>0.68888888888888888</c:v>
                </c:pt>
                <c:pt idx="249">
                  <c:v>0.69166666666666665</c:v>
                </c:pt>
                <c:pt idx="250">
                  <c:v>0.69444444444444442</c:v>
                </c:pt>
                <c:pt idx="251">
                  <c:v>0.69722222222222219</c:v>
                </c:pt>
                <c:pt idx="252">
                  <c:v>0.7</c:v>
                </c:pt>
                <c:pt idx="253">
                  <c:v>0.70277777777777772</c:v>
                </c:pt>
                <c:pt idx="254">
                  <c:v>0.7055555555555556</c:v>
                </c:pt>
                <c:pt idx="255">
                  <c:v>0.70833333333333337</c:v>
                </c:pt>
                <c:pt idx="256">
                  <c:v>0.71111111111111114</c:v>
                </c:pt>
                <c:pt idx="257">
                  <c:v>0.71388888888888891</c:v>
                </c:pt>
                <c:pt idx="258">
                  <c:v>0.71666666666666667</c:v>
                </c:pt>
                <c:pt idx="259">
                  <c:v>0.71944444444444444</c:v>
                </c:pt>
                <c:pt idx="260">
                  <c:v>0.72222222222222221</c:v>
                </c:pt>
                <c:pt idx="261">
                  <c:v>0.72499999999999998</c:v>
                </c:pt>
                <c:pt idx="262">
                  <c:v>0.72777777777777775</c:v>
                </c:pt>
                <c:pt idx="263">
                  <c:v>0.73055555555555551</c:v>
                </c:pt>
                <c:pt idx="264">
                  <c:v>0.73333333333333328</c:v>
                </c:pt>
                <c:pt idx="265">
                  <c:v>0.73611111111111116</c:v>
                </c:pt>
                <c:pt idx="266">
                  <c:v>0.73888888888888893</c:v>
                </c:pt>
                <c:pt idx="267">
                  <c:v>0.7416666666666667</c:v>
                </c:pt>
                <c:pt idx="268">
                  <c:v>0.74444444444444446</c:v>
                </c:pt>
                <c:pt idx="269">
                  <c:v>0.74722222222222223</c:v>
                </c:pt>
                <c:pt idx="270">
                  <c:v>0.75</c:v>
                </c:pt>
                <c:pt idx="271">
                  <c:v>0.75277777777777777</c:v>
                </c:pt>
                <c:pt idx="272">
                  <c:v>0.75555555555555554</c:v>
                </c:pt>
                <c:pt idx="273">
                  <c:v>0.7583333333333333</c:v>
                </c:pt>
                <c:pt idx="274">
                  <c:v>0.76111111111111107</c:v>
                </c:pt>
                <c:pt idx="275">
                  <c:v>0.76388888888888884</c:v>
                </c:pt>
                <c:pt idx="276">
                  <c:v>0.76666666666666672</c:v>
                </c:pt>
                <c:pt idx="277">
                  <c:v>0.76944444444444449</c:v>
                </c:pt>
                <c:pt idx="278">
                  <c:v>0.77222222222222225</c:v>
                </c:pt>
                <c:pt idx="279">
                  <c:v>0.77500000000000002</c:v>
                </c:pt>
                <c:pt idx="280">
                  <c:v>0.77777777777777779</c:v>
                </c:pt>
                <c:pt idx="281">
                  <c:v>0.78055555555555556</c:v>
                </c:pt>
                <c:pt idx="282">
                  <c:v>0.78333333333333333</c:v>
                </c:pt>
                <c:pt idx="283">
                  <c:v>0.78611111111111109</c:v>
                </c:pt>
                <c:pt idx="284">
                  <c:v>0.78888888888888886</c:v>
                </c:pt>
                <c:pt idx="285">
                  <c:v>0.79166666666666663</c:v>
                </c:pt>
                <c:pt idx="286">
                  <c:v>0.7944444444444444</c:v>
                </c:pt>
                <c:pt idx="287">
                  <c:v>0.79722222222222228</c:v>
                </c:pt>
                <c:pt idx="288">
                  <c:v>0.8</c:v>
                </c:pt>
                <c:pt idx="289">
                  <c:v>0.80277777777777781</c:v>
                </c:pt>
                <c:pt idx="290">
                  <c:v>0.80555555555555558</c:v>
                </c:pt>
                <c:pt idx="291">
                  <c:v>0.80833333333333335</c:v>
                </c:pt>
                <c:pt idx="292">
                  <c:v>0.81111111111111112</c:v>
                </c:pt>
                <c:pt idx="293">
                  <c:v>0.81388888888888888</c:v>
                </c:pt>
                <c:pt idx="294">
                  <c:v>0.81666666666666665</c:v>
                </c:pt>
                <c:pt idx="295">
                  <c:v>0.81944444444444442</c:v>
                </c:pt>
                <c:pt idx="296">
                  <c:v>0.82222222222222219</c:v>
                </c:pt>
                <c:pt idx="297">
                  <c:v>0.82499999999999996</c:v>
                </c:pt>
                <c:pt idx="298">
                  <c:v>0.82777777777777772</c:v>
                </c:pt>
                <c:pt idx="299">
                  <c:v>0.8305555555555556</c:v>
                </c:pt>
                <c:pt idx="300">
                  <c:v>0.83333333333333337</c:v>
                </c:pt>
                <c:pt idx="301">
                  <c:v>0.83611111111111114</c:v>
                </c:pt>
                <c:pt idx="302">
                  <c:v>0.83888888888888891</c:v>
                </c:pt>
                <c:pt idx="303">
                  <c:v>0.84166666666666667</c:v>
                </c:pt>
                <c:pt idx="304">
                  <c:v>0.84444444444444444</c:v>
                </c:pt>
                <c:pt idx="305">
                  <c:v>0.84722222222222221</c:v>
                </c:pt>
                <c:pt idx="306">
                  <c:v>0.85</c:v>
                </c:pt>
                <c:pt idx="307">
                  <c:v>0.85277777777777775</c:v>
                </c:pt>
                <c:pt idx="308">
                  <c:v>0.85555555555555551</c:v>
                </c:pt>
                <c:pt idx="309">
                  <c:v>0.85833333333333328</c:v>
                </c:pt>
                <c:pt idx="310">
                  <c:v>0.86111111111111116</c:v>
                </c:pt>
                <c:pt idx="311">
                  <c:v>0.86388888888888893</c:v>
                </c:pt>
                <c:pt idx="312">
                  <c:v>0.8666666666666667</c:v>
                </c:pt>
                <c:pt idx="313">
                  <c:v>0.86944444444444446</c:v>
                </c:pt>
                <c:pt idx="314">
                  <c:v>0.87222222222222223</c:v>
                </c:pt>
                <c:pt idx="315">
                  <c:v>0.875</c:v>
                </c:pt>
                <c:pt idx="316">
                  <c:v>0.87777777777777777</c:v>
                </c:pt>
                <c:pt idx="317">
                  <c:v>0.88055555555555554</c:v>
                </c:pt>
                <c:pt idx="318">
                  <c:v>0.8833333333333333</c:v>
                </c:pt>
                <c:pt idx="319">
                  <c:v>0.88611111111111107</c:v>
                </c:pt>
                <c:pt idx="320">
                  <c:v>0.88888888888888884</c:v>
                </c:pt>
                <c:pt idx="321">
                  <c:v>0.89166666666666672</c:v>
                </c:pt>
                <c:pt idx="322">
                  <c:v>0.89444444444444449</c:v>
                </c:pt>
                <c:pt idx="323">
                  <c:v>0.89722222222222225</c:v>
                </c:pt>
                <c:pt idx="324">
                  <c:v>0.9</c:v>
                </c:pt>
                <c:pt idx="325">
                  <c:v>0.90277777777777779</c:v>
                </c:pt>
                <c:pt idx="326">
                  <c:v>0.90555555555555556</c:v>
                </c:pt>
                <c:pt idx="327">
                  <c:v>0.90833333333333333</c:v>
                </c:pt>
                <c:pt idx="328">
                  <c:v>0.91111111111111109</c:v>
                </c:pt>
                <c:pt idx="329">
                  <c:v>0.91388888888888886</c:v>
                </c:pt>
                <c:pt idx="330">
                  <c:v>0.91666666666666663</c:v>
                </c:pt>
                <c:pt idx="331">
                  <c:v>0.9194444444444444</c:v>
                </c:pt>
                <c:pt idx="332">
                  <c:v>0.92222222222222228</c:v>
                </c:pt>
                <c:pt idx="333">
                  <c:v>0.92500000000000004</c:v>
                </c:pt>
                <c:pt idx="334">
                  <c:v>0.92777777777777781</c:v>
                </c:pt>
                <c:pt idx="335">
                  <c:v>0.93055555555555558</c:v>
                </c:pt>
                <c:pt idx="336">
                  <c:v>0.93333333333333335</c:v>
                </c:pt>
                <c:pt idx="337">
                  <c:v>0.93611111111111112</c:v>
                </c:pt>
                <c:pt idx="338">
                  <c:v>0.93888888888888888</c:v>
                </c:pt>
                <c:pt idx="339">
                  <c:v>0.94166666666666665</c:v>
                </c:pt>
                <c:pt idx="340">
                  <c:v>0.94444444444444442</c:v>
                </c:pt>
                <c:pt idx="341">
                  <c:v>0.94722222222222219</c:v>
                </c:pt>
                <c:pt idx="342">
                  <c:v>0.95</c:v>
                </c:pt>
                <c:pt idx="343">
                  <c:v>0.95277777777777772</c:v>
                </c:pt>
                <c:pt idx="344">
                  <c:v>0.9555555555555556</c:v>
                </c:pt>
                <c:pt idx="345">
                  <c:v>0.95833333333333337</c:v>
                </c:pt>
                <c:pt idx="346">
                  <c:v>0.96111111111111114</c:v>
                </c:pt>
                <c:pt idx="347">
                  <c:v>0.96388888888888891</c:v>
                </c:pt>
                <c:pt idx="348">
                  <c:v>0.96666666666666667</c:v>
                </c:pt>
                <c:pt idx="349">
                  <c:v>0.96944444444444444</c:v>
                </c:pt>
                <c:pt idx="350">
                  <c:v>0.97222222222222221</c:v>
                </c:pt>
                <c:pt idx="351">
                  <c:v>0.97499999999999998</c:v>
                </c:pt>
                <c:pt idx="352">
                  <c:v>0.97777777777777775</c:v>
                </c:pt>
                <c:pt idx="353">
                  <c:v>0.98055555555555551</c:v>
                </c:pt>
                <c:pt idx="354">
                  <c:v>0.98333333333333328</c:v>
                </c:pt>
                <c:pt idx="355">
                  <c:v>0.98611111111111116</c:v>
                </c:pt>
                <c:pt idx="356">
                  <c:v>0.98888888888888893</c:v>
                </c:pt>
                <c:pt idx="357">
                  <c:v>0.9916666666666667</c:v>
                </c:pt>
                <c:pt idx="358">
                  <c:v>0.99444444444444446</c:v>
                </c:pt>
                <c:pt idx="359">
                  <c:v>0.99722222222222223</c:v>
                </c:pt>
                <c:pt idx="360">
                  <c:v>1</c:v>
                </c:pt>
                <c:pt idx="361">
                  <c:v>1.0027777777777778</c:v>
                </c:pt>
                <c:pt idx="362">
                  <c:v>1.0055555555555555</c:v>
                </c:pt>
                <c:pt idx="363">
                  <c:v>1.0083333333333333</c:v>
                </c:pt>
                <c:pt idx="364">
                  <c:v>1.0111111111111111</c:v>
                </c:pt>
                <c:pt idx="365">
                  <c:v>1.0138888888888888</c:v>
                </c:pt>
                <c:pt idx="366">
                  <c:v>1.0166666666666666</c:v>
                </c:pt>
                <c:pt idx="367">
                  <c:v>1.0194444444444444</c:v>
                </c:pt>
                <c:pt idx="368">
                  <c:v>1.0222222222222221</c:v>
                </c:pt>
                <c:pt idx="369">
                  <c:v>1.0249999999999999</c:v>
                </c:pt>
                <c:pt idx="370">
                  <c:v>1.0277777777777777</c:v>
                </c:pt>
                <c:pt idx="371">
                  <c:v>1.0305555555555554</c:v>
                </c:pt>
                <c:pt idx="372">
                  <c:v>1.0333333333333334</c:v>
                </c:pt>
                <c:pt idx="373">
                  <c:v>1.0361111111111112</c:v>
                </c:pt>
                <c:pt idx="374">
                  <c:v>1.038888888888889</c:v>
                </c:pt>
                <c:pt idx="375">
                  <c:v>1.0416666666666667</c:v>
                </c:pt>
                <c:pt idx="376">
                  <c:v>1.0444444444444445</c:v>
                </c:pt>
                <c:pt idx="377">
                  <c:v>1.0472222222222223</c:v>
                </c:pt>
                <c:pt idx="378">
                  <c:v>1.05</c:v>
                </c:pt>
                <c:pt idx="379">
                  <c:v>1.0527777777777778</c:v>
                </c:pt>
                <c:pt idx="380">
                  <c:v>1.0555555555555556</c:v>
                </c:pt>
                <c:pt idx="381">
                  <c:v>1.0583333333333333</c:v>
                </c:pt>
                <c:pt idx="382">
                  <c:v>1.0611111111111111</c:v>
                </c:pt>
                <c:pt idx="383">
                  <c:v>1.0638888888888889</c:v>
                </c:pt>
                <c:pt idx="384">
                  <c:v>1.0666666666666667</c:v>
                </c:pt>
                <c:pt idx="385">
                  <c:v>1.0694444444444444</c:v>
                </c:pt>
                <c:pt idx="386">
                  <c:v>1.0722222222222222</c:v>
                </c:pt>
                <c:pt idx="387">
                  <c:v>1.075</c:v>
                </c:pt>
                <c:pt idx="388">
                  <c:v>1.0777777777777777</c:v>
                </c:pt>
                <c:pt idx="389">
                  <c:v>1.0805555555555555</c:v>
                </c:pt>
                <c:pt idx="390">
                  <c:v>1.0833333333333333</c:v>
                </c:pt>
                <c:pt idx="391">
                  <c:v>1.086111111111111</c:v>
                </c:pt>
                <c:pt idx="392">
                  <c:v>1.0888888888888888</c:v>
                </c:pt>
                <c:pt idx="393">
                  <c:v>1.0916666666666666</c:v>
                </c:pt>
                <c:pt idx="394">
                  <c:v>1.0944444444444446</c:v>
                </c:pt>
                <c:pt idx="395">
                  <c:v>1.0972222222222223</c:v>
                </c:pt>
                <c:pt idx="396">
                  <c:v>1.1000000000000001</c:v>
                </c:pt>
                <c:pt idx="397">
                  <c:v>1.1027777777777779</c:v>
                </c:pt>
                <c:pt idx="398">
                  <c:v>1.1055555555555556</c:v>
                </c:pt>
                <c:pt idx="399">
                  <c:v>1.1083333333333334</c:v>
                </c:pt>
                <c:pt idx="400">
                  <c:v>1.1111111111111112</c:v>
                </c:pt>
                <c:pt idx="401">
                  <c:v>1.1138888888888889</c:v>
                </c:pt>
                <c:pt idx="402">
                  <c:v>1.1166666666666667</c:v>
                </c:pt>
                <c:pt idx="403">
                  <c:v>1.1194444444444445</c:v>
                </c:pt>
                <c:pt idx="404">
                  <c:v>1.1222222222222222</c:v>
                </c:pt>
                <c:pt idx="405">
                  <c:v>1.125</c:v>
                </c:pt>
                <c:pt idx="406">
                  <c:v>1.1277777777777778</c:v>
                </c:pt>
                <c:pt idx="407">
                  <c:v>1.1305555555555555</c:v>
                </c:pt>
                <c:pt idx="408">
                  <c:v>1.1333333333333333</c:v>
                </c:pt>
                <c:pt idx="409">
                  <c:v>1.1361111111111111</c:v>
                </c:pt>
                <c:pt idx="410">
                  <c:v>1.1388888888888888</c:v>
                </c:pt>
                <c:pt idx="411">
                  <c:v>1.1416666666666666</c:v>
                </c:pt>
                <c:pt idx="412">
                  <c:v>1.1444444444444444</c:v>
                </c:pt>
                <c:pt idx="413">
                  <c:v>1.1472222222222221</c:v>
                </c:pt>
                <c:pt idx="414">
                  <c:v>1.1499999999999999</c:v>
                </c:pt>
                <c:pt idx="415">
                  <c:v>1.1527777777777777</c:v>
                </c:pt>
                <c:pt idx="416">
                  <c:v>1.1555555555555554</c:v>
                </c:pt>
                <c:pt idx="417">
                  <c:v>1.1583333333333334</c:v>
                </c:pt>
                <c:pt idx="418">
                  <c:v>1.1611111111111112</c:v>
                </c:pt>
                <c:pt idx="419">
                  <c:v>1.163888888888889</c:v>
                </c:pt>
                <c:pt idx="420">
                  <c:v>1.1666666666666667</c:v>
                </c:pt>
                <c:pt idx="421">
                  <c:v>1.1694444444444445</c:v>
                </c:pt>
                <c:pt idx="422">
                  <c:v>1.1722222222222223</c:v>
                </c:pt>
                <c:pt idx="423">
                  <c:v>1.175</c:v>
                </c:pt>
                <c:pt idx="424">
                  <c:v>1.1777777777777778</c:v>
                </c:pt>
                <c:pt idx="425">
                  <c:v>1.1805555555555556</c:v>
                </c:pt>
                <c:pt idx="426">
                  <c:v>1.1833333333333333</c:v>
                </c:pt>
                <c:pt idx="427">
                  <c:v>1.1861111111111111</c:v>
                </c:pt>
                <c:pt idx="428">
                  <c:v>1.1888888888888889</c:v>
                </c:pt>
                <c:pt idx="429">
                  <c:v>1.1916666666666667</c:v>
                </c:pt>
                <c:pt idx="430">
                  <c:v>1.1944444444444444</c:v>
                </c:pt>
                <c:pt idx="431">
                  <c:v>1.1972222222222222</c:v>
                </c:pt>
                <c:pt idx="432">
                  <c:v>1.2</c:v>
                </c:pt>
                <c:pt idx="433">
                  <c:v>1.2027777777777777</c:v>
                </c:pt>
                <c:pt idx="434">
                  <c:v>1.2055555555555555</c:v>
                </c:pt>
                <c:pt idx="435">
                  <c:v>1.2083333333333333</c:v>
                </c:pt>
                <c:pt idx="436">
                  <c:v>1.211111111111111</c:v>
                </c:pt>
                <c:pt idx="437">
                  <c:v>1.2138888888888888</c:v>
                </c:pt>
                <c:pt idx="438">
                  <c:v>1.2166666666666666</c:v>
                </c:pt>
                <c:pt idx="439">
                  <c:v>1.2194444444444446</c:v>
                </c:pt>
                <c:pt idx="440">
                  <c:v>1.2222222222222223</c:v>
                </c:pt>
                <c:pt idx="441">
                  <c:v>1.2250000000000001</c:v>
                </c:pt>
                <c:pt idx="442">
                  <c:v>1.2277777777777779</c:v>
                </c:pt>
                <c:pt idx="443">
                  <c:v>1.2305555555555556</c:v>
                </c:pt>
                <c:pt idx="444">
                  <c:v>1.2333333333333334</c:v>
                </c:pt>
                <c:pt idx="445">
                  <c:v>1.2361111111111112</c:v>
                </c:pt>
                <c:pt idx="446">
                  <c:v>1.2388888888888889</c:v>
                </c:pt>
                <c:pt idx="447">
                  <c:v>1.2416666666666667</c:v>
                </c:pt>
                <c:pt idx="448">
                  <c:v>1.2444444444444445</c:v>
                </c:pt>
                <c:pt idx="449">
                  <c:v>1.2472222222222222</c:v>
                </c:pt>
                <c:pt idx="450">
                  <c:v>1.25</c:v>
                </c:pt>
                <c:pt idx="451">
                  <c:v>1.2527777777777778</c:v>
                </c:pt>
                <c:pt idx="452">
                  <c:v>1.2555555555555555</c:v>
                </c:pt>
                <c:pt idx="453">
                  <c:v>1.2583333333333333</c:v>
                </c:pt>
                <c:pt idx="454">
                  <c:v>1.2611111111111111</c:v>
                </c:pt>
                <c:pt idx="455">
                  <c:v>1.2638888888888888</c:v>
                </c:pt>
                <c:pt idx="456">
                  <c:v>1.2666666666666666</c:v>
                </c:pt>
                <c:pt idx="457">
                  <c:v>1.2694444444444444</c:v>
                </c:pt>
                <c:pt idx="458">
                  <c:v>1.2722222222222221</c:v>
                </c:pt>
                <c:pt idx="459">
                  <c:v>1.2749999999999999</c:v>
                </c:pt>
                <c:pt idx="460">
                  <c:v>1.2777777777777777</c:v>
                </c:pt>
                <c:pt idx="461">
                  <c:v>1.2805555555555554</c:v>
                </c:pt>
                <c:pt idx="462">
                  <c:v>1.2833333333333334</c:v>
                </c:pt>
                <c:pt idx="463">
                  <c:v>1.2861111111111112</c:v>
                </c:pt>
                <c:pt idx="464">
                  <c:v>1.288888888888889</c:v>
                </c:pt>
                <c:pt idx="465">
                  <c:v>1.2916666666666667</c:v>
                </c:pt>
                <c:pt idx="466">
                  <c:v>1.2944444444444445</c:v>
                </c:pt>
                <c:pt idx="467">
                  <c:v>1.2972222222222223</c:v>
                </c:pt>
                <c:pt idx="468">
                  <c:v>1.3</c:v>
                </c:pt>
                <c:pt idx="469">
                  <c:v>1.3027777777777778</c:v>
                </c:pt>
                <c:pt idx="470">
                  <c:v>1.3055555555555556</c:v>
                </c:pt>
                <c:pt idx="471">
                  <c:v>1.3083333333333333</c:v>
                </c:pt>
                <c:pt idx="472">
                  <c:v>1.3111111111111111</c:v>
                </c:pt>
                <c:pt idx="473">
                  <c:v>1.3138888888888889</c:v>
                </c:pt>
                <c:pt idx="474">
                  <c:v>1.3166666666666667</c:v>
                </c:pt>
                <c:pt idx="475">
                  <c:v>1.3194444444444444</c:v>
                </c:pt>
                <c:pt idx="476">
                  <c:v>1.3222222222222222</c:v>
                </c:pt>
                <c:pt idx="477">
                  <c:v>1.325</c:v>
                </c:pt>
                <c:pt idx="478">
                  <c:v>1.3277777777777777</c:v>
                </c:pt>
                <c:pt idx="479">
                  <c:v>1.3305555555555555</c:v>
                </c:pt>
                <c:pt idx="480">
                  <c:v>1.3333333333333333</c:v>
                </c:pt>
                <c:pt idx="481">
                  <c:v>1.336111111111111</c:v>
                </c:pt>
                <c:pt idx="482">
                  <c:v>1.3388888888888888</c:v>
                </c:pt>
                <c:pt idx="483">
                  <c:v>1.3416666666666666</c:v>
                </c:pt>
                <c:pt idx="484">
                  <c:v>1.3444444444444446</c:v>
                </c:pt>
                <c:pt idx="485">
                  <c:v>1.3472222222222223</c:v>
                </c:pt>
                <c:pt idx="486">
                  <c:v>1.35</c:v>
                </c:pt>
                <c:pt idx="487">
                  <c:v>1.3527777777777779</c:v>
                </c:pt>
                <c:pt idx="488">
                  <c:v>1.3555555555555556</c:v>
                </c:pt>
                <c:pt idx="489">
                  <c:v>1.3583333333333334</c:v>
                </c:pt>
                <c:pt idx="490">
                  <c:v>1.3611111111111112</c:v>
                </c:pt>
                <c:pt idx="491">
                  <c:v>1.3638888888888889</c:v>
                </c:pt>
                <c:pt idx="492">
                  <c:v>1.3666666666666667</c:v>
                </c:pt>
                <c:pt idx="493">
                  <c:v>1.3694444444444445</c:v>
                </c:pt>
                <c:pt idx="494">
                  <c:v>1.3722222222222222</c:v>
                </c:pt>
                <c:pt idx="495">
                  <c:v>1.375</c:v>
                </c:pt>
                <c:pt idx="496">
                  <c:v>1.3777777777777778</c:v>
                </c:pt>
                <c:pt idx="497">
                  <c:v>1.3805555555555555</c:v>
                </c:pt>
                <c:pt idx="498">
                  <c:v>1.3833333333333333</c:v>
                </c:pt>
                <c:pt idx="499">
                  <c:v>1.3861111111111111</c:v>
                </c:pt>
                <c:pt idx="500">
                  <c:v>1.3888888888888888</c:v>
                </c:pt>
                <c:pt idx="501">
                  <c:v>1.3916666666666666</c:v>
                </c:pt>
                <c:pt idx="502">
                  <c:v>1.3944444444444444</c:v>
                </c:pt>
                <c:pt idx="503">
                  <c:v>1.3972222222222221</c:v>
                </c:pt>
                <c:pt idx="504">
                  <c:v>1.4</c:v>
                </c:pt>
                <c:pt idx="505">
                  <c:v>1.4027777777777777</c:v>
                </c:pt>
                <c:pt idx="506">
                  <c:v>1.4055555555555554</c:v>
                </c:pt>
                <c:pt idx="507">
                  <c:v>1.4083333333333334</c:v>
                </c:pt>
                <c:pt idx="508">
                  <c:v>1.4111111111111112</c:v>
                </c:pt>
                <c:pt idx="509">
                  <c:v>1.413888888888889</c:v>
                </c:pt>
                <c:pt idx="510">
                  <c:v>1.4166666666666667</c:v>
                </c:pt>
                <c:pt idx="511">
                  <c:v>1.4194444444444445</c:v>
                </c:pt>
                <c:pt idx="512">
                  <c:v>1.4222222222222223</c:v>
                </c:pt>
                <c:pt idx="513">
                  <c:v>1.425</c:v>
                </c:pt>
                <c:pt idx="514">
                  <c:v>1.4277777777777778</c:v>
                </c:pt>
                <c:pt idx="515">
                  <c:v>1.4305555555555556</c:v>
                </c:pt>
                <c:pt idx="516">
                  <c:v>1.4333333333333333</c:v>
                </c:pt>
                <c:pt idx="517">
                  <c:v>1.4361111111111111</c:v>
                </c:pt>
                <c:pt idx="518">
                  <c:v>1.4388888888888889</c:v>
                </c:pt>
                <c:pt idx="519">
                  <c:v>1.4416666666666667</c:v>
                </c:pt>
                <c:pt idx="520">
                  <c:v>1.4444444444444444</c:v>
                </c:pt>
                <c:pt idx="521">
                  <c:v>1.4472222222222222</c:v>
                </c:pt>
                <c:pt idx="522">
                  <c:v>1.45</c:v>
                </c:pt>
                <c:pt idx="523">
                  <c:v>1.4527777777777777</c:v>
                </c:pt>
                <c:pt idx="524">
                  <c:v>1.4555555555555555</c:v>
                </c:pt>
                <c:pt idx="525">
                  <c:v>1.4583333333333333</c:v>
                </c:pt>
                <c:pt idx="526">
                  <c:v>1.461111111111111</c:v>
                </c:pt>
                <c:pt idx="527">
                  <c:v>1.4638888888888888</c:v>
                </c:pt>
                <c:pt idx="528">
                  <c:v>1.4666666666666666</c:v>
                </c:pt>
                <c:pt idx="529">
                  <c:v>1.4694444444444446</c:v>
                </c:pt>
                <c:pt idx="530">
                  <c:v>1.4722222222222223</c:v>
                </c:pt>
                <c:pt idx="531">
                  <c:v>1.4750000000000001</c:v>
                </c:pt>
                <c:pt idx="532">
                  <c:v>1.4777777777777779</c:v>
                </c:pt>
                <c:pt idx="533">
                  <c:v>1.4805555555555556</c:v>
                </c:pt>
                <c:pt idx="534">
                  <c:v>1.4833333333333334</c:v>
                </c:pt>
                <c:pt idx="535">
                  <c:v>1.4861111111111112</c:v>
                </c:pt>
                <c:pt idx="536">
                  <c:v>1.4888888888888889</c:v>
                </c:pt>
                <c:pt idx="537">
                  <c:v>1.4916666666666667</c:v>
                </c:pt>
                <c:pt idx="538">
                  <c:v>1.4944444444444445</c:v>
                </c:pt>
                <c:pt idx="539">
                  <c:v>1.4972222222222222</c:v>
                </c:pt>
                <c:pt idx="540">
                  <c:v>1.5</c:v>
                </c:pt>
                <c:pt idx="541">
                  <c:v>1.5027777777777778</c:v>
                </c:pt>
                <c:pt idx="542">
                  <c:v>1.5055555555555555</c:v>
                </c:pt>
                <c:pt idx="543">
                  <c:v>1.5083333333333333</c:v>
                </c:pt>
                <c:pt idx="544">
                  <c:v>1.5111111111111111</c:v>
                </c:pt>
                <c:pt idx="545">
                  <c:v>1.5138888888888888</c:v>
                </c:pt>
                <c:pt idx="546">
                  <c:v>1.5166666666666666</c:v>
                </c:pt>
                <c:pt idx="547">
                  <c:v>1.5194444444444444</c:v>
                </c:pt>
                <c:pt idx="548">
                  <c:v>1.5222222222222221</c:v>
                </c:pt>
                <c:pt idx="549">
                  <c:v>1.5249999999999999</c:v>
                </c:pt>
                <c:pt idx="550">
                  <c:v>1.5277777777777777</c:v>
                </c:pt>
                <c:pt idx="551">
                  <c:v>1.5305555555555554</c:v>
                </c:pt>
                <c:pt idx="552">
                  <c:v>1.5333333333333334</c:v>
                </c:pt>
                <c:pt idx="553">
                  <c:v>1.5361111111111112</c:v>
                </c:pt>
                <c:pt idx="554">
                  <c:v>1.538888888888889</c:v>
                </c:pt>
                <c:pt idx="555">
                  <c:v>1.5416666666666667</c:v>
                </c:pt>
                <c:pt idx="556">
                  <c:v>1.5444444444444445</c:v>
                </c:pt>
                <c:pt idx="557">
                  <c:v>1.5472222222222223</c:v>
                </c:pt>
                <c:pt idx="558">
                  <c:v>1.55</c:v>
                </c:pt>
                <c:pt idx="559">
                  <c:v>1.5527777777777778</c:v>
                </c:pt>
                <c:pt idx="560">
                  <c:v>1.5555555555555556</c:v>
                </c:pt>
                <c:pt idx="561">
                  <c:v>1.5583333333333333</c:v>
                </c:pt>
                <c:pt idx="562">
                  <c:v>1.5611111111111111</c:v>
                </c:pt>
                <c:pt idx="563">
                  <c:v>1.5638888888888889</c:v>
                </c:pt>
                <c:pt idx="564">
                  <c:v>1.5666666666666667</c:v>
                </c:pt>
                <c:pt idx="565">
                  <c:v>1.5694444444444444</c:v>
                </c:pt>
                <c:pt idx="566">
                  <c:v>1.5722222222222222</c:v>
                </c:pt>
                <c:pt idx="567">
                  <c:v>1.575</c:v>
                </c:pt>
                <c:pt idx="568">
                  <c:v>1.5777777777777777</c:v>
                </c:pt>
                <c:pt idx="569">
                  <c:v>1.5805555555555555</c:v>
                </c:pt>
                <c:pt idx="570">
                  <c:v>1.5833333333333333</c:v>
                </c:pt>
                <c:pt idx="571">
                  <c:v>1.586111111111111</c:v>
                </c:pt>
                <c:pt idx="572">
                  <c:v>1.5888888888888888</c:v>
                </c:pt>
                <c:pt idx="573">
                  <c:v>1.5916666666666666</c:v>
                </c:pt>
                <c:pt idx="574">
                  <c:v>1.5944444444444446</c:v>
                </c:pt>
                <c:pt idx="575">
                  <c:v>1.5972222222222223</c:v>
                </c:pt>
                <c:pt idx="576">
                  <c:v>1.6</c:v>
                </c:pt>
                <c:pt idx="577">
                  <c:v>1.6027777777777779</c:v>
                </c:pt>
                <c:pt idx="578">
                  <c:v>1.6055555555555556</c:v>
                </c:pt>
                <c:pt idx="579">
                  <c:v>1.6083333333333334</c:v>
                </c:pt>
                <c:pt idx="580">
                  <c:v>1.6111111111111112</c:v>
                </c:pt>
                <c:pt idx="581">
                  <c:v>1.6138888888888889</c:v>
                </c:pt>
                <c:pt idx="582">
                  <c:v>1.6166666666666667</c:v>
                </c:pt>
                <c:pt idx="583">
                  <c:v>1.6194444444444445</c:v>
                </c:pt>
                <c:pt idx="584">
                  <c:v>1.6222222222222222</c:v>
                </c:pt>
                <c:pt idx="585">
                  <c:v>1.625</c:v>
                </c:pt>
                <c:pt idx="586">
                  <c:v>1.6277777777777778</c:v>
                </c:pt>
                <c:pt idx="587">
                  <c:v>1.6305555555555555</c:v>
                </c:pt>
                <c:pt idx="588">
                  <c:v>1.6333333333333333</c:v>
                </c:pt>
                <c:pt idx="589">
                  <c:v>1.6361111111111111</c:v>
                </c:pt>
                <c:pt idx="590">
                  <c:v>1.6388888888888888</c:v>
                </c:pt>
                <c:pt idx="591">
                  <c:v>1.6416666666666666</c:v>
                </c:pt>
                <c:pt idx="592">
                  <c:v>1.6444444444444444</c:v>
                </c:pt>
                <c:pt idx="593">
                  <c:v>1.6472222222222221</c:v>
                </c:pt>
                <c:pt idx="594">
                  <c:v>1.65</c:v>
                </c:pt>
                <c:pt idx="595">
                  <c:v>1.6527777777777777</c:v>
                </c:pt>
                <c:pt idx="596">
                  <c:v>1.6555555555555554</c:v>
                </c:pt>
                <c:pt idx="597">
                  <c:v>1.6583333333333334</c:v>
                </c:pt>
                <c:pt idx="598">
                  <c:v>1.6611111111111112</c:v>
                </c:pt>
                <c:pt idx="599">
                  <c:v>1.663888888888889</c:v>
                </c:pt>
                <c:pt idx="600">
                  <c:v>1.6666666666666667</c:v>
                </c:pt>
                <c:pt idx="601">
                  <c:v>1.6694444444444445</c:v>
                </c:pt>
                <c:pt idx="602">
                  <c:v>1.6722222222222223</c:v>
                </c:pt>
                <c:pt idx="603">
                  <c:v>1.675</c:v>
                </c:pt>
                <c:pt idx="604">
                  <c:v>1.6777777777777778</c:v>
                </c:pt>
                <c:pt idx="605">
                  <c:v>1.6805555555555556</c:v>
                </c:pt>
                <c:pt idx="606">
                  <c:v>1.6833333333333333</c:v>
                </c:pt>
                <c:pt idx="607">
                  <c:v>1.6861111111111111</c:v>
                </c:pt>
                <c:pt idx="608">
                  <c:v>1.6888888888888889</c:v>
                </c:pt>
                <c:pt idx="609">
                  <c:v>1.6916666666666667</c:v>
                </c:pt>
                <c:pt idx="610">
                  <c:v>1.6944444444444444</c:v>
                </c:pt>
                <c:pt idx="611">
                  <c:v>1.6972222222222222</c:v>
                </c:pt>
                <c:pt idx="612">
                  <c:v>1.7</c:v>
                </c:pt>
                <c:pt idx="613">
                  <c:v>1.7027777777777777</c:v>
                </c:pt>
                <c:pt idx="614">
                  <c:v>1.7055555555555555</c:v>
                </c:pt>
                <c:pt idx="615">
                  <c:v>1.7083333333333333</c:v>
                </c:pt>
                <c:pt idx="616">
                  <c:v>1.711111111111111</c:v>
                </c:pt>
                <c:pt idx="617">
                  <c:v>1.7138888888888888</c:v>
                </c:pt>
                <c:pt idx="618">
                  <c:v>1.7166666666666666</c:v>
                </c:pt>
                <c:pt idx="619">
                  <c:v>1.7194444444444446</c:v>
                </c:pt>
                <c:pt idx="620">
                  <c:v>1.7222222222222223</c:v>
                </c:pt>
                <c:pt idx="621">
                  <c:v>1.7250000000000001</c:v>
                </c:pt>
                <c:pt idx="622">
                  <c:v>1.7277777777777779</c:v>
                </c:pt>
                <c:pt idx="623">
                  <c:v>1.7305555555555556</c:v>
                </c:pt>
                <c:pt idx="624">
                  <c:v>1.7333333333333334</c:v>
                </c:pt>
                <c:pt idx="625">
                  <c:v>1.7361111111111112</c:v>
                </c:pt>
                <c:pt idx="626">
                  <c:v>1.7388888888888889</c:v>
                </c:pt>
                <c:pt idx="627">
                  <c:v>1.7416666666666667</c:v>
                </c:pt>
                <c:pt idx="628">
                  <c:v>1.7444444444444445</c:v>
                </c:pt>
                <c:pt idx="629">
                  <c:v>1.7472222222222222</c:v>
                </c:pt>
                <c:pt idx="630">
                  <c:v>1.75</c:v>
                </c:pt>
                <c:pt idx="631">
                  <c:v>1.7527777777777778</c:v>
                </c:pt>
                <c:pt idx="632">
                  <c:v>1.7555555555555555</c:v>
                </c:pt>
                <c:pt idx="633">
                  <c:v>1.7583333333333333</c:v>
                </c:pt>
                <c:pt idx="634">
                  <c:v>1.7611111111111111</c:v>
                </c:pt>
                <c:pt idx="635">
                  <c:v>1.7638888888888888</c:v>
                </c:pt>
                <c:pt idx="636">
                  <c:v>1.7666666666666666</c:v>
                </c:pt>
                <c:pt idx="637">
                  <c:v>1.7694444444444444</c:v>
                </c:pt>
                <c:pt idx="638">
                  <c:v>1.7722222222222221</c:v>
                </c:pt>
                <c:pt idx="639">
                  <c:v>1.7749999999999999</c:v>
                </c:pt>
                <c:pt idx="640">
                  <c:v>1.7777777777777777</c:v>
                </c:pt>
                <c:pt idx="641">
                  <c:v>1.7805555555555554</c:v>
                </c:pt>
                <c:pt idx="642">
                  <c:v>1.7833333333333334</c:v>
                </c:pt>
                <c:pt idx="643">
                  <c:v>1.7861111111111112</c:v>
                </c:pt>
                <c:pt idx="644">
                  <c:v>1.788888888888889</c:v>
                </c:pt>
                <c:pt idx="645">
                  <c:v>1.7916666666666667</c:v>
                </c:pt>
                <c:pt idx="646">
                  <c:v>1.7944444444444445</c:v>
                </c:pt>
                <c:pt idx="647">
                  <c:v>1.7972222222222223</c:v>
                </c:pt>
                <c:pt idx="648">
                  <c:v>1.8</c:v>
                </c:pt>
                <c:pt idx="649">
                  <c:v>1.8027777777777778</c:v>
                </c:pt>
                <c:pt idx="650">
                  <c:v>1.8055555555555556</c:v>
                </c:pt>
                <c:pt idx="651">
                  <c:v>1.8083333333333333</c:v>
                </c:pt>
                <c:pt idx="652">
                  <c:v>1.8111111111111111</c:v>
                </c:pt>
                <c:pt idx="653">
                  <c:v>1.8138888888888889</c:v>
                </c:pt>
                <c:pt idx="654">
                  <c:v>1.8166666666666667</c:v>
                </c:pt>
                <c:pt idx="655">
                  <c:v>1.8194444444444444</c:v>
                </c:pt>
                <c:pt idx="656">
                  <c:v>1.8222222222222222</c:v>
                </c:pt>
                <c:pt idx="657">
                  <c:v>1.825</c:v>
                </c:pt>
                <c:pt idx="658">
                  <c:v>1.8277777777777777</c:v>
                </c:pt>
                <c:pt idx="659">
                  <c:v>1.8305555555555555</c:v>
                </c:pt>
                <c:pt idx="660">
                  <c:v>1.8333333333333333</c:v>
                </c:pt>
                <c:pt idx="661">
                  <c:v>1.836111111111111</c:v>
                </c:pt>
                <c:pt idx="662">
                  <c:v>1.8388888888888888</c:v>
                </c:pt>
                <c:pt idx="663">
                  <c:v>1.8416666666666666</c:v>
                </c:pt>
                <c:pt idx="664">
                  <c:v>1.8444444444444446</c:v>
                </c:pt>
                <c:pt idx="665">
                  <c:v>1.8472222222222223</c:v>
                </c:pt>
                <c:pt idx="666">
                  <c:v>1.85</c:v>
                </c:pt>
                <c:pt idx="667">
                  <c:v>1.8527777777777779</c:v>
                </c:pt>
                <c:pt idx="668">
                  <c:v>1.8555555555555556</c:v>
                </c:pt>
                <c:pt idx="669">
                  <c:v>1.8583333333333334</c:v>
                </c:pt>
                <c:pt idx="670">
                  <c:v>1.8611111111111112</c:v>
                </c:pt>
                <c:pt idx="671">
                  <c:v>1.8638888888888889</c:v>
                </c:pt>
                <c:pt idx="672">
                  <c:v>1.8666666666666667</c:v>
                </c:pt>
                <c:pt idx="673">
                  <c:v>1.8694444444444445</c:v>
                </c:pt>
                <c:pt idx="674">
                  <c:v>1.8722222222222222</c:v>
                </c:pt>
                <c:pt idx="675">
                  <c:v>1.875</c:v>
                </c:pt>
                <c:pt idx="676">
                  <c:v>1.8777777777777778</c:v>
                </c:pt>
                <c:pt idx="677">
                  <c:v>1.8805555555555555</c:v>
                </c:pt>
                <c:pt idx="678">
                  <c:v>1.8833333333333333</c:v>
                </c:pt>
                <c:pt idx="679">
                  <c:v>1.8861111111111111</c:v>
                </c:pt>
                <c:pt idx="680">
                  <c:v>1.8888888888888888</c:v>
                </c:pt>
                <c:pt idx="681">
                  <c:v>1.8916666666666666</c:v>
                </c:pt>
                <c:pt idx="682">
                  <c:v>1.8944444444444444</c:v>
                </c:pt>
                <c:pt idx="683">
                  <c:v>1.8972222222222221</c:v>
                </c:pt>
                <c:pt idx="684">
                  <c:v>1.9</c:v>
                </c:pt>
                <c:pt idx="685">
                  <c:v>1.9027777777777777</c:v>
                </c:pt>
                <c:pt idx="686">
                  <c:v>1.9055555555555554</c:v>
                </c:pt>
                <c:pt idx="687">
                  <c:v>1.9083333333333334</c:v>
                </c:pt>
                <c:pt idx="688">
                  <c:v>1.9111111111111112</c:v>
                </c:pt>
                <c:pt idx="689">
                  <c:v>1.913888888888889</c:v>
                </c:pt>
                <c:pt idx="690">
                  <c:v>1.9166666666666667</c:v>
                </c:pt>
                <c:pt idx="691">
                  <c:v>1.9194444444444445</c:v>
                </c:pt>
                <c:pt idx="692">
                  <c:v>1.9222222222222223</c:v>
                </c:pt>
                <c:pt idx="693">
                  <c:v>1.925</c:v>
                </c:pt>
                <c:pt idx="694">
                  <c:v>1.9277777777777778</c:v>
                </c:pt>
                <c:pt idx="695">
                  <c:v>1.9305555555555556</c:v>
                </c:pt>
                <c:pt idx="696">
                  <c:v>1.9333333333333333</c:v>
                </c:pt>
                <c:pt idx="697">
                  <c:v>1.9361111111111111</c:v>
                </c:pt>
                <c:pt idx="698">
                  <c:v>1.9388888888888889</c:v>
                </c:pt>
                <c:pt idx="699">
                  <c:v>1.9416666666666667</c:v>
                </c:pt>
                <c:pt idx="700">
                  <c:v>1.9444444444444444</c:v>
                </c:pt>
                <c:pt idx="701">
                  <c:v>1.9472222222222222</c:v>
                </c:pt>
                <c:pt idx="702">
                  <c:v>1.95</c:v>
                </c:pt>
                <c:pt idx="703">
                  <c:v>1.9527777777777777</c:v>
                </c:pt>
                <c:pt idx="704">
                  <c:v>1.9555555555555555</c:v>
                </c:pt>
                <c:pt idx="705">
                  <c:v>1.9583333333333333</c:v>
                </c:pt>
                <c:pt idx="706">
                  <c:v>1.961111111111111</c:v>
                </c:pt>
                <c:pt idx="707">
                  <c:v>1.9638888888888888</c:v>
                </c:pt>
                <c:pt idx="708">
                  <c:v>1.9666666666666666</c:v>
                </c:pt>
                <c:pt idx="709">
                  <c:v>1.9694444444444446</c:v>
                </c:pt>
                <c:pt idx="710">
                  <c:v>1.9722222222222223</c:v>
                </c:pt>
                <c:pt idx="711">
                  <c:v>1.9750000000000001</c:v>
                </c:pt>
                <c:pt idx="712">
                  <c:v>1.9777777777777779</c:v>
                </c:pt>
                <c:pt idx="713">
                  <c:v>1.9805555555555556</c:v>
                </c:pt>
                <c:pt idx="714">
                  <c:v>1.9833333333333334</c:v>
                </c:pt>
                <c:pt idx="715">
                  <c:v>1.9861111111111112</c:v>
                </c:pt>
                <c:pt idx="716">
                  <c:v>1.9888888888888889</c:v>
                </c:pt>
                <c:pt idx="717">
                  <c:v>1.9916666666666667</c:v>
                </c:pt>
                <c:pt idx="718">
                  <c:v>1.9944444444444445</c:v>
                </c:pt>
                <c:pt idx="719">
                  <c:v>1.9972222222222222</c:v>
                </c:pt>
                <c:pt idx="720">
                  <c:v>2</c:v>
                </c:pt>
                <c:pt idx="721">
                  <c:v>2.0027777777777778</c:v>
                </c:pt>
                <c:pt idx="722">
                  <c:v>2.0055555555555555</c:v>
                </c:pt>
                <c:pt idx="723">
                  <c:v>2.0083333333333333</c:v>
                </c:pt>
                <c:pt idx="724">
                  <c:v>2.0111111111111111</c:v>
                </c:pt>
                <c:pt idx="725">
                  <c:v>2.0138888888888888</c:v>
                </c:pt>
                <c:pt idx="726">
                  <c:v>2.0166666666666666</c:v>
                </c:pt>
                <c:pt idx="727">
                  <c:v>2.0194444444444444</c:v>
                </c:pt>
                <c:pt idx="728">
                  <c:v>2.0222222222222221</c:v>
                </c:pt>
                <c:pt idx="729">
                  <c:v>2.0249999999999999</c:v>
                </c:pt>
                <c:pt idx="730">
                  <c:v>2.0277777777777777</c:v>
                </c:pt>
                <c:pt idx="731">
                  <c:v>2.0305555555555554</c:v>
                </c:pt>
                <c:pt idx="732">
                  <c:v>2.0333333333333332</c:v>
                </c:pt>
                <c:pt idx="733">
                  <c:v>2.036111111111111</c:v>
                </c:pt>
                <c:pt idx="734">
                  <c:v>2.0388888888888888</c:v>
                </c:pt>
                <c:pt idx="735">
                  <c:v>2.0416666666666665</c:v>
                </c:pt>
                <c:pt idx="736">
                  <c:v>2.0444444444444443</c:v>
                </c:pt>
                <c:pt idx="737">
                  <c:v>2.0472222222222221</c:v>
                </c:pt>
                <c:pt idx="738">
                  <c:v>2.0499999999999998</c:v>
                </c:pt>
                <c:pt idx="739">
                  <c:v>2.0527777777777776</c:v>
                </c:pt>
                <c:pt idx="740">
                  <c:v>2.0555555555555554</c:v>
                </c:pt>
                <c:pt idx="741">
                  <c:v>2.0583333333333331</c:v>
                </c:pt>
                <c:pt idx="742">
                  <c:v>2.0611111111111109</c:v>
                </c:pt>
                <c:pt idx="743">
                  <c:v>2.0638888888888891</c:v>
                </c:pt>
                <c:pt idx="744">
                  <c:v>2.0666666666666669</c:v>
                </c:pt>
                <c:pt idx="745">
                  <c:v>2.0694444444444446</c:v>
                </c:pt>
                <c:pt idx="746">
                  <c:v>2.0722222222222224</c:v>
                </c:pt>
                <c:pt idx="747">
                  <c:v>2.0750000000000002</c:v>
                </c:pt>
                <c:pt idx="748">
                  <c:v>2.0777777777777779</c:v>
                </c:pt>
                <c:pt idx="749">
                  <c:v>2.0805555555555557</c:v>
                </c:pt>
                <c:pt idx="750">
                  <c:v>2.0833333333333335</c:v>
                </c:pt>
                <c:pt idx="751">
                  <c:v>2.0861111111111112</c:v>
                </c:pt>
                <c:pt idx="752">
                  <c:v>2.088888888888889</c:v>
                </c:pt>
                <c:pt idx="753">
                  <c:v>2.0916666666666668</c:v>
                </c:pt>
                <c:pt idx="754">
                  <c:v>2.0944444444444446</c:v>
                </c:pt>
                <c:pt idx="755">
                  <c:v>2.0972222222222223</c:v>
                </c:pt>
                <c:pt idx="756">
                  <c:v>2.1</c:v>
                </c:pt>
                <c:pt idx="757">
                  <c:v>2.1027777777777779</c:v>
                </c:pt>
                <c:pt idx="758">
                  <c:v>2.1055555555555556</c:v>
                </c:pt>
                <c:pt idx="759">
                  <c:v>2.1083333333333334</c:v>
                </c:pt>
                <c:pt idx="760">
                  <c:v>2.1111111111111112</c:v>
                </c:pt>
                <c:pt idx="761">
                  <c:v>2.1138888888888889</c:v>
                </c:pt>
                <c:pt idx="762">
                  <c:v>2.1166666666666667</c:v>
                </c:pt>
                <c:pt idx="763">
                  <c:v>2.1194444444444445</c:v>
                </c:pt>
                <c:pt idx="764">
                  <c:v>2.1222222222222222</c:v>
                </c:pt>
                <c:pt idx="765">
                  <c:v>2.125</c:v>
                </c:pt>
                <c:pt idx="766">
                  <c:v>2.1277777777777778</c:v>
                </c:pt>
                <c:pt idx="767">
                  <c:v>2.1305555555555555</c:v>
                </c:pt>
                <c:pt idx="768">
                  <c:v>2.1333333333333333</c:v>
                </c:pt>
                <c:pt idx="769">
                  <c:v>2.1361111111111111</c:v>
                </c:pt>
                <c:pt idx="770">
                  <c:v>2.1388888888888888</c:v>
                </c:pt>
                <c:pt idx="771">
                  <c:v>2.1416666666666666</c:v>
                </c:pt>
                <c:pt idx="772">
                  <c:v>2.1444444444444444</c:v>
                </c:pt>
                <c:pt idx="773">
                  <c:v>2.1472222222222221</c:v>
                </c:pt>
                <c:pt idx="774">
                  <c:v>2.15</c:v>
                </c:pt>
                <c:pt idx="775">
                  <c:v>2.1527777777777777</c:v>
                </c:pt>
                <c:pt idx="776">
                  <c:v>2.1555555555555554</c:v>
                </c:pt>
                <c:pt idx="777">
                  <c:v>2.1583333333333332</c:v>
                </c:pt>
                <c:pt idx="778">
                  <c:v>2.161111111111111</c:v>
                </c:pt>
                <c:pt idx="779">
                  <c:v>2.1638888888888888</c:v>
                </c:pt>
                <c:pt idx="780">
                  <c:v>2.1666666666666665</c:v>
                </c:pt>
                <c:pt idx="781">
                  <c:v>2.1694444444444443</c:v>
                </c:pt>
                <c:pt idx="782">
                  <c:v>2.1722222222222221</c:v>
                </c:pt>
                <c:pt idx="783">
                  <c:v>2.1749999999999998</c:v>
                </c:pt>
                <c:pt idx="784">
                  <c:v>2.1777777777777776</c:v>
                </c:pt>
                <c:pt idx="785">
                  <c:v>2.1805555555555554</c:v>
                </c:pt>
                <c:pt idx="786">
                  <c:v>2.1833333333333331</c:v>
                </c:pt>
                <c:pt idx="787">
                  <c:v>2.1861111111111109</c:v>
                </c:pt>
                <c:pt idx="788">
                  <c:v>2.1888888888888891</c:v>
                </c:pt>
                <c:pt idx="789">
                  <c:v>2.1916666666666669</c:v>
                </c:pt>
                <c:pt idx="790">
                  <c:v>2.1944444444444446</c:v>
                </c:pt>
                <c:pt idx="791">
                  <c:v>2.1972222222222224</c:v>
                </c:pt>
                <c:pt idx="792">
                  <c:v>2.2000000000000002</c:v>
                </c:pt>
                <c:pt idx="793">
                  <c:v>2.2027777777777779</c:v>
                </c:pt>
                <c:pt idx="794">
                  <c:v>2.2055555555555557</c:v>
                </c:pt>
                <c:pt idx="795">
                  <c:v>2.2083333333333335</c:v>
                </c:pt>
                <c:pt idx="796">
                  <c:v>2.2111111111111112</c:v>
                </c:pt>
                <c:pt idx="797">
                  <c:v>2.213888888888889</c:v>
                </c:pt>
                <c:pt idx="798">
                  <c:v>2.2166666666666668</c:v>
                </c:pt>
                <c:pt idx="799">
                  <c:v>2.2194444444444446</c:v>
                </c:pt>
                <c:pt idx="800">
                  <c:v>2.2222222222222223</c:v>
                </c:pt>
                <c:pt idx="801">
                  <c:v>2.2250000000000001</c:v>
                </c:pt>
                <c:pt idx="802">
                  <c:v>2.2277777777777779</c:v>
                </c:pt>
                <c:pt idx="803">
                  <c:v>2.2305555555555556</c:v>
                </c:pt>
                <c:pt idx="804">
                  <c:v>2.2333333333333334</c:v>
                </c:pt>
                <c:pt idx="805">
                  <c:v>2.2361111111111112</c:v>
                </c:pt>
                <c:pt idx="806">
                  <c:v>2.2388888888888889</c:v>
                </c:pt>
                <c:pt idx="807">
                  <c:v>2.2416666666666667</c:v>
                </c:pt>
                <c:pt idx="808">
                  <c:v>2.2444444444444445</c:v>
                </c:pt>
                <c:pt idx="809">
                  <c:v>2.2472222222222222</c:v>
                </c:pt>
                <c:pt idx="810">
                  <c:v>2.25</c:v>
                </c:pt>
                <c:pt idx="811">
                  <c:v>2.2527777777777778</c:v>
                </c:pt>
                <c:pt idx="812">
                  <c:v>2.2555555555555555</c:v>
                </c:pt>
                <c:pt idx="813">
                  <c:v>2.2583333333333333</c:v>
                </c:pt>
                <c:pt idx="814">
                  <c:v>2.2611111111111111</c:v>
                </c:pt>
                <c:pt idx="815">
                  <c:v>2.2638888888888888</c:v>
                </c:pt>
                <c:pt idx="816">
                  <c:v>2.2666666666666666</c:v>
                </c:pt>
                <c:pt idx="817">
                  <c:v>2.2694444444444444</c:v>
                </c:pt>
                <c:pt idx="818">
                  <c:v>2.2722222222222221</c:v>
                </c:pt>
                <c:pt idx="819">
                  <c:v>2.2749999999999999</c:v>
                </c:pt>
                <c:pt idx="820">
                  <c:v>2.2777777777777777</c:v>
                </c:pt>
                <c:pt idx="821">
                  <c:v>2.2805555555555554</c:v>
                </c:pt>
                <c:pt idx="822">
                  <c:v>2.2833333333333332</c:v>
                </c:pt>
                <c:pt idx="823">
                  <c:v>2.286111111111111</c:v>
                </c:pt>
                <c:pt idx="824">
                  <c:v>2.2888888888888888</c:v>
                </c:pt>
                <c:pt idx="825">
                  <c:v>2.2916666666666665</c:v>
                </c:pt>
                <c:pt idx="826">
                  <c:v>2.2944444444444443</c:v>
                </c:pt>
                <c:pt idx="827">
                  <c:v>2.2972222222222221</c:v>
                </c:pt>
                <c:pt idx="828">
                  <c:v>2.2999999999999998</c:v>
                </c:pt>
                <c:pt idx="829">
                  <c:v>2.3027777777777776</c:v>
                </c:pt>
                <c:pt idx="830">
                  <c:v>2.3055555555555554</c:v>
                </c:pt>
                <c:pt idx="831">
                  <c:v>2.3083333333333331</c:v>
                </c:pt>
                <c:pt idx="832">
                  <c:v>2.3111111111111109</c:v>
                </c:pt>
                <c:pt idx="833">
                  <c:v>2.3138888888888891</c:v>
                </c:pt>
                <c:pt idx="834">
                  <c:v>2.3166666666666669</c:v>
                </c:pt>
                <c:pt idx="835">
                  <c:v>2.3194444444444446</c:v>
                </c:pt>
                <c:pt idx="836">
                  <c:v>2.3222222222222224</c:v>
                </c:pt>
                <c:pt idx="837">
                  <c:v>2.3250000000000002</c:v>
                </c:pt>
                <c:pt idx="838">
                  <c:v>2.3277777777777779</c:v>
                </c:pt>
                <c:pt idx="839">
                  <c:v>2.3305555555555557</c:v>
                </c:pt>
                <c:pt idx="840">
                  <c:v>2.3333333333333335</c:v>
                </c:pt>
                <c:pt idx="841">
                  <c:v>2.3361111111111112</c:v>
                </c:pt>
                <c:pt idx="842">
                  <c:v>2.338888888888889</c:v>
                </c:pt>
                <c:pt idx="843">
                  <c:v>2.3416666666666668</c:v>
                </c:pt>
                <c:pt idx="844">
                  <c:v>2.3444444444444446</c:v>
                </c:pt>
                <c:pt idx="845">
                  <c:v>2.3472222222222223</c:v>
                </c:pt>
                <c:pt idx="846">
                  <c:v>2.35</c:v>
                </c:pt>
                <c:pt idx="847">
                  <c:v>2.3527777777777779</c:v>
                </c:pt>
                <c:pt idx="848">
                  <c:v>2.3555555555555556</c:v>
                </c:pt>
                <c:pt idx="849">
                  <c:v>2.3583333333333334</c:v>
                </c:pt>
                <c:pt idx="850">
                  <c:v>2.3611111111111112</c:v>
                </c:pt>
                <c:pt idx="851">
                  <c:v>2.3638888888888889</c:v>
                </c:pt>
                <c:pt idx="852">
                  <c:v>2.3666666666666667</c:v>
                </c:pt>
                <c:pt idx="853">
                  <c:v>2.3694444444444445</c:v>
                </c:pt>
                <c:pt idx="854">
                  <c:v>2.3722222222222222</c:v>
                </c:pt>
                <c:pt idx="855">
                  <c:v>2.375</c:v>
                </c:pt>
                <c:pt idx="856">
                  <c:v>2.3777777777777778</c:v>
                </c:pt>
                <c:pt idx="857">
                  <c:v>2.3805555555555555</c:v>
                </c:pt>
                <c:pt idx="858">
                  <c:v>2.3833333333333333</c:v>
                </c:pt>
                <c:pt idx="859">
                  <c:v>2.3861111111111111</c:v>
                </c:pt>
                <c:pt idx="860">
                  <c:v>2.3888888888888888</c:v>
                </c:pt>
                <c:pt idx="861">
                  <c:v>2.3916666666666666</c:v>
                </c:pt>
                <c:pt idx="862">
                  <c:v>2.3944444444444444</c:v>
                </c:pt>
                <c:pt idx="863">
                  <c:v>2.3972222222222221</c:v>
                </c:pt>
                <c:pt idx="864">
                  <c:v>2.4</c:v>
                </c:pt>
                <c:pt idx="865">
                  <c:v>2.4027777777777777</c:v>
                </c:pt>
                <c:pt idx="866">
                  <c:v>2.4055555555555554</c:v>
                </c:pt>
                <c:pt idx="867">
                  <c:v>2.4083333333333332</c:v>
                </c:pt>
                <c:pt idx="868">
                  <c:v>2.411111111111111</c:v>
                </c:pt>
                <c:pt idx="869">
                  <c:v>2.4138888888888888</c:v>
                </c:pt>
                <c:pt idx="870">
                  <c:v>2.4166666666666665</c:v>
                </c:pt>
                <c:pt idx="871">
                  <c:v>2.4194444444444443</c:v>
                </c:pt>
                <c:pt idx="872">
                  <c:v>2.4222222222222221</c:v>
                </c:pt>
                <c:pt idx="873">
                  <c:v>2.4249999999999998</c:v>
                </c:pt>
                <c:pt idx="874">
                  <c:v>2.4277777777777776</c:v>
                </c:pt>
                <c:pt idx="875">
                  <c:v>2.4305555555555554</c:v>
                </c:pt>
                <c:pt idx="876">
                  <c:v>2.4333333333333331</c:v>
                </c:pt>
                <c:pt idx="877">
                  <c:v>2.4361111111111109</c:v>
                </c:pt>
                <c:pt idx="878">
                  <c:v>2.4388888888888891</c:v>
                </c:pt>
                <c:pt idx="879">
                  <c:v>2.4416666666666669</c:v>
                </c:pt>
                <c:pt idx="880">
                  <c:v>2.4444444444444446</c:v>
                </c:pt>
                <c:pt idx="881">
                  <c:v>2.4472222222222224</c:v>
                </c:pt>
                <c:pt idx="882">
                  <c:v>2.4500000000000002</c:v>
                </c:pt>
                <c:pt idx="883">
                  <c:v>2.4527777777777779</c:v>
                </c:pt>
                <c:pt idx="884">
                  <c:v>2.4555555555555557</c:v>
                </c:pt>
                <c:pt idx="885">
                  <c:v>2.4583333333333335</c:v>
                </c:pt>
                <c:pt idx="886">
                  <c:v>2.4611111111111112</c:v>
                </c:pt>
                <c:pt idx="887">
                  <c:v>2.463888888888889</c:v>
                </c:pt>
                <c:pt idx="888">
                  <c:v>2.4666666666666668</c:v>
                </c:pt>
                <c:pt idx="889">
                  <c:v>2.4694444444444446</c:v>
                </c:pt>
                <c:pt idx="890">
                  <c:v>2.4722222222222223</c:v>
                </c:pt>
                <c:pt idx="891">
                  <c:v>2.4750000000000001</c:v>
                </c:pt>
                <c:pt idx="892">
                  <c:v>2.4777777777777779</c:v>
                </c:pt>
                <c:pt idx="893">
                  <c:v>2.4805555555555556</c:v>
                </c:pt>
                <c:pt idx="894">
                  <c:v>2.4833333333333334</c:v>
                </c:pt>
                <c:pt idx="895">
                  <c:v>2.4861111111111112</c:v>
                </c:pt>
                <c:pt idx="896">
                  <c:v>2.4888888888888889</c:v>
                </c:pt>
                <c:pt idx="897">
                  <c:v>2.4916666666666667</c:v>
                </c:pt>
                <c:pt idx="898">
                  <c:v>2.4944444444444445</c:v>
                </c:pt>
                <c:pt idx="899">
                  <c:v>2.4972222222222222</c:v>
                </c:pt>
                <c:pt idx="900">
                  <c:v>2.5</c:v>
                </c:pt>
                <c:pt idx="901">
                  <c:v>2.5027777777777778</c:v>
                </c:pt>
                <c:pt idx="902">
                  <c:v>2.5055555555555555</c:v>
                </c:pt>
                <c:pt idx="903">
                  <c:v>2.5083333333333333</c:v>
                </c:pt>
                <c:pt idx="904">
                  <c:v>2.5111111111111111</c:v>
                </c:pt>
                <c:pt idx="905">
                  <c:v>2.5138888888888888</c:v>
                </c:pt>
                <c:pt idx="906">
                  <c:v>2.5166666666666666</c:v>
                </c:pt>
                <c:pt idx="907">
                  <c:v>2.5194444444444444</c:v>
                </c:pt>
                <c:pt idx="908">
                  <c:v>2.5222222222222221</c:v>
                </c:pt>
                <c:pt idx="909">
                  <c:v>2.5249999999999999</c:v>
                </c:pt>
                <c:pt idx="910">
                  <c:v>2.5277777777777777</c:v>
                </c:pt>
                <c:pt idx="911">
                  <c:v>2.5305555555555554</c:v>
                </c:pt>
                <c:pt idx="912">
                  <c:v>2.5333333333333332</c:v>
                </c:pt>
                <c:pt idx="913">
                  <c:v>2.536111111111111</c:v>
                </c:pt>
                <c:pt idx="914">
                  <c:v>2.5388888888888888</c:v>
                </c:pt>
                <c:pt idx="915">
                  <c:v>2.5416666666666665</c:v>
                </c:pt>
                <c:pt idx="916">
                  <c:v>2.5444444444444443</c:v>
                </c:pt>
                <c:pt idx="917">
                  <c:v>2.5472222222222221</c:v>
                </c:pt>
                <c:pt idx="918">
                  <c:v>2.5499999999999998</c:v>
                </c:pt>
                <c:pt idx="919">
                  <c:v>2.5527777777777776</c:v>
                </c:pt>
                <c:pt idx="920">
                  <c:v>2.5555555555555554</c:v>
                </c:pt>
                <c:pt idx="921">
                  <c:v>2.5583333333333331</c:v>
                </c:pt>
                <c:pt idx="922">
                  <c:v>2.5611111111111109</c:v>
                </c:pt>
                <c:pt idx="923">
                  <c:v>2.5638888888888891</c:v>
                </c:pt>
                <c:pt idx="924">
                  <c:v>2.5666666666666669</c:v>
                </c:pt>
                <c:pt idx="925">
                  <c:v>2.5694444444444446</c:v>
                </c:pt>
                <c:pt idx="926">
                  <c:v>2.5722222222222224</c:v>
                </c:pt>
                <c:pt idx="927">
                  <c:v>2.5750000000000002</c:v>
                </c:pt>
                <c:pt idx="928">
                  <c:v>2.5777777777777779</c:v>
                </c:pt>
                <c:pt idx="929">
                  <c:v>2.5805555555555557</c:v>
                </c:pt>
                <c:pt idx="930">
                  <c:v>2.5833333333333335</c:v>
                </c:pt>
                <c:pt idx="931">
                  <c:v>2.5861111111111112</c:v>
                </c:pt>
                <c:pt idx="932">
                  <c:v>2.588888888888889</c:v>
                </c:pt>
                <c:pt idx="933">
                  <c:v>2.5916666666666668</c:v>
                </c:pt>
                <c:pt idx="934">
                  <c:v>2.5944444444444446</c:v>
                </c:pt>
                <c:pt idx="935">
                  <c:v>2.5972222222222223</c:v>
                </c:pt>
                <c:pt idx="936">
                  <c:v>2.6</c:v>
                </c:pt>
                <c:pt idx="937">
                  <c:v>2.6027777777777779</c:v>
                </c:pt>
                <c:pt idx="938">
                  <c:v>2.6055555555555556</c:v>
                </c:pt>
                <c:pt idx="939">
                  <c:v>2.6083333333333334</c:v>
                </c:pt>
                <c:pt idx="940">
                  <c:v>2.6111111111111112</c:v>
                </c:pt>
                <c:pt idx="941">
                  <c:v>2.6138888888888889</c:v>
                </c:pt>
                <c:pt idx="942">
                  <c:v>2.6166666666666667</c:v>
                </c:pt>
                <c:pt idx="943">
                  <c:v>2.6194444444444445</c:v>
                </c:pt>
                <c:pt idx="944">
                  <c:v>2.6222222222222222</c:v>
                </c:pt>
                <c:pt idx="945">
                  <c:v>2.625</c:v>
                </c:pt>
                <c:pt idx="946">
                  <c:v>2.6277777777777778</c:v>
                </c:pt>
                <c:pt idx="947">
                  <c:v>2.6305555555555555</c:v>
                </c:pt>
                <c:pt idx="948">
                  <c:v>2.6333333333333333</c:v>
                </c:pt>
                <c:pt idx="949">
                  <c:v>2.6361111111111111</c:v>
                </c:pt>
                <c:pt idx="950">
                  <c:v>2.6388888888888888</c:v>
                </c:pt>
                <c:pt idx="951">
                  <c:v>2.6416666666666666</c:v>
                </c:pt>
                <c:pt idx="952">
                  <c:v>2.6444444444444444</c:v>
                </c:pt>
                <c:pt idx="953">
                  <c:v>2.6472222222222221</c:v>
                </c:pt>
                <c:pt idx="954">
                  <c:v>2.65</c:v>
                </c:pt>
                <c:pt idx="955">
                  <c:v>2.6527777777777777</c:v>
                </c:pt>
                <c:pt idx="956">
                  <c:v>2.6555555555555554</c:v>
                </c:pt>
                <c:pt idx="957">
                  <c:v>2.6583333333333332</c:v>
                </c:pt>
                <c:pt idx="958">
                  <c:v>2.661111111111111</c:v>
                </c:pt>
                <c:pt idx="959">
                  <c:v>2.6638888888888888</c:v>
                </c:pt>
                <c:pt idx="960">
                  <c:v>2.6666666666666665</c:v>
                </c:pt>
                <c:pt idx="961">
                  <c:v>2.6694444444444443</c:v>
                </c:pt>
                <c:pt idx="962">
                  <c:v>2.6722222222222221</c:v>
                </c:pt>
                <c:pt idx="963">
                  <c:v>2.6749999999999998</c:v>
                </c:pt>
                <c:pt idx="964">
                  <c:v>2.6777777777777776</c:v>
                </c:pt>
                <c:pt idx="965">
                  <c:v>2.6805555555555554</c:v>
                </c:pt>
                <c:pt idx="966">
                  <c:v>2.6833333333333331</c:v>
                </c:pt>
                <c:pt idx="967">
                  <c:v>2.6861111111111109</c:v>
                </c:pt>
                <c:pt idx="968">
                  <c:v>2.6888888888888891</c:v>
                </c:pt>
                <c:pt idx="969">
                  <c:v>2.6916666666666669</c:v>
                </c:pt>
                <c:pt idx="970">
                  <c:v>2.6944444444444446</c:v>
                </c:pt>
                <c:pt idx="971">
                  <c:v>2.6972222222222224</c:v>
                </c:pt>
                <c:pt idx="972">
                  <c:v>2.7</c:v>
                </c:pt>
                <c:pt idx="973">
                  <c:v>2.7027777777777779</c:v>
                </c:pt>
                <c:pt idx="974">
                  <c:v>2.7055555555555557</c:v>
                </c:pt>
                <c:pt idx="975">
                  <c:v>2.7083333333333335</c:v>
                </c:pt>
                <c:pt idx="976">
                  <c:v>2.7111111111111112</c:v>
                </c:pt>
                <c:pt idx="977">
                  <c:v>2.713888888888889</c:v>
                </c:pt>
                <c:pt idx="978">
                  <c:v>2.7166666666666668</c:v>
                </c:pt>
                <c:pt idx="979">
                  <c:v>2.7194444444444446</c:v>
                </c:pt>
                <c:pt idx="980">
                  <c:v>2.7222222222222223</c:v>
                </c:pt>
                <c:pt idx="981">
                  <c:v>2.7250000000000001</c:v>
                </c:pt>
                <c:pt idx="982">
                  <c:v>2.7277777777777779</c:v>
                </c:pt>
                <c:pt idx="983">
                  <c:v>2.7305555555555556</c:v>
                </c:pt>
                <c:pt idx="984">
                  <c:v>2.7333333333333334</c:v>
                </c:pt>
                <c:pt idx="985">
                  <c:v>2.7361111111111112</c:v>
                </c:pt>
                <c:pt idx="986">
                  <c:v>2.7388888888888889</c:v>
                </c:pt>
                <c:pt idx="987">
                  <c:v>2.7416666666666667</c:v>
                </c:pt>
                <c:pt idx="988">
                  <c:v>2.7444444444444445</c:v>
                </c:pt>
                <c:pt idx="989">
                  <c:v>2.7472222222222222</c:v>
                </c:pt>
                <c:pt idx="990">
                  <c:v>2.75</c:v>
                </c:pt>
                <c:pt idx="991">
                  <c:v>2.7527777777777778</c:v>
                </c:pt>
                <c:pt idx="992">
                  <c:v>2.7555555555555555</c:v>
                </c:pt>
                <c:pt idx="993">
                  <c:v>2.7583333333333333</c:v>
                </c:pt>
                <c:pt idx="994">
                  <c:v>2.7611111111111111</c:v>
                </c:pt>
                <c:pt idx="995">
                  <c:v>2.7638888888888888</c:v>
                </c:pt>
                <c:pt idx="996">
                  <c:v>2.7666666666666666</c:v>
                </c:pt>
                <c:pt idx="997">
                  <c:v>2.7694444444444444</c:v>
                </c:pt>
                <c:pt idx="998">
                  <c:v>2.7722222222222221</c:v>
                </c:pt>
                <c:pt idx="999">
                  <c:v>2.7749999999999999</c:v>
                </c:pt>
                <c:pt idx="1000">
                  <c:v>2.7777777777777777</c:v>
                </c:pt>
                <c:pt idx="1001">
                  <c:v>2.7805555555555554</c:v>
                </c:pt>
                <c:pt idx="1002">
                  <c:v>2.7833333333333332</c:v>
                </c:pt>
                <c:pt idx="1003">
                  <c:v>2.786111111111111</c:v>
                </c:pt>
                <c:pt idx="1004">
                  <c:v>2.7888888888888888</c:v>
                </c:pt>
                <c:pt idx="1005">
                  <c:v>2.7916666666666665</c:v>
                </c:pt>
                <c:pt idx="1006">
                  <c:v>2.7944444444444443</c:v>
                </c:pt>
                <c:pt idx="1007">
                  <c:v>2.7972222222222221</c:v>
                </c:pt>
                <c:pt idx="1008">
                  <c:v>2.8</c:v>
                </c:pt>
                <c:pt idx="1009">
                  <c:v>2.8027777777777776</c:v>
                </c:pt>
                <c:pt idx="1010">
                  <c:v>2.8055555555555554</c:v>
                </c:pt>
                <c:pt idx="1011">
                  <c:v>2.8083333333333331</c:v>
                </c:pt>
                <c:pt idx="1012">
                  <c:v>2.8111111111111109</c:v>
                </c:pt>
                <c:pt idx="1013">
                  <c:v>2.8138888888888891</c:v>
                </c:pt>
                <c:pt idx="1014">
                  <c:v>2.8166666666666669</c:v>
                </c:pt>
                <c:pt idx="1015">
                  <c:v>2.8194444444444446</c:v>
                </c:pt>
                <c:pt idx="1016">
                  <c:v>2.8222222222222224</c:v>
                </c:pt>
                <c:pt idx="1017">
                  <c:v>2.8250000000000002</c:v>
                </c:pt>
                <c:pt idx="1018">
                  <c:v>2.8277777777777779</c:v>
                </c:pt>
                <c:pt idx="1019">
                  <c:v>2.8305555555555557</c:v>
                </c:pt>
                <c:pt idx="1020">
                  <c:v>2.8333333333333335</c:v>
                </c:pt>
                <c:pt idx="1021">
                  <c:v>2.8361111111111112</c:v>
                </c:pt>
                <c:pt idx="1022">
                  <c:v>2.838888888888889</c:v>
                </c:pt>
                <c:pt idx="1023">
                  <c:v>2.8416666666666668</c:v>
                </c:pt>
                <c:pt idx="1024">
                  <c:v>2.8444444444444446</c:v>
                </c:pt>
                <c:pt idx="1025">
                  <c:v>2.8472222222222223</c:v>
                </c:pt>
                <c:pt idx="1026">
                  <c:v>2.85</c:v>
                </c:pt>
                <c:pt idx="1027">
                  <c:v>2.8527777777777779</c:v>
                </c:pt>
                <c:pt idx="1028">
                  <c:v>2.8555555555555556</c:v>
                </c:pt>
                <c:pt idx="1029">
                  <c:v>2.8583333333333334</c:v>
                </c:pt>
                <c:pt idx="1030">
                  <c:v>2.8611111111111112</c:v>
                </c:pt>
                <c:pt idx="1031">
                  <c:v>2.8638888888888889</c:v>
                </c:pt>
                <c:pt idx="1032">
                  <c:v>2.8666666666666667</c:v>
                </c:pt>
                <c:pt idx="1033">
                  <c:v>2.8694444444444445</c:v>
                </c:pt>
                <c:pt idx="1034">
                  <c:v>2.8722222222222222</c:v>
                </c:pt>
                <c:pt idx="1035">
                  <c:v>2.875</c:v>
                </c:pt>
                <c:pt idx="1036">
                  <c:v>2.8777777777777778</c:v>
                </c:pt>
                <c:pt idx="1037">
                  <c:v>2.8805555555555555</c:v>
                </c:pt>
                <c:pt idx="1038">
                  <c:v>2.8833333333333333</c:v>
                </c:pt>
                <c:pt idx="1039">
                  <c:v>2.8861111111111111</c:v>
                </c:pt>
                <c:pt idx="1040">
                  <c:v>2.8888888888888888</c:v>
                </c:pt>
                <c:pt idx="1041">
                  <c:v>2.8916666666666666</c:v>
                </c:pt>
                <c:pt idx="1042">
                  <c:v>2.8944444444444444</c:v>
                </c:pt>
                <c:pt idx="1043">
                  <c:v>2.8972222222222221</c:v>
                </c:pt>
                <c:pt idx="1044">
                  <c:v>2.9</c:v>
                </c:pt>
                <c:pt idx="1045">
                  <c:v>2.9027777777777777</c:v>
                </c:pt>
                <c:pt idx="1046">
                  <c:v>2.9055555555555554</c:v>
                </c:pt>
                <c:pt idx="1047">
                  <c:v>2.9083333333333332</c:v>
                </c:pt>
                <c:pt idx="1048">
                  <c:v>2.911111111111111</c:v>
                </c:pt>
                <c:pt idx="1049">
                  <c:v>2.9138888888888888</c:v>
                </c:pt>
                <c:pt idx="1050">
                  <c:v>2.9166666666666665</c:v>
                </c:pt>
                <c:pt idx="1051">
                  <c:v>2.9194444444444443</c:v>
                </c:pt>
                <c:pt idx="1052">
                  <c:v>2.9222222222222221</c:v>
                </c:pt>
                <c:pt idx="1053">
                  <c:v>2.9249999999999998</c:v>
                </c:pt>
                <c:pt idx="1054">
                  <c:v>2.9277777777777776</c:v>
                </c:pt>
                <c:pt idx="1055">
                  <c:v>2.9305555555555554</c:v>
                </c:pt>
                <c:pt idx="1056">
                  <c:v>2.9333333333333331</c:v>
                </c:pt>
                <c:pt idx="1057">
                  <c:v>2.9361111111111109</c:v>
                </c:pt>
                <c:pt idx="1058">
                  <c:v>2.9388888888888891</c:v>
                </c:pt>
                <c:pt idx="1059">
                  <c:v>2.9416666666666669</c:v>
                </c:pt>
                <c:pt idx="1060">
                  <c:v>2.9444444444444446</c:v>
                </c:pt>
                <c:pt idx="1061">
                  <c:v>2.9472222222222224</c:v>
                </c:pt>
                <c:pt idx="1062">
                  <c:v>2.95</c:v>
                </c:pt>
                <c:pt idx="1063">
                  <c:v>2.9527777777777779</c:v>
                </c:pt>
                <c:pt idx="1064">
                  <c:v>2.9555555555555557</c:v>
                </c:pt>
                <c:pt idx="1065">
                  <c:v>2.9583333333333335</c:v>
                </c:pt>
                <c:pt idx="1066">
                  <c:v>2.9611111111111112</c:v>
                </c:pt>
                <c:pt idx="1067">
                  <c:v>2.963888888888889</c:v>
                </c:pt>
                <c:pt idx="1068">
                  <c:v>2.9666666666666668</c:v>
                </c:pt>
                <c:pt idx="1069">
                  <c:v>2.9694444444444446</c:v>
                </c:pt>
                <c:pt idx="1070">
                  <c:v>2.9722222222222223</c:v>
                </c:pt>
                <c:pt idx="1071">
                  <c:v>2.9750000000000001</c:v>
                </c:pt>
                <c:pt idx="1072">
                  <c:v>2.9777777777777779</c:v>
                </c:pt>
                <c:pt idx="1073">
                  <c:v>2.9805555555555556</c:v>
                </c:pt>
                <c:pt idx="1074">
                  <c:v>2.9833333333333334</c:v>
                </c:pt>
                <c:pt idx="1075">
                  <c:v>2.9861111111111112</c:v>
                </c:pt>
                <c:pt idx="1076">
                  <c:v>2.9888888888888889</c:v>
                </c:pt>
                <c:pt idx="1077">
                  <c:v>2.9916666666666667</c:v>
                </c:pt>
                <c:pt idx="1078">
                  <c:v>2.9944444444444445</c:v>
                </c:pt>
                <c:pt idx="1079">
                  <c:v>2.9972222222222222</c:v>
                </c:pt>
                <c:pt idx="1080">
                  <c:v>3</c:v>
                </c:pt>
                <c:pt idx="1081">
                  <c:v>3.0027777777777778</c:v>
                </c:pt>
                <c:pt idx="1082">
                  <c:v>3.0055555555555555</c:v>
                </c:pt>
                <c:pt idx="1083">
                  <c:v>3.0083333333333333</c:v>
                </c:pt>
                <c:pt idx="1084">
                  <c:v>3.0111111111111111</c:v>
                </c:pt>
                <c:pt idx="1085">
                  <c:v>3.0138888888888888</c:v>
                </c:pt>
                <c:pt idx="1086">
                  <c:v>3.0166666666666666</c:v>
                </c:pt>
                <c:pt idx="1087">
                  <c:v>3.0194444444444444</c:v>
                </c:pt>
                <c:pt idx="1088">
                  <c:v>3.0222222222222221</c:v>
                </c:pt>
                <c:pt idx="1089">
                  <c:v>3.0249999999999999</c:v>
                </c:pt>
                <c:pt idx="1090">
                  <c:v>3.0277777777777777</c:v>
                </c:pt>
                <c:pt idx="1091">
                  <c:v>3.0305555555555554</c:v>
                </c:pt>
                <c:pt idx="1092">
                  <c:v>3.0333333333333332</c:v>
                </c:pt>
                <c:pt idx="1093">
                  <c:v>3.036111111111111</c:v>
                </c:pt>
                <c:pt idx="1094">
                  <c:v>3.0388888888888888</c:v>
                </c:pt>
                <c:pt idx="1095">
                  <c:v>3.0416666666666665</c:v>
                </c:pt>
                <c:pt idx="1096">
                  <c:v>3.0444444444444443</c:v>
                </c:pt>
                <c:pt idx="1097">
                  <c:v>3.0472222222222221</c:v>
                </c:pt>
                <c:pt idx="1098">
                  <c:v>3.05</c:v>
                </c:pt>
                <c:pt idx="1099">
                  <c:v>3.0527777777777776</c:v>
                </c:pt>
                <c:pt idx="1100">
                  <c:v>3.0555555555555554</c:v>
                </c:pt>
                <c:pt idx="1101">
                  <c:v>3.0583333333333331</c:v>
                </c:pt>
                <c:pt idx="1102">
                  <c:v>3.0611111111111109</c:v>
                </c:pt>
                <c:pt idx="1103">
                  <c:v>3.0638888888888891</c:v>
                </c:pt>
                <c:pt idx="1104">
                  <c:v>3.0666666666666669</c:v>
                </c:pt>
                <c:pt idx="1105">
                  <c:v>3.0694444444444446</c:v>
                </c:pt>
                <c:pt idx="1106">
                  <c:v>3.0722222222222224</c:v>
                </c:pt>
                <c:pt idx="1107">
                  <c:v>3.0750000000000002</c:v>
                </c:pt>
                <c:pt idx="1108">
                  <c:v>3.0777777777777779</c:v>
                </c:pt>
                <c:pt idx="1109">
                  <c:v>3.0805555555555557</c:v>
                </c:pt>
                <c:pt idx="1110">
                  <c:v>3.0833333333333335</c:v>
                </c:pt>
                <c:pt idx="1111">
                  <c:v>3.0861111111111112</c:v>
                </c:pt>
                <c:pt idx="1112">
                  <c:v>3.088888888888889</c:v>
                </c:pt>
                <c:pt idx="1113">
                  <c:v>3.0916666666666668</c:v>
                </c:pt>
                <c:pt idx="1114">
                  <c:v>3.0944444444444446</c:v>
                </c:pt>
                <c:pt idx="1115">
                  <c:v>3.0972222222222223</c:v>
                </c:pt>
                <c:pt idx="1116">
                  <c:v>3.1</c:v>
                </c:pt>
                <c:pt idx="1117">
                  <c:v>3.1027777777777779</c:v>
                </c:pt>
                <c:pt idx="1118">
                  <c:v>3.1055555555555556</c:v>
                </c:pt>
                <c:pt idx="1119">
                  <c:v>3.1083333333333334</c:v>
                </c:pt>
                <c:pt idx="1120">
                  <c:v>3.1111111111111112</c:v>
                </c:pt>
                <c:pt idx="1121">
                  <c:v>3.1138888888888889</c:v>
                </c:pt>
                <c:pt idx="1122">
                  <c:v>3.1166666666666667</c:v>
                </c:pt>
                <c:pt idx="1123">
                  <c:v>3.1194444444444445</c:v>
                </c:pt>
                <c:pt idx="1124">
                  <c:v>3.1222222222222222</c:v>
                </c:pt>
                <c:pt idx="1125">
                  <c:v>3.125</c:v>
                </c:pt>
                <c:pt idx="1126">
                  <c:v>3.1277777777777778</c:v>
                </c:pt>
                <c:pt idx="1127">
                  <c:v>3.1305555555555555</c:v>
                </c:pt>
                <c:pt idx="1128">
                  <c:v>3.1333333333333333</c:v>
                </c:pt>
                <c:pt idx="1129">
                  <c:v>3.1361111111111111</c:v>
                </c:pt>
                <c:pt idx="1130">
                  <c:v>3.1388888888888888</c:v>
                </c:pt>
                <c:pt idx="1131">
                  <c:v>3.1416666666666666</c:v>
                </c:pt>
                <c:pt idx="1132">
                  <c:v>3.1444444444444444</c:v>
                </c:pt>
                <c:pt idx="1133">
                  <c:v>3.1472222222222221</c:v>
                </c:pt>
                <c:pt idx="1134">
                  <c:v>3.15</c:v>
                </c:pt>
                <c:pt idx="1135">
                  <c:v>3.1527777777777777</c:v>
                </c:pt>
                <c:pt idx="1136">
                  <c:v>3.1555555555555554</c:v>
                </c:pt>
                <c:pt idx="1137">
                  <c:v>3.1583333333333332</c:v>
                </c:pt>
                <c:pt idx="1138">
                  <c:v>3.161111111111111</c:v>
                </c:pt>
                <c:pt idx="1139">
                  <c:v>3.1638888888888888</c:v>
                </c:pt>
                <c:pt idx="1140">
                  <c:v>3.1666666666666665</c:v>
                </c:pt>
                <c:pt idx="1141">
                  <c:v>3.1694444444444443</c:v>
                </c:pt>
                <c:pt idx="1142">
                  <c:v>3.1722222222222221</c:v>
                </c:pt>
                <c:pt idx="1143">
                  <c:v>3.1749999999999998</c:v>
                </c:pt>
                <c:pt idx="1144">
                  <c:v>3.1777777777777776</c:v>
                </c:pt>
                <c:pt idx="1145">
                  <c:v>3.1805555555555554</c:v>
                </c:pt>
                <c:pt idx="1146">
                  <c:v>3.1833333333333331</c:v>
                </c:pt>
                <c:pt idx="1147">
                  <c:v>3.1861111111111109</c:v>
                </c:pt>
                <c:pt idx="1148">
                  <c:v>3.1888888888888891</c:v>
                </c:pt>
                <c:pt idx="1149">
                  <c:v>3.1916666666666669</c:v>
                </c:pt>
                <c:pt idx="1150">
                  <c:v>3.1944444444444446</c:v>
                </c:pt>
                <c:pt idx="1151">
                  <c:v>3.1972222222222224</c:v>
                </c:pt>
                <c:pt idx="1152">
                  <c:v>3.2</c:v>
                </c:pt>
                <c:pt idx="1153">
                  <c:v>3.2027777777777779</c:v>
                </c:pt>
                <c:pt idx="1154">
                  <c:v>3.2055555555555557</c:v>
                </c:pt>
                <c:pt idx="1155">
                  <c:v>3.2083333333333335</c:v>
                </c:pt>
                <c:pt idx="1156">
                  <c:v>3.2111111111111112</c:v>
                </c:pt>
                <c:pt idx="1157">
                  <c:v>3.213888888888889</c:v>
                </c:pt>
                <c:pt idx="1158">
                  <c:v>3.2166666666666668</c:v>
                </c:pt>
                <c:pt idx="1159">
                  <c:v>3.2194444444444446</c:v>
                </c:pt>
                <c:pt idx="1160">
                  <c:v>3.2222222222222223</c:v>
                </c:pt>
                <c:pt idx="1161">
                  <c:v>3.2250000000000001</c:v>
                </c:pt>
                <c:pt idx="1162">
                  <c:v>3.2277777777777779</c:v>
                </c:pt>
                <c:pt idx="1163">
                  <c:v>3.2305555555555556</c:v>
                </c:pt>
                <c:pt idx="1164">
                  <c:v>3.2333333333333334</c:v>
                </c:pt>
                <c:pt idx="1165">
                  <c:v>3.2361111111111112</c:v>
                </c:pt>
                <c:pt idx="1166">
                  <c:v>3.2388888888888889</c:v>
                </c:pt>
                <c:pt idx="1167">
                  <c:v>3.2416666666666667</c:v>
                </c:pt>
                <c:pt idx="1168">
                  <c:v>3.2444444444444445</c:v>
                </c:pt>
                <c:pt idx="1169">
                  <c:v>3.2472222222222222</c:v>
                </c:pt>
                <c:pt idx="1170">
                  <c:v>3.25</c:v>
                </c:pt>
                <c:pt idx="1171">
                  <c:v>3.2527777777777778</c:v>
                </c:pt>
                <c:pt idx="1172">
                  <c:v>3.2555555555555555</c:v>
                </c:pt>
                <c:pt idx="1173">
                  <c:v>3.2583333333333333</c:v>
                </c:pt>
                <c:pt idx="1174">
                  <c:v>3.2611111111111111</c:v>
                </c:pt>
                <c:pt idx="1175">
                  <c:v>3.2638888888888888</c:v>
                </c:pt>
                <c:pt idx="1176">
                  <c:v>3.2666666666666666</c:v>
                </c:pt>
                <c:pt idx="1177">
                  <c:v>3.2694444444444444</c:v>
                </c:pt>
                <c:pt idx="1178">
                  <c:v>3.2722222222222221</c:v>
                </c:pt>
                <c:pt idx="1179">
                  <c:v>3.2749999999999999</c:v>
                </c:pt>
                <c:pt idx="1180">
                  <c:v>3.2777777777777777</c:v>
                </c:pt>
                <c:pt idx="1181">
                  <c:v>3.2805555555555554</c:v>
                </c:pt>
                <c:pt idx="1182">
                  <c:v>3.2833333333333332</c:v>
                </c:pt>
                <c:pt idx="1183">
                  <c:v>3.286111111111111</c:v>
                </c:pt>
                <c:pt idx="1184">
                  <c:v>3.2888888888888888</c:v>
                </c:pt>
                <c:pt idx="1185">
                  <c:v>3.2916666666666665</c:v>
                </c:pt>
                <c:pt idx="1186">
                  <c:v>3.2944444444444443</c:v>
                </c:pt>
                <c:pt idx="1187">
                  <c:v>3.2972222222222221</c:v>
                </c:pt>
                <c:pt idx="1188">
                  <c:v>3.3</c:v>
                </c:pt>
                <c:pt idx="1189">
                  <c:v>3.3027777777777776</c:v>
                </c:pt>
                <c:pt idx="1190">
                  <c:v>3.3055555555555554</c:v>
                </c:pt>
                <c:pt idx="1191">
                  <c:v>3.3083333333333331</c:v>
                </c:pt>
                <c:pt idx="1192">
                  <c:v>3.3111111111111109</c:v>
                </c:pt>
                <c:pt idx="1193">
                  <c:v>3.3138888888888891</c:v>
                </c:pt>
                <c:pt idx="1194">
                  <c:v>3.3166666666666669</c:v>
                </c:pt>
                <c:pt idx="1195">
                  <c:v>3.3194444444444446</c:v>
                </c:pt>
                <c:pt idx="1196">
                  <c:v>3.3222222222222224</c:v>
                </c:pt>
                <c:pt idx="1197">
                  <c:v>3.3250000000000002</c:v>
                </c:pt>
                <c:pt idx="1198">
                  <c:v>3.3277777777777779</c:v>
                </c:pt>
                <c:pt idx="1199">
                  <c:v>3.3305555555555557</c:v>
                </c:pt>
                <c:pt idx="1200">
                  <c:v>3.3333333333333335</c:v>
                </c:pt>
                <c:pt idx="1201">
                  <c:v>3.3361111111111112</c:v>
                </c:pt>
                <c:pt idx="1202">
                  <c:v>3.338888888888889</c:v>
                </c:pt>
                <c:pt idx="1203">
                  <c:v>3.3416666666666668</c:v>
                </c:pt>
                <c:pt idx="1204">
                  <c:v>3.3444444444444446</c:v>
                </c:pt>
                <c:pt idx="1205">
                  <c:v>3.3472222222222223</c:v>
                </c:pt>
                <c:pt idx="1206">
                  <c:v>3.35</c:v>
                </c:pt>
                <c:pt idx="1207">
                  <c:v>3.3527777777777779</c:v>
                </c:pt>
                <c:pt idx="1208">
                  <c:v>3.3555555555555556</c:v>
                </c:pt>
                <c:pt idx="1209">
                  <c:v>3.3583333333333334</c:v>
                </c:pt>
                <c:pt idx="1210">
                  <c:v>3.3611111111111112</c:v>
                </c:pt>
                <c:pt idx="1211">
                  <c:v>3.3638888888888889</c:v>
                </c:pt>
                <c:pt idx="1212">
                  <c:v>3.3666666666666667</c:v>
                </c:pt>
                <c:pt idx="1213">
                  <c:v>3.3694444444444445</c:v>
                </c:pt>
                <c:pt idx="1214">
                  <c:v>3.3722222222222222</c:v>
                </c:pt>
                <c:pt idx="1215">
                  <c:v>3.375</c:v>
                </c:pt>
                <c:pt idx="1216">
                  <c:v>3.3777777777777778</c:v>
                </c:pt>
                <c:pt idx="1217">
                  <c:v>3.3805555555555555</c:v>
                </c:pt>
                <c:pt idx="1218">
                  <c:v>3.3833333333333333</c:v>
                </c:pt>
                <c:pt idx="1219">
                  <c:v>3.3861111111111111</c:v>
                </c:pt>
                <c:pt idx="1220">
                  <c:v>3.3888888888888888</c:v>
                </c:pt>
                <c:pt idx="1221">
                  <c:v>3.3916666666666666</c:v>
                </c:pt>
                <c:pt idx="1222">
                  <c:v>3.3944444444444444</c:v>
                </c:pt>
                <c:pt idx="1223">
                  <c:v>3.3972222222222221</c:v>
                </c:pt>
                <c:pt idx="1224">
                  <c:v>3.4</c:v>
                </c:pt>
                <c:pt idx="1225">
                  <c:v>3.4027777777777777</c:v>
                </c:pt>
                <c:pt idx="1226">
                  <c:v>3.4055555555555554</c:v>
                </c:pt>
                <c:pt idx="1227">
                  <c:v>3.4083333333333332</c:v>
                </c:pt>
                <c:pt idx="1228">
                  <c:v>3.411111111111111</c:v>
                </c:pt>
                <c:pt idx="1229">
                  <c:v>3.4138888888888888</c:v>
                </c:pt>
                <c:pt idx="1230">
                  <c:v>3.4166666666666665</c:v>
                </c:pt>
                <c:pt idx="1231">
                  <c:v>3.4194444444444443</c:v>
                </c:pt>
                <c:pt idx="1232">
                  <c:v>3.4222222222222221</c:v>
                </c:pt>
                <c:pt idx="1233">
                  <c:v>3.4249999999999998</c:v>
                </c:pt>
                <c:pt idx="1234">
                  <c:v>3.4277777777777776</c:v>
                </c:pt>
                <c:pt idx="1235">
                  <c:v>3.4305555555555554</c:v>
                </c:pt>
                <c:pt idx="1236">
                  <c:v>3.4333333333333331</c:v>
                </c:pt>
                <c:pt idx="1237">
                  <c:v>3.4361111111111109</c:v>
                </c:pt>
                <c:pt idx="1238">
                  <c:v>3.4388888888888891</c:v>
                </c:pt>
                <c:pt idx="1239">
                  <c:v>3.4416666666666669</c:v>
                </c:pt>
                <c:pt idx="1240">
                  <c:v>3.4444444444444446</c:v>
                </c:pt>
                <c:pt idx="1241">
                  <c:v>3.4472222222222224</c:v>
                </c:pt>
                <c:pt idx="1242">
                  <c:v>3.45</c:v>
                </c:pt>
                <c:pt idx="1243">
                  <c:v>3.4527777777777779</c:v>
                </c:pt>
                <c:pt idx="1244">
                  <c:v>3.4555555555555557</c:v>
                </c:pt>
                <c:pt idx="1245">
                  <c:v>3.4583333333333335</c:v>
                </c:pt>
                <c:pt idx="1246">
                  <c:v>3.4611111111111112</c:v>
                </c:pt>
                <c:pt idx="1247">
                  <c:v>3.463888888888889</c:v>
                </c:pt>
                <c:pt idx="1248">
                  <c:v>3.4666666666666668</c:v>
                </c:pt>
                <c:pt idx="1249">
                  <c:v>3.4694444444444446</c:v>
                </c:pt>
                <c:pt idx="1250">
                  <c:v>3.4722222222222223</c:v>
                </c:pt>
                <c:pt idx="1251">
                  <c:v>3.4750000000000001</c:v>
                </c:pt>
                <c:pt idx="1252">
                  <c:v>3.4777777777777779</c:v>
                </c:pt>
                <c:pt idx="1253">
                  <c:v>3.4805555555555556</c:v>
                </c:pt>
                <c:pt idx="1254">
                  <c:v>3.4833333333333334</c:v>
                </c:pt>
                <c:pt idx="1255">
                  <c:v>3.4861111111111112</c:v>
                </c:pt>
                <c:pt idx="1256">
                  <c:v>3.4888888888888889</c:v>
                </c:pt>
                <c:pt idx="1257">
                  <c:v>3.4916666666666667</c:v>
                </c:pt>
                <c:pt idx="1258">
                  <c:v>3.4944444444444445</c:v>
                </c:pt>
                <c:pt idx="1259">
                  <c:v>3.4972222222222222</c:v>
                </c:pt>
                <c:pt idx="1260">
                  <c:v>3.5</c:v>
                </c:pt>
                <c:pt idx="1261">
                  <c:v>3.5027777777777778</c:v>
                </c:pt>
                <c:pt idx="1262">
                  <c:v>3.5055555555555555</c:v>
                </c:pt>
                <c:pt idx="1263">
                  <c:v>3.5083333333333333</c:v>
                </c:pt>
                <c:pt idx="1264">
                  <c:v>3.5111111111111111</c:v>
                </c:pt>
                <c:pt idx="1265">
                  <c:v>3.5138888888888888</c:v>
                </c:pt>
                <c:pt idx="1266">
                  <c:v>3.5166666666666666</c:v>
                </c:pt>
                <c:pt idx="1267">
                  <c:v>3.5194444444444444</c:v>
                </c:pt>
                <c:pt idx="1268">
                  <c:v>3.5222222222222221</c:v>
                </c:pt>
                <c:pt idx="1269">
                  <c:v>3.5249999999999999</c:v>
                </c:pt>
                <c:pt idx="1270">
                  <c:v>3.5277777777777777</c:v>
                </c:pt>
                <c:pt idx="1271">
                  <c:v>3.5305555555555554</c:v>
                </c:pt>
                <c:pt idx="1272">
                  <c:v>3.5333333333333332</c:v>
                </c:pt>
                <c:pt idx="1273">
                  <c:v>3.536111111111111</c:v>
                </c:pt>
                <c:pt idx="1274">
                  <c:v>3.5388888888888888</c:v>
                </c:pt>
                <c:pt idx="1275">
                  <c:v>3.5416666666666665</c:v>
                </c:pt>
                <c:pt idx="1276">
                  <c:v>3.5444444444444443</c:v>
                </c:pt>
                <c:pt idx="1277">
                  <c:v>3.5472222222222221</c:v>
                </c:pt>
                <c:pt idx="1278">
                  <c:v>3.55</c:v>
                </c:pt>
                <c:pt idx="1279">
                  <c:v>3.5527777777777776</c:v>
                </c:pt>
                <c:pt idx="1280">
                  <c:v>3.5555555555555554</c:v>
                </c:pt>
                <c:pt idx="1281">
                  <c:v>3.5583333333333331</c:v>
                </c:pt>
                <c:pt idx="1282">
                  <c:v>3.5611111111111109</c:v>
                </c:pt>
                <c:pt idx="1283">
                  <c:v>3.5638888888888891</c:v>
                </c:pt>
                <c:pt idx="1284">
                  <c:v>3.5666666666666669</c:v>
                </c:pt>
                <c:pt idx="1285">
                  <c:v>3.5694444444444446</c:v>
                </c:pt>
                <c:pt idx="1286">
                  <c:v>3.5722222222222224</c:v>
                </c:pt>
                <c:pt idx="1287">
                  <c:v>3.5750000000000002</c:v>
                </c:pt>
                <c:pt idx="1288">
                  <c:v>3.5777777777777779</c:v>
                </c:pt>
                <c:pt idx="1289">
                  <c:v>3.5805555555555557</c:v>
                </c:pt>
                <c:pt idx="1290">
                  <c:v>3.5833333333333335</c:v>
                </c:pt>
                <c:pt idx="1291">
                  <c:v>3.5861111111111112</c:v>
                </c:pt>
                <c:pt idx="1292">
                  <c:v>3.588888888888889</c:v>
                </c:pt>
                <c:pt idx="1293">
                  <c:v>3.5916666666666668</c:v>
                </c:pt>
                <c:pt idx="1294">
                  <c:v>3.5944444444444446</c:v>
                </c:pt>
                <c:pt idx="1295">
                  <c:v>3.5972222222222223</c:v>
                </c:pt>
                <c:pt idx="1296">
                  <c:v>3.6</c:v>
                </c:pt>
                <c:pt idx="1297">
                  <c:v>3.6027777777777779</c:v>
                </c:pt>
                <c:pt idx="1298">
                  <c:v>3.6055555555555556</c:v>
                </c:pt>
                <c:pt idx="1299">
                  <c:v>3.6083333333333334</c:v>
                </c:pt>
                <c:pt idx="1300">
                  <c:v>3.6111111111111112</c:v>
                </c:pt>
                <c:pt idx="1301">
                  <c:v>3.6138888888888889</c:v>
                </c:pt>
                <c:pt idx="1302">
                  <c:v>3.6166666666666667</c:v>
                </c:pt>
                <c:pt idx="1303">
                  <c:v>3.6194444444444445</c:v>
                </c:pt>
                <c:pt idx="1304">
                  <c:v>3.6222222222222222</c:v>
                </c:pt>
                <c:pt idx="1305">
                  <c:v>3.625</c:v>
                </c:pt>
                <c:pt idx="1306">
                  <c:v>3.6277777777777778</c:v>
                </c:pt>
                <c:pt idx="1307">
                  <c:v>3.6305555555555555</c:v>
                </c:pt>
                <c:pt idx="1308">
                  <c:v>3.6333333333333333</c:v>
                </c:pt>
                <c:pt idx="1309">
                  <c:v>3.6361111111111111</c:v>
                </c:pt>
                <c:pt idx="1310">
                  <c:v>3.6388888888888888</c:v>
                </c:pt>
                <c:pt idx="1311">
                  <c:v>3.6416666666666666</c:v>
                </c:pt>
                <c:pt idx="1312">
                  <c:v>3.6444444444444444</c:v>
                </c:pt>
                <c:pt idx="1313">
                  <c:v>3.6472222222222221</c:v>
                </c:pt>
                <c:pt idx="1314">
                  <c:v>3.65</c:v>
                </c:pt>
                <c:pt idx="1315">
                  <c:v>3.6527777777777777</c:v>
                </c:pt>
                <c:pt idx="1316">
                  <c:v>3.6555555555555554</c:v>
                </c:pt>
                <c:pt idx="1317">
                  <c:v>3.6583333333333332</c:v>
                </c:pt>
                <c:pt idx="1318">
                  <c:v>3.661111111111111</c:v>
                </c:pt>
                <c:pt idx="1319">
                  <c:v>3.6638888888888888</c:v>
                </c:pt>
                <c:pt idx="1320">
                  <c:v>3.6666666666666665</c:v>
                </c:pt>
                <c:pt idx="1321">
                  <c:v>3.6694444444444443</c:v>
                </c:pt>
                <c:pt idx="1322">
                  <c:v>3.6722222222222221</c:v>
                </c:pt>
                <c:pt idx="1323">
                  <c:v>3.6749999999999998</c:v>
                </c:pt>
                <c:pt idx="1324">
                  <c:v>3.6777777777777776</c:v>
                </c:pt>
                <c:pt idx="1325">
                  <c:v>3.6805555555555554</c:v>
                </c:pt>
                <c:pt idx="1326">
                  <c:v>3.6833333333333331</c:v>
                </c:pt>
                <c:pt idx="1327">
                  <c:v>3.6861111111111109</c:v>
                </c:pt>
                <c:pt idx="1328">
                  <c:v>3.6888888888888891</c:v>
                </c:pt>
                <c:pt idx="1329">
                  <c:v>3.6916666666666669</c:v>
                </c:pt>
                <c:pt idx="1330">
                  <c:v>3.6944444444444446</c:v>
                </c:pt>
                <c:pt idx="1331">
                  <c:v>3.6972222222222224</c:v>
                </c:pt>
                <c:pt idx="1332">
                  <c:v>3.7</c:v>
                </c:pt>
                <c:pt idx="1333">
                  <c:v>3.7027777777777779</c:v>
                </c:pt>
                <c:pt idx="1334">
                  <c:v>3.7055555555555557</c:v>
                </c:pt>
                <c:pt idx="1335">
                  <c:v>3.7083333333333335</c:v>
                </c:pt>
                <c:pt idx="1336">
                  <c:v>3.7111111111111112</c:v>
                </c:pt>
                <c:pt idx="1337">
                  <c:v>3.713888888888889</c:v>
                </c:pt>
                <c:pt idx="1338">
                  <c:v>3.7166666666666668</c:v>
                </c:pt>
                <c:pt idx="1339">
                  <c:v>3.7194444444444446</c:v>
                </c:pt>
                <c:pt idx="1340">
                  <c:v>3.7222222222222223</c:v>
                </c:pt>
                <c:pt idx="1341">
                  <c:v>3.7250000000000001</c:v>
                </c:pt>
                <c:pt idx="1342">
                  <c:v>3.7277777777777779</c:v>
                </c:pt>
                <c:pt idx="1343">
                  <c:v>3.7305555555555556</c:v>
                </c:pt>
                <c:pt idx="1344">
                  <c:v>3.7333333333333334</c:v>
                </c:pt>
                <c:pt idx="1345">
                  <c:v>3.7361111111111112</c:v>
                </c:pt>
                <c:pt idx="1346">
                  <c:v>3.7388888888888889</c:v>
                </c:pt>
                <c:pt idx="1347">
                  <c:v>3.7416666666666667</c:v>
                </c:pt>
                <c:pt idx="1348">
                  <c:v>3.7444444444444445</c:v>
                </c:pt>
                <c:pt idx="1349">
                  <c:v>3.7472222222222222</c:v>
                </c:pt>
                <c:pt idx="1350">
                  <c:v>3.75</c:v>
                </c:pt>
                <c:pt idx="1351">
                  <c:v>3.7527777777777778</c:v>
                </c:pt>
                <c:pt idx="1352">
                  <c:v>3.7555555555555555</c:v>
                </c:pt>
                <c:pt idx="1353">
                  <c:v>3.7583333333333333</c:v>
                </c:pt>
                <c:pt idx="1354">
                  <c:v>3.7611111111111111</c:v>
                </c:pt>
                <c:pt idx="1355">
                  <c:v>3.7638888888888888</c:v>
                </c:pt>
                <c:pt idx="1356">
                  <c:v>3.7666666666666666</c:v>
                </c:pt>
                <c:pt idx="1357">
                  <c:v>3.7694444444444444</c:v>
                </c:pt>
                <c:pt idx="1358">
                  <c:v>3.7722222222222221</c:v>
                </c:pt>
                <c:pt idx="1359">
                  <c:v>3.7749999999999999</c:v>
                </c:pt>
                <c:pt idx="1360">
                  <c:v>3.7777777777777777</c:v>
                </c:pt>
                <c:pt idx="1361">
                  <c:v>3.7805555555555554</c:v>
                </c:pt>
                <c:pt idx="1362">
                  <c:v>3.7833333333333332</c:v>
                </c:pt>
                <c:pt idx="1363">
                  <c:v>3.786111111111111</c:v>
                </c:pt>
                <c:pt idx="1364">
                  <c:v>3.7888888888888888</c:v>
                </c:pt>
                <c:pt idx="1365">
                  <c:v>3.7916666666666665</c:v>
                </c:pt>
                <c:pt idx="1366">
                  <c:v>3.7944444444444443</c:v>
                </c:pt>
                <c:pt idx="1367">
                  <c:v>3.7972222222222221</c:v>
                </c:pt>
                <c:pt idx="1368">
                  <c:v>3.8</c:v>
                </c:pt>
                <c:pt idx="1369">
                  <c:v>3.8027777777777776</c:v>
                </c:pt>
                <c:pt idx="1370">
                  <c:v>3.8055555555555554</c:v>
                </c:pt>
                <c:pt idx="1371">
                  <c:v>3.8083333333333331</c:v>
                </c:pt>
                <c:pt idx="1372">
                  <c:v>3.8111111111111109</c:v>
                </c:pt>
                <c:pt idx="1373">
                  <c:v>3.8138888888888891</c:v>
                </c:pt>
                <c:pt idx="1374">
                  <c:v>3.8166666666666669</c:v>
                </c:pt>
                <c:pt idx="1375">
                  <c:v>3.8194444444444446</c:v>
                </c:pt>
                <c:pt idx="1376">
                  <c:v>3.8222222222222224</c:v>
                </c:pt>
                <c:pt idx="1377">
                  <c:v>3.8250000000000002</c:v>
                </c:pt>
                <c:pt idx="1378">
                  <c:v>3.8277777777777779</c:v>
                </c:pt>
                <c:pt idx="1379">
                  <c:v>3.8305555555555557</c:v>
                </c:pt>
                <c:pt idx="1380">
                  <c:v>3.8333333333333335</c:v>
                </c:pt>
                <c:pt idx="1381">
                  <c:v>3.8361111111111112</c:v>
                </c:pt>
                <c:pt idx="1382">
                  <c:v>3.838888888888889</c:v>
                </c:pt>
                <c:pt idx="1383">
                  <c:v>3.8416666666666668</c:v>
                </c:pt>
                <c:pt idx="1384">
                  <c:v>3.8444444444444446</c:v>
                </c:pt>
                <c:pt idx="1385">
                  <c:v>3.8472222222222223</c:v>
                </c:pt>
                <c:pt idx="1386">
                  <c:v>3.85</c:v>
                </c:pt>
                <c:pt idx="1387">
                  <c:v>3.8527777777777779</c:v>
                </c:pt>
                <c:pt idx="1388">
                  <c:v>3.8555555555555556</c:v>
                </c:pt>
                <c:pt idx="1389">
                  <c:v>3.8583333333333334</c:v>
                </c:pt>
                <c:pt idx="1390">
                  <c:v>3.8611111111111112</c:v>
                </c:pt>
                <c:pt idx="1391">
                  <c:v>3.8638888888888889</c:v>
                </c:pt>
                <c:pt idx="1392">
                  <c:v>3.8666666666666667</c:v>
                </c:pt>
                <c:pt idx="1393">
                  <c:v>3.8694444444444445</c:v>
                </c:pt>
                <c:pt idx="1394">
                  <c:v>3.8722222222222222</c:v>
                </c:pt>
                <c:pt idx="1395">
                  <c:v>3.875</c:v>
                </c:pt>
                <c:pt idx="1396">
                  <c:v>3.8777777777777778</c:v>
                </c:pt>
                <c:pt idx="1397">
                  <c:v>3.8805555555555555</c:v>
                </c:pt>
                <c:pt idx="1398">
                  <c:v>3.8833333333333333</c:v>
                </c:pt>
                <c:pt idx="1399">
                  <c:v>3.8861111111111111</c:v>
                </c:pt>
                <c:pt idx="1400">
                  <c:v>3.8888888888888888</c:v>
                </c:pt>
                <c:pt idx="1401">
                  <c:v>3.8916666666666666</c:v>
                </c:pt>
                <c:pt idx="1402">
                  <c:v>3.8944444444444444</c:v>
                </c:pt>
                <c:pt idx="1403">
                  <c:v>3.8972222222222221</c:v>
                </c:pt>
                <c:pt idx="1404">
                  <c:v>3.9</c:v>
                </c:pt>
                <c:pt idx="1405">
                  <c:v>3.9027777777777777</c:v>
                </c:pt>
                <c:pt idx="1406">
                  <c:v>3.9055555555555554</c:v>
                </c:pt>
                <c:pt idx="1407">
                  <c:v>3.9083333333333332</c:v>
                </c:pt>
                <c:pt idx="1408">
                  <c:v>3.911111111111111</c:v>
                </c:pt>
                <c:pt idx="1409">
                  <c:v>3.9138888888888888</c:v>
                </c:pt>
                <c:pt idx="1410">
                  <c:v>3.9166666666666665</c:v>
                </c:pt>
                <c:pt idx="1411">
                  <c:v>3.9194444444444443</c:v>
                </c:pt>
                <c:pt idx="1412">
                  <c:v>3.9222222222222221</c:v>
                </c:pt>
                <c:pt idx="1413">
                  <c:v>3.9249999999999998</c:v>
                </c:pt>
                <c:pt idx="1414">
                  <c:v>3.9277777777777776</c:v>
                </c:pt>
                <c:pt idx="1415">
                  <c:v>3.9305555555555554</c:v>
                </c:pt>
                <c:pt idx="1416">
                  <c:v>3.9333333333333331</c:v>
                </c:pt>
                <c:pt idx="1417">
                  <c:v>3.9361111111111109</c:v>
                </c:pt>
                <c:pt idx="1418">
                  <c:v>3.9388888888888891</c:v>
                </c:pt>
                <c:pt idx="1419">
                  <c:v>3.9416666666666669</c:v>
                </c:pt>
                <c:pt idx="1420">
                  <c:v>3.9444444444444446</c:v>
                </c:pt>
                <c:pt idx="1421">
                  <c:v>3.9472222222222224</c:v>
                </c:pt>
                <c:pt idx="1422">
                  <c:v>3.95</c:v>
                </c:pt>
                <c:pt idx="1423">
                  <c:v>3.9527777777777779</c:v>
                </c:pt>
                <c:pt idx="1424">
                  <c:v>3.9555555555555557</c:v>
                </c:pt>
                <c:pt idx="1425">
                  <c:v>3.9583333333333335</c:v>
                </c:pt>
                <c:pt idx="1426">
                  <c:v>3.9611111111111112</c:v>
                </c:pt>
                <c:pt idx="1427">
                  <c:v>3.963888888888889</c:v>
                </c:pt>
                <c:pt idx="1428">
                  <c:v>3.9666666666666668</c:v>
                </c:pt>
                <c:pt idx="1429">
                  <c:v>3.9694444444444446</c:v>
                </c:pt>
                <c:pt idx="1430">
                  <c:v>3.9722222222222223</c:v>
                </c:pt>
                <c:pt idx="1431">
                  <c:v>3.9750000000000001</c:v>
                </c:pt>
                <c:pt idx="1432">
                  <c:v>3.9777777777777779</c:v>
                </c:pt>
                <c:pt idx="1433">
                  <c:v>3.9805555555555556</c:v>
                </c:pt>
                <c:pt idx="1434">
                  <c:v>3.9833333333333334</c:v>
                </c:pt>
                <c:pt idx="1435">
                  <c:v>3.9861111111111112</c:v>
                </c:pt>
                <c:pt idx="1436">
                  <c:v>3.9888888888888889</c:v>
                </c:pt>
                <c:pt idx="1437">
                  <c:v>3.9916666666666667</c:v>
                </c:pt>
                <c:pt idx="1438">
                  <c:v>3.9944444444444445</c:v>
                </c:pt>
                <c:pt idx="1439">
                  <c:v>3.9972222222222222</c:v>
                </c:pt>
                <c:pt idx="1440">
                  <c:v>4</c:v>
                </c:pt>
                <c:pt idx="1441">
                  <c:v>4.0027777777777782</c:v>
                </c:pt>
                <c:pt idx="1442">
                  <c:v>4.0055555555555555</c:v>
                </c:pt>
                <c:pt idx="1443">
                  <c:v>4.0083333333333337</c:v>
                </c:pt>
                <c:pt idx="1444">
                  <c:v>4.0111111111111111</c:v>
                </c:pt>
                <c:pt idx="1445">
                  <c:v>4.0138888888888893</c:v>
                </c:pt>
                <c:pt idx="1446">
                  <c:v>4.0166666666666666</c:v>
                </c:pt>
                <c:pt idx="1447">
                  <c:v>4.0194444444444448</c:v>
                </c:pt>
                <c:pt idx="1448">
                  <c:v>4.0222222222222221</c:v>
                </c:pt>
                <c:pt idx="1449">
                  <c:v>4.0250000000000004</c:v>
                </c:pt>
                <c:pt idx="1450">
                  <c:v>4.0277777777777777</c:v>
                </c:pt>
                <c:pt idx="1451">
                  <c:v>4.0305555555555559</c:v>
                </c:pt>
                <c:pt idx="1452">
                  <c:v>4.0333333333333332</c:v>
                </c:pt>
                <c:pt idx="1453">
                  <c:v>4.0361111111111114</c:v>
                </c:pt>
                <c:pt idx="1454">
                  <c:v>4.0388888888888888</c:v>
                </c:pt>
                <c:pt idx="1455">
                  <c:v>4.041666666666667</c:v>
                </c:pt>
                <c:pt idx="1456">
                  <c:v>4.0444444444444443</c:v>
                </c:pt>
                <c:pt idx="1457">
                  <c:v>4.0472222222222225</c:v>
                </c:pt>
                <c:pt idx="1458">
                  <c:v>4.05</c:v>
                </c:pt>
                <c:pt idx="1459">
                  <c:v>4.052777777777778</c:v>
                </c:pt>
                <c:pt idx="1460">
                  <c:v>4.0555555555555554</c:v>
                </c:pt>
                <c:pt idx="1461">
                  <c:v>4.0583333333333336</c:v>
                </c:pt>
                <c:pt idx="1462">
                  <c:v>4.0611111111111109</c:v>
                </c:pt>
                <c:pt idx="1463">
                  <c:v>4.0638888888888891</c:v>
                </c:pt>
                <c:pt idx="1464">
                  <c:v>4.0666666666666664</c:v>
                </c:pt>
                <c:pt idx="1465">
                  <c:v>4.0694444444444446</c:v>
                </c:pt>
                <c:pt idx="1466">
                  <c:v>4.072222222222222</c:v>
                </c:pt>
                <c:pt idx="1467">
                  <c:v>4.0750000000000002</c:v>
                </c:pt>
                <c:pt idx="1468">
                  <c:v>4.0777777777777775</c:v>
                </c:pt>
                <c:pt idx="1469">
                  <c:v>4.0805555555555557</c:v>
                </c:pt>
                <c:pt idx="1470">
                  <c:v>4.083333333333333</c:v>
                </c:pt>
                <c:pt idx="1471">
                  <c:v>4.0861111111111112</c:v>
                </c:pt>
                <c:pt idx="1472">
                  <c:v>4.0888888888888886</c:v>
                </c:pt>
                <c:pt idx="1473">
                  <c:v>4.0916666666666668</c:v>
                </c:pt>
                <c:pt idx="1474">
                  <c:v>4.0944444444444441</c:v>
                </c:pt>
                <c:pt idx="1475">
                  <c:v>4.0972222222222223</c:v>
                </c:pt>
                <c:pt idx="1476">
                  <c:v>4.0999999999999996</c:v>
                </c:pt>
                <c:pt idx="1477">
                  <c:v>4.1027777777777779</c:v>
                </c:pt>
                <c:pt idx="1478">
                  <c:v>4.1055555555555552</c:v>
                </c:pt>
                <c:pt idx="1479">
                  <c:v>4.1083333333333334</c:v>
                </c:pt>
                <c:pt idx="1480">
                  <c:v>4.1111111111111107</c:v>
                </c:pt>
                <c:pt idx="1481">
                  <c:v>4.1138888888888889</c:v>
                </c:pt>
                <c:pt idx="1482">
                  <c:v>4.1166666666666663</c:v>
                </c:pt>
                <c:pt idx="1483">
                  <c:v>4.1194444444444445</c:v>
                </c:pt>
                <c:pt idx="1484">
                  <c:v>4.1222222222222218</c:v>
                </c:pt>
                <c:pt idx="1485">
                  <c:v>4.125</c:v>
                </c:pt>
                <c:pt idx="1486">
                  <c:v>4.1277777777777782</c:v>
                </c:pt>
                <c:pt idx="1487">
                  <c:v>4.1305555555555555</c:v>
                </c:pt>
                <c:pt idx="1488">
                  <c:v>4.1333333333333337</c:v>
                </c:pt>
                <c:pt idx="1489">
                  <c:v>4.1361111111111111</c:v>
                </c:pt>
                <c:pt idx="1490">
                  <c:v>4.1388888888888893</c:v>
                </c:pt>
                <c:pt idx="1491">
                  <c:v>4.1416666666666666</c:v>
                </c:pt>
                <c:pt idx="1492">
                  <c:v>4.1444444444444448</c:v>
                </c:pt>
                <c:pt idx="1493">
                  <c:v>4.1472222222222221</c:v>
                </c:pt>
                <c:pt idx="1494">
                  <c:v>4.1500000000000004</c:v>
                </c:pt>
                <c:pt idx="1495">
                  <c:v>4.1527777777777777</c:v>
                </c:pt>
                <c:pt idx="1496">
                  <c:v>4.1555555555555559</c:v>
                </c:pt>
                <c:pt idx="1497">
                  <c:v>4.1583333333333332</c:v>
                </c:pt>
                <c:pt idx="1498">
                  <c:v>4.1611111111111114</c:v>
                </c:pt>
                <c:pt idx="1499">
                  <c:v>4.1638888888888888</c:v>
                </c:pt>
                <c:pt idx="1500">
                  <c:v>4.166666666666667</c:v>
                </c:pt>
                <c:pt idx="1501">
                  <c:v>4.1694444444444443</c:v>
                </c:pt>
                <c:pt idx="1502">
                  <c:v>4.1722222222222225</c:v>
                </c:pt>
                <c:pt idx="1503">
                  <c:v>4.1749999999999998</c:v>
                </c:pt>
                <c:pt idx="1504">
                  <c:v>4.177777777777778</c:v>
                </c:pt>
                <c:pt idx="1505">
                  <c:v>4.1805555555555554</c:v>
                </c:pt>
                <c:pt idx="1506">
                  <c:v>4.1833333333333336</c:v>
                </c:pt>
                <c:pt idx="1507">
                  <c:v>4.1861111111111109</c:v>
                </c:pt>
                <c:pt idx="1508">
                  <c:v>4.1888888888888891</c:v>
                </c:pt>
                <c:pt idx="1509">
                  <c:v>4.1916666666666664</c:v>
                </c:pt>
                <c:pt idx="1510">
                  <c:v>4.1944444444444446</c:v>
                </c:pt>
                <c:pt idx="1511">
                  <c:v>4.197222222222222</c:v>
                </c:pt>
                <c:pt idx="1512">
                  <c:v>4.2</c:v>
                </c:pt>
                <c:pt idx="1513">
                  <c:v>4.2027777777777775</c:v>
                </c:pt>
                <c:pt idx="1514">
                  <c:v>4.2055555555555557</c:v>
                </c:pt>
                <c:pt idx="1515">
                  <c:v>4.208333333333333</c:v>
                </c:pt>
                <c:pt idx="1516">
                  <c:v>4.2111111111111112</c:v>
                </c:pt>
                <c:pt idx="1517">
                  <c:v>4.2138888888888886</c:v>
                </c:pt>
                <c:pt idx="1518">
                  <c:v>4.2166666666666668</c:v>
                </c:pt>
                <c:pt idx="1519">
                  <c:v>4.2194444444444441</c:v>
                </c:pt>
                <c:pt idx="1520">
                  <c:v>4.2222222222222223</c:v>
                </c:pt>
                <c:pt idx="1521">
                  <c:v>4.2249999999999996</c:v>
                </c:pt>
                <c:pt idx="1522">
                  <c:v>4.2277777777777779</c:v>
                </c:pt>
                <c:pt idx="1523">
                  <c:v>4.2305555555555552</c:v>
                </c:pt>
                <c:pt idx="1524">
                  <c:v>4.2333333333333334</c:v>
                </c:pt>
                <c:pt idx="1525">
                  <c:v>4.2361111111111107</c:v>
                </c:pt>
                <c:pt idx="1526">
                  <c:v>4.2388888888888889</c:v>
                </c:pt>
                <c:pt idx="1527">
                  <c:v>4.2416666666666663</c:v>
                </c:pt>
                <c:pt idx="1528">
                  <c:v>4.2444444444444445</c:v>
                </c:pt>
                <c:pt idx="1529">
                  <c:v>4.2472222222222218</c:v>
                </c:pt>
                <c:pt idx="1530">
                  <c:v>4.25</c:v>
                </c:pt>
                <c:pt idx="1531">
                  <c:v>4.2527777777777782</c:v>
                </c:pt>
                <c:pt idx="1532">
                  <c:v>4.2555555555555555</c:v>
                </c:pt>
                <c:pt idx="1533">
                  <c:v>4.2583333333333337</c:v>
                </c:pt>
                <c:pt idx="1534">
                  <c:v>4.2611111111111111</c:v>
                </c:pt>
                <c:pt idx="1535">
                  <c:v>4.2638888888888893</c:v>
                </c:pt>
                <c:pt idx="1536">
                  <c:v>4.2666666666666666</c:v>
                </c:pt>
                <c:pt idx="1537">
                  <c:v>4.2694444444444448</c:v>
                </c:pt>
                <c:pt idx="1538">
                  <c:v>4.2722222222222221</c:v>
                </c:pt>
                <c:pt idx="1539">
                  <c:v>4.2750000000000004</c:v>
                </c:pt>
                <c:pt idx="1540">
                  <c:v>4.2777777777777777</c:v>
                </c:pt>
                <c:pt idx="1541">
                  <c:v>4.2805555555555559</c:v>
                </c:pt>
                <c:pt idx="1542">
                  <c:v>4.2833333333333332</c:v>
                </c:pt>
                <c:pt idx="1543">
                  <c:v>4.2861111111111114</c:v>
                </c:pt>
                <c:pt idx="1544">
                  <c:v>4.2888888888888888</c:v>
                </c:pt>
                <c:pt idx="1545">
                  <c:v>4.291666666666667</c:v>
                </c:pt>
                <c:pt idx="1546">
                  <c:v>4.2944444444444443</c:v>
                </c:pt>
                <c:pt idx="1547">
                  <c:v>4.2972222222222225</c:v>
                </c:pt>
                <c:pt idx="1548">
                  <c:v>4.3</c:v>
                </c:pt>
                <c:pt idx="1549">
                  <c:v>4.302777777777778</c:v>
                </c:pt>
                <c:pt idx="1550">
                  <c:v>4.3055555555555554</c:v>
                </c:pt>
                <c:pt idx="1551">
                  <c:v>4.3083333333333336</c:v>
                </c:pt>
                <c:pt idx="1552">
                  <c:v>4.3111111111111109</c:v>
                </c:pt>
                <c:pt idx="1553">
                  <c:v>4.3138888888888891</c:v>
                </c:pt>
                <c:pt idx="1554">
                  <c:v>4.3166666666666664</c:v>
                </c:pt>
                <c:pt idx="1555">
                  <c:v>4.3194444444444446</c:v>
                </c:pt>
                <c:pt idx="1556">
                  <c:v>4.322222222222222</c:v>
                </c:pt>
                <c:pt idx="1557">
                  <c:v>4.3250000000000002</c:v>
                </c:pt>
                <c:pt idx="1558">
                  <c:v>4.3277777777777775</c:v>
                </c:pt>
                <c:pt idx="1559">
                  <c:v>4.3305555555555557</c:v>
                </c:pt>
                <c:pt idx="1560">
                  <c:v>4.333333333333333</c:v>
                </c:pt>
                <c:pt idx="1561">
                  <c:v>4.3361111111111112</c:v>
                </c:pt>
                <c:pt idx="1562">
                  <c:v>4.3388888888888886</c:v>
                </c:pt>
                <c:pt idx="1563">
                  <c:v>4.3416666666666668</c:v>
                </c:pt>
                <c:pt idx="1564">
                  <c:v>4.3444444444444441</c:v>
                </c:pt>
                <c:pt idx="1565">
                  <c:v>4.3472222222222223</c:v>
                </c:pt>
                <c:pt idx="1566">
                  <c:v>4.3499999999999996</c:v>
                </c:pt>
                <c:pt idx="1567">
                  <c:v>4.3527777777777779</c:v>
                </c:pt>
                <c:pt idx="1568">
                  <c:v>4.3555555555555552</c:v>
                </c:pt>
                <c:pt idx="1569">
                  <c:v>4.3583333333333334</c:v>
                </c:pt>
                <c:pt idx="1570">
                  <c:v>4.3611111111111107</c:v>
                </c:pt>
                <c:pt idx="1571">
                  <c:v>4.3638888888888889</c:v>
                </c:pt>
                <c:pt idx="1572">
                  <c:v>4.3666666666666663</c:v>
                </c:pt>
                <c:pt idx="1573">
                  <c:v>4.3694444444444445</c:v>
                </c:pt>
                <c:pt idx="1574">
                  <c:v>4.3722222222222218</c:v>
                </c:pt>
                <c:pt idx="1575">
                  <c:v>4.375</c:v>
                </c:pt>
                <c:pt idx="1576">
                  <c:v>4.3777777777777782</c:v>
                </c:pt>
                <c:pt idx="1577">
                  <c:v>4.3805555555555555</c:v>
                </c:pt>
                <c:pt idx="1578">
                  <c:v>4.3833333333333337</c:v>
                </c:pt>
                <c:pt idx="1579">
                  <c:v>4.3861111111111111</c:v>
                </c:pt>
                <c:pt idx="1580">
                  <c:v>4.3888888888888893</c:v>
                </c:pt>
                <c:pt idx="1581">
                  <c:v>4.3916666666666666</c:v>
                </c:pt>
                <c:pt idx="1582">
                  <c:v>4.3944444444444448</c:v>
                </c:pt>
                <c:pt idx="1583">
                  <c:v>4.3972222222222221</c:v>
                </c:pt>
                <c:pt idx="1584">
                  <c:v>4.4000000000000004</c:v>
                </c:pt>
                <c:pt idx="1585">
                  <c:v>4.4027777777777777</c:v>
                </c:pt>
                <c:pt idx="1586">
                  <c:v>4.4055555555555559</c:v>
                </c:pt>
                <c:pt idx="1587">
                  <c:v>4.4083333333333332</c:v>
                </c:pt>
                <c:pt idx="1588">
                  <c:v>4.4111111111111114</c:v>
                </c:pt>
                <c:pt idx="1589">
                  <c:v>4.4138888888888888</c:v>
                </c:pt>
                <c:pt idx="1590">
                  <c:v>4.416666666666667</c:v>
                </c:pt>
                <c:pt idx="1591">
                  <c:v>4.4194444444444443</c:v>
                </c:pt>
                <c:pt idx="1592">
                  <c:v>4.4222222222222225</c:v>
                </c:pt>
                <c:pt idx="1593">
                  <c:v>4.4249999999999998</c:v>
                </c:pt>
                <c:pt idx="1594">
                  <c:v>4.427777777777778</c:v>
                </c:pt>
                <c:pt idx="1595">
                  <c:v>4.4305555555555554</c:v>
                </c:pt>
                <c:pt idx="1596">
                  <c:v>4.4333333333333336</c:v>
                </c:pt>
                <c:pt idx="1597">
                  <c:v>4.4361111111111109</c:v>
                </c:pt>
                <c:pt idx="1598">
                  <c:v>4.4388888888888891</c:v>
                </c:pt>
                <c:pt idx="1599">
                  <c:v>4.4416666666666664</c:v>
                </c:pt>
                <c:pt idx="1600">
                  <c:v>4.4444444444444446</c:v>
                </c:pt>
                <c:pt idx="1601">
                  <c:v>4.447222222222222</c:v>
                </c:pt>
                <c:pt idx="1602">
                  <c:v>4.45</c:v>
                </c:pt>
                <c:pt idx="1603">
                  <c:v>4.4527777777777775</c:v>
                </c:pt>
                <c:pt idx="1604">
                  <c:v>4.4555555555555557</c:v>
                </c:pt>
                <c:pt idx="1605">
                  <c:v>4.458333333333333</c:v>
                </c:pt>
                <c:pt idx="1606">
                  <c:v>4.4611111111111112</c:v>
                </c:pt>
                <c:pt idx="1607">
                  <c:v>4.4638888888888886</c:v>
                </c:pt>
                <c:pt idx="1608">
                  <c:v>4.4666666666666668</c:v>
                </c:pt>
                <c:pt idx="1609">
                  <c:v>4.4694444444444441</c:v>
                </c:pt>
                <c:pt idx="1610">
                  <c:v>4.4722222222222223</c:v>
                </c:pt>
                <c:pt idx="1611">
                  <c:v>4.4749999999999996</c:v>
                </c:pt>
                <c:pt idx="1612">
                  <c:v>4.4777777777777779</c:v>
                </c:pt>
                <c:pt idx="1613">
                  <c:v>4.4805555555555552</c:v>
                </c:pt>
                <c:pt idx="1614">
                  <c:v>4.4833333333333334</c:v>
                </c:pt>
                <c:pt idx="1615">
                  <c:v>4.4861111111111107</c:v>
                </c:pt>
                <c:pt idx="1616">
                  <c:v>4.4888888888888889</c:v>
                </c:pt>
                <c:pt idx="1617">
                  <c:v>4.4916666666666663</c:v>
                </c:pt>
                <c:pt idx="1618">
                  <c:v>4.4944444444444445</c:v>
                </c:pt>
                <c:pt idx="1619">
                  <c:v>4.4972222222222218</c:v>
                </c:pt>
                <c:pt idx="1620">
                  <c:v>4.5</c:v>
                </c:pt>
                <c:pt idx="1621">
                  <c:v>4.5027777777777782</c:v>
                </c:pt>
                <c:pt idx="1622">
                  <c:v>4.5055555555555555</c:v>
                </c:pt>
                <c:pt idx="1623">
                  <c:v>4.5083333333333337</c:v>
                </c:pt>
                <c:pt idx="1624">
                  <c:v>4.5111111111111111</c:v>
                </c:pt>
                <c:pt idx="1625">
                  <c:v>4.5138888888888893</c:v>
                </c:pt>
                <c:pt idx="1626">
                  <c:v>4.5166666666666666</c:v>
                </c:pt>
                <c:pt idx="1627">
                  <c:v>4.5194444444444448</c:v>
                </c:pt>
                <c:pt idx="1628">
                  <c:v>4.5222222222222221</c:v>
                </c:pt>
                <c:pt idx="1629">
                  <c:v>4.5250000000000004</c:v>
                </c:pt>
                <c:pt idx="1630">
                  <c:v>4.5277777777777777</c:v>
                </c:pt>
                <c:pt idx="1631">
                  <c:v>4.5305555555555559</c:v>
                </c:pt>
                <c:pt idx="1632">
                  <c:v>4.5333333333333332</c:v>
                </c:pt>
                <c:pt idx="1633">
                  <c:v>4.5361111111111114</c:v>
                </c:pt>
                <c:pt idx="1634">
                  <c:v>4.5388888888888888</c:v>
                </c:pt>
                <c:pt idx="1635">
                  <c:v>4.541666666666667</c:v>
                </c:pt>
                <c:pt idx="1636">
                  <c:v>4.5444444444444443</c:v>
                </c:pt>
                <c:pt idx="1637">
                  <c:v>4.5472222222222225</c:v>
                </c:pt>
                <c:pt idx="1638">
                  <c:v>4.55</c:v>
                </c:pt>
                <c:pt idx="1639">
                  <c:v>4.552777777777778</c:v>
                </c:pt>
                <c:pt idx="1640">
                  <c:v>4.5555555555555554</c:v>
                </c:pt>
                <c:pt idx="1641">
                  <c:v>4.5583333333333336</c:v>
                </c:pt>
                <c:pt idx="1642">
                  <c:v>4.5611111111111109</c:v>
                </c:pt>
                <c:pt idx="1643">
                  <c:v>4.5638888888888891</c:v>
                </c:pt>
                <c:pt idx="1644">
                  <c:v>4.5666666666666664</c:v>
                </c:pt>
                <c:pt idx="1645">
                  <c:v>4.5694444444444446</c:v>
                </c:pt>
                <c:pt idx="1646">
                  <c:v>4.572222222222222</c:v>
                </c:pt>
                <c:pt idx="1647">
                  <c:v>4.5750000000000002</c:v>
                </c:pt>
                <c:pt idx="1648">
                  <c:v>4.5777777777777775</c:v>
                </c:pt>
                <c:pt idx="1649">
                  <c:v>4.5805555555555557</c:v>
                </c:pt>
                <c:pt idx="1650">
                  <c:v>4.583333333333333</c:v>
                </c:pt>
                <c:pt idx="1651">
                  <c:v>4.5861111111111112</c:v>
                </c:pt>
                <c:pt idx="1652">
                  <c:v>4.5888888888888886</c:v>
                </c:pt>
                <c:pt idx="1653">
                  <c:v>4.5916666666666668</c:v>
                </c:pt>
                <c:pt idx="1654">
                  <c:v>4.5944444444444441</c:v>
                </c:pt>
                <c:pt idx="1655">
                  <c:v>4.5972222222222223</c:v>
                </c:pt>
                <c:pt idx="1656">
                  <c:v>4.5999999999999996</c:v>
                </c:pt>
                <c:pt idx="1657">
                  <c:v>4.6027777777777779</c:v>
                </c:pt>
                <c:pt idx="1658">
                  <c:v>4.6055555555555552</c:v>
                </c:pt>
                <c:pt idx="1659">
                  <c:v>4.6083333333333334</c:v>
                </c:pt>
                <c:pt idx="1660">
                  <c:v>4.6111111111111107</c:v>
                </c:pt>
                <c:pt idx="1661">
                  <c:v>4.6138888888888889</c:v>
                </c:pt>
                <c:pt idx="1662">
                  <c:v>4.6166666666666663</c:v>
                </c:pt>
                <c:pt idx="1663">
                  <c:v>4.6194444444444445</c:v>
                </c:pt>
                <c:pt idx="1664">
                  <c:v>4.6222222222222218</c:v>
                </c:pt>
                <c:pt idx="1665">
                  <c:v>4.625</c:v>
                </c:pt>
                <c:pt idx="1666">
                  <c:v>4.6277777777777782</c:v>
                </c:pt>
                <c:pt idx="1667">
                  <c:v>4.6305555555555555</c:v>
                </c:pt>
                <c:pt idx="1668">
                  <c:v>4.6333333333333337</c:v>
                </c:pt>
                <c:pt idx="1669">
                  <c:v>4.6361111111111111</c:v>
                </c:pt>
                <c:pt idx="1670">
                  <c:v>4.6388888888888893</c:v>
                </c:pt>
                <c:pt idx="1671">
                  <c:v>4.6416666666666666</c:v>
                </c:pt>
                <c:pt idx="1672">
                  <c:v>4.6444444444444448</c:v>
                </c:pt>
                <c:pt idx="1673">
                  <c:v>4.6472222222222221</c:v>
                </c:pt>
                <c:pt idx="1674">
                  <c:v>4.6500000000000004</c:v>
                </c:pt>
                <c:pt idx="1675">
                  <c:v>4.6527777777777777</c:v>
                </c:pt>
                <c:pt idx="1676">
                  <c:v>4.6555555555555559</c:v>
                </c:pt>
                <c:pt idx="1677">
                  <c:v>4.6583333333333332</c:v>
                </c:pt>
                <c:pt idx="1678">
                  <c:v>4.6611111111111114</c:v>
                </c:pt>
                <c:pt idx="1679">
                  <c:v>4.6638888888888888</c:v>
                </c:pt>
                <c:pt idx="1680">
                  <c:v>4.666666666666667</c:v>
                </c:pt>
                <c:pt idx="1681">
                  <c:v>4.6694444444444443</c:v>
                </c:pt>
                <c:pt idx="1682">
                  <c:v>4.6722222222222225</c:v>
                </c:pt>
                <c:pt idx="1683">
                  <c:v>4.6749999999999998</c:v>
                </c:pt>
                <c:pt idx="1684">
                  <c:v>4.677777777777778</c:v>
                </c:pt>
                <c:pt idx="1685">
                  <c:v>4.6805555555555554</c:v>
                </c:pt>
                <c:pt idx="1686">
                  <c:v>4.6833333333333336</c:v>
                </c:pt>
                <c:pt idx="1687">
                  <c:v>4.6861111111111109</c:v>
                </c:pt>
                <c:pt idx="1688">
                  <c:v>4.6888888888888891</c:v>
                </c:pt>
                <c:pt idx="1689">
                  <c:v>4.6916666666666664</c:v>
                </c:pt>
                <c:pt idx="1690">
                  <c:v>4.6944444444444446</c:v>
                </c:pt>
                <c:pt idx="1691">
                  <c:v>4.697222222222222</c:v>
                </c:pt>
                <c:pt idx="1692">
                  <c:v>4.7</c:v>
                </c:pt>
                <c:pt idx="1693">
                  <c:v>4.7027777777777775</c:v>
                </c:pt>
                <c:pt idx="1694">
                  <c:v>4.7055555555555557</c:v>
                </c:pt>
                <c:pt idx="1695">
                  <c:v>4.708333333333333</c:v>
                </c:pt>
                <c:pt idx="1696">
                  <c:v>4.7111111111111112</c:v>
                </c:pt>
                <c:pt idx="1697">
                  <c:v>4.7138888888888886</c:v>
                </c:pt>
                <c:pt idx="1698">
                  <c:v>4.7166666666666668</c:v>
                </c:pt>
                <c:pt idx="1699">
                  <c:v>4.7194444444444441</c:v>
                </c:pt>
                <c:pt idx="1700">
                  <c:v>4.7222222222222223</c:v>
                </c:pt>
                <c:pt idx="1701">
                  <c:v>4.7249999999999996</c:v>
                </c:pt>
                <c:pt idx="1702">
                  <c:v>4.7277777777777779</c:v>
                </c:pt>
                <c:pt idx="1703">
                  <c:v>4.7305555555555552</c:v>
                </c:pt>
                <c:pt idx="1704">
                  <c:v>4.7333333333333334</c:v>
                </c:pt>
                <c:pt idx="1705">
                  <c:v>4.7361111111111107</c:v>
                </c:pt>
                <c:pt idx="1706">
                  <c:v>4.7388888888888889</c:v>
                </c:pt>
                <c:pt idx="1707">
                  <c:v>4.7416666666666663</c:v>
                </c:pt>
                <c:pt idx="1708">
                  <c:v>4.7444444444444445</c:v>
                </c:pt>
                <c:pt idx="1709">
                  <c:v>4.7472222222222218</c:v>
                </c:pt>
                <c:pt idx="1710">
                  <c:v>4.75</c:v>
                </c:pt>
                <c:pt idx="1711">
                  <c:v>4.7527777777777782</c:v>
                </c:pt>
                <c:pt idx="1712">
                  <c:v>4.7555555555555555</c:v>
                </c:pt>
                <c:pt idx="1713">
                  <c:v>4.7583333333333337</c:v>
                </c:pt>
                <c:pt idx="1714">
                  <c:v>4.7611111111111111</c:v>
                </c:pt>
                <c:pt idx="1715">
                  <c:v>4.7638888888888893</c:v>
                </c:pt>
                <c:pt idx="1716">
                  <c:v>4.7666666666666666</c:v>
                </c:pt>
                <c:pt idx="1717">
                  <c:v>4.7694444444444448</c:v>
                </c:pt>
                <c:pt idx="1718">
                  <c:v>4.7722222222222221</c:v>
                </c:pt>
                <c:pt idx="1719">
                  <c:v>4.7750000000000004</c:v>
                </c:pt>
                <c:pt idx="1720">
                  <c:v>4.7777777777777777</c:v>
                </c:pt>
                <c:pt idx="1721">
                  <c:v>4.7805555555555559</c:v>
                </c:pt>
                <c:pt idx="1722">
                  <c:v>4.7833333333333332</c:v>
                </c:pt>
                <c:pt idx="1723">
                  <c:v>4.7861111111111114</c:v>
                </c:pt>
                <c:pt idx="1724">
                  <c:v>4.7888888888888888</c:v>
                </c:pt>
                <c:pt idx="1725">
                  <c:v>4.791666666666667</c:v>
                </c:pt>
                <c:pt idx="1726">
                  <c:v>4.7944444444444443</c:v>
                </c:pt>
                <c:pt idx="1727">
                  <c:v>4.7972222222222225</c:v>
                </c:pt>
                <c:pt idx="1728">
                  <c:v>4.8</c:v>
                </c:pt>
                <c:pt idx="1729">
                  <c:v>4.802777777777778</c:v>
                </c:pt>
                <c:pt idx="1730">
                  <c:v>4.8055555555555554</c:v>
                </c:pt>
                <c:pt idx="1731">
                  <c:v>4.8083333333333336</c:v>
                </c:pt>
                <c:pt idx="1732">
                  <c:v>4.8111111111111109</c:v>
                </c:pt>
                <c:pt idx="1733">
                  <c:v>4.8138888888888891</c:v>
                </c:pt>
                <c:pt idx="1734">
                  <c:v>4.8166666666666664</c:v>
                </c:pt>
                <c:pt idx="1735">
                  <c:v>4.8194444444444446</c:v>
                </c:pt>
                <c:pt idx="1736">
                  <c:v>4.822222222222222</c:v>
                </c:pt>
                <c:pt idx="1737">
                  <c:v>4.8250000000000002</c:v>
                </c:pt>
                <c:pt idx="1738">
                  <c:v>4.8277777777777775</c:v>
                </c:pt>
                <c:pt idx="1739">
                  <c:v>4.8305555555555557</c:v>
                </c:pt>
                <c:pt idx="1740">
                  <c:v>4.833333333333333</c:v>
                </c:pt>
                <c:pt idx="1741">
                  <c:v>4.8361111111111112</c:v>
                </c:pt>
                <c:pt idx="1742">
                  <c:v>4.8388888888888886</c:v>
                </c:pt>
                <c:pt idx="1743">
                  <c:v>4.8416666666666668</c:v>
                </c:pt>
                <c:pt idx="1744">
                  <c:v>4.8444444444444441</c:v>
                </c:pt>
                <c:pt idx="1745">
                  <c:v>4.8472222222222223</c:v>
                </c:pt>
                <c:pt idx="1746">
                  <c:v>4.8499999999999996</c:v>
                </c:pt>
                <c:pt idx="1747">
                  <c:v>4.8527777777777779</c:v>
                </c:pt>
                <c:pt idx="1748">
                  <c:v>4.8555555555555552</c:v>
                </c:pt>
                <c:pt idx="1749">
                  <c:v>4.8583333333333334</c:v>
                </c:pt>
                <c:pt idx="1750">
                  <c:v>4.8611111111111107</c:v>
                </c:pt>
                <c:pt idx="1751">
                  <c:v>4.8638888888888889</c:v>
                </c:pt>
                <c:pt idx="1752">
                  <c:v>4.8666666666666663</c:v>
                </c:pt>
                <c:pt idx="1753">
                  <c:v>4.8694444444444445</c:v>
                </c:pt>
                <c:pt idx="1754">
                  <c:v>4.8722222222222218</c:v>
                </c:pt>
                <c:pt idx="1755">
                  <c:v>4.875</c:v>
                </c:pt>
                <c:pt idx="1756">
                  <c:v>4.8777777777777782</c:v>
                </c:pt>
                <c:pt idx="1757">
                  <c:v>4.8805555555555555</c:v>
                </c:pt>
                <c:pt idx="1758">
                  <c:v>4.8833333333333337</c:v>
                </c:pt>
                <c:pt idx="1759">
                  <c:v>4.8861111111111111</c:v>
                </c:pt>
                <c:pt idx="1760">
                  <c:v>4.8888888888888893</c:v>
                </c:pt>
                <c:pt idx="1761">
                  <c:v>4.8916666666666666</c:v>
                </c:pt>
                <c:pt idx="1762">
                  <c:v>4.8944444444444448</c:v>
                </c:pt>
                <c:pt idx="1763">
                  <c:v>4.8972222222222221</c:v>
                </c:pt>
                <c:pt idx="1764">
                  <c:v>4.9000000000000004</c:v>
                </c:pt>
                <c:pt idx="1765">
                  <c:v>4.9027777777777777</c:v>
                </c:pt>
                <c:pt idx="1766">
                  <c:v>4.9055555555555559</c:v>
                </c:pt>
                <c:pt idx="1767">
                  <c:v>4.9083333333333332</c:v>
                </c:pt>
                <c:pt idx="1768">
                  <c:v>4.9111111111111114</c:v>
                </c:pt>
                <c:pt idx="1769">
                  <c:v>4.9138888888888888</c:v>
                </c:pt>
                <c:pt idx="1770">
                  <c:v>4.916666666666667</c:v>
                </c:pt>
                <c:pt idx="1771">
                  <c:v>4.9194444444444443</c:v>
                </c:pt>
                <c:pt idx="1772">
                  <c:v>4.9222222222222225</c:v>
                </c:pt>
                <c:pt idx="1773">
                  <c:v>4.9249999999999998</c:v>
                </c:pt>
                <c:pt idx="1774">
                  <c:v>4.927777777777778</c:v>
                </c:pt>
                <c:pt idx="1775">
                  <c:v>4.9305555555555554</c:v>
                </c:pt>
                <c:pt idx="1776">
                  <c:v>4.9333333333333336</c:v>
                </c:pt>
                <c:pt idx="1777">
                  <c:v>4.9361111111111109</c:v>
                </c:pt>
                <c:pt idx="1778">
                  <c:v>4.9388888888888891</c:v>
                </c:pt>
                <c:pt idx="1779">
                  <c:v>4.9416666666666664</c:v>
                </c:pt>
                <c:pt idx="1780">
                  <c:v>4.9444444444444446</c:v>
                </c:pt>
                <c:pt idx="1781">
                  <c:v>4.947222222222222</c:v>
                </c:pt>
                <c:pt idx="1782">
                  <c:v>4.95</c:v>
                </c:pt>
                <c:pt idx="1783">
                  <c:v>4.9527777777777775</c:v>
                </c:pt>
                <c:pt idx="1784">
                  <c:v>4.9555555555555557</c:v>
                </c:pt>
                <c:pt idx="1785">
                  <c:v>4.958333333333333</c:v>
                </c:pt>
                <c:pt idx="1786">
                  <c:v>4.9611111111111112</c:v>
                </c:pt>
                <c:pt idx="1787">
                  <c:v>4.9638888888888886</c:v>
                </c:pt>
                <c:pt idx="1788">
                  <c:v>4.9666666666666668</c:v>
                </c:pt>
                <c:pt idx="1789">
                  <c:v>4.9694444444444441</c:v>
                </c:pt>
                <c:pt idx="1790">
                  <c:v>4.9722222222222223</c:v>
                </c:pt>
                <c:pt idx="1791">
                  <c:v>4.9749999999999996</c:v>
                </c:pt>
                <c:pt idx="1792">
                  <c:v>4.9777777777777779</c:v>
                </c:pt>
                <c:pt idx="1793">
                  <c:v>4.9805555555555552</c:v>
                </c:pt>
                <c:pt idx="1794">
                  <c:v>4.9833333333333334</c:v>
                </c:pt>
                <c:pt idx="1795">
                  <c:v>4.9861111111111107</c:v>
                </c:pt>
                <c:pt idx="1796">
                  <c:v>4.9888888888888889</c:v>
                </c:pt>
                <c:pt idx="1797">
                  <c:v>4.9916666666666663</c:v>
                </c:pt>
                <c:pt idx="1798">
                  <c:v>4.9944444444444445</c:v>
                </c:pt>
                <c:pt idx="1799">
                  <c:v>4.9972222222222218</c:v>
                </c:pt>
                <c:pt idx="1800">
                  <c:v>5</c:v>
                </c:pt>
                <c:pt idx="1801">
                  <c:v>5.0027777777777782</c:v>
                </c:pt>
                <c:pt idx="1802">
                  <c:v>5.0055555555555555</c:v>
                </c:pt>
                <c:pt idx="1803">
                  <c:v>5.0083333333333337</c:v>
                </c:pt>
                <c:pt idx="1804">
                  <c:v>5.0111111111111111</c:v>
                </c:pt>
                <c:pt idx="1805">
                  <c:v>5.0138888888888893</c:v>
                </c:pt>
                <c:pt idx="1806">
                  <c:v>5.0166666666666666</c:v>
                </c:pt>
                <c:pt idx="1807">
                  <c:v>5.0194444444444448</c:v>
                </c:pt>
                <c:pt idx="1808">
                  <c:v>5.0222222222222221</c:v>
                </c:pt>
                <c:pt idx="1809">
                  <c:v>5.0250000000000004</c:v>
                </c:pt>
                <c:pt idx="1810">
                  <c:v>5.0277777777777777</c:v>
                </c:pt>
                <c:pt idx="1811">
                  <c:v>5.0305555555555559</c:v>
                </c:pt>
                <c:pt idx="1812">
                  <c:v>5.0333333333333332</c:v>
                </c:pt>
                <c:pt idx="1813">
                  <c:v>5.0361111111111114</c:v>
                </c:pt>
                <c:pt idx="1814">
                  <c:v>5.0388888888888888</c:v>
                </c:pt>
                <c:pt idx="1815">
                  <c:v>5.041666666666667</c:v>
                </c:pt>
                <c:pt idx="1816">
                  <c:v>5.0444444444444443</c:v>
                </c:pt>
                <c:pt idx="1817">
                  <c:v>5.0472222222222225</c:v>
                </c:pt>
                <c:pt idx="1818">
                  <c:v>5.05</c:v>
                </c:pt>
                <c:pt idx="1819">
                  <c:v>5.052777777777778</c:v>
                </c:pt>
                <c:pt idx="1820">
                  <c:v>5.0555555555555554</c:v>
                </c:pt>
                <c:pt idx="1821">
                  <c:v>5.0583333333333336</c:v>
                </c:pt>
                <c:pt idx="1822">
                  <c:v>5.0611111111111109</c:v>
                </c:pt>
                <c:pt idx="1823">
                  <c:v>5.0638888888888891</c:v>
                </c:pt>
                <c:pt idx="1824">
                  <c:v>5.0666666666666664</c:v>
                </c:pt>
                <c:pt idx="1825">
                  <c:v>5.0694444444444446</c:v>
                </c:pt>
                <c:pt idx="1826">
                  <c:v>5.072222222222222</c:v>
                </c:pt>
                <c:pt idx="1827">
                  <c:v>5.0750000000000002</c:v>
                </c:pt>
                <c:pt idx="1828">
                  <c:v>5.0777777777777775</c:v>
                </c:pt>
                <c:pt idx="1829">
                  <c:v>5.0805555555555557</c:v>
                </c:pt>
                <c:pt idx="1830">
                  <c:v>5.083333333333333</c:v>
                </c:pt>
                <c:pt idx="1831">
                  <c:v>5.0861111111111112</c:v>
                </c:pt>
                <c:pt idx="1832">
                  <c:v>5.0888888888888886</c:v>
                </c:pt>
                <c:pt idx="1833">
                  <c:v>5.0916666666666668</c:v>
                </c:pt>
                <c:pt idx="1834">
                  <c:v>5.0944444444444441</c:v>
                </c:pt>
                <c:pt idx="1835">
                  <c:v>5.0972222222222223</c:v>
                </c:pt>
                <c:pt idx="1836">
                  <c:v>5.0999999999999996</c:v>
                </c:pt>
                <c:pt idx="1837">
                  <c:v>5.1027777777777779</c:v>
                </c:pt>
                <c:pt idx="1838">
                  <c:v>5.1055555555555552</c:v>
                </c:pt>
                <c:pt idx="1839">
                  <c:v>5.1083333333333334</c:v>
                </c:pt>
                <c:pt idx="1840">
                  <c:v>5.1111111111111107</c:v>
                </c:pt>
                <c:pt idx="1841">
                  <c:v>5.1138888888888889</c:v>
                </c:pt>
                <c:pt idx="1842">
                  <c:v>5.1166666666666663</c:v>
                </c:pt>
                <c:pt idx="1843">
                  <c:v>5.1194444444444445</c:v>
                </c:pt>
                <c:pt idx="1844">
                  <c:v>5.1222222222222218</c:v>
                </c:pt>
                <c:pt idx="1845">
                  <c:v>5.125</c:v>
                </c:pt>
                <c:pt idx="1846">
                  <c:v>5.1277777777777782</c:v>
                </c:pt>
                <c:pt idx="1847">
                  <c:v>5.1305555555555555</c:v>
                </c:pt>
                <c:pt idx="1848">
                  <c:v>5.1333333333333337</c:v>
                </c:pt>
                <c:pt idx="1849">
                  <c:v>5.1361111111111111</c:v>
                </c:pt>
                <c:pt idx="1850">
                  <c:v>5.1388888888888893</c:v>
                </c:pt>
                <c:pt idx="1851">
                  <c:v>5.1416666666666666</c:v>
                </c:pt>
                <c:pt idx="1852">
                  <c:v>5.1444444444444448</c:v>
                </c:pt>
                <c:pt idx="1853">
                  <c:v>5.1472222222222221</c:v>
                </c:pt>
                <c:pt idx="1854">
                  <c:v>5.15</c:v>
                </c:pt>
                <c:pt idx="1855">
                  <c:v>5.1527777777777777</c:v>
                </c:pt>
                <c:pt idx="1856">
                  <c:v>5.1555555555555559</c:v>
                </c:pt>
                <c:pt idx="1857">
                  <c:v>5.1583333333333332</c:v>
                </c:pt>
                <c:pt idx="1858">
                  <c:v>5.1611111111111114</c:v>
                </c:pt>
                <c:pt idx="1859">
                  <c:v>5.1638888888888888</c:v>
                </c:pt>
                <c:pt idx="1860">
                  <c:v>5.166666666666667</c:v>
                </c:pt>
                <c:pt idx="1861">
                  <c:v>5.1694444444444443</c:v>
                </c:pt>
                <c:pt idx="1862">
                  <c:v>5.1722222222222225</c:v>
                </c:pt>
                <c:pt idx="1863">
                  <c:v>5.1749999999999998</c:v>
                </c:pt>
                <c:pt idx="1864">
                  <c:v>5.177777777777778</c:v>
                </c:pt>
                <c:pt idx="1865">
                  <c:v>5.1805555555555554</c:v>
                </c:pt>
                <c:pt idx="1866">
                  <c:v>5.1833333333333336</c:v>
                </c:pt>
                <c:pt idx="1867">
                  <c:v>5.1861111111111109</c:v>
                </c:pt>
                <c:pt idx="1868">
                  <c:v>5.1888888888888891</c:v>
                </c:pt>
                <c:pt idx="1869">
                  <c:v>5.1916666666666664</c:v>
                </c:pt>
                <c:pt idx="1870">
                  <c:v>5.1944444444444446</c:v>
                </c:pt>
                <c:pt idx="1871">
                  <c:v>5.197222222222222</c:v>
                </c:pt>
                <c:pt idx="1872">
                  <c:v>5.2</c:v>
                </c:pt>
                <c:pt idx="1873">
                  <c:v>5.2027777777777775</c:v>
                </c:pt>
                <c:pt idx="1874">
                  <c:v>5.2055555555555557</c:v>
                </c:pt>
                <c:pt idx="1875">
                  <c:v>5.208333333333333</c:v>
                </c:pt>
                <c:pt idx="1876">
                  <c:v>5.2111111111111112</c:v>
                </c:pt>
                <c:pt idx="1877">
                  <c:v>5.2138888888888886</c:v>
                </c:pt>
                <c:pt idx="1878">
                  <c:v>5.2166666666666668</c:v>
                </c:pt>
                <c:pt idx="1879">
                  <c:v>5.2194444444444441</c:v>
                </c:pt>
                <c:pt idx="1880">
                  <c:v>5.2222222222222223</c:v>
                </c:pt>
                <c:pt idx="1881">
                  <c:v>5.2249999999999996</c:v>
                </c:pt>
                <c:pt idx="1882">
                  <c:v>5.2277777777777779</c:v>
                </c:pt>
                <c:pt idx="1883">
                  <c:v>5.2305555555555552</c:v>
                </c:pt>
                <c:pt idx="1884">
                  <c:v>5.2333333333333334</c:v>
                </c:pt>
                <c:pt idx="1885">
                  <c:v>5.2361111111111107</c:v>
                </c:pt>
                <c:pt idx="1886">
                  <c:v>5.2388888888888889</c:v>
                </c:pt>
                <c:pt idx="1887">
                  <c:v>5.2416666666666663</c:v>
                </c:pt>
                <c:pt idx="1888">
                  <c:v>5.2444444444444445</c:v>
                </c:pt>
                <c:pt idx="1889">
                  <c:v>5.2472222222222218</c:v>
                </c:pt>
                <c:pt idx="1890">
                  <c:v>5.25</c:v>
                </c:pt>
                <c:pt idx="1891">
                  <c:v>5.2527777777777782</c:v>
                </c:pt>
                <c:pt idx="1892">
                  <c:v>5.2555555555555555</c:v>
                </c:pt>
                <c:pt idx="1893">
                  <c:v>5.2583333333333337</c:v>
                </c:pt>
                <c:pt idx="1894">
                  <c:v>5.2611111111111111</c:v>
                </c:pt>
                <c:pt idx="1895">
                  <c:v>5.2638888888888893</c:v>
                </c:pt>
                <c:pt idx="1896">
                  <c:v>5.2666666666666666</c:v>
                </c:pt>
                <c:pt idx="1897">
                  <c:v>5.2694444444444448</c:v>
                </c:pt>
                <c:pt idx="1898">
                  <c:v>5.2722222222222221</c:v>
                </c:pt>
                <c:pt idx="1899">
                  <c:v>5.2750000000000004</c:v>
                </c:pt>
                <c:pt idx="1900">
                  <c:v>5.2777777777777777</c:v>
                </c:pt>
                <c:pt idx="1901">
                  <c:v>5.2805555555555559</c:v>
                </c:pt>
                <c:pt idx="1902">
                  <c:v>5.2833333333333332</c:v>
                </c:pt>
                <c:pt idx="1903">
                  <c:v>5.2861111111111114</c:v>
                </c:pt>
                <c:pt idx="1904">
                  <c:v>5.2888888888888888</c:v>
                </c:pt>
                <c:pt idx="1905">
                  <c:v>5.291666666666667</c:v>
                </c:pt>
                <c:pt idx="1906">
                  <c:v>5.2944444444444443</c:v>
                </c:pt>
                <c:pt idx="1907">
                  <c:v>5.2972222222222225</c:v>
                </c:pt>
                <c:pt idx="1908">
                  <c:v>5.3</c:v>
                </c:pt>
                <c:pt idx="1909">
                  <c:v>5.302777777777778</c:v>
                </c:pt>
                <c:pt idx="1910">
                  <c:v>5.3055555555555554</c:v>
                </c:pt>
                <c:pt idx="1911">
                  <c:v>5.3083333333333336</c:v>
                </c:pt>
                <c:pt idx="1912">
                  <c:v>5.3111111111111109</c:v>
                </c:pt>
                <c:pt idx="1913">
                  <c:v>5.3138888888888891</c:v>
                </c:pt>
                <c:pt idx="1914">
                  <c:v>5.3166666666666664</c:v>
                </c:pt>
                <c:pt idx="1915">
                  <c:v>5.3194444444444446</c:v>
                </c:pt>
                <c:pt idx="1916">
                  <c:v>5.322222222222222</c:v>
                </c:pt>
                <c:pt idx="1917">
                  <c:v>5.3250000000000002</c:v>
                </c:pt>
                <c:pt idx="1918">
                  <c:v>5.3277777777777775</c:v>
                </c:pt>
                <c:pt idx="1919">
                  <c:v>5.3305555555555557</c:v>
                </c:pt>
                <c:pt idx="1920">
                  <c:v>5.333333333333333</c:v>
                </c:pt>
                <c:pt idx="1921">
                  <c:v>5.3361111111111112</c:v>
                </c:pt>
                <c:pt idx="1922">
                  <c:v>5.3388888888888886</c:v>
                </c:pt>
                <c:pt idx="1923">
                  <c:v>5.3416666666666668</c:v>
                </c:pt>
                <c:pt idx="1924">
                  <c:v>5.3444444444444441</c:v>
                </c:pt>
                <c:pt idx="1925">
                  <c:v>5.3472222222222223</c:v>
                </c:pt>
                <c:pt idx="1926">
                  <c:v>5.35</c:v>
                </c:pt>
                <c:pt idx="1927">
                  <c:v>5.3527777777777779</c:v>
                </c:pt>
                <c:pt idx="1928">
                  <c:v>5.3555555555555552</c:v>
                </c:pt>
                <c:pt idx="1929">
                  <c:v>5.3583333333333334</c:v>
                </c:pt>
                <c:pt idx="1930">
                  <c:v>5.3611111111111107</c:v>
                </c:pt>
                <c:pt idx="1931">
                  <c:v>5.3638888888888889</c:v>
                </c:pt>
                <c:pt idx="1932">
                  <c:v>5.3666666666666663</c:v>
                </c:pt>
                <c:pt idx="1933">
                  <c:v>5.3694444444444445</c:v>
                </c:pt>
                <c:pt idx="1934">
                  <c:v>5.3722222222222218</c:v>
                </c:pt>
                <c:pt idx="1935">
                  <c:v>5.375</c:v>
                </c:pt>
                <c:pt idx="1936">
                  <c:v>5.3777777777777782</c:v>
                </c:pt>
                <c:pt idx="1937">
                  <c:v>5.3805555555555555</c:v>
                </c:pt>
                <c:pt idx="1938">
                  <c:v>5.3833333333333337</c:v>
                </c:pt>
                <c:pt idx="1939">
                  <c:v>5.3861111111111111</c:v>
                </c:pt>
                <c:pt idx="1940">
                  <c:v>5.3888888888888893</c:v>
                </c:pt>
                <c:pt idx="1941">
                  <c:v>5.3916666666666666</c:v>
                </c:pt>
                <c:pt idx="1942">
                  <c:v>5.3944444444444448</c:v>
                </c:pt>
                <c:pt idx="1943">
                  <c:v>5.3972222222222221</c:v>
                </c:pt>
                <c:pt idx="1944">
                  <c:v>5.4</c:v>
                </c:pt>
                <c:pt idx="1945">
                  <c:v>5.4027777777777777</c:v>
                </c:pt>
                <c:pt idx="1946">
                  <c:v>5.4055555555555559</c:v>
                </c:pt>
                <c:pt idx="1947">
                  <c:v>5.4083333333333332</c:v>
                </c:pt>
                <c:pt idx="1948">
                  <c:v>5.4111111111111114</c:v>
                </c:pt>
                <c:pt idx="1949">
                  <c:v>5.4138888888888888</c:v>
                </c:pt>
                <c:pt idx="1950">
                  <c:v>5.416666666666667</c:v>
                </c:pt>
                <c:pt idx="1951">
                  <c:v>5.4194444444444443</c:v>
                </c:pt>
                <c:pt idx="1952">
                  <c:v>5.4222222222222225</c:v>
                </c:pt>
                <c:pt idx="1953">
                  <c:v>5.4249999999999998</c:v>
                </c:pt>
                <c:pt idx="1954">
                  <c:v>5.427777777777778</c:v>
                </c:pt>
                <c:pt idx="1955">
                  <c:v>5.4305555555555554</c:v>
                </c:pt>
                <c:pt idx="1956">
                  <c:v>5.4333333333333336</c:v>
                </c:pt>
                <c:pt idx="1957">
                  <c:v>5.4361111111111109</c:v>
                </c:pt>
                <c:pt idx="1958">
                  <c:v>5.4388888888888891</c:v>
                </c:pt>
                <c:pt idx="1959">
                  <c:v>5.4416666666666664</c:v>
                </c:pt>
                <c:pt idx="1960">
                  <c:v>5.4444444444444446</c:v>
                </c:pt>
                <c:pt idx="1961">
                  <c:v>5.447222222222222</c:v>
                </c:pt>
                <c:pt idx="1962">
                  <c:v>5.45</c:v>
                </c:pt>
                <c:pt idx="1963">
                  <c:v>5.4527777777777775</c:v>
                </c:pt>
                <c:pt idx="1964">
                  <c:v>5.4555555555555557</c:v>
                </c:pt>
                <c:pt idx="1965">
                  <c:v>5.458333333333333</c:v>
                </c:pt>
                <c:pt idx="1966">
                  <c:v>5.4611111111111112</c:v>
                </c:pt>
                <c:pt idx="1967">
                  <c:v>5.4638888888888886</c:v>
                </c:pt>
                <c:pt idx="1968">
                  <c:v>5.4666666666666668</c:v>
                </c:pt>
                <c:pt idx="1969">
                  <c:v>5.4694444444444441</c:v>
                </c:pt>
                <c:pt idx="1970">
                  <c:v>5.4722222222222223</c:v>
                </c:pt>
                <c:pt idx="1971">
                  <c:v>5.4749999999999996</c:v>
                </c:pt>
                <c:pt idx="1972">
                  <c:v>5.4777777777777779</c:v>
                </c:pt>
                <c:pt idx="1973">
                  <c:v>5.4805555555555552</c:v>
                </c:pt>
                <c:pt idx="1974">
                  <c:v>5.4833333333333334</c:v>
                </c:pt>
                <c:pt idx="1975">
                  <c:v>5.4861111111111107</c:v>
                </c:pt>
                <c:pt idx="1976">
                  <c:v>5.4888888888888889</c:v>
                </c:pt>
                <c:pt idx="1977">
                  <c:v>5.4916666666666663</c:v>
                </c:pt>
                <c:pt idx="1978">
                  <c:v>5.4944444444444445</c:v>
                </c:pt>
                <c:pt idx="1979">
                  <c:v>5.4972222222222218</c:v>
                </c:pt>
                <c:pt idx="1980">
                  <c:v>5.5</c:v>
                </c:pt>
                <c:pt idx="1981">
                  <c:v>5.5027777777777782</c:v>
                </c:pt>
                <c:pt idx="1982">
                  <c:v>5.5055555555555555</c:v>
                </c:pt>
                <c:pt idx="1983">
                  <c:v>5.5083333333333337</c:v>
                </c:pt>
                <c:pt idx="1984">
                  <c:v>5.5111111111111111</c:v>
                </c:pt>
                <c:pt idx="1985">
                  <c:v>5.5138888888888893</c:v>
                </c:pt>
                <c:pt idx="1986">
                  <c:v>5.5166666666666666</c:v>
                </c:pt>
                <c:pt idx="1987">
                  <c:v>5.5194444444444448</c:v>
                </c:pt>
                <c:pt idx="1988">
                  <c:v>5.5222222222222221</c:v>
                </c:pt>
                <c:pt idx="1989">
                  <c:v>5.5250000000000004</c:v>
                </c:pt>
                <c:pt idx="1990">
                  <c:v>5.5277777777777777</c:v>
                </c:pt>
                <c:pt idx="1991">
                  <c:v>5.5305555555555559</c:v>
                </c:pt>
                <c:pt idx="1992">
                  <c:v>5.5333333333333332</c:v>
                </c:pt>
                <c:pt idx="1993">
                  <c:v>5.5361111111111114</c:v>
                </c:pt>
                <c:pt idx="1994">
                  <c:v>5.5388888888888888</c:v>
                </c:pt>
                <c:pt idx="1995">
                  <c:v>5.541666666666667</c:v>
                </c:pt>
                <c:pt idx="1996">
                  <c:v>5.5444444444444443</c:v>
                </c:pt>
                <c:pt idx="1997">
                  <c:v>5.5472222222222225</c:v>
                </c:pt>
                <c:pt idx="1998">
                  <c:v>5.55</c:v>
                </c:pt>
                <c:pt idx="1999">
                  <c:v>5.552777777777778</c:v>
                </c:pt>
                <c:pt idx="2000">
                  <c:v>5.5555555555555554</c:v>
                </c:pt>
                <c:pt idx="2001">
                  <c:v>5.5583333333333336</c:v>
                </c:pt>
                <c:pt idx="2002">
                  <c:v>5.5611111111111109</c:v>
                </c:pt>
                <c:pt idx="2003">
                  <c:v>5.5638888888888891</c:v>
                </c:pt>
                <c:pt idx="2004">
                  <c:v>5.5666666666666664</c:v>
                </c:pt>
                <c:pt idx="2005">
                  <c:v>5.5694444444444446</c:v>
                </c:pt>
                <c:pt idx="2006">
                  <c:v>5.572222222222222</c:v>
                </c:pt>
                <c:pt idx="2007">
                  <c:v>5.5750000000000002</c:v>
                </c:pt>
                <c:pt idx="2008">
                  <c:v>5.5777777777777775</c:v>
                </c:pt>
                <c:pt idx="2009">
                  <c:v>5.5805555555555557</c:v>
                </c:pt>
                <c:pt idx="2010">
                  <c:v>5.583333333333333</c:v>
                </c:pt>
                <c:pt idx="2011">
                  <c:v>5.5861111111111112</c:v>
                </c:pt>
                <c:pt idx="2012">
                  <c:v>5.5888888888888886</c:v>
                </c:pt>
                <c:pt idx="2013">
                  <c:v>5.5916666666666668</c:v>
                </c:pt>
                <c:pt idx="2014">
                  <c:v>5.5944444444444441</c:v>
                </c:pt>
                <c:pt idx="2015">
                  <c:v>5.5972222222222223</c:v>
                </c:pt>
                <c:pt idx="2016">
                  <c:v>5.6</c:v>
                </c:pt>
                <c:pt idx="2017">
                  <c:v>5.6027777777777779</c:v>
                </c:pt>
                <c:pt idx="2018">
                  <c:v>5.6055555555555552</c:v>
                </c:pt>
                <c:pt idx="2019">
                  <c:v>5.6083333333333334</c:v>
                </c:pt>
                <c:pt idx="2020">
                  <c:v>5.6111111111111107</c:v>
                </c:pt>
                <c:pt idx="2021">
                  <c:v>5.6138888888888889</c:v>
                </c:pt>
                <c:pt idx="2022">
                  <c:v>5.6166666666666663</c:v>
                </c:pt>
                <c:pt idx="2023">
                  <c:v>5.6194444444444445</c:v>
                </c:pt>
                <c:pt idx="2024">
                  <c:v>5.6222222222222218</c:v>
                </c:pt>
                <c:pt idx="2025">
                  <c:v>5.625</c:v>
                </c:pt>
                <c:pt idx="2026">
                  <c:v>5.6277777777777782</c:v>
                </c:pt>
                <c:pt idx="2027">
                  <c:v>5.6305555555555555</c:v>
                </c:pt>
                <c:pt idx="2028">
                  <c:v>5.6333333333333337</c:v>
                </c:pt>
                <c:pt idx="2029">
                  <c:v>5.6361111111111111</c:v>
                </c:pt>
                <c:pt idx="2030">
                  <c:v>5.6388888888888893</c:v>
                </c:pt>
                <c:pt idx="2031">
                  <c:v>5.6416666666666666</c:v>
                </c:pt>
                <c:pt idx="2032">
                  <c:v>5.6444444444444448</c:v>
                </c:pt>
                <c:pt idx="2033">
                  <c:v>5.6472222222222221</c:v>
                </c:pt>
                <c:pt idx="2034">
                  <c:v>5.65</c:v>
                </c:pt>
                <c:pt idx="2035">
                  <c:v>5.6527777777777777</c:v>
                </c:pt>
                <c:pt idx="2036">
                  <c:v>5.6555555555555559</c:v>
                </c:pt>
                <c:pt idx="2037">
                  <c:v>5.6583333333333332</c:v>
                </c:pt>
                <c:pt idx="2038">
                  <c:v>5.6611111111111114</c:v>
                </c:pt>
                <c:pt idx="2039">
                  <c:v>5.6638888888888888</c:v>
                </c:pt>
                <c:pt idx="2040">
                  <c:v>5.666666666666667</c:v>
                </c:pt>
                <c:pt idx="2041">
                  <c:v>5.6694444444444443</c:v>
                </c:pt>
                <c:pt idx="2042">
                  <c:v>5.6722222222222225</c:v>
                </c:pt>
                <c:pt idx="2043">
                  <c:v>5.6749999999999998</c:v>
                </c:pt>
                <c:pt idx="2044">
                  <c:v>5.677777777777778</c:v>
                </c:pt>
                <c:pt idx="2045">
                  <c:v>5.6805555555555554</c:v>
                </c:pt>
                <c:pt idx="2046">
                  <c:v>5.6833333333333336</c:v>
                </c:pt>
                <c:pt idx="2047">
                  <c:v>5.6861111111111109</c:v>
                </c:pt>
                <c:pt idx="2048">
                  <c:v>5.6888888888888891</c:v>
                </c:pt>
                <c:pt idx="2049">
                  <c:v>5.6916666666666664</c:v>
                </c:pt>
                <c:pt idx="2050">
                  <c:v>5.6944444444444446</c:v>
                </c:pt>
                <c:pt idx="2051">
                  <c:v>5.697222222222222</c:v>
                </c:pt>
                <c:pt idx="2052">
                  <c:v>5.7</c:v>
                </c:pt>
                <c:pt idx="2053">
                  <c:v>5.7027777777777775</c:v>
                </c:pt>
                <c:pt idx="2054">
                  <c:v>5.7055555555555557</c:v>
                </c:pt>
                <c:pt idx="2055">
                  <c:v>5.708333333333333</c:v>
                </c:pt>
                <c:pt idx="2056">
                  <c:v>5.7111111111111112</c:v>
                </c:pt>
                <c:pt idx="2057">
                  <c:v>5.7138888888888886</c:v>
                </c:pt>
                <c:pt idx="2058">
                  <c:v>5.7166666666666668</c:v>
                </c:pt>
                <c:pt idx="2059">
                  <c:v>5.7194444444444441</c:v>
                </c:pt>
                <c:pt idx="2060">
                  <c:v>5.7222222222222223</c:v>
                </c:pt>
                <c:pt idx="2061">
                  <c:v>5.7249999999999996</c:v>
                </c:pt>
                <c:pt idx="2062">
                  <c:v>5.7277777777777779</c:v>
                </c:pt>
                <c:pt idx="2063">
                  <c:v>5.7305555555555552</c:v>
                </c:pt>
                <c:pt idx="2064">
                  <c:v>5.7333333333333334</c:v>
                </c:pt>
                <c:pt idx="2065">
                  <c:v>5.7361111111111107</c:v>
                </c:pt>
                <c:pt idx="2066">
                  <c:v>5.7388888888888889</c:v>
                </c:pt>
                <c:pt idx="2067">
                  <c:v>5.7416666666666663</c:v>
                </c:pt>
                <c:pt idx="2068">
                  <c:v>5.7444444444444445</c:v>
                </c:pt>
                <c:pt idx="2069">
                  <c:v>5.7472222222222218</c:v>
                </c:pt>
                <c:pt idx="2070">
                  <c:v>5.75</c:v>
                </c:pt>
                <c:pt idx="2071">
                  <c:v>5.7527777777777782</c:v>
                </c:pt>
                <c:pt idx="2072">
                  <c:v>5.7555555555555555</c:v>
                </c:pt>
                <c:pt idx="2073">
                  <c:v>5.7583333333333337</c:v>
                </c:pt>
                <c:pt idx="2074">
                  <c:v>5.7611111111111111</c:v>
                </c:pt>
                <c:pt idx="2075">
                  <c:v>5.7638888888888893</c:v>
                </c:pt>
                <c:pt idx="2076">
                  <c:v>5.7666666666666666</c:v>
                </c:pt>
                <c:pt idx="2077">
                  <c:v>5.7694444444444448</c:v>
                </c:pt>
                <c:pt idx="2078">
                  <c:v>5.7722222222222221</c:v>
                </c:pt>
                <c:pt idx="2079">
                  <c:v>5.7750000000000004</c:v>
                </c:pt>
                <c:pt idx="2080">
                  <c:v>5.7777777777777777</c:v>
                </c:pt>
                <c:pt idx="2081">
                  <c:v>5.7805555555555559</c:v>
                </c:pt>
                <c:pt idx="2082">
                  <c:v>5.7833333333333332</c:v>
                </c:pt>
                <c:pt idx="2083">
                  <c:v>5.7861111111111114</c:v>
                </c:pt>
                <c:pt idx="2084">
                  <c:v>5.7888888888888888</c:v>
                </c:pt>
                <c:pt idx="2085">
                  <c:v>5.791666666666667</c:v>
                </c:pt>
                <c:pt idx="2086">
                  <c:v>5.7944444444444443</c:v>
                </c:pt>
                <c:pt idx="2087">
                  <c:v>5.7972222222222225</c:v>
                </c:pt>
                <c:pt idx="2088">
                  <c:v>5.8</c:v>
                </c:pt>
                <c:pt idx="2089">
                  <c:v>5.802777777777778</c:v>
                </c:pt>
                <c:pt idx="2090">
                  <c:v>5.8055555555555554</c:v>
                </c:pt>
                <c:pt idx="2091">
                  <c:v>5.8083333333333336</c:v>
                </c:pt>
                <c:pt idx="2092">
                  <c:v>5.8111111111111109</c:v>
                </c:pt>
                <c:pt idx="2093">
                  <c:v>5.8138888888888891</c:v>
                </c:pt>
                <c:pt idx="2094">
                  <c:v>5.8166666666666664</c:v>
                </c:pt>
                <c:pt idx="2095">
                  <c:v>5.8194444444444446</c:v>
                </c:pt>
                <c:pt idx="2096">
                  <c:v>5.822222222222222</c:v>
                </c:pt>
                <c:pt idx="2097">
                  <c:v>5.8250000000000002</c:v>
                </c:pt>
                <c:pt idx="2098">
                  <c:v>5.8277777777777775</c:v>
                </c:pt>
                <c:pt idx="2099">
                  <c:v>5.8305555555555557</c:v>
                </c:pt>
                <c:pt idx="2100">
                  <c:v>5.833333333333333</c:v>
                </c:pt>
                <c:pt idx="2101">
                  <c:v>5.8361111111111112</c:v>
                </c:pt>
                <c:pt idx="2102">
                  <c:v>5.8388888888888886</c:v>
                </c:pt>
                <c:pt idx="2103">
                  <c:v>5.8416666666666668</c:v>
                </c:pt>
                <c:pt idx="2104">
                  <c:v>5.8444444444444441</c:v>
                </c:pt>
                <c:pt idx="2105">
                  <c:v>5.8472222222222223</c:v>
                </c:pt>
                <c:pt idx="2106">
                  <c:v>5.85</c:v>
                </c:pt>
                <c:pt idx="2107">
                  <c:v>5.8527777777777779</c:v>
                </c:pt>
                <c:pt idx="2108">
                  <c:v>5.8555555555555552</c:v>
                </c:pt>
                <c:pt idx="2109">
                  <c:v>5.8583333333333334</c:v>
                </c:pt>
                <c:pt idx="2110">
                  <c:v>5.8611111111111107</c:v>
                </c:pt>
                <c:pt idx="2111">
                  <c:v>5.8638888888888889</c:v>
                </c:pt>
                <c:pt idx="2112">
                  <c:v>5.8666666666666663</c:v>
                </c:pt>
                <c:pt idx="2113">
                  <c:v>5.8694444444444445</c:v>
                </c:pt>
                <c:pt idx="2114">
                  <c:v>5.8722222222222218</c:v>
                </c:pt>
                <c:pt idx="2115">
                  <c:v>5.875</c:v>
                </c:pt>
                <c:pt idx="2116">
                  <c:v>5.8777777777777782</c:v>
                </c:pt>
                <c:pt idx="2117">
                  <c:v>5.8805555555555555</c:v>
                </c:pt>
                <c:pt idx="2118">
                  <c:v>5.8833333333333337</c:v>
                </c:pt>
                <c:pt idx="2119">
                  <c:v>5.8861111111111111</c:v>
                </c:pt>
                <c:pt idx="2120">
                  <c:v>5.8888888888888893</c:v>
                </c:pt>
                <c:pt idx="2121">
                  <c:v>5.8916666666666666</c:v>
                </c:pt>
                <c:pt idx="2122">
                  <c:v>5.8944444444444448</c:v>
                </c:pt>
                <c:pt idx="2123">
                  <c:v>5.8972222222222221</c:v>
                </c:pt>
                <c:pt idx="2124">
                  <c:v>5.9</c:v>
                </c:pt>
                <c:pt idx="2125">
                  <c:v>5.9027777777777777</c:v>
                </c:pt>
                <c:pt idx="2126">
                  <c:v>5.9055555555555559</c:v>
                </c:pt>
                <c:pt idx="2127">
                  <c:v>5.9083333333333332</c:v>
                </c:pt>
                <c:pt idx="2128">
                  <c:v>5.9111111111111114</c:v>
                </c:pt>
                <c:pt idx="2129">
                  <c:v>5.9138888888888888</c:v>
                </c:pt>
                <c:pt idx="2130">
                  <c:v>5.916666666666667</c:v>
                </c:pt>
                <c:pt idx="2131">
                  <c:v>5.9194444444444443</c:v>
                </c:pt>
                <c:pt idx="2132">
                  <c:v>5.9222222222222225</c:v>
                </c:pt>
                <c:pt idx="2133">
                  <c:v>5.9249999999999998</c:v>
                </c:pt>
                <c:pt idx="2134">
                  <c:v>5.927777777777778</c:v>
                </c:pt>
                <c:pt idx="2135">
                  <c:v>5.9305555555555554</c:v>
                </c:pt>
                <c:pt idx="2136">
                  <c:v>5.9333333333333336</c:v>
                </c:pt>
                <c:pt idx="2137">
                  <c:v>5.9361111111111109</c:v>
                </c:pt>
                <c:pt idx="2138">
                  <c:v>5.9388888888888891</c:v>
                </c:pt>
                <c:pt idx="2139">
                  <c:v>5.9416666666666664</c:v>
                </c:pt>
                <c:pt idx="2140">
                  <c:v>5.9444444444444446</c:v>
                </c:pt>
                <c:pt idx="2141">
                  <c:v>5.947222222222222</c:v>
                </c:pt>
                <c:pt idx="2142">
                  <c:v>5.95</c:v>
                </c:pt>
                <c:pt idx="2143">
                  <c:v>5.9527777777777775</c:v>
                </c:pt>
                <c:pt idx="2144">
                  <c:v>5.9555555555555557</c:v>
                </c:pt>
                <c:pt idx="2145">
                  <c:v>5.958333333333333</c:v>
                </c:pt>
                <c:pt idx="2146">
                  <c:v>5.9611111111111112</c:v>
                </c:pt>
                <c:pt idx="2147">
                  <c:v>5.9638888888888886</c:v>
                </c:pt>
                <c:pt idx="2148">
                  <c:v>5.9666666666666668</c:v>
                </c:pt>
                <c:pt idx="2149">
                  <c:v>5.9694444444444441</c:v>
                </c:pt>
                <c:pt idx="2150">
                  <c:v>5.9722222222222223</c:v>
                </c:pt>
                <c:pt idx="2151">
                  <c:v>5.9749999999999996</c:v>
                </c:pt>
                <c:pt idx="2152">
                  <c:v>5.9777777777777779</c:v>
                </c:pt>
                <c:pt idx="2153">
                  <c:v>5.9805555555555552</c:v>
                </c:pt>
                <c:pt idx="2154">
                  <c:v>5.9833333333333334</c:v>
                </c:pt>
                <c:pt idx="2155">
                  <c:v>5.9861111111111107</c:v>
                </c:pt>
                <c:pt idx="2156">
                  <c:v>5.9888888888888889</c:v>
                </c:pt>
                <c:pt idx="2157">
                  <c:v>5.9916666666666663</c:v>
                </c:pt>
                <c:pt idx="2158">
                  <c:v>5.9944444444444445</c:v>
                </c:pt>
                <c:pt idx="2159">
                  <c:v>5.9972222222222218</c:v>
                </c:pt>
                <c:pt idx="2160">
                  <c:v>6</c:v>
                </c:pt>
                <c:pt idx="2161">
                  <c:v>6.0027777777777782</c:v>
                </c:pt>
                <c:pt idx="2162">
                  <c:v>6.0055555555555555</c:v>
                </c:pt>
                <c:pt idx="2163">
                  <c:v>6.0083333333333337</c:v>
                </c:pt>
                <c:pt idx="2164">
                  <c:v>6.0111111111111111</c:v>
                </c:pt>
                <c:pt idx="2165">
                  <c:v>6.0138888888888893</c:v>
                </c:pt>
                <c:pt idx="2166">
                  <c:v>6.0166666666666666</c:v>
                </c:pt>
                <c:pt idx="2167">
                  <c:v>6.0194444444444448</c:v>
                </c:pt>
                <c:pt idx="2168">
                  <c:v>6.0222222222222221</c:v>
                </c:pt>
                <c:pt idx="2169">
                  <c:v>6.0250000000000004</c:v>
                </c:pt>
                <c:pt idx="2170">
                  <c:v>6.0277777777777777</c:v>
                </c:pt>
                <c:pt idx="2171">
                  <c:v>6.0305555555555559</c:v>
                </c:pt>
                <c:pt idx="2172">
                  <c:v>6.0333333333333332</c:v>
                </c:pt>
                <c:pt idx="2173">
                  <c:v>6.0361111111111114</c:v>
                </c:pt>
                <c:pt idx="2174">
                  <c:v>6.0388888888888888</c:v>
                </c:pt>
                <c:pt idx="2175">
                  <c:v>6.041666666666667</c:v>
                </c:pt>
                <c:pt idx="2176">
                  <c:v>6.0444444444444443</c:v>
                </c:pt>
                <c:pt idx="2177">
                  <c:v>6.0472222222222225</c:v>
                </c:pt>
                <c:pt idx="2178">
                  <c:v>6.05</c:v>
                </c:pt>
                <c:pt idx="2179">
                  <c:v>6.052777777777778</c:v>
                </c:pt>
                <c:pt idx="2180">
                  <c:v>6.0555555555555554</c:v>
                </c:pt>
                <c:pt idx="2181">
                  <c:v>6.0583333333333336</c:v>
                </c:pt>
                <c:pt idx="2182">
                  <c:v>6.0611111111111109</c:v>
                </c:pt>
                <c:pt idx="2183">
                  <c:v>6.0638888888888891</c:v>
                </c:pt>
                <c:pt idx="2184">
                  <c:v>6.0666666666666664</c:v>
                </c:pt>
                <c:pt idx="2185">
                  <c:v>6.0694444444444446</c:v>
                </c:pt>
                <c:pt idx="2186">
                  <c:v>6.072222222222222</c:v>
                </c:pt>
                <c:pt idx="2187">
                  <c:v>6.0750000000000002</c:v>
                </c:pt>
                <c:pt idx="2188">
                  <c:v>6.0777777777777775</c:v>
                </c:pt>
                <c:pt idx="2189">
                  <c:v>6.0805555555555557</c:v>
                </c:pt>
                <c:pt idx="2190">
                  <c:v>6.083333333333333</c:v>
                </c:pt>
                <c:pt idx="2191">
                  <c:v>6.0861111111111112</c:v>
                </c:pt>
                <c:pt idx="2192">
                  <c:v>6.0888888888888886</c:v>
                </c:pt>
                <c:pt idx="2193">
                  <c:v>6.0916666666666668</c:v>
                </c:pt>
                <c:pt idx="2194">
                  <c:v>6.0944444444444441</c:v>
                </c:pt>
                <c:pt idx="2195">
                  <c:v>6.0972222222222223</c:v>
                </c:pt>
                <c:pt idx="2196">
                  <c:v>6.1</c:v>
                </c:pt>
                <c:pt idx="2197">
                  <c:v>6.1027777777777779</c:v>
                </c:pt>
                <c:pt idx="2198">
                  <c:v>6.1055555555555552</c:v>
                </c:pt>
                <c:pt idx="2199">
                  <c:v>6.1083333333333334</c:v>
                </c:pt>
                <c:pt idx="2200">
                  <c:v>6.1111111111111107</c:v>
                </c:pt>
                <c:pt idx="2201">
                  <c:v>6.1138888888888889</c:v>
                </c:pt>
                <c:pt idx="2202">
                  <c:v>6.1166666666666663</c:v>
                </c:pt>
                <c:pt idx="2203">
                  <c:v>6.1194444444444445</c:v>
                </c:pt>
                <c:pt idx="2204">
                  <c:v>6.1222222222222218</c:v>
                </c:pt>
                <c:pt idx="2205">
                  <c:v>6.125</c:v>
                </c:pt>
                <c:pt idx="2206">
                  <c:v>6.1277777777777782</c:v>
                </c:pt>
                <c:pt idx="2207">
                  <c:v>6.1305555555555555</c:v>
                </c:pt>
                <c:pt idx="2208">
                  <c:v>6.1333333333333337</c:v>
                </c:pt>
                <c:pt idx="2209">
                  <c:v>6.1361111111111111</c:v>
                </c:pt>
                <c:pt idx="2210">
                  <c:v>6.1388888888888893</c:v>
                </c:pt>
                <c:pt idx="2211">
                  <c:v>6.1416666666666666</c:v>
                </c:pt>
                <c:pt idx="2212">
                  <c:v>6.1444444444444448</c:v>
                </c:pt>
                <c:pt idx="2213">
                  <c:v>6.1472222222222221</c:v>
                </c:pt>
                <c:pt idx="2214">
                  <c:v>6.15</c:v>
                </c:pt>
                <c:pt idx="2215">
                  <c:v>6.1527777777777777</c:v>
                </c:pt>
                <c:pt idx="2216">
                  <c:v>6.1555555555555559</c:v>
                </c:pt>
                <c:pt idx="2217">
                  <c:v>6.1583333333333332</c:v>
                </c:pt>
                <c:pt idx="2218">
                  <c:v>6.1611111111111114</c:v>
                </c:pt>
                <c:pt idx="2219">
                  <c:v>6.1638888888888888</c:v>
                </c:pt>
                <c:pt idx="2220">
                  <c:v>6.166666666666667</c:v>
                </c:pt>
                <c:pt idx="2221">
                  <c:v>6.1694444444444443</c:v>
                </c:pt>
                <c:pt idx="2222">
                  <c:v>6.1722222222222225</c:v>
                </c:pt>
                <c:pt idx="2223">
                  <c:v>6.1749999999999998</c:v>
                </c:pt>
                <c:pt idx="2224">
                  <c:v>6.177777777777778</c:v>
                </c:pt>
                <c:pt idx="2225">
                  <c:v>6.1805555555555554</c:v>
                </c:pt>
                <c:pt idx="2226">
                  <c:v>6.1833333333333336</c:v>
                </c:pt>
                <c:pt idx="2227">
                  <c:v>6.1861111111111109</c:v>
                </c:pt>
                <c:pt idx="2228">
                  <c:v>6.1888888888888891</c:v>
                </c:pt>
                <c:pt idx="2229">
                  <c:v>6.1916666666666664</c:v>
                </c:pt>
                <c:pt idx="2230">
                  <c:v>6.1944444444444446</c:v>
                </c:pt>
                <c:pt idx="2231">
                  <c:v>6.197222222222222</c:v>
                </c:pt>
                <c:pt idx="2232">
                  <c:v>6.2</c:v>
                </c:pt>
                <c:pt idx="2233">
                  <c:v>6.2027777777777775</c:v>
                </c:pt>
                <c:pt idx="2234">
                  <c:v>6.2055555555555557</c:v>
                </c:pt>
                <c:pt idx="2235">
                  <c:v>6.208333333333333</c:v>
                </c:pt>
                <c:pt idx="2236">
                  <c:v>6.2111111111111112</c:v>
                </c:pt>
                <c:pt idx="2237">
                  <c:v>6.2138888888888886</c:v>
                </c:pt>
                <c:pt idx="2238">
                  <c:v>6.2166666666666668</c:v>
                </c:pt>
                <c:pt idx="2239">
                  <c:v>6.2194444444444441</c:v>
                </c:pt>
                <c:pt idx="2240">
                  <c:v>6.2222222222222223</c:v>
                </c:pt>
                <c:pt idx="2241">
                  <c:v>6.2249999999999996</c:v>
                </c:pt>
                <c:pt idx="2242">
                  <c:v>6.2277777777777779</c:v>
                </c:pt>
                <c:pt idx="2243">
                  <c:v>6.2305555555555552</c:v>
                </c:pt>
                <c:pt idx="2244">
                  <c:v>6.2333333333333334</c:v>
                </c:pt>
                <c:pt idx="2245">
                  <c:v>6.2361111111111107</c:v>
                </c:pt>
                <c:pt idx="2246">
                  <c:v>6.2388888888888889</c:v>
                </c:pt>
                <c:pt idx="2247">
                  <c:v>6.2416666666666663</c:v>
                </c:pt>
                <c:pt idx="2248">
                  <c:v>6.2444444444444445</c:v>
                </c:pt>
                <c:pt idx="2249">
                  <c:v>6.2472222222222218</c:v>
                </c:pt>
                <c:pt idx="2250">
                  <c:v>6.25</c:v>
                </c:pt>
                <c:pt idx="2251">
                  <c:v>6.2527777777777782</c:v>
                </c:pt>
                <c:pt idx="2252">
                  <c:v>6.2555555555555555</c:v>
                </c:pt>
                <c:pt idx="2253">
                  <c:v>6.2583333333333337</c:v>
                </c:pt>
                <c:pt idx="2254">
                  <c:v>6.2611111111111111</c:v>
                </c:pt>
                <c:pt idx="2255">
                  <c:v>6.2638888888888893</c:v>
                </c:pt>
                <c:pt idx="2256">
                  <c:v>6.2666666666666666</c:v>
                </c:pt>
                <c:pt idx="2257">
                  <c:v>6.2694444444444448</c:v>
                </c:pt>
                <c:pt idx="2258">
                  <c:v>6.2722222222222221</c:v>
                </c:pt>
                <c:pt idx="2259">
                  <c:v>6.2750000000000004</c:v>
                </c:pt>
                <c:pt idx="2260">
                  <c:v>6.2777777777777777</c:v>
                </c:pt>
                <c:pt idx="2261">
                  <c:v>6.2805555555555559</c:v>
                </c:pt>
                <c:pt idx="2262">
                  <c:v>6.2833333333333332</c:v>
                </c:pt>
                <c:pt idx="2263">
                  <c:v>6.2861111111111114</c:v>
                </c:pt>
                <c:pt idx="2264">
                  <c:v>6.2888888888888888</c:v>
                </c:pt>
                <c:pt idx="2265">
                  <c:v>6.291666666666667</c:v>
                </c:pt>
                <c:pt idx="2266">
                  <c:v>6.2944444444444443</c:v>
                </c:pt>
                <c:pt idx="2267">
                  <c:v>6.2972222222222225</c:v>
                </c:pt>
                <c:pt idx="2268">
                  <c:v>6.3</c:v>
                </c:pt>
                <c:pt idx="2269">
                  <c:v>6.302777777777778</c:v>
                </c:pt>
                <c:pt idx="2270">
                  <c:v>6.3055555555555554</c:v>
                </c:pt>
                <c:pt idx="2271">
                  <c:v>6.3083333333333336</c:v>
                </c:pt>
                <c:pt idx="2272">
                  <c:v>6.3111111111111109</c:v>
                </c:pt>
                <c:pt idx="2273">
                  <c:v>6.3138888888888891</c:v>
                </c:pt>
                <c:pt idx="2274">
                  <c:v>6.3166666666666664</c:v>
                </c:pt>
                <c:pt idx="2275">
                  <c:v>6.3194444444444446</c:v>
                </c:pt>
                <c:pt idx="2276">
                  <c:v>6.322222222222222</c:v>
                </c:pt>
                <c:pt idx="2277">
                  <c:v>6.3250000000000002</c:v>
                </c:pt>
                <c:pt idx="2278">
                  <c:v>6.3277777777777775</c:v>
                </c:pt>
                <c:pt idx="2279">
                  <c:v>6.3305555555555557</c:v>
                </c:pt>
                <c:pt idx="2280">
                  <c:v>6.333333333333333</c:v>
                </c:pt>
                <c:pt idx="2281">
                  <c:v>6.3361111111111112</c:v>
                </c:pt>
                <c:pt idx="2282">
                  <c:v>6.3388888888888886</c:v>
                </c:pt>
                <c:pt idx="2283">
                  <c:v>6.3416666666666668</c:v>
                </c:pt>
                <c:pt idx="2284">
                  <c:v>6.3444444444444441</c:v>
                </c:pt>
                <c:pt idx="2285">
                  <c:v>6.3472222222222223</c:v>
                </c:pt>
                <c:pt idx="2286">
                  <c:v>6.35</c:v>
                </c:pt>
                <c:pt idx="2287">
                  <c:v>6.3527777777777779</c:v>
                </c:pt>
                <c:pt idx="2288">
                  <c:v>6.3555555555555552</c:v>
                </c:pt>
                <c:pt idx="2289">
                  <c:v>6.3583333333333334</c:v>
                </c:pt>
                <c:pt idx="2290">
                  <c:v>6.3611111111111107</c:v>
                </c:pt>
                <c:pt idx="2291">
                  <c:v>6.3638888888888889</c:v>
                </c:pt>
                <c:pt idx="2292">
                  <c:v>6.3666666666666663</c:v>
                </c:pt>
                <c:pt idx="2293">
                  <c:v>6.3694444444444445</c:v>
                </c:pt>
                <c:pt idx="2294">
                  <c:v>6.3722222222222218</c:v>
                </c:pt>
                <c:pt idx="2295">
                  <c:v>6.375</c:v>
                </c:pt>
                <c:pt idx="2296">
                  <c:v>6.3777777777777782</c:v>
                </c:pt>
                <c:pt idx="2297">
                  <c:v>6.3805555555555555</c:v>
                </c:pt>
                <c:pt idx="2298">
                  <c:v>6.3833333333333337</c:v>
                </c:pt>
                <c:pt idx="2299">
                  <c:v>6.3861111111111111</c:v>
                </c:pt>
                <c:pt idx="2300">
                  <c:v>6.3888888888888893</c:v>
                </c:pt>
                <c:pt idx="2301">
                  <c:v>6.3916666666666666</c:v>
                </c:pt>
                <c:pt idx="2302">
                  <c:v>6.3944444444444448</c:v>
                </c:pt>
                <c:pt idx="2303">
                  <c:v>6.3972222222222221</c:v>
                </c:pt>
                <c:pt idx="2304">
                  <c:v>6.4</c:v>
                </c:pt>
                <c:pt idx="2305">
                  <c:v>6.4027777777777777</c:v>
                </c:pt>
                <c:pt idx="2306">
                  <c:v>6.4055555555555559</c:v>
                </c:pt>
                <c:pt idx="2307">
                  <c:v>6.4083333333333332</c:v>
                </c:pt>
                <c:pt idx="2308">
                  <c:v>6.4111111111111114</c:v>
                </c:pt>
                <c:pt idx="2309">
                  <c:v>6.4138888888888888</c:v>
                </c:pt>
                <c:pt idx="2310">
                  <c:v>6.416666666666667</c:v>
                </c:pt>
                <c:pt idx="2311">
                  <c:v>6.4194444444444443</c:v>
                </c:pt>
                <c:pt idx="2312">
                  <c:v>6.4222222222222225</c:v>
                </c:pt>
                <c:pt idx="2313">
                  <c:v>6.4249999999999998</c:v>
                </c:pt>
                <c:pt idx="2314">
                  <c:v>6.427777777777778</c:v>
                </c:pt>
                <c:pt idx="2315">
                  <c:v>6.4305555555555554</c:v>
                </c:pt>
                <c:pt idx="2316">
                  <c:v>6.4333333333333336</c:v>
                </c:pt>
                <c:pt idx="2317">
                  <c:v>6.4361111111111109</c:v>
                </c:pt>
                <c:pt idx="2318">
                  <c:v>6.4388888888888891</c:v>
                </c:pt>
                <c:pt idx="2319">
                  <c:v>6.4416666666666664</c:v>
                </c:pt>
                <c:pt idx="2320">
                  <c:v>6.4444444444444446</c:v>
                </c:pt>
                <c:pt idx="2321">
                  <c:v>6.447222222222222</c:v>
                </c:pt>
                <c:pt idx="2322">
                  <c:v>6.45</c:v>
                </c:pt>
                <c:pt idx="2323">
                  <c:v>6.4527777777777775</c:v>
                </c:pt>
                <c:pt idx="2324">
                  <c:v>6.4555555555555557</c:v>
                </c:pt>
                <c:pt idx="2325">
                  <c:v>6.458333333333333</c:v>
                </c:pt>
                <c:pt idx="2326">
                  <c:v>6.4611111111111112</c:v>
                </c:pt>
                <c:pt idx="2327">
                  <c:v>6.4638888888888886</c:v>
                </c:pt>
                <c:pt idx="2328">
                  <c:v>6.4666666666666668</c:v>
                </c:pt>
                <c:pt idx="2329">
                  <c:v>6.4694444444444441</c:v>
                </c:pt>
                <c:pt idx="2330">
                  <c:v>6.4722222222222223</c:v>
                </c:pt>
                <c:pt idx="2331">
                  <c:v>6.4749999999999996</c:v>
                </c:pt>
                <c:pt idx="2332">
                  <c:v>6.4777777777777779</c:v>
                </c:pt>
                <c:pt idx="2333">
                  <c:v>6.4805555555555552</c:v>
                </c:pt>
                <c:pt idx="2334">
                  <c:v>6.4833333333333334</c:v>
                </c:pt>
                <c:pt idx="2335">
                  <c:v>6.4861111111111107</c:v>
                </c:pt>
                <c:pt idx="2336">
                  <c:v>6.4888888888888889</c:v>
                </c:pt>
                <c:pt idx="2337">
                  <c:v>6.4916666666666663</c:v>
                </c:pt>
                <c:pt idx="2338">
                  <c:v>6.4944444444444445</c:v>
                </c:pt>
                <c:pt idx="2339">
                  <c:v>6.4972222222222218</c:v>
                </c:pt>
                <c:pt idx="2340">
                  <c:v>6.5</c:v>
                </c:pt>
                <c:pt idx="2341">
                  <c:v>6.5027777777777782</c:v>
                </c:pt>
                <c:pt idx="2342">
                  <c:v>6.5055555555555555</c:v>
                </c:pt>
                <c:pt idx="2343">
                  <c:v>6.5083333333333337</c:v>
                </c:pt>
                <c:pt idx="2344">
                  <c:v>6.5111111111111111</c:v>
                </c:pt>
                <c:pt idx="2345">
                  <c:v>6.5138888888888893</c:v>
                </c:pt>
                <c:pt idx="2346">
                  <c:v>6.5166666666666666</c:v>
                </c:pt>
                <c:pt idx="2347">
                  <c:v>6.5194444444444448</c:v>
                </c:pt>
                <c:pt idx="2348">
                  <c:v>6.5222222222222221</c:v>
                </c:pt>
                <c:pt idx="2349">
                  <c:v>6.5250000000000004</c:v>
                </c:pt>
                <c:pt idx="2350">
                  <c:v>6.5277777777777777</c:v>
                </c:pt>
                <c:pt idx="2351">
                  <c:v>6.5305555555555559</c:v>
                </c:pt>
                <c:pt idx="2352">
                  <c:v>6.5333333333333332</c:v>
                </c:pt>
                <c:pt idx="2353">
                  <c:v>6.5361111111111114</c:v>
                </c:pt>
                <c:pt idx="2354">
                  <c:v>6.5388888888888888</c:v>
                </c:pt>
                <c:pt idx="2355">
                  <c:v>6.541666666666667</c:v>
                </c:pt>
                <c:pt idx="2356">
                  <c:v>6.5444444444444443</c:v>
                </c:pt>
                <c:pt idx="2357">
                  <c:v>6.5472222222222225</c:v>
                </c:pt>
                <c:pt idx="2358">
                  <c:v>6.55</c:v>
                </c:pt>
                <c:pt idx="2359">
                  <c:v>6.552777777777778</c:v>
                </c:pt>
                <c:pt idx="2360">
                  <c:v>6.5555555555555554</c:v>
                </c:pt>
                <c:pt idx="2361">
                  <c:v>6.5583333333333336</c:v>
                </c:pt>
                <c:pt idx="2362">
                  <c:v>6.5611111111111109</c:v>
                </c:pt>
                <c:pt idx="2363">
                  <c:v>6.5638888888888891</c:v>
                </c:pt>
                <c:pt idx="2364">
                  <c:v>6.5666666666666664</c:v>
                </c:pt>
                <c:pt idx="2365">
                  <c:v>6.5694444444444446</c:v>
                </c:pt>
                <c:pt idx="2366">
                  <c:v>6.572222222222222</c:v>
                </c:pt>
                <c:pt idx="2367">
                  <c:v>6.5750000000000002</c:v>
                </c:pt>
                <c:pt idx="2368">
                  <c:v>6.5777777777777775</c:v>
                </c:pt>
                <c:pt idx="2369">
                  <c:v>6.5805555555555557</c:v>
                </c:pt>
                <c:pt idx="2370">
                  <c:v>6.583333333333333</c:v>
                </c:pt>
                <c:pt idx="2371">
                  <c:v>6.5861111111111112</c:v>
                </c:pt>
                <c:pt idx="2372">
                  <c:v>6.5888888888888886</c:v>
                </c:pt>
                <c:pt idx="2373">
                  <c:v>6.5916666666666668</c:v>
                </c:pt>
                <c:pt idx="2374">
                  <c:v>6.5944444444444441</c:v>
                </c:pt>
                <c:pt idx="2375">
                  <c:v>6.5972222222222223</c:v>
                </c:pt>
                <c:pt idx="2376">
                  <c:v>6.6</c:v>
                </c:pt>
                <c:pt idx="2377">
                  <c:v>6.6027777777777779</c:v>
                </c:pt>
                <c:pt idx="2378">
                  <c:v>6.6055555555555552</c:v>
                </c:pt>
                <c:pt idx="2379">
                  <c:v>6.6083333333333334</c:v>
                </c:pt>
                <c:pt idx="2380">
                  <c:v>6.6111111111111107</c:v>
                </c:pt>
                <c:pt idx="2381">
                  <c:v>6.6138888888888889</c:v>
                </c:pt>
                <c:pt idx="2382">
                  <c:v>6.6166666666666663</c:v>
                </c:pt>
                <c:pt idx="2383">
                  <c:v>6.6194444444444445</c:v>
                </c:pt>
                <c:pt idx="2384">
                  <c:v>6.6222222222222218</c:v>
                </c:pt>
                <c:pt idx="2385">
                  <c:v>6.625</c:v>
                </c:pt>
                <c:pt idx="2386">
                  <c:v>6.6277777777777782</c:v>
                </c:pt>
                <c:pt idx="2387">
                  <c:v>6.6305555555555555</c:v>
                </c:pt>
                <c:pt idx="2388">
                  <c:v>6.6333333333333337</c:v>
                </c:pt>
                <c:pt idx="2389">
                  <c:v>6.6361111111111111</c:v>
                </c:pt>
                <c:pt idx="2390">
                  <c:v>6.6388888888888893</c:v>
                </c:pt>
                <c:pt idx="2391">
                  <c:v>6.6416666666666666</c:v>
                </c:pt>
                <c:pt idx="2392">
                  <c:v>6.6444444444444448</c:v>
                </c:pt>
                <c:pt idx="2393">
                  <c:v>6.6472222222222221</c:v>
                </c:pt>
                <c:pt idx="2394">
                  <c:v>6.65</c:v>
                </c:pt>
                <c:pt idx="2395">
                  <c:v>6.6527777777777777</c:v>
                </c:pt>
                <c:pt idx="2396">
                  <c:v>6.6555555555555559</c:v>
                </c:pt>
                <c:pt idx="2397">
                  <c:v>6.6583333333333332</c:v>
                </c:pt>
                <c:pt idx="2398">
                  <c:v>6.6611111111111114</c:v>
                </c:pt>
                <c:pt idx="2399">
                  <c:v>6.6638888888888888</c:v>
                </c:pt>
                <c:pt idx="2400">
                  <c:v>6.666666666666667</c:v>
                </c:pt>
                <c:pt idx="2401">
                  <c:v>6.6694444444444443</c:v>
                </c:pt>
                <c:pt idx="2402">
                  <c:v>6.6722222222222225</c:v>
                </c:pt>
                <c:pt idx="2403">
                  <c:v>6.6749999999999998</c:v>
                </c:pt>
                <c:pt idx="2404">
                  <c:v>6.677777777777778</c:v>
                </c:pt>
                <c:pt idx="2405">
                  <c:v>6.6805555555555554</c:v>
                </c:pt>
                <c:pt idx="2406">
                  <c:v>6.6833333333333336</c:v>
                </c:pt>
                <c:pt idx="2407">
                  <c:v>6.6861111111111109</c:v>
                </c:pt>
                <c:pt idx="2408">
                  <c:v>6.6888888888888891</c:v>
                </c:pt>
                <c:pt idx="2409">
                  <c:v>6.6916666666666664</c:v>
                </c:pt>
                <c:pt idx="2410">
                  <c:v>6.6944444444444446</c:v>
                </c:pt>
                <c:pt idx="2411">
                  <c:v>6.697222222222222</c:v>
                </c:pt>
                <c:pt idx="2412">
                  <c:v>6.7</c:v>
                </c:pt>
                <c:pt idx="2413">
                  <c:v>6.7027777777777775</c:v>
                </c:pt>
                <c:pt idx="2414">
                  <c:v>6.7055555555555557</c:v>
                </c:pt>
                <c:pt idx="2415">
                  <c:v>6.708333333333333</c:v>
                </c:pt>
                <c:pt idx="2416">
                  <c:v>6.7111111111111112</c:v>
                </c:pt>
                <c:pt idx="2417">
                  <c:v>6.7138888888888886</c:v>
                </c:pt>
                <c:pt idx="2418">
                  <c:v>6.7166666666666668</c:v>
                </c:pt>
                <c:pt idx="2419">
                  <c:v>6.7194444444444441</c:v>
                </c:pt>
                <c:pt idx="2420">
                  <c:v>6.7222222222222223</c:v>
                </c:pt>
                <c:pt idx="2421">
                  <c:v>6.7249999999999996</c:v>
                </c:pt>
                <c:pt idx="2422">
                  <c:v>6.7277777777777779</c:v>
                </c:pt>
                <c:pt idx="2423">
                  <c:v>6.7305555555555552</c:v>
                </c:pt>
                <c:pt idx="2424">
                  <c:v>6.7333333333333334</c:v>
                </c:pt>
                <c:pt idx="2425">
                  <c:v>6.7361111111111107</c:v>
                </c:pt>
                <c:pt idx="2426">
                  <c:v>6.7388888888888889</c:v>
                </c:pt>
                <c:pt idx="2427">
                  <c:v>6.7416666666666663</c:v>
                </c:pt>
                <c:pt idx="2428">
                  <c:v>6.7444444444444445</c:v>
                </c:pt>
                <c:pt idx="2429">
                  <c:v>6.7472222222222218</c:v>
                </c:pt>
                <c:pt idx="2430">
                  <c:v>6.75</c:v>
                </c:pt>
                <c:pt idx="2431">
                  <c:v>6.7527777777777782</c:v>
                </c:pt>
                <c:pt idx="2432">
                  <c:v>6.7555555555555555</c:v>
                </c:pt>
                <c:pt idx="2433">
                  <c:v>6.7583333333333337</c:v>
                </c:pt>
                <c:pt idx="2434">
                  <c:v>6.7611111111111111</c:v>
                </c:pt>
                <c:pt idx="2435">
                  <c:v>6.7638888888888893</c:v>
                </c:pt>
                <c:pt idx="2436">
                  <c:v>6.7666666666666666</c:v>
                </c:pt>
                <c:pt idx="2437">
                  <c:v>6.7694444444444448</c:v>
                </c:pt>
                <c:pt idx="2438">
                  <c:v>6.7722222222222221</c:v>
                </c:pt>
                <c:pt idx="2439">
                  <c:v>6.7750000000000004</c:v>
                </c:pt>
                <c:pt idx="2440">
                  <c:v>6.7777777777777777</c:v>
                </c:pt>
                <c:pt idx="2441">
                  <c:v>6.7805555555555559</c:v>
                </c:pt>
                <c:pt idx="2442">
                  <c:v>6.7833333333333332</c:v>
                </c:pt>
                <c:pt idx="2443">
                  <c:v>6.7861111111111114</c:v>
                </c:pt>
                <c:pt idx="2444">
                  <c:v>6.7888888888888888</c:v>
                </c:pt>
                <c:pt idx="2445">
                  <c:v>6.791666666666667</c:v>
                </c:pt>
                <c:pt idx="2446">
                  <c:v>6.7944444444444443</c:v>
                </c:pt>
                <c:pt idx="2447">
                  <c:v>6.7972222222222225</c:v>
                </c:pt>
                <c:pt idx="2448">
                  <c:v>6.8</c:v>
                </c:pt>
                <c:pt idx="2449">
                  <c:v>6.802777777777778</c:v>
                </c:pt>
                <c:pt idx="2450">
                  <c:v>6.8055555555555554</c:v>
                </c:pt>
                <c:pt idx="2451">
                  <c:v>6.8083333333333336</c:v>
                </c:pt>
                <c:pt idx="2452">
                  <c:v>6.8111111111111109</c:v>
                </c:pt>
                <c:pt idx="2453">
                  <c:v>6.8138888888888891</c:v>
                </c:pt>
                <c:pt idx="2454">
                  <c:v>6.8166666666666664</c:v>
                </c:pt>
                <c:pt idx="2455">
                  <c:v>6.8194444444444446</c:v>
                </c:pt>
                <c:pt idx="2456">
                  <c:v>6.822222222222222</c:v>
                </c:pt>
                <c:pt idx="2457">
                  <c:v>6.8250000000000002</c:v>
                </c:pt>
                <c:pt idx="2458">
                  <c:v>6.8277777777777775</c:v>
                </c:pt>
                <c:pt idx="2459">
                  <c:v>6.8305555555555557</c:v>
                </c:pt>
                <c:pt idx="2460">
                  <c:v>6.833333333333333</c:v>
                </c:pt>
                <c:pt idx="2461">
                  <c:v>6.8361111111111112</c:v>
                </c:pt>
                <c:pt idx="2462">
                  <c:v>6.8388888888888886</c:v>
                </c:pt>
                <c:pt idx="2463">
                  <c:v>6.8416666666666668</c:v>
                </c:pt>
                <c:pt idx="2464">
                  <c:v>6.8444444444444441</c:v>
                </c:pt>
                <c:pt idx="2465">
                  <c:v>6.8472222222222223</c:v>
                </c:pt>
                <c:pt idx="2466">
                  <c:v>6.85</c:v>
                </c:pt>
                <c:pt idx="2467">
                  <c:v>6.8527777777777779</c:v>
                </c:pt>
                <c:pt idx="2468">
                  <c:v>6.8555555555555552</c:v>
                </c:pt>
                <c:pt idx="2469">
                  <c:v>6.8583333333333334</c:v>
                </c:pt>
                <c:pt idx="2470">
                  <c:v>6.8611111111111107</c:v>
                </c:pt>
                <c:pt idx="2471">
                  <c:v>6.8638888888888889</c:v>
                </c:pt>
                <c:pt idx="2472">
                  <c:v>6.8666666666666663</c:v>
                </c:pt>
                <c:pt idx="2473">
                  <c:v>6.8694444444444445</c:v>
                </c:pt>
                <c:pt idx="2474">
                  <c:v>6.8722222222222218</c:v>
                </c:pt>
                <c:pt idx="2475">
                  <c:v>6.875</c:v>
                </c:pt>
                <c:pt idx="2476">
                  <c:v>6.8777777777777782</c:v>
                </c:pt>
                <c:pt idx="2477">
                  <c:v>6.8805555555555555</c:v>
                </c:pt>
                <c:pt idx="2478">
                  <c:v>6.8833333333333337</c:v>
                </c:pt>
                <c:pt idx="2479">
                  <c:v>6.8861111111111111</c:v>
                </c:pt>
                <c:pt idx="2480">
                  <c:v>6.8888888888888893</c:v>
                </c:pt>
                <c:pt idx="2481">
                  <c:v>6.8916666666666666</c:v>
                </c:pt>
                <c:pt idx="2482">
                  <c:v>6.8944444444444448</c:v>
                </c:pt>
                <c:pt idx="2483">
                  <c:v>6.8972222222222221</c:v>
                </c:pt>
                <c:pt idx="2484">
                  <c:v>6.9</c:v>
                </c:pt>
                <c:pt idx="2485">
                  <c:v>6.9027777777777777</c:v>
                </c:pt>
                <c:pt idx="2486">
                  <c:v>6.9055555555555559</c:v>
                </c:pt>
                <c:pt idx="2487">
                  <c:v>6.9083333333333332</c:v>
                </c:pt>
                <c:pt idx="2488">
                  <c:v>6.9111111111111114</c:v>
                </c:pt>
                <c:pt idx="2489">
                  <c:v>6.9138888888888888</c:v>
                </c:pt>
                <c:pt idx="2490">
                  <c:v>6.916666666666667</c:v>
                </c:pt>
                <c:pt idx="2491">
                  <c:v>6.9194444444444443</c:v>
                </c:pt>
                <c:pt idx="2492">
                  <c:v>6.9222222222222225</c:v>
                </c:pt>
                <c:pt idx="2493">
                  <c:v>6.9249999999999998</c:v>
                </c:pt>
                <c:pt idx="2494">
                  <c:v>6.927777777777778</c:v>
                </c:pt>
                <c:pt idx="2495">
                  <c:v>6.9305555555555554</c:v>
                </c:pt>
                <c:pt idx="2496">
                  <c:v>6.9333333333333336</c:v>
                </c:pt>
                <c:pt idx="2497">
                  <c:v>6.9361111111111109</c:v>
                </c:pt>
                <c:pt idx="2498">
                  <c:v>6.9388888888888891</c:v>
                </c:pt>
                <c:pt idx="2499">
                  <c:v>6.9416666666666664</c:v>
                </c:pt>
                <c:pt idx="2500">
                  <c:v>6.9444444444444446</c:v>
                </c:pt>
                <c:pt idx="2501">
                  <c:v>6.947222222222222</c:v>
                </c:pt>
                <c:pt idx="2502">
                  <c:v>6.95</c:v>
                </c:pt>
                <c:pt idx="2503">
                  <c:v>6.9527777777777775</c:v>
                </c:pt>
                <c:pt idx="2504">
                  <c:v>6.9555555555555557</c:v>
                </c:pt>
                <c:pt idx="2505">
                  <c:v>6.958333333333333</c:v>
                </c:pt>
                <c:pt idx="2506">
                  <c:v>6.9611111111111112</c:v>
                </c:pt>
                <c:pt idx="2507">
                  <c:v>6.9638888888888886</c:v>
                </c:pt>
                <c:pt idx="2508">
                  <c:v>6.9666666666666668</c:v>
                </c:pt>
                <c:pt idx="2509">
                  <c:v>6.9694444444444441</c:v>
                </c:pt>
                <c:pt idx="2510">
                  <c:v>6.9722222222222223</c:v>
                </c:pt>
                <c:pt idx="2511">
                  <c:v>6.9749999999999996</c:v>
                </c:pt>
                <c:pt idx="2512">
                  <c:v>6.9777777777777779</c:v>
                </c:pt>
                <c:pt idx="2513">
                  <c:v>6.9805555555555552</c:v>
                </c:pt>
                <c:pt idx="2514">
                  <c:v>6.9833333333333334</c:v>
                </c:pt>
                <c:pt idx="2515">
                  <c:v>6.9861111111111107</c:v>
                </c:pt>
                <c:pt idx="2516">
                  <c:v>6.9888888888888889</c:v>
                </c:pt>
                <c:pt idx="2517">
                  <c:v>6.9916666666666663</c:v>
                </c:pt>
                <c:pt idx="2518">
                  <c:v>6.9944444444444445</c:v>
                </c:pt>
                <c:pt idx="2519">
                  <c:v>6.9972222222222218</c:v>
                </c:pt>
                <c:pt idx="2520">
                  <c:v>7</c:v>
                </c:pt>
                <c:pt idx="2521">
                  <c:v>7.0027777777777782</c:v>
                </c:pt>
                <c:pt idx="2522">
                  <c:v>7.0055555555555555</c:v>
                </c:pt>
                <c:pt idx="2523">
                  <c:v>7.0083333333333337</c:v>
                </c:pt>
                <c:pt idx="2524">
                  <c:v>7.0111111111111111</c:v>
                </c:pt>
                <c:pt idx="2525">
                  <c:v>7.0138888888888893</c:v>
                </c:pt>
                <c:pt idx="2526">
                  <c:v>7.0166666666666666</c:v>
                </c:pt>
                <c:pt idx="2527">
                  <c:v>7.0194444444444448</c:v>
                </c:pt>
                <c:pt idx="2528">
                  <c:v>7.0222222222222221</c:v>
                </c:pt>
                <c:pt idx="2529">
                  <c:v>7.0250000000000004</c:v>
                </c:pt>
                <c:pt idx="2530">
                  <c:v>7.0277777777777777</c:v>
                </c:pt>
                <c:pt idx="2531">
                  <c:v>7.0305555555555559</c:v>
                </c:pt>
                <c:pt idx="2532">
                  <c:v>7.0333333333333332</c:v>
                </c:pt>
                <c:pt idx="2533">
                  <c:v>7.0361111111111114</c:v>
                </c:pt>
                <c:pt idx="2534">
                  <c:v>7.0388888888888888</c:v>
                </c:pt>
                <c:pt idx="2535">
                  <c:v>7.041666666666667</c:v>
                </c:pt>
                <c:pt idx="2536">
                  <c:v>7.0444444444444443</c:v>
                </c:pt>
                <c:pt idx="2537">
                  <c:v>7.0472222222222225</c:v>
                </c:pt>
                <c:pt idx="2538">
                  <c:v>7.05</c:v>
                </c:pt>
                <c:pt idx="2539">
                  <c:v>7.052777777777778</c:v>
                </c:pt>
                <c:pt idx="2540">
                  <c:v>7.0555555555555554</c:v>
                </c:pt>
                <c:pt idx="2541">
                  <c:v>7.0583333333333336</c:v>
                </c:pt>
                <c:pt idx="2542">
                  <c:v>7.0611111111111109</c:v>
                </c:pt>
                <c:pt idx="2543">
                  <c:v>7.0638888888888891</c:v>
                </c:pt>
                <c:pt idx="2544">
                  <c:v>7.0666666666666664</c:v>
                </c:pt>
                <c:pt idx="2545">
                  <c:v>7.0694444444444446</c:v>
                </c:pt>
                <c:pt idx="2546">
                  <c:v>7.072222222222222</c:v>
                </c:pt>
                <c:pt idx="2547">
                  <c:v>7.0750000000000002</c:v>
                </c:pt>
                <c:pt idx="2548">
                  <c:v>7.0777777777777775</c:v>
                </c:pt>
                <c:pt idx="2549">
                  <c:v>7.0805555555555557</c:v>
                </c:pt>
                <c:pt idx="2550">
                  <c:v>7.083333333333333</c:v>
                </c:pt>
                <c:pt idx="2551">
                  <c:v>7.0861111111111112</c:v>
                </c:pt>
                <c:pt idx="2552">
                  <c:v>7.0888888888888886</c:v>
                </c:pt>
                <c:pt idx="2553">
                  <c:v>7.0916666666666668</c:v>
                </c:pt>
                <c:pt idx="2554">
                  <c:v>7.0944444444444441</c:v>
                </c:pt>
                <c:pt idx="2555">
                  <c:v>7.0972222222222223</c:v>
                </c:pt>
                <c:pt idx="2556">
                  <c:v>7.1</c:v>
                </c:pt>
                <c:pt idx="2557">
                  <c:v>7.1027777777777779</c:v>
                </c:pt>
                <c:pt idx="2558">
                  <c:v>7.1055555555555552</c:v>
                </c:pt>
                <c:pt idx="2559">
                  <c:v>7.1083333333333334</c:v>
                </c:pt>
                <c:pt idx="2560">
                  <c:v>7.1111111111111107</c:v>
                </c:pt>
                <c:pt idx="2561">
                  <c:v>7.1138888888888889</c:v>
                </c:pt>
                <c:pt idx="2562">
                  <c:v>7.1166666666666663</c:v>
                </c:pt>
                <c:pt idx="2563">
                  <c:v>7.1194444444444445</c:v>
                </c:pt>
                <c:pt idx="2564">
                  <c:v>7.1222222222222218</c:v>
                </c:pt>
                <c:pt idx="2565">
                  <c:v>7.125</c:v>
                </c:pt>
                <c:pt idx="2566">
                  <c:v>7.1277777777777782</c:v>
                </c:pt>
                <c:pt idx="2567">
                  <c:v>7.1305555555555555</c:v>
                </c:pt>
                <c:pt idx="2568">
                  <c:v>7.1333333333333337</c:v>
                </c:pt>
                <c:pt idx="2569">
                  <c:v>7.1361111111111111</c:v>
                </c:pt>
                <c:pt idx="2570">
                  <c:v>7.1388888888888893</c:v>
                </c:pt>
                <c:pt idx="2571">
                  <c:v>7.1416666666666666</c:v>
                </c:pt>
                <c:pt idx="2572">
                  <c:v>7.1444444444444448</c:v>
                </c:pt>
                <c:pt idx="2573">
                  <c:v>7.1472222222222221</c:v>
                </c:pt>
                <c:pt idx="2574">
                  <c:v>7.15</c:v>
                </c:pt>
                <c:pt idx="2575">
                  <c:v>7.1527777777777777</c:v>
                </c:pt>
                <c:pt idx="2576">
                  <c:v>7.1555555555555559</c:v>
                </c:pt>
                <c:pt idx="2577">
                  <c:v>7.1583333333333332</c:v>
                </c:pt>
                <c:pt idx="2578">
                  <c:v>7.1611111111111114</c:v>
                </c:pt>
                <c:pt idx="2579">
                  <c:v>7.1638888888888888</c:v>
                </c:pt>
                <c:pt idx="2580">
                  <c:v>7.166666666666667</c:v>
                </c:pt>
                <c:pt idx="2581">
                  <c:v>7.1694444444444443</c:v>
                </c:pt>
                <c:pt idx="2582">
                  <c:v>7.1722222222222225</c:v>
                </c:pt>
                <c:pt idx="2583">
                  <c:v>7.1749999999999998</c:v>
                </c:pt>
                <c:pt idx="2584">
                  <c:v>7.177777777777778</c:v>
                </c:pt>
                <c:pt idx="2585">
                  <c:v>7.1805555555555554</c:v>
                </c:pt>
                <c:pt idx="2586">
                  <c:v>7.1833333333333336</c:v>
                </c:pt>
                <c:pt idx="2587">
                  <c:v>7.1861111111111109</c:v>
                </c:pt>
                <c:pt idx="2588">
                  <c:v>7.1888888888888891</c:v>
                </c:pt>
                <c:pt idx="2589">
                  <c:v>7.1916666666666664</c:v>
                </c:pt>
                <c:pt idx="2590">
                  <c:v>7.1944444444444446</c:v>
                </c:pt>
                <c:pt idx="2591">
                  <c:v>7.197222222222222</c:v>
                </c:pt>
                <c:pt idx="2592">
                  <c:v>7.2</c:v>
                </c:pt>
                <c:pt idx="2593">
                  <c:v>7.2027777777777775</c:v>
                </c:pt>
                <c:pt idx="2594">
                  <c:v>7.2055555555555557</c:v>
                </c:pt>
                <c:pt idx="2595">
                  <c:v>7.208333333333333</c:v>
                </c:pt>
                <c:pt idx="2596">
                  <c:v>7.2111111111111112</c:v>
                </c:pt>
                <c:pt idx="2597">
                  <c:v>7.2138888888888886</c:v>
                </c:pt>
                <c:pt idx="2598">
                  <c:v>7.2166666666666668</c:v>
                </c:pt>
                <c:pt idx="2599">
                  <c:v>7.2194444444444441</c:v>
                </c:pt>
                <c:pt idx="2600">
                  <c:v>7.2222222222222223</c:v>
                </c:pt>
                <c:pt idx="2601">
                  <c:v>7.2249999999999996</c:v>
                </c:pt>
                <c:pt idx="2602">
                  <c:v>7.2277777777777779</c:v>
                </c:pt>
                <c:pt idx="2603">
                  <c:v>7.2305555555555552</c:v>
                </c:pt>
                <c:pt idx="2604">
                  <c:v>7.2333333333333334</c:v>
                </c:pt>
                <c:pt idx="2605">
                  <c:v>7.2361111111111107</c:v>
                </c:pt>
                <c:pt idx="2606">
                  <c:v>7.2388888888888889</c:v>
                </c:pt>
                <c:pt idx="2607">
                  <c:v>7.2416666666666663</c:v>
                </c:pt>
                <c:pt idx="2608">
                  <c:v>7.2444444444444445</c:v>
                </c:pt>
                <c:pt idx="2609">
                  <c:v>7.2472222222222218</c:v>
                </c:pt>
                <c:pt idx="2610">
                  <c:v>7.25</c:v>
                </c:pt>
                <c:pt idx="2611">
                  <c:v>7.2527777777777782</c:v>
                </c:pt>
                <c:pt idx="2612">
                  <c:v>7.2555555555555555</c:v>
                </c:pt>
                <c:pt idx="2613">
                  <c:v>7.2583333333333337</c:v>
                </c:pt>
                <c:pt idx="2614">
                  <c:v>7.2611111111111111</c:v>
                </c:pt>
                <c:pt idx="2615">
                  <c:v>7.2638888888888893</c:v>
                </c:pt>
                <c:pt idx="2616">
                  <c:v>7.2666666666666666</c:v>
                </c:pt>
                <c:pt idx="2617">
                  <c:v>7.2694444444444448</c:v>
                </c:pt>
                <c:pt idx="2618">
                  <c:v>7.2722222222222221</c:v>
                </c:pt>
                <c:pt idx="2619">
                  <c:v>7.2750000000000004</c:v>
                </c:pt>
                <c:pt idx="2620">
                  <c:v>7.2777777777777777</c:v>
                </c:pt>
                <c:pt idx="2621">
                  <c:v>7.2805555555555559</c:v>
                </c:pt>
                <c:pt idx="2622">
                  <c:v>7.2833333333333332</c:v>
                </c:pt>
                <c:pt idx="2623">
                  <c:v>7.2861111111111114</c:v>
                </c:pt>
                <c:pt idx="2624">
                  <c:v>7.2888888888888888</c:v>
                </c:pt>
                <c:pt idx="2625">
                  <c:v>7.291666666666667</c:v>
                </c:pt>
                <c:pt idx="2626">
                  <c:v>7.2944444444444443</c:v>
                </c:pt>
                <c:pt idx="2627">
                  <c:v>7.2972222222222225</c:v>
                </c:pt>
                <c:pt idx="2628">
                  <c:v>7.3</c:v>
                </c:pt>
                <c:pt idx="2629">
                  <c:v>7.302777777777778</c:v>
                </c:pt>
                <c:pt idx="2630">
                  <c:v>7.3055555555555554</c:v>
                </c:pt>
                <c:pt idx="2631">
                  <c:v>7.3083333333333336</c:v>
                </c:pt>
                <c:pt idx="2632">
                  <c:v>7.3111111111111109</c:v>
                </c:pt>
                <c:pt idx="2633">
                  <c:v>7.3138888888888891</c:v>
                </c:pt>
                <c:pt idx="2634">
                  <c:v>7.3166666666666664</c:v>
                </c:pt>
                <c:pt idx="2635">
                  <c:v>7.3194444444444446</c:v>
                </c:pt>
                <c:pt idx="2636">
                  <c:v>7.322222222222222</c:v>
                </c:pt>
                <c:pt idx="2637">
                  <c:v>7.3250000000000002</c:v>
                </c:pt>
                <c:pt idx="2638">
                  <c:v>7.3277777777777775</c:v>
                </c:pt>
                <c:pt idx="2639">
                  <c:v>7.3305555555555557</c:v>
                </c:pt>
                <c:pt idx="2640">
                  <c:v>7.333333333333333</c:v>
                </c:pt>
                <c:pt idx="2641">
                  <c:v>7.3361111111111112</c:v>
                </c:pt>
                <c:pt idx="2642">
                  <c:v>7.3388888888888886</c:v>
                </c:pt>
                <c:pt idx="2643">
                  <c:v>7.3416666666666668</c:v>
                </c:pt>
                <c:pt idx="2644">
                  <c:v>7.3444444444444441</c:v>
                </c:pt>
                <c:pt idx="2645">
                  <c:v>7.3472222222222223</c:v>
                </c:pt>
                <c:pt idx="2646">
                  <c:v>7.35</c:v>
                </c:pt>
                <c:pt idx="2647">
                  <c:v>7.3527777777777779</c:v>
                </c:pt>
                <c:pt idx="2648">
                  <c:v>7.3555555555555552</c:v>
                </c:pt>
                <c:pt idx="2649">
                  <c:v>7.3583333333333334</c:v>
                </c:pt>
                <c:pt idx="2650">
                  <c:v>7.3611111111111107</c:v>
                </c:pt>
                <c:pt idx="2651">
                  <c:v>7.3638888888888889</c:v>
                </c:pt>
                <c:pt idx="2652">
                  <c:v>7.3666666666666663</c:v>
                </c:pt>
                <c:pt idx="2653">
                  <c:v>7.3694444444444445</c:v>
                </c:pt>
                <c:pt idx="2654">
                  <c:v>7.3722222222222218</c:v>
                </c:pt>
                <c:pt idx="2655">
                  <c:v>7.375</c:v>
                </c:pt>
                <c:pt idx="2656">
                  <c:v>7.3777777777777782</c:v>
                </c:pt>
                <c:pt idx="2657">
                  <c:v>7.3805555555555555</c:v>
                </c:pt>
                <c:pt idx="2658">
                  <c:v>7.3833333333333337</c:v>
                </c:pt>
                <c:pt idx="2659">
                  <c:v>7.3861111111111111</c:v>
                </c:pt>
                <c:pt idx="2660">
                  <c:v>7.3888888888888893</c:v>
                </c:pt>
                <c:pt idx="2661">
                  <c:v>7.3916666666666666</c:v>
                </c:pt>
                <c:pt idx="2662">
                  <c:v>7.3944444444444448</c:v>
                </c:pt>
                <c:pt idx="2663">
                  <c:v>7.3972222222222221</c:v>
                </c:pt>
                <c:pt idx="2664">
                  <c:v>7.4</c:v>
                </c:pt>
                <c:pt idx="2665">
                  <c:v>7.4027777777777777</c:v>
                </c:pt>
                <c:pt idx="2666">
                  <c:v>7.4055555555555559</c:v>
                </c:pt>
                <c:pt idx="2667">
                  <c:v>7.4083333333333332</c:v>
                </c:pt>
                <c:pt idx="2668">
                  <c:v>7.4111111111111114</c:v>
                </c:pt>
                <c:pt idx="2669">
                  <c:v>7.4138888888888888</c:v>
                </c:pt>
                <c:pt idx="2670">
                  <c:v>7.416666666666667</c:v>
                </c:pt>
                <c:pt idx="2671">
                  <c:v>7.4194444444444443</c:v>
                </c:pt>
                <c:pt idx="2672">
                  <c:v>7.4222222222222225</c:v>
                </c:pt>
                <c:pt idx="2673">
                  <c:v>7.4249999999999998</c:v>
                </c:pt>
                <c:pt idx="2674">
                  <c:v>7.427777777777778</c:v>
                </c:pt>
                <c:pt idx="2675">
                  <c:v>7.4305555555555554</c:v>
                </c:pt>
                <c:pt idx="2676">
                  <c:v>7.4333333333333336</c:v>
                </c:pt>
                <c:pt idx="2677">
                  <c:v>7.4361111111111109</c:v>
                </c:pt>
                <c:pt idx="2678">
                  <c:v>7.4388888888888891</c:v>
                </c:pt>
                <c:pt idx="2679">
                  <c:v>7.4416666666666664</c:v>
                </c:pt>
                <c:pt idx="2680">
                  <c:v>7.4444444444444446</c:v>
                </c:pt>
                <c:pt idx="2681">
                  <c:v>7.447222222222222</c:v>
                </c:pt>
                <c:pt idx="2682">
                  <c:v>7.45</c:v>
                </c:pt>
                <c:pt idx="2683">
                  <c:v>7.4527777777777775</c:v>
                </c:pt>
                <c:pt idx="2684">
                  <c:v>7.4555555555555557</c:v>
                </c:pt>
                <c:pt idx="2685">
                  <c:v>7.458333333333333</c:v>
                </c:pt>
                <c:pt idx="2686">
                  <c:v>7.4611111111111112</c:v>
                </c:pt>
                <c:pt idx="2687">
                  <c:v>7.4638888888888886</c:v>
                </c:pt>
                <c:pt idx="2688">
                  <c:v>7.4666666666666668</c:v>
                </c:pt>
                <c:pt idx="2689">
                  <c:v>7.4694444444444441</c:v>
                </c:pt>
                <c:pt idx="2690">
                  <c:v>7.4722222222222223</c:v>
                </c:pt>
                <c:pt idx="2691">
                  <c:v>7.4749999999999996</c:v>
                </c:pt>
                <c:pt idx="2692">
                  <c:v>7.4777777777777779</c:v>
                </c:pt>
                <c:pt idx="2693">
                  <c:v>7.4805555555555552</c:v>
                </c:pt>
                <c:pt idx="2694">
                  <c:v>7.4833333333333334</c:v>
                </c:pt>
                <c:pt idx="2695">
                  <c:v>7.4861111111111107</c:v>
                </c:pt>
                <c:pt idx="2696">
                  <c:v>7.4888888888888889</c:v>
                </c:pt>
                <c:pt idx="2697">
                  <c:v>7.4916666666666663</c:v>
                </c:pt>
                <c:pt idx="2698">
                  <c:v>7.4944444444444445</c:v>
                </c:pt>
                <c:pt idx="2699">
                  <c:v>7.4972222222222218</c:v>
                </c:pt>
                <c:pt idx="2700">
                  <c:v>7.5</c:v>
                </c:pt>
                <c:pt idx="2701">
                  <c:v>7.5027777777777782</c:v>
                </c:pt>
                <c:pt idx="2702">
                  <c:v>7.5055555555555555</c:v>
                </c:pt>
                <c:pt idx="2703">
                  <c:v>7.5083333333333337</c:v>
                </c:pt>
                <c:pt idx="2704">
                  <c:v>7.5111111111111111</c:v>
                </c:pt>
                <c:pt idx="2705">
                  <c:v>7.5138888888888893</c:v>
                </c:pt>
                <c:pt idx="2706">
                  <c:v>7.5166666666666666</c:v>
                </c:pt>
                <c:pt idx="2707">
                  <c:v>7.5194444444444448</c:v>
                </c:pt>
                <c:pt idx="2708">
                  <c:v>7.5222222222222221</c:v>
                </c:pt>
                <c:pt idx="2709">
                  <c:v>7.5250000000000004</c:v>
                </c:pt>
                <c:pt idx="2710">
                  <c:v>7.5277777777777777</c:v>
                </c:pt>
                <c:pt idx="2711">
                  <c:v>7.5305555555555559</c:v>
                </c:pt>
                <c:pt idx="2712">
                  <c:v>7.5333333333333332</c:v>
                </c:pt>
                <c:pt idx="2713">
                  <c:v>7.5361111111111114</c:v>
                </c:pt>
                <c:pt idx="2714">
                  <c:v>7.5388888888888888</c:v>
                </c:pt>
                <c:pt idx="2715">
                  <c:v>7.541666666666667</c:v>
                </c:pt>
                <c:pt idx="2716">
                  <c:v>7.5444444444444443</c:v>
                </c:pt>
                <c:pt idx="2717">
                  <c:v>7.5472222222222225</c:v>
                </c:pt>
                <c:pt idx="2718">
                  <c:v>7.55</c:v>
                </c:pt>
                <c:pt idx="2719">
                  <c:v>7.552777777777778</c:v>
                </c:pt>
                <c:pt idx="2720">
                  <c:v>7.5555555555555554</c:v>
                </c:pt>
                <c:pt idx="2721">
                  <c:v>7.5583333333333336</c:v>
                </c:pt>
                <c:pt idx="2722">
                  <c:v>7.5611111111111109</c:v>
                </c:pt>
                <c:pt idx="2723">
                  <c:v>7.5638888888888891</c:v>
                </c:pt>
                <c:pt idx="2724">
                  <c:v>7.5666666666666664</c:v>
                </c:pt>
                <c:pt idx="2725">
                  <c:v>7.5694444444444446</c:v>
                </c:pt>
                <c:pt idx="2726">
                  <c:v>7.572222222222222</c:v>
                </c:pt>
                <c:pt idx="2727">
                  <c:v>7.5750000000000002</c:v>
                </c:pt>
                <c:pt idx="2728">
                  <c:v>7.5777777777777775</c:v>
                </c:pt>
                <c:pt idx="2729">
                  <c:v>7.5805555555555557</c:v>
                </c:pt>
                <c:pt idx="2730">
                  <c:v>7.583333333333333</c:v>
                </c:pt>
                <c:pt idx="2731">
                  <c:v>7.5861111111111112</c:v>
                </c:pt>
                <c:pt idx="2732">
                  <c:v>7.5888888888888886</c:v>
                </c:pt>
                <c:pt idx="2733">
                  <c:v>7.5916666666666668</c:v>
                </c:pt>
                <c:pt idx="2734">
                  <c:v>7.5944444444444441</c:v>
                </c:pt>
                <c:pt idx="2735">
                  <c:v>7.5972222222222223</c:v>
                </c:pt>
                <c:pt idx="2736">
                  <c:v>7.6</c:v>
                </c:pt>
                <c:pt idx="2737">
                  <c:v>7.6027777777777779</c:v>
                </c:pt>
                <c:pt idx="2738">
                  <c:v>7.6055555555555552</c:v>
                </c:pt>
                <c:pt idx="2739">
                  <c:v>7.6083333333333334</c:v>
                </c:pt>
                <c:pt idx="2740">
                  <c:v>7.6111111111111107</c:v>
                </c:pt>
                <c:pt idx="2741">
                  <c:v>7.6138888888888889</c:v>
                </c:pt>
                <c:pt idx="2742">
                  <c:v>7.6166666666666663</c:v>
                </c:pt>
                <c:pt idx="2743">
                  <c:v>7.6194444444444445</c:v>
                </c:pt>
                <c:pt idx="2744">
                  <c:v>7.6222222222222218</c:v>
                </c:pt>
                <c:pt idx="2745">
                  <c:v>7.625</c:v>
                </c:pt>
                <c:pt idx="2746">
                  <c:v>7.6277777777777782</c:v>
                </c:pt>
                <c:pt idx="2747">
                  <c:v>7.6305555555555555</c:v>
                </c:pt>
                <c:pt idx="2748">
                  <c:v>7.6333333333333337</c:v>
                </c:pt>
                <c:pt idx="2749">
                  <c:v>7.6361111111111111</c:v>
                </c:pt>
                <c:pt idx="2750">
                  <c:v>7.6388888888888893</c:v>
                </c:pt>
                <c:pt idx="2751">
                  <c:v>7.6416666666666666</c:v>
                </c:pt>
                <c:pt idx="2752">
                  <c:v>7.6444444444444448</c:v>
                </c:pt>
                <c:pt idx="2753">
                  <c:v>7.6472222222222221</c:v>
                </c:pt>
                <c:pt idx="2754">
                  <c:v>7.65</c:v>
                </c:pt>
                <c:pt idx="2755">
                  <c:v>7.6527777777777777</c:v>
                </c:pt>
                <c:pt idx="2756">
                  <c:v>7.6555555555555559</c:v>
                </c:pt>
                <c:pt idx="2757">
                  <c:v>7.6583333333333332</c:v>
                </c:pt>
                <c:pt idx="2758">
                  <c:v>7.6611111111111114</c:v>
                </c:pt>
                <c:pt idx="2759">
                  <c:v>7.6638888888888888</c:v>
                </c:pt>
                <c:pt idx="2760">
                  <c:v>7.666666666666667</c:v>
                </c:pt>
                <c:pt idx="2761">
                  <c:v>7.6694444444444443</c:v>
                </c:pt>
                <c:pt idx="2762">
                  <c:v>7.6722222222222225</c:v>
                </c:pt>
                <c:pt idx="2763">
                  <c:v>7.6749999999999998</c:v>
                </c:pt>
                <c:pt idx="2764">
                  <c:v>7.677777777777778</c:v>
                </c:pt>
                <c:pt idx="2765">
                  <c:v>7.6805555555555554</c:v>
                </c:pt>
                <c:pt idx="2766">
                  <c:v>7.6833333333333336</c:v>
                </c:pt>
                <c:pt idx="2767">
                  <c:v>7.6861111111111109</c:v>
                </c:pt>
                <c:pt idx="2768">
                  <c:v>7.6888888888888891</c:v>
                </c:pt>
                <c:pt idx="2769">
                  <c:v>7.6916666666666664</c:v>
                </c:pt>
                <c:pt idx="2770">
                  <c:v>7.6944444444444446</c:v>
                </c:pt>
                <c:pt idx="2771">
                  <c:v>7.697222222222222</c:v>
                </c:pt>
                <c:pt idx="2772">
                  <c:v>7.7</c:v>
                </c:pt>
                <c:pt idx="2773">
                  <c:v>7.7027777777777775</c:v>
                </c:pt>
                <c:pt idx="2774">
                  <c:v>7.7055555555555557</c:v>
                </c:pt>
                <c:pt idx="2775">
                  <c:v>7.708333333333333</c:v>
                </c:pt>
                <c:pt idx="2776">
                  <c:v>7.7111111111111112</c:v>
                </c:pt>
                <c:pt idx="2777">
                  <c:v>7.7138888888888886</c:v>
                </c:pt>
                <c:pt idx="2778">
                  <c:v>7.7166666666666668</c:v>
                </c:pt>
                <c:pt idx="2779">
                  <c:v>7.7194444444444441</c:v>
                </c:pt>
                <c:pt idx="2780">
                  <c:v>7.7222222222222223</c:v>
                </c:pt>
                <c:pt idx="2781">
                  <c:v>7.7249999999999996</c:v>
                </c:pt>
                <c:pt idx="2782">
                  <c:v>7.7277777777777779</c:v>
                </c:pt>
                <c:pt idx="2783">
                  <c:v>7.7305555555555552</c:v>
                </c:pt>
                <c:pt idx="2784">
                  <c:v>7.7333333333333334</c:v>
                </c:pt>
                <c:pt idx="2785">
                  <c:v>7.7361111111111107</c:v>
                </c:pt>
                <c:pt idx="2786">
                  <c:v>7.7388888888888889</c:v>
                </c:pt>
                <c:pt idx="2787">
                  <c:v>7.7416666666666663</c:v>
                </c:pt>
                <c:pt idx="2788">
                  <c:v>7.7444444444444445</c:v>
                </c:pt>
                <c:pt idx="2789">
                  <c:v>7.7472222222222218</c:v>
                </c:pt>
                <c:pt idx="2790">
                  <c:v>7.75</c:v>
                </c:pt>
                <c:pt idx="2791">
                  <c:v>7.7527777777777782</c:v>
                </c:pt>
                <c:pt idx="2792">
                  <c:v>7.7555555555555555</c:v>
                </c:pt>
                <c:pt idx="2793">
                  <c:v>7.7583333333333337</c:v>
                </c:pt>
                <c:pt idx="2794">
                  <c:v>7.7611111111111111</c:v>
                </c:pt>
                <c:pt idx="2795">
                  <c:v>7.7638888888888893</c:v>
                </c:pt>
                <c:pt idx="2796">
                  <c:v>7.7666666666666666</c:v>
                </c:pt>
                <c:pt idx="2797">
                  <c:v>7.7694444444444448</c:v>
                </c:pt>
                <c:pt idx="2798">
                  <c:v>7.7722222222222221</c:v>
                </c:pt>
                <c:pt idx="2799">
                  <c:v>7.7750000000000004</c:v>
                </c:pt>
                <c:pt idx="2800">
                  <c:v>7.7777777777777777</c:v>
                </c:pt>
                <c:pt idx="2801">
                  <c:v>7.7805555555555559</c:v>
                </c:pt>
                <c:pt idx="2802">
                  <c:v>7.7833333333333332</c:v>
                </c:pt>
                <c:pt idx="2803">
                  <c:v>7.7861111111111114</c:v>
                </c:pt>
                <c:pt idx="2804">
                  <c:v>7.7888888888888888</c:v>
                </c:pt>
                <c:pt idx="2805">
                  <c:v>7.791666666666667</c:v>
                </c:pt>
                <c:pt idx="2806">
                  <c:v>7.7944444444444443</c:v>
                </c:pt>
                <c:pt idx="2807">
                  <c:v>7.7972222222222225</c:v>
                </c:pt>
                <c:pt idx="2808">
                  <c:v>7.8</c:v>
                </c:pt>
                <c:pt idx="2809">
                  <c:v>7.802777777777778</c:v>
                </c:pt>
                <c:pt idx="2810">
                  <c:v>7.8055555555555554</c:v>
                </c:pt>
                <c:pt idx="2811">
                  <c:v>7.8083333333333336</c:v>
                </c:pt>
                <c:pt idx="2812">
                  <c:v>7.8111111111111109</c:v>
                </c:pt>
                <c:pt idx="2813">
                  <c:v>7.8138888888888891</c:v>
                </c:pt>
                <c:pt idx="2814">
                  <c:v>7.8166666666666664</c:v>
                </c:pt>
                <c:pt idx="2815">
                  <c:v>7.8194444444444446</c:v>
                </c:pt>
                <c:pt idx="2816">
                  <c:v>7.822222222222222</c:v>
                </c:pt>
                <c:pt idx="2817">
                  <c:v>7.8250000000000002</c:v>
                </c:pt>
                <c:pt idx="2818">
                  <c:v>7.8277777777777775</c:v>
                </c:pt>
                <c:pt idx="2819">
                  <c:v>7.8305555555555557</c:v>
                </c:pt>
                <c:pt idx="2820">
                  <c:v>7.833333333333333</c:v>
                </c:pt>
                <c:pt idx="2821">
                  <c:v>7.8361111111111112</c:v>
                </c:pt>
                <c:pt idx="2822">
                  <c:v>7.8388888888888886</c:v>
                </c:pt>
                <c:pt idx="2823">
                  <c:v>7.8416666666666668</c:v>
                </c:pt>
                <c:pt idx="2824">
                  <c:v>7.8444444444444441</c:v>
                </c:pt>
                <c:pt idx="2825">
                  <c:v>7.8472222222222223</c:v>
                </c:pt>
                <c:pt idx="2826">
                  <c:v>7.85</c:v>
                </c:pt>
                <c:pt idx="2827">
                  <c:v>7.8527777777777779</c:v>
                </c:pt>
                <c:pt idx="2828">
                  <c:v>7.8555555555555552</c:v>
                </c:pt>
                <c:pt idx="2829">
                  <c:v>7.8583333333333334</c:v>
                </c:pt>
                <c:pt idx="2830">
                  <c:v>7.8611111111111107</c:v>
                </c:pt>
                <c:pt idx="2831">
                  <c:v>7.8638888888888889</c:v>
                </c:pt>
                <c:pt idx="2832">
                  <c:v>7.8666666666666663</c:v>
                </c:pt>
                <c:pt idx="2833">
                  <c:v>7.8694444444444445</c:v>
                </c:pt>
                <c:pt idx="2834">
                  <c:v>7.8722222222222218</c:v>
                </c:pt>
                <c:pt idx="2835">
                  <c:v>7.875</c:v>
                </c:pt>
                <c:pt idx="2836">
                  <c:v>7.8777777777777782</c:v>
                </c:pt>
                <c:pt idx="2837">
                  <c:v>7.8805555555555555</c:v>
                </c:pt>
                <c:pt idx="2838">
                  <c:v>7.8833333333333337</c:v>
                </c:pt>
                <c:pt idx="2839">
                  <c:v>7.8861111111111111</c:v>
                </c:pt>
                <c:pt idx="2840">
                  <c:v>7.8888888888888893</c:v>
                </c:pt>
                <c:pt idx="2841">
                  <c:v>7.8916666666666666</c:v>
                </c:pt>
                <c:pt idx="2842">
                  <c:v>7.8944444444444448</c:v>
                </c:pt>
                <c:pt idx="2843">
                  <c:v>7.8972222222222221</c:v>
                </c:pt>
                <c:pt idx="2844">
                  <c:v>7.9</c:v>
                </c:pt>
                <c:pt idx="2845">
                  <c:v>7.9027777777777777</c:v>
                </c:pt>
                <c:pt idx="2846">
                  <c:v>7.9055555555555559</c:v>
                </c:pt>
                <c:pt idx="2847">
                  <c:v>7.9083333333333332</c:v>
                </c:pt>
                <c:pt idx="2848">
                  <c:v>7.9111111111111114</c:v>
                </c:pt>
                <c:pt idx="2849">
                  <c:v>7.9138888888888888</c:v>
                </c:pt>
                <c:pt idx="2850">
                  <c:v>7.916666666666667</c:v>
                </c:pt>
                <c:pt idx="2851">
                  <c:v>7.9194444444444443</c:v>
                </c:pt>
                <c:pt idx="2852">
                  <c:v>7.9222222222222225</c:v>
                </c:pt>
                <c:pt idx="2853">
                  <c:v>7.9249999999999998</c:v>
                </c:pt>
                <c:pt idx="2854">
                  <c:v>7.927777777777778</c:v>
                </c:pt>
                <c:pt idx="2855">
                  <c:v>7.9305555555555554</c:v>
                </c:pt>
                <c:pt idx="2856">
                  <c:v>7.9333333333333336</c:v>
                </c:pt>
                <c:pt idx="2857">
                  <c:v>7.9361111111111109</c:v>
                </c:pt>
                <c:pt idx="2858">
                  <c:v>7.9388888888888891</c:v>
                </c:pt>
                <c:pt idx="2859">
                  <c:v>7.9416666666666664</c:v>
                </c:pt>
                <c:pt idx="2860">
                  <c:v>7.9444444444444446</c:v>
                </c:pt>
                <c:pt idx="2861">
                  <c:v>7.947222222222222</c:v>
                </c:pt>
                <c:pt idx="2862">
                  <c:v>7.95</c:v>
                </c:pt>
                <c:pt idx="2863">
                  <c:v>7.9527777777777775</c:v>
                </c:pt>
                <c:pt idx="2864">
                  <c:v>7.9555555555555557</c:v>
                </c:pt>
                <c:pt idx="2865">
                  <c:v>7.958333333333333</c:v>
                </c:pt>
                <c:pt idx="2866">
                  <c:v>7.9611111111111112</c:v>
                </c:pt>
                <c:pt idx="2867">
                  <c:v>7.9638888888888886</c:v>
                </c:pt>
                <c:pt idx="2868">
                  <c:v>7.9666666666666668</c:v>
                </c:pt>
                <c:pt idx="2869">
                  <c:v>7.9694444444444441</c:v>
                </c:pt>
                <c:pt idx="2870">
                  <c:v>7.9722222222222223</c:v>
                </c:pt>
                <c:pt idx="2871">
                  <c:v>7.9749999999999996</c:v>
                </c:pt>
                <c:pt idx="2872">
                  <c:v>7.9777777777777779</c:v>
                </c:pt>
                <c:pt idx="2873">
                  <c:v>7.9805555555555552</c:v>
                </c:pt>
                <c:pt idx="2874">
                  <c:v>7.9833333333333334</c:v>
                </c:pt>
                <c:pt idx="2875">
                  <c:v>7.9861111111111107</c:v>
                </c:pt>
                <c:pt idx="2876">
                  <c:v>7.9888888888888889</c:v>
                </c:pt>
                <c:pt idx="2877">
                  <c:v>7.9916666666666663</c:v>
                </c:pt>
                <c:pt idx="2878">
                  <c:v>7.9944444444444445</c:v>
                </c:pt>
                <c:pt idx="2879">
                  <c:v>7.9972222222222218</c:v>
                </c:pt>
                <c:pt idx="2880">
                  <c:v>8</c:v>
                </c:pt>
                <c:pt idx="2881">
                  <c:v>8.0027777777777782</c:v>
                </c:pt>
                <c:pt idx="2882">
                  <c:v>8.0055555555555564</c:v>
                </c:pt>
                <c:pt idx="2883">
                  <c:v>8.0083333333333329</c:v>
                </c:pt>
                <c:pt idx="2884">
                  <c:v>8.0111111111111111</c:v>
                </c:pt>
                <c:pt idx="2885">
                  <c:v>8.0138888888888893</c:v>
                </c:pt>
                <c:pt idx="2886">
                  <c:v>8.0166666666666675</c:v>
                </c:pt>
                <c:pt idx="2887">
                  <c:v>8.0194444444444439</c:v>
                </c:pt>
                <c:pt idx="2888">
                  <c:v>8.0222222222222221</c:v>
                </c:pt>
                <c:pt idx="2889">
                  <c:v>8.0250000000000004</c:v>
                </c:pt>
                <c:pt idx="2890">
                  <c:v>8.0277777777777786</c:v>
                </c:pt>
                <c:pt idx="2891">
                  <c:v>8.030555555555555</c:v>
                </c:pt>
                <c:pt idx="2892">
                  <c:v>8.0333333333333332</c:v>
                </c:pt>
                <c:pt idx="2893">
                  <c:v>8.0361111111111114</c:v>
                </c:pt>
                <c:pt idx="2894">
                  <c:v>8.0388888888888896</c:v>
                </c:pt>
                <c:pt idx="2895">
                  <c:v>8.0416666666666661</c:v>
                </c:pt>
                <c:pt idx="2896">
                  <c:v>8.0444444444444443</c:v>
                </c:pt>
                <c:pt idx="2897">
                  <c:v>8.0472222222222225</c:v>
                </c:pt>
                <c:pt idx="2898">
                  <c:v>8.0500000000000007</c:v>
                </c:pt>
                <c:pt idx="2899">
                  <c:v>8.0527777777777771</c:v>
                </c:pt>
                <c:pt idx="2900">
                  <c:v>8.0555555555555554</c:v>
                </c:pt>
                <c:pt idx="2901">
                  <c:v>8.0583333333333336</c:v>
                </c:pt>
                <c:pt idx="2902">
                  <c:v>8.0611111111111118</c:v>
                </c:pt>
                <c:pt idx="2903">
                  <c:v>8.0638888888888882</c:v>
                </c:pt>
                <c:pt idx="2904">
                  <c:v>8.0666666666666664</c:v>
                </c:pt>
                <c:pt idx="2905">
                  <c:v>8.0694444444444446</c:v>
                </c:pt>
                <c:pt idx="2906">
                  <c:v>8.0722222222222229</c:v>
                </c:pt>
                <c:pt idx="2907">
                  <c:v>8.0749999999999993</c:v>
                </c:pt>
                <c:pt idx="2908">
                  <c:v>8.0777777777777775</c:v>
                </c:pt>
                <c:pt idx="2909">
                  <c:v>8.0805555555555557</c:v>
                </c:pt>
                <c:pt idx="2910">
                  <c:v>8.0833333333333339</c:v>
                </c:pt>
                <c:pt idx="2911">
                  <c:v>8.0861111111111104</c:v>
                </c:pt>
                <c:pt idx="2912">
                  <c:v>8.0888888888888886</c:v>
                </c:pt>
                <c:pt idx="2913">
                  <c:v>8.0916666666666668</c:v>
                </c:pt>
                <c:pt idx="2914">
                  <c:v>8.094444444444445</c:v>
                </c:pt>
                <c:pt idx="2915">
                  <c:v>8.0972222222222214</c:v>
                </c:pt>
                <c:pt idx="2916">
                  <c:v>8.1</c:v>
                </c:pt>
                <c:pt idx="2917">
                  <c:v>8.1027777777777779</c:v>
                </c:pt>
                <c:pt idx="2918">
                  <c:v>8.1055555555555561</c:v>
                </c:pt>
                <c:pt idx="2919">
                  <c:v>8.1083333333333325</c:v>
                </c:pt>
                <c:pt idx="2920">
                  <c:v>8.1111111111111107</c:v>
                </c:pt>
                <c:pt idx="2921">
                  <c:v>8.1138888888888889</c:v>
                </c:pt>
                <c:pt idx="2922">
                  <c:v>8.1166666666666671</c:v>
                </c:pt>
                <c:pt idx="2923">
                  <c:v>8.1194444444444436</c:v>
                </c:pt>
                <c:pt idx="2924">
                  <c:v>8.1222222222222218</c:v>
                </c:pt>
                <c:pt idx="2925">
                  <c:v>8.125</c:v>
                </c:pt>
                <c:pt idx="2926">
                  <c:v>8.1277777777777782</c:v>
                </c:pt>
                <c:pt idx="2927">
                  <c:v>8.1305555555555564</c:v>
                </c:pt>
                <c:pt idx="2928">
                  <c:v>8.1333333333333329</c:v>
                </c:pt>
                <c:pt idx="2929">
                  <c:v>8.1361111111111111</c:v>
                </c:pt>
                <c:pt idx="2930">
                  <c:v>8.1388888888888893</c:v>
                </c:pt>
                <c:pt idx="2931">
                  <c:v>8.1416666666666675</c:v>
                </c:pt>
                <c:pt idx="2932">
                  <c:v>8.1444444444444439</c:v>
                </c:pt>
                <c:pt idx="2933">
                  <c:v>8.1472222222222221</c:v>
                </c:pt>
                <c:pt idx="2934">
                  <c:v>8.15</c:v>
                </c:pt>
                <c:pt idx="2935">
                  <c:v>8.1527777777777786</c:v>
                </c:pt>
                <c:pt idx="2936">
                  <c:v>8.155555555555555</c:v>
                </c:pt>
                <c:pt idx="2937">
                  <c:v>8.1583333333333332</c:v>
                </c:pt>
                <c:pt idx="2938">
                  <c:v>8.1611111111111114</c:v>
                </c:pt>
                <c:pt idx="2939">
                  <c:v>8.1638888888888896</c:v>
                </c:pt>
                <c:pt idx="2940">
                  <c:v>8.1666666666666661</c:v>
                </c:pt>
                <c:pt idx="2941">
                  <c:v>8.1694444444444443</c:v>
                </c:pt>
                <c:pt idx="2942">
                  <c:v>8.1722222222222225</c:v>
                </c:pt>
                <c:pt idx="2943">
                  <c:v>8.1750000000000007</c:v>
                </c:pt>
                <c:pt idx="2944">
                  <c:v>8.1777777777777771</c:v>
                </c:pt>
                <c:pt idx="2945">
                  <c:v>8.1805555555555554</c:v>
                </c:pt>
                <c:pt idx="2946">
                  <c:v>8.1833333333333336</c:v>
                </c:pt>
                <c:pt idx="2947">
                  <c:v>8.1861111111111118</c:v>
                </c:pt>
                <c:pt idx="2948">
                  <c:v>8.1888888888888882</c:v>
                </c:pt>
                <c:pt idx="2949">
                  <c:v>8.1916666666666664</c:v>
                </c:pt>
                <c:pt idx="2950">
                  <c:v>8.1944444444444446</c:v>
                </c:pt>
                <c:pt idx="2951">
                  <c:v>8.1972222222222229</c:v>
                </c:pt>
                <c:pt idx="2952">
                  <c:v>8.1999999999999993</c:v>
                </c:pt>
                <c:pt idx="2953">
                  <c:v>8.2027777777777775</c:v>
                </c:pt>
                <c:pt idx="2954">
                  <c:v>8.2055555555555557</c:v>
                </c:pt>
                <c:pt idx="2955">
                  <c:v>8.2083333333333339</c:v>
                </c:pt>
                <c:pt idx="2956">
                  <c:v>8.2111111111111104</c:v>
                </c:pt>
                <c:pt idx="2957">
                  <c:v>8.2138888888888886</c:v>
                </c:pt>
                <c:pt idx="2958">
                  <c:v>8.2166666666666668</c:v>
                </c:pt>
                <c:pt idx="2959">
                  <c:v>8.219444444444445</c:v>
                </c:pt>
                <c:pt idx="2960">
                  <c:v>8.2222222222222214</c:v>
                </c:pt>
                <c:pt idx="2961">
                  <c:v>8.2249999999999996</c:v>
                </c:pt>
                <c:pt idx="2962">
                  <c:v>8.2277777777777779</c:v>
                </c:pt>
                <c:pt idx="2963">
                  <c:v>8.2305555555555561</c:v>
                </c:pt>
                <c:pt idx="2964">
                  <c:v>8.2333333333333325</c:v>
                </c:pt>
                <c:pt idx="2965">
                  <c:v>8.2361111111111107</c:v>
                </c:pt>
                <c:pt idx="2966">
                  <c:v>8.2388888888888889</c:v>
                </c:pt>
                <c:pt idx="2967">
                  <c:v>8.2416666666666671</c:v>
                </c:pt>
                <c:pt idx="2968">
                  <c:v>8.2444444444444436</c:v>
                </c:pt>
                <c:pt idx="2969">
                  <c:v>8.2472222222222218</c:v>
                </c:pt>
                <c:pt idx="2970">
                  <c:v>8.25</c:v>
                </c:pt>
                <c:pt idx="2971">
                  <c:v>8.2527777777777782</c:v>
                </c:pt>
                <c:pt idx="2972">
                  <c:v>8.2555555555555564</c:v>
                </c:pt>
                <c:pt idx="2973">
                  <c:v>8.2583333333333329</c:v>
                </c:pt>
                <c:pt idx="2974">
                  <c:v>8.2611111111111111</c:v>
                </c:pt>
                <c:pt idx="2975">
                  <c:v>8.2638888888888893</c:v>
                </c:pt>
                <c:pt idx="2976">
                  <c:v>8.2666666666666675</c:v>
                </c:pt>
                <c:pt idx="2977">
                  <c:v>8.2694444444444439</c:v>
                </c:pt>
                <c:pt idx="2978">
                  <c:v>8.2722222222222221</c:v>
                </c:pt>
                <c:pt idx="2979">
                  <c:v>8.2750000000000004</c:v>
                </c:pt>
                <c:pt idx="2980">
                  <c:v>8.2777777777777786</c:v>
                </c:pt>
                <c:pt idx="2981">
                  <c:v>8.280555555555555</c:v>
                </c:pt>
                <c:pt idx="2982">
                  <c:v>8.2833333333333332</c:v>
                </c:pt>
                <c:pt idx="2983">
                  <c:v>8.2861111111111114</c:v>
                </c:pt>
                <c:pt idx="2984">
                  <c:v>8.2888888888888896</c:v>
                </c:pt>
                <c:pt idx="2985">
                  <c:v>8.2916666666666661</c:v>
                </c:pt>
                <c:pt idx="2986">
                  <c:v>8.2944444444444443</c:v>
                </c:pt>
                <c:pt idx="2987">
                  <c:v>8.2972222222222225</c:v>
                </c:pt>
                <c:pt idx="2988">
                  <c:v>8.3000000000000007</c:v>
                </c:pt>
                <c:pt idx="2989">
                  <c:v>8.3027777777777771</c:v>
                </c:pt>
                <c:pt idx="2990">
                  <c:v>8.3055555555555554</c:v>
                </c:pt>
                <c:pt idx="2991">
                  <c:v>8.3083333333333336</c:v>
                </c:pt>
                <c:pt idx="2992">
                  <c:v>8.3111111111111118</c:v>
                </c:pt>
                <c:pt idx="2993">
                  <c:v>8.3138888888888882</c:v>
                </c:pt>
                <c:pt idx="2994">
                  <c:v>8.3166666666666664</c:v>
                </c:pt>
                <c:pt idx="2995">
                  <c:v>8.3194444444444446</c:v>
                </c:pt>
                <c:pt idx="2996">
                  <c:v>8.3222222222222229</c:v>
                </c:pt>
                <c:pt idx="2997">
                  <c:v>8.3249999999999993</c:v>
                </c:pt>
                <c:pt idx="2998">
                  <c:v>8.3277777777777775</c:v>
                </c:pt>
                <c:pt idx="2999">
                  <c:v>8.3305555555555557</c:v>
                </c:pt>
                <c:pt idx="3000">
                  <c:v>8.3333333333333339</c:v>
                </c:pt>
                <c:pt idx="3001">
                  <c:v>8.3361111111111104</c:v>
                </c:pt>
                <c:pt idx="3002">
                  <c:v>8.3388888888888886</c:v>
                </c:pt>
                <c:pt idx="3003">
                  <c:v>8.3416666666666668</c:v>
                </c:pt>
                <c:pt idx="3004">
                  <c:v>8.344444444444445</c:v>
                </c:pt>
                <c:pt idx="3005">
                  <c:v>8.3472222222222214</c:v>
                </c:pt>
                <c:pt idx="3006">
                  <c:v>8.35</c:v>
                </c:pt>
                <c:pt idx="3007">
                  <c:v>8.3527777777777779</c:v>
                </c:pt>
                <c:pt idx="3008">
                  <c:v>8.3555555555555561</c:v>
                </c:pt>
                <c:pt idx="3009">
                  <c:v>8.3583333333333325</c:v>
                </c:pt>
                <c:pt idx="3010">
                  <c:v>8.3611111111111107</c:v>
                </c:pt>
                <c:pt idx="3011">
                  <c:v>8.3638888888888889</c:v>
                </c:pt>
                <c:pt idx="3012">
                  <c:v>8.3666666666666671</c:v>
                </c:pt>
                <c:pt idx="3013">
                  <c:v>8.3694444444444436</c:v>
                </c:pt>
                <c:pt idx="3014">
                  <c:v>8.3722222222222218</c:v>
                </c:pt>
                <c:pt idx="3015">
                  <c:v>8.375</c:v>
                </c:pt>
                <c:pt idx="3016">
                  <c:v>8.3777777777777782</c:v>
                </c:pt>
                <c:pt idx="3017">
                  <c:v>8.3805555555555564</c:v>
                </c:pt>
                <c:pt idx="3018">
                  <c:v>8.3833333333333329</c:v>
                </c:pt>
                <c:pt idx="3019">
                  <c:v>8.3861111111111111</c:v>
                </c:pt>
                <c:pt idx="3020">
                  <c:v>8.3888888888888893</c:v>
                </c:pt>
                <c:pt idx="3021">
                  <c:v>8.3916666666666675</c:v>
                </c:pt>
                <c:pt idx="3022">
                  <c:v>8.3944444444444439</c:v>
                </c:pt>
                <c:pt idx="3023">
                  <c:v>8.3972222222222221</c:v>
                </c:pt>
                <c:pt idx="3024">
                  <c:v>8.4</c:v>
                </c:pt>
                <c:pt idx="3025">
                  <c:v>8.4027777777777786</c:v>
                </c:pt>
                <c:pt idx="3026">
                  <c:v>8.405555555555555</c:v>
                </c:pt>
                <c:pt idx="3027">
                  <c:v>8.4083333333333332</c:v>
                </c:pt>
                <c:pt idx="3028">
                  <c:v>8.4111111111111114</c:v>
                </c:pt>
                <c:pt idx="3029">
                  <c:v>8.4138888888888896</c:v>
                </c:pt>
                <c:pt idx="3030">
                  <c:v>8.4166666666666661</c:v>
                </c:pt>
                <c:pt idx="3031">
                  <c:v>8.4194444444444443</c:v>
                </c:pt>
                <c:pt idx="3032">
                  <c:v>8.4222222222222225</c:v>
                </c:pt>
                <c:pt idx="3033">
                  <c:v>8.4250000000000007</c:v>
                </c:pt>
                <c:pt idx="3034">
                  <c:v>8.4277777777777771</c:v>
                </c:pt>
                <c:pt idx="3035">
                  <c:v>8.4305555555555554</c:v>
                </c:pt>
                <c:pt idx="3036">
                  <c:v>8.4333333333333336</c:v>
                </c:pt>
                <c:pt idx="3037">
                  <c:v>8.4361111111111118</c:v>
                </c:pt>
                <c:pt idx="3038">
                  <c:v>8.4388888888888882</c:v>
                </c:pt>
                <c:pt idx="3039">
                  <c:v>8.4416666666666664</c:v>
                </c:pt>
                <c:pt idx="3040">
                  <c:v>8.4444444444444446</c:v>
                </c:pt>
                <c:pt idx="3041">
                  <c:v>8.4472222222222229</c:v>
                </c:pt>
                <c:pt idx="3042">
                  <c:v>8.4499999999999993</c:v>
                </c:pt>
                <c:pt idx="3043">
                  <c:v>8.4527777777777775</c:v>
                </c:pt>
                <c:pt idx="3044">
                  <c:v>8.4555555555555557</c:v>
                </c:pt>
                <c:pt idx="3045">
                  <c:v>8.4583333333333339</c:v>
                </c:pt>
                <c:pt idx="3046">
                  <c:v>8.4611111111111104</c:v>
                </c:pt>
                <c:pt idx="3047">
                  <c:v>8.4638888888888886</c:v>
                </c:pt>
                <c:pt idx="3048">
                  <c:v>8.4666666666666668</c:v>
                </c:pt>
                <c:pt idx="3049">
                  <c:v>8.469444444444445</c:v>
                </c:pt>
                <c:pt idx="3050">
                  <c:v>8.4722222222222214</c:v>
                </c:pt>
                <c:pt idx="3051">
                  <c:v>8.4749999999999996</c:v>
                </c:pt>
                <c:pt idx="3052">
                  <c:v>8.4777777777777779</c:v>
                </c:pt>
                <c:pt idx="3053">
                  <c:v>8.4805555555555561</c:v>
                </c:pt>
                <c:pt idx="3054">
                  <c:v>8.4833333333333325</c:v>
                </c:pt>
                <c:pt idx="3055">
                  <c:v>8.4861111111111107</c:v>
                </c:pt>
                <c:pt idx="3056">
                  <c:v>8.4888888888888889</c:v>
                </c:pt>
                <c:pt idx="3057">
                  <c:v>8.4916666666666671</c:v>
                </c:pt>
                <c:pt idx="3058">
                  <c:v>8.4944444444444436</c:v>
                </c:pt>
                <c:pt idx="3059">
                  <c:v>8.4972222222222218</c:v>
                </c:pt>
                <c:pt idx="3060">
                  <c:v>8.5</c:v>
                </c:pt>
                <c:pt idx="3061">
                  <c:v>8.5027777777777782</c:v>
                </c:pt>
                <c:pt idx="3062">
                  <c:v>8.5055555555555564</c:v>
                </c:pt>
                <c:pt idx="3063">
                  <c:v>8.5083333333333329</c:v>
                </c:pt>
                <c:pt idx="3064">
                  <c:v>8.5111111111111111</c:v>
                </c:pt>
                <c:pt idx="3065">
                  <c:v>8.5138888888888893</c:v>
                </c:pt>
                <c:pt idx="3066">
                  <c:v>8.5166666666666675</c:v>
                </c:pt>
                <c:pt idx="3067">
                  <c:v>8.5194444444444439</c:v>
                </c:pt>
                <c:pt idx="3068">
                  <c:v>8.5222222222222221</c:v>
                </c:pt>
                <c:pt idx="3069">
                  <c:v>8.5250000000000004</c:v>
                </c:pt>
                <c:pt idx="3070">
                  <c:v>8.5277777777777786</c:v>
                </c:pt>
                <c:pt idx="3071">
                  <c:v>8.530555555555555</c:v>
                </c:pt>
                <c:pt idx="3072">
                  <c:v>8.5333333333333332</c:v>
                </c:pt>
                <c:pt idx="3073">
                  <c:v>8.5361111111111114</c:v>
                </c:pt>
                <c:pt idx="3074">
                  <c:v>8.5388888888888896</c:v>
                </c:pt>
                <c:pt idx="3075">
                  <c:v>8.5416666666666661</c:v>
                </c:pt>
                <c:pt idx="3076">
                  <c:v>8.5444444444444443</c:v>
                </c:pt>
                <c:pt idx="3077">
                  <c:v>8.5472222222222225</c:v>
                </c:pt>
                <c:pt idx="3078">
                  <c:v>8.5500000000000007</c:v>
                </c:pt>
                <c:pt idx="3079">
                  <c:v>8.5527777777777771</c:v>
                </c:pt>
                <c:pt idx="3080">
                  <c:v>8.5555555555555554</c:v>
                </c:pt>
                <c:pt idx="3081">
                  <c:v>8.5583333333333336</c:v>
                </c:pt>
                <c:pt idx="3082">
                  <c:v>8.5611111111111118</c:v>
                </c:pt>
                <c:pt idx="3083">
                  <c:v>8.5638888888888882</c:v>
                </c:pt>
                <c:pt idx="3084">
                  <c:v>8.5666666666666664</c:v>
                </c:pt>
                <c:pt idx="3085">
                  <c:v>8.5694444444444446</c:v>
                </c:pt>
                <c:pt idx="3086">
                  <c:v>8.5722222222222229</c:v>
                </c:pt>
                <c:pt idx="3087">
                  <c:v>8.5749999999999993</c:v>
                </c:pt>
                <c:pt idx="3088">
                  <c:v>8.5777777777777775</c:v>
                </c:pt>
                <c:pt idx="3089">
                  <c:v>8.5805555555555557</c:v>
                </c:pt>
                <c:pt idx="3090">
                  <c:v>8.5833333333333339</c:v>
                </c:pt>
                <c:pt idx="3091">
                  <c:v>8.5861111111111104</c:v>
                </c:pt>
                <c:pt idx="3092">
                  <c:v>8.5888888888888886</c:v>
                </c:pt>
                <c:pt idx="3093">
                  <c:v>8.5916666666666668</c:v>
                </c:pt>
                <c:pt idx="3094">
                  <c:v>8.594444444444445</c:v>
                </c:pt>
                <c:pt idx="3095">
                  <c:v>8.5972222222222214</c:v>
                </c:pt>
                <c:pt idx="3096">
                  <c:v>8.6</c:v>
                </c:pt>
                <c:pt idx="3097">
                  <c:v>8.6027777777777779</c:v>
                </c:pt>
                <c:pt idx="3098">
                  <c:v>8.6055555555555561</c:v>
                </c:pt>
                <c:pt idx="3099">
                  <c:v>8.6083333333333325</c:v>
                </c:pt>
                <c:pt idx="3100">
                  <c:v>8.6111111111111107</c:v>
                </c:pt>
                <c:pt idx="3101">
                  <c:v>8.6138888888888889</c:v>
                </c:pt>
                <c:pt idx="3102">
                  <c:v>8.6166666666666671</c:v>
                </c:pt>
                <c:pt idx="3103">
                  <c:v>8.6194444444444436</c:v>
                </c:pt>
                <c:pt idx="3104">
                  <c:v>8.6222222222222218</c:v>
                </c:pt>
                <c:pt idx="3105">
                  <c:v>8.625</c:v>
                </c:pt>
                <c:pt idx="3106">
                  <c:v>8.6277777777777782</c:v>
                </c:pt>
                <c:pt idx="3107">
                  <c:v>8.6305555555555564</c:v>
                </c:pt>
                <c:pt idx="3108">
                  <c:v>8.6333333333333329</c:v>
                </c:pt>
                <c:pt idx="3109">
                  <c:v>8.6361111111111111</c:v>
                </c:pt>
                <c:pt idx="3110">
                  <c:v>8.6388888888888893</c:v>
                </c:pt>
                <c:pt idx="3111">
                  <c:v>8.6416666666666675</c:v>
                </c:pt>
                <c:pt idx="3112">
                  <c:v>8.6444444444444439</c:v>
                </c:pt>
                <c:pt idx="3113">
                  <c:v>8.6472222222222221</c:v>
                </c:pt>
                <c:pt idx="3114">
                  <c:v>8.65</c:v>
                </c:pt>
                <c:pt idx="3115">
                  <c:v>8.6527777777777786</c:v>
                </c:pt>
                <c:pt idx="3116">
                  <c:v>8.655555555555555</c:v>
                </c:pt>
                <c:pt idx="3117">
                  <c:v>8.6583333333333332</c:v>
                </c:pt>
                <c:pt idx="3118">
                  <c:v>8.6611111111111114</c:v>
                </c:pt>
                <c:pt idx="3119">
                  <c:v>8.6638888888888896</c:v>
                </c:pt>
                <c:pt idx="3120">
                  <c:v>8.6666666666666661</c:v>
                </c:pt>
                <c:pt idx="3121">
                  <c:v>8.6694444444444443</c:v>
                </c:pt>
                <c:pt idx="3122">
                  <c:v>8.6722222222222225</c:v>
                </c:pt>
                <c:pt idx="3123">
                  <c:v>8.6750000000000007</c:v>
                </c:pt>
                <c:pt idx="3124">
                  <c:v>8.6777777777777771</c:v>
                </c:pt>
                <c:pt idx="3125">
                  <c:v>8.6805555555555554</c:v>
                </c:pt>
                <c:pt idx="3126">
                  <c:v>8.6833333333333336</c:v>
                </c:pt>
                <c:pt idx="3127">
                  <c:v>8.6861111111111118</c:v>
                </c:pt>
                <c:pt idx="3128">
                  <c:v>8.6888888888888882</c:v>
                </c:pt>
                <c:pt idx="3129">
                  <c:v>8.6916666666666664</c:v>
                </c:pt>
                <c:pt idx="3130">
                  <c:v>8.6944444444444446</c:v>
                </c:pt>
                <c:pt idx="3131">
                  <c:v>8.6972222222222229</c:v>
                </c:pt>
                <c:pt idx="3132">
                  <c:v>8.6999999999999993</c:v>
                </c:pt>
                <c:pt idx="3133">
                  <c:v>8.7027777777777775</c:v>
                </c:pt>
                <c:pt idx="3134">
                  <c:v>8.7055555555555557</c:v>
                </c:pt>
                <c:pt idx="3135">
                  <c:v>8.7083333333333339</c:v>
                </c:pt>
                <c:pt idx="3136">
                  <c:v>8.7111111111111104</c:v>
                </c:pt>
                <c:pt idx="3137">
                  <c:v>8.7138888888888886</c:v>
                </c:pt>
                <c:pt idx="3138">
                  <c:v>8.7166666666666668</c:v>
                </c:pt>
                <c:pt idx="3139">
                  <c:v>8.719444444444445</c:v>
                </c:pt>
                <c:pt idx="3140">
                  <c:v>8.7222222222222214</c:v>
                </c:pt>
                <c:pt idx="3141">
                  <c:v>8.7249999999999996</c:v>
                </c:pt>
                <c:pt idx="3142">
                  <c:v>8.7277777777777779</c:v>
                </c:pt>
                <c:pt idx="3143">
                  <c:v>8.7305555555555561</c:v>
                </c:pt>
                <c:pt idx="3144">
                  <c:v>8.7333333333333325</c:v>
                </c:pt>
                <c:pt idx="3145">
                  <c:v>8.7361111111111107</c:v>
                </c:pt>
                <c:pt idx="3146">
                  <c:v>8.7388888888888889</c:v>
                </c:pt>
                <c:pt idx="3147">
                  <c:v>8.7416666666666671</c:v>
                </c:pt>
                <c:pt idx="3148">
                  <c:v>8.7444444444444436</c:v>
                </c:pt>
                <c:pt idx="3149">
                  <c:v>8.7472222222222218</c:v>
                </c:pt>
                <c:pt idx="3150">
                  <c:v>8.75</c:v>
                </c:pt>
                <c:pt idx="3151">
                  <c:v>8.7527777777777782</c:v>
                </c:pt>
                <c:pt idx="3152">
                  <c:v>8.7555555555555564</c:v>
                </c:pt>
                <c:pt idx="3153">
                  <c:v>8.7583333333333329</c:v>
                </c:pt>
                <c:pt idx="3154">
                  <c:v>8.7611111111111111</c:v>
                </c:pt>
                <c:pt idx="3155">
                  <c:v>8.7638888888888893</c:v>
                </c:pt>
                <c:pt idx="3156">
                  <c:v>8.7666666666666675</c:v>
                </c:pt>
                <c:pt idx="3157">
                  <c:v>8.7694444444444439</c:v>
                </c:pt>
                <c:pt idx="3158">
                  <c:v>8.7722222222222221</c:v>
                </c:pt>
                <c:pt idx="3159">
                  <c:v>8.7750000000000004</c:v>
                </c:pt>
                <c:pt idx="3160">
                  <c:v>8.7777777777777786</c:v>
                </c:pt>
                <c:pt idx="3161">
                  <c:v>8.780555555555555</c:v>
                </c:pt>
                <c:pt idx="3162">
                  <c:v>8.7833333333333332</c:v>
                </c:pt>
                <c:pt idx="3163">
                  <c:v>8.7861111111111114</c:v>
                </c:pt>
                <c:pt idx="3164">
                  <c:v>8.7888888888888896</c:v>
                </c:pt>
                <c:pt idx="3165">
                  <c:v>8.7916666666666661</c:v>
                </c:pt>
                <c:pt idx="3166">
                  <c:v>8.7944444444444443</c:v>
                </c:pt>
                <c:pt idx="3167">
                  <c:v>8.7972222222222225</c:v>
                </c:pt>
                <c:pt idx="3168">
                  <c:v>8.8000000000000007</c:v>
                </c:pt>
                <c:pt idx="3169">
                  <c:v>8.8027777777777771</c:v>
                </c:pt>
                <c:pt idx="3170">
                  <c:v>8.8055555555555554</c:v>
                </c:pt>
                <c:pt idx="3171">
                  <c:v>8.8083333333333336</c:v>
                </c:pt>
                <c:pt idx="3172">
                  <c:v>8.8111111111111118</c:v>
                </c:pt>
                <c:pt idx="3173">
                  <c:v>8.8138888888888882</c:v>
                </c:pt>
                <c:pt idx="3174">
                  <c:v>8.8166666666666664</c:v>
                </c:pt>
                <c:pt idx="3175">
                  <c:v>8.8194444444444446</c:v>
                </c:pt>
                <c:pt idx="3176">
                  <c:v>8.8222222222222229</c:v>
                </c:pt>
                <c:pt idx="3177">
                  <c:v>8.8249999999999993</c:v>
                </c:pt>
                <c:pt idx="3178">
                  <c:v>8.8277777777777775</c:v>
                </c:pt>
                <c:pt idx="3179">
                  <c:v>8.8305555555555557</c:v>
                </c:pt>
                <c:pt idx="3180">
                  <c:v>8.8333333333333339</c:v>
                </c:pt>
                <c:pt idx="3181">
                  <c:v>8.8361111111111104</c:v>
                </c:pt>
                <c:pt idx="3182">
                  <c:v>8.8388888888888886</c:v>
                </c:pt>
                <c:pt idx="3183">
                  <c:v>8.8416666666666668</c:v>
                </c:pt>
                <c:pt idx="3184">
                  <c:v>8.844444444444445</c:v>
                </c:pt>
                <c:pt idx="3185">
                  <c:v>8.8472222222222214</c:v>
                </c:pt>
                <c:pt idx="3186">
                  <c:v>8.85</c:v>
                </c:pt>
                <c:pt idx="3187">
                  <c:v>8.8527777777777779</c:v>
                </c:pt>
                <c:pt idx="3188">
                  <c:v>8.8555555555555561</c:v>
                </c:pt>
                <c:pt idx="3189">
                  <c:v>8.8583333333333325</c:v>
                </c:pt>
                <c:pt idx="3190">
                  <c:v>8.8611111111111107</c:v>
                </c:pt>
                <c:pt idx="3191">
                  <c:v>8.8638888888888889</c:v>
                </c:pt>
                <c:pt idx="3192">
                  <c:v>8.8666666666666671</c:v>
                </c:pt>
                <c:pt idx="3193">
                  <c:v>8.8694444444444436</c:v>
                </c:pt>
                <c:pt idx="3194">
                  <c:v>8.8722222222222218</c:v>
                </c:pt>
                <c:pt idx="3195">
                  <c:v>8.875</c:v>
                </c:pt>
                <c:pt idx="3196">
                  <c:v>8.8777777777777782</c:v>
                </c:pt>
                <c:pt idx="3197">
                  <c:v>8.8805555555555564</c:v>
                </c:pt>
                <c:pt idx="3198">
                  <c:v>8.8833333333333329</c:v>
                </c:pt>
                <c:pt idx="3199">
                  <c:v>8.8861111111111111</c:v>
                </c:pt>
                <c:pt idx="3200">
                  <c:v>8.8888888888888893</c:v>
                </c:pt>
                <c:pt idx="3201">
                  <c:v>8.8916666666666675</c:v>
                </c:pt>
                <c:pt idx="3202">
                  <c:v>8.8944444444444439</c:v>
                </c:pt>
                <c:pt idx="3203">
                  <c:v>8.8972222222222221</c:v>
                </c:pt>
                <c:pt idx="3204">
                  <c:v>8.9</c:v>
                </c:pt>
                <c:pt idx="3205">
                  <c:v>8.9027777777777786</c:v>
                </c:pt>
                <c:pt idx="3206">
                  <c:v>8.905555555555555</c:v>
                </c:pt>
                <c:pt idx="3207">
                  <c:v>8.9083333333333332</c:v>
                </c:pt>
                <c:pt idx="3208">
                  <c:v>8.9111111111111114</c:v>
                </c:pt>
                <c:pt idx="3209">
                  <c:v>8.9138888888888896</c:v>
                </c:pt>
                <c:pt idx="3210">
                  <c:v>8.9166666666666661</c:v>
                </c:pt>
                <c:pt idx="3211">
                  <c:v>8.9194444444444443</c:v>
                </c:pt>
                <c:pt idx="3212">
                  <c:v>8.9222222222222225</c:v>
                </c:pt>
                <c:pt idx="3213">
                  <c:v>8.9250000000000007</c:v>
                </c:pt>
                <c:pt idx="3214">
                  <c:v>8.9277777777777771</c:v>
                </c:pt>
                <c:pt idx="3215">
                  <c:v>8.9305555555555554</c:v>
                </c:pt>
                <c:pt idx="3216">
                  <c:v>8.9333333333333336</c:v>
                </c:pt>
                <c:pt idx="3217">
                  <c:v>8.9361111111111118</c:v>
                </c:pt>
                <c:pt idx="3218">
                  <c:v>8.9388888888888882</c:v>
                </c:pt>
                <c:pt idx="3219">
                  <c:v>8.9416666666666664</c:v>
                </c:pt>
                <c:pt idx="3220">
                  <c:v>8.9444444444444446</c:v>
                </c:pt>
                <c:pt idx="3221">
                  <c:v>8.9472222222222229</c:v>
                </c:pt>
                <c:pt idx="3222">
                  <c:v>8.9499999999999993</c:v>
                </c:pt>
                <c:pt idx="3223">
                  <c:v>8.9527777777777775</c:v>
                </c:pt>
                <c:pt idx="3224">
                  <c:v>8.9555555555555557</c:v>
                </c:pt>
                <c:pt idx="3225">
                  <c:v>8.9583333333333339</c:v>
                </c:pt>
                <c:pt idx="3226">
                  <c:v>8.9611111111111104</c:v>
                </c:pt>
                <c:pt idx="3227">
                  <c:v>8.9638888888888886</c:v>
                </c:pt>
                <c:pt idx="3228">
                  <c:v>8.9666666666666668</c:v>
                </c:pt>
                <c:pt idx="3229">
                  <c:v>8.969444444444445</c:v>
                </c:pt>
                <c:pt idx="3230">
                  <c:v>8.9722222222222214</c:v>
                </c:pt>
                <c:pt idx="3231">
                  <c:v>8.9749999999999996</c:v>
                </c:pt>
                <c:pt idx="3232">
                  <c:v>8.9777777777777779</c:v>
                </c:pt>
                <c:pt idx="3233">
                  <c:v>8.9805555555555561</c:v>
                </c:pt>
                <c:pt idx="3234">
                  <c:v>8.9833333333333325</c:v>
                </c:pt>
                <c:pt idx="3235">
                  <c:v>8.9861111111111107</c:v>
                </c:pt>
                <c:pt idx="3236">
                  <c:v>8.9888888888888889</c:v>
                </c:pt>
                <c:pt idx="3237">
                  <c:v>8.9916666666666671</c:v>
                </c:pt>
                <c:pt idx="3238">
                  <c:v>8.9944444444444436</c:v>
                </c:pt>
                <c:pt idx="3239">
                  <c:v>8.9972222222222218</c:v>
                </c:pt>
                <c:pt idx="3240">
                  <c:v>9</c:v>
                </c:pt>
                <c:pt idx="3241">
                  <c:v>9.0027777777777782</c:v>
                </c:pt>
                <c:pt idx="3242">
                  <c:v>9.0055555555555564</c:v>
                </c:pt>
                <c:pt idx="3243">
                  <c:v>9.0083333333333329</c:v>
                </c:pt>
                <c:pt idx="3244">
                  <c:v>9.0111111111111111</c:v>
                </c:pt>
                <c:pt idx="3245">
                  <c:v>9.0138888888888893</c:v>
                </c:pt>
                <c:pt idx="3246">
                  <c:v>9.0166666666666675</c:v>
                </c:pt>
                <c:pt idx="3247">
                  <c:v>9.0194444444444439</c:v>
                </c:pt>
                <c:pt idx="3248">
                  <c:v>9.0222222222222221</c:v>
                </c:pt>
                <c:pt idx="3249">
                  <c:v>9.0250000000000004</c:v>
                </c:pt>
                <c:pt idx="3250">
                  <c:v>9.0277777777777786</c:v>
                </c:pt>
                <c:pt idx="3251">
                  <c:v>9.030555555555555</c:v>
                </c:pt>
                <c:pt idx="3252">
                  <c:v>9.0333333333333332</c:v>
                </c:pt>
                <c:pt idx="3253">
                  <c:v>9.0361111111111114</c:v>
                </c:pt>
                <c:pt idx="3254">
                  <c:v>9.0388888888888896</c:v>
                </c:pt>
                <c:pt idx="3255">
                  <c:v>9.0416666666666661</c:v>
                </c:pt>
                <c:pt idx="3256">
                  <c:v>9.0444444444444443</c:v>
                </c:pt>
                <c:pt idx="3257">
                  <c:v>9.0472222222222225</c:v>
                </c:pt>
                <c:pt idx="3258">
                  <c:v>9.0500000000000007</c:v>
                </c:pt>
                <c:pt idx="3259">
                  <c:v>9.0527777777777771</c:v>
                </c:pt>
                <c:pt idx="3260">
                  <c:v>9.0555555555555554</c:v>
                </c:pt>
                <c:pt idx="3261">
                  <c:v>9.0583333333333336</c:v>
                </c:pt>
                <c:pt idx="3262">
                  <c:v>9.0611111111111118</c:v>
                </c:pt>
                <c:pt idx="3263">
                  <c:v>9.0638888888888882</c:v>
                </c:pt>
                <c:pt idx="3264">
                  <c:v>9.0666666666666664</c:v>
                </c:pt>
                <c:pt idx="3265">
                  <c:v>9.0694444444444446</c:v>
                </c:pt>
                <c:pt idx="3266">
                  <c:v>9.0722222222222229</c:v>
                </c:pt>
                <c:pt idx="3267">
                  <c:v>9.0749999999999993</c:v>
                </c:pt>
                <c:pt idx="3268">
                  <c:v>9.0777777777777775</c:v>
                </c:pt>
                <c:pt idx="3269">
                  <c:v>9.0805555555555557</c:v>
                </c:pt>
                <c:pt idx="3270">
                  <c:v>9.0833333333333339</c:v>
                </c:pt>
                <c:pt idx="3271">
                  <c:v>9.0861111111111104</c:v>
                </c:pt>
                <c:pt idx="3272">
                  <c:v>9.0888888888888886</c:v>
                </c:pt>
                <c:pt idx="3273">
                  <c:v>9.0916666666666668</c:v>
                </c:pt>
                <c:pt idx="3274">
                  <c:v>9.094444444444445</c:v>
                </c:pt>
                <c:pt idx="3275">
                  <c:v>9.0972222222222214</c:v>
                </c:pt>
                <c:pt idx="3276">
                  <c:v>9.1</c:v>
                </c:pt>
                <c:pt idx="3277">
                  <c:v>9.1027777777777779</c:v>
                </c:pt>
                <c:pt idx="3278">
                  <c:v>9.1055555555555561</c:v>
                </c:pt>
                <c:pt idx="3279">
                  <c:v>9.1083333333333325</c:v>
                </c:pt>
                <c:pt idx="3280">
                  <c:v>9.1111111111111107</c:v>
                </c:pt>
                <c:pt idx="3281">
                  <c:v>9.1138888888888889</c:v>
                </c:pt>
                <c:pt idx="3282">
                  <c:v>9.1166666666666671</c:v>
                </c:pt>
                <c:pt idx="3283">
                  <c:v>9.1194444444444436</c:v>
                </c:pt>
                <c:pt idx="3284">
                  <c:v>9.1222222222222218</c:v>
                </c:pt>
                <c:pt idx="3285">
                  <c:v>9.125</c:v>
                </c:pt>
                <c:pt idx="3286">
                  <c:v>9.1277777777777782</c:v>
                </c:pt>
                <c:pt idx="3287">
                  <c:v>9.1305555555555564</c:v>
                </c:pt>
                <c:pt idx="3288">
                  <c:v>9.1333333333333329</c:v>
                </c:pt>
                <c:pt idx="3289">
                  <c:v>9.1361111111111111</c:v>
                </c:pt>
                <c:pt idx="3290">
                  <c:v>9.1388888888888893</c:v>
                </c:pt>
                <c:pt idx="3291">
                  <c:v>9.1416666666666675</c:v>
                </c:pt>
                <c:pt idx="3292">
                  <c:v>9.1444444444444439</c:v>
                </c:pt>
                <c:pt idx="3293">
                  <c:v>9.1472222222222221</c:v>
                </c:pt>
                <c:pt idx="3294">
                  <c:v>9.15</c:v>
                </c:pt>
                <c:pt idx="3295">
                  <c:v>9.1527777777777786</c:v>
                </c:pt>
                <c:pt idx="3296">
                  <c:v>9.155555555555555</c:v>
                </c:pt>
                <c:pt idx="3297">
                  <c:v>9.1583333333333332</c:v>
                </c:pt>
                <c:pt idx="3298">
                  <c:v>9.1611111111111114</c:v>
                </c:pt>
                <c:pt idx="3299">
                  <c:v>9.1638888888888896</c:v>
                </c:pt>
                <c:pt idx="3300">
                  <c:v>9.1666666666666661</c:v>
                </c:pt>
                <c:pt idx="3301">
                  <c:v>9.1694444444444443</c:v>
                </c:pt>
                <c:pt idx="3302">
                  <c:v>9.1722222222222225</c:v>
                </c:pt>
                <c:pt idx="3303">
                  <c:v>9.1750000000000007</c:v>
                </c:pt>
                <c:pt idx="3304">
                  <c:v>9.1777777777777771</c:v>
                </c:pt>
                <c:pt idx="3305">
                  <c:v>9.1805555555555554</c:v>
                </c:pt>
                <c:pt idx="3306">
                  <c:v>9.1833333333333336</c:v>
                </c:pt>
                <c:pt idx="3307">
                  <c:v>9.1861111111111118</c:v>
                </c:pt>
                <c:pt idx="3308">
                  <c:v>9.1888888888888882</c:v>
                </c:pt>
                <c:pt idx="3309">
                  <c:v>9.1916666666666664</c:v>
                </c:pt>
                <c:pt idx="3310">
                  <c:v>9.1944444444444446</c:v>
                </c:pt>
                <c:pt idx="3311">
                  <c:v>9.1972222222222229</c:v>
                </c:pt>
                <c:pt idx="3312">
                  <c:v>9.1999999999999993</c:v>
                </c:pt>
                <c:pt idx="3313">
                  <c:v>9.2027777777777775</c:v>
                </c:pt>
                <c:pt idx="3314">
                  <c:v>9.2055555555555557</c:v>
                </c:pt>
                <c:pt idx="3315">
                  <c:v>9.2083333333333339</c:v>
                </c:pt>
                <c:pt idx="3316">
                  <c:v>9.2111111111111104</c:v>
                </c:pt>
                <c:pt idx="3317">
                  <c:v>9.2138888888888886</c:v>
                </c:pt>
                <c:pt idx="3318">
                  <c:v>9.2166666666666668</c:v>
                </c:pt>
                <c:pt idx="3319">
                  <c:v>9.219444444444445</c:v>
                </c:pt>
                <c:pt idx="3320">
                  <c:v>9.2222222222222214</c:v>
                </c:pt>
                <c:pt idx="3321">
                  <c:v>9.2249999999999996</c:v>
                </c:pt>
                <c:pt idx="3322">
                  <c:v>9.2277777777777779</c:v>
                </c:pt>
                <c:pt idx="3323">
                  <c:v>9.2305555555555561</c:v>
                </c:pt>
                <c:pt idx="3324">
                  <c:v>9.2333333333333325</c:v>
                </c:pt>
                <c:pt idx="3325">
                  <c:v>9.2361111111111107</c:v>
                </c:pt>
                <c:pt idx="3326">
                  <c:v>9.2388888888888889</c:v>
                </c:pt>
                <c:pt idx="3327">
                  <c:v>9.2416666666666671</c:v>
                </c:pt>
                <c:pt idx="3328">
                  <c:v>9.2444444444444436</c:v>
                </c:pt>
                <c:pt idx="3329">
                  <c:v>9.2472222222222218</c:v>
                </c:pt>
                <c:pt idx="3330">
                  <c:v>9.25</c:v>
                </c:pt>
                <c:pt idx="3331">
                  <c:v>9.2527777777777782</c:v>
                </c:pt>
                <c:pt idx="3332">
                  <c:v>9.2555555555555564</c:v>
                </c:pt>
                <c:pt idx="3333">
                  <c:v>9.2583333333333329</c:v>
                </c:pt>
                <c:pt idx="3334">
                  <c:v>9.2611111111111111</c:v>
                </c:pt>
                <c:pt idx="3335">
                  <c:v>9.2638888888888893</c:v>
                </c:pt>
                <c:pt idx="3336">
                  <c:v>9.2666666666666675</c:v>
                </c:pt>
                <c:pt idx="3337">
                  <c:v>9.2694444444444439</c:v>
                </c:pt>
                <c:pt idx="3338">
                  <c:v>9.2722222222222221</c:v>
                </c:pt>
                <c:pt idx="3339">
                  <c:v>9.2750000000000004</c:v>
                </c:pt>
                <c:pt idx="3340">
                  <c:v>9.2777777777777786</c:v>
                </c:pt>
                <c:pt idx="3341">
                  <c:v>9.280555555555555</c:v>
                </c:pt>
                <c:pt idx="3342">
                  <c:v>9.2833333333333332</c:v>
                </c:pt>
                <c:pt idx="3343">
                  <c:v>9.2861111111111114</c:v>
                </c:pt>
                <c:pt idx="3344">
                  <c:v>9.2888888888888896</c:v>
                </c:pt>
                <c:pt idx="3345">
                  <c:v>9.2916666666666661</c:v>
                </c:pt>
                <c:pt idx="3346">
                  <c:v>9.2944444444444443</c:v>
                </c:pt>
                <c:pt idx="3347">
                  <c:v>9.2972222222222225</c:v>
                </c:pt>
                <c:pt idx="3348">
                  <c:v>9.3000000000000007</c:v>
                </c:pt>
                <c:pt idx="3349">
                  <c:v>9.3027777777777771</c:v>
                </c:pt>
                <c:pt idx="3350">
                  <c:v>9.3055555555555554</c:v>
                </c:pt>
                <c:pt idx="3351">
                  <c:v>9.3083333333333336</c:v>
                </c:pt>
                <c:pt idx="3352">
                  <c:v>9.3111111111111118</c:v>
                </c:pt>
                <c:pt idx="3353">
                  <c:v>9.3138888888888882</c:v>
                </c:pt>
                <c:pt idx="3354">
                  <c:v>9.3166666666666664</c:v>
                </c:pt>
                <c:pt idx="3355">
                  <c:v>9.3194444444444446</c:v>
                </c:pt>
                <c:pt idx="3356">
                  <c:v>9.3222222222222229</c:v>
                </c:pt>
                <c:pt idx="3357">
                  <c:v>9.3249999999999993</c:v>
                </c:pt>
                <c:pt idx="3358">
                  <c:v>9.3277777777777775</c:v>
                </c:pt>
                <c:pt idx="3359">
                  <c:v>9.3305555555555557</c:v>
                </c:pt>
                <c:pt idx="3360">
                  <c:v>9.3333333333333339</c:v>
                </c:pt>
                <c:pt idx="3361">
                  <c:v>9.3361111111111104</c:v>
                </c:pt>
                <c:pt idx="3362">
                  <c:v>9.3388888888888886</c:v>
                </c:pt>
                <c:pt idx="3363">
                  <c:v>9.3416666666666668</c:v>
                </c:pt>
                <c:pt idx="3364">
                  <c:v>9.344444444444445</c:v>
                </c:pt>
                <c:pt idx="3365">
                  <c:v>9.3472222222222214</c:v>
                </c:pt>
                <c:pt idx="3366">
                  <c:v>9.35</c:v>
                </c:pt>
                <c:pt idx="3367">
                  <c:v>9.3527777777777779</c:v>
                </c:pt>
                <c:pt idx="3368">
                  <c:v>9.3555555555555561</c:v>
                </c:pt>
                <c:pt idx="3369">
                  <c:v>9.3583333333333325</c:v>
                </c:pt>
                <c:pt idx="3370">
                  <c:v>9.3611111111111107</c:v>
                </c:pt>
                <c:pt idx="3371">
                  <c:v>9.3638888888888889</c:v>
                </c:pt>
                <c:pt idx="3372">
                  <c:v>9.3666666666666671</c:v>
                </c:pt>
                <c:pt idx="3373">
                  <c:v>9.3694444444444436</c:v>
                </c:pt>
                <c:pt idx="3374">
                  <c:v>9.3722222222222218</c:v>
                </c:pt>
                <c:pt idx="3375">
                  <c:v>9.375</c:v>
                </c:pt>
                <c:pt idx="3376">
                  <c:v>9.3777777777777782</c:v>
                </c:pt>
                <c:pt idx="3377">
                  <c:v>9.3805555555555564</c:v>
                </c:pt>
                <c:pt idx="3378">
                  <c:v>9.3833333333333329</c:v>
                </c:pt>
                <c:pt idx="3379">
                  <c:v>9.3861111111111111</c:v>
                </c:pt>
                <c:pt idx="3380">
                  <c:v>9.3888888888888893</c:v>
                </c:pt>
                <c:pt idx="3381">
                  <c:v>9.3916666666666675</c:v>
                </c:pt>
                <c:pt idx="3382">
                  <c:v>9.3944444444444439</c:v>
                </c:pt>
                <c:pt idx="3383">
                  <c:v>9.3972222222222221</c:v>
                </c:pt>
                <c:pt idx="3384">
                  <c:v>9.4</c:v>
                </c:pt>
                <c:pt idx="3385">
                  <c:v>9.4027777777777786</c:v>
                </c:pt>
                <c:pt idx="3386">
                  <c:v>9.405555555555555</c:v>
                </c:pt>
                <c:pt idx="3387">
                  <c:v>9.4083333333333332</c:v>
                </c:pt>
                <c:pt idx="3388">
                  <c:v>9.4111111111111114</c:v>
                </c:pt>
                <c:pt idx="3389">
                  <c:v>9.4138888888888896</c:v>
                </c:pt>
                <c:pt idx="3390">
                  <c:v>9.4166666666666661</c:v>
                </c:pt>
                <c:pt idx="3391">
                  <c:v>9.4194444444444443</c:v>
                </c:pt>
                <c:pt idx="3392">
                  <c:v>9.4222222222222225</c:v>
                </c:pt>
                <c:pt idx="3393">
                  <c:v>9.4250000000000007</c:v>
                </c:pt>
                <c:pt idx="3394">
                  <c:v>9.4277777777777771</c:v>
                </c:pt>
                <c:pt idx="3395">
                  <c:v>9.4305555555555554</c:v>
                </c:pt>
                <c:pt idx="3396">
                  <c:v>9.4333333333333336</c:v>
                </c:pt>
                <c:pt idx="3397">
                  <c:v>9.4361111111111118</c:v>
                </c:pt>
                <c:pt idx="3398">
                  <c:v>9.4388888888888882</c:v>
                </c:pt>
                <c:pt idx="3399">
                  <c:v>9.4416666666666664</c:v>
                </c:pt>
                <c:pt idx="3400">
                  <c:v>9.4444444444444446</c:v>
                </c:pt>
                <c:pt idx="3401">
                  <c:v>9.4472222222222229</c:v>
                </c:pt>
                <c:pt idx="3402">
                  <c:v>9.4499999999999993</c:v>
                </c:pt>
                <c:pt idx="3403">
                  <c:v>9.4527777777777775</c:v>
                </c:pt>
                <c:pt idx="3404">
                  <c:v>9.4555555555555557</c:v>
                </c:pt>
                <c:pt idx="3405">
                  <c:v>9.4583333333333339</c:v>
                </c:pt>
                <c:pt idx="3406">
                  <c:v>9.4611111111111104</c:v>
                </c:pt>
                <c:pt idx="3407">
                  <c:v>9.4638888888888886</c:v>
                </c:pt>
                <c:pt idx="3408">
                  <c:v>9.4666666666666668</c:v>
                </c:pt>
                <c:pt idx="3409">
                  <c:v>9.469444444444445</c:v>
                </c:pt>
                <c:pt idx="3410">
                  <c:v>9.4722222222222214</c:v>
                </c:pt>
                <c:pt idx="3411">
                  <c:v>9.4749999999999996</c:v>
                </c:pt>
                <c:pt idx="3412">
                  <c:v>9.4777777777777779</c:v>
                </c:pt>
                <c:pt idx="3413">
                  <c:v>9.4805555555555561</c:v>
                </c:pt>
                <c:pt idx="3414">
                  <c:v>9.4833333333333325</c:v>
                </c:pt>
                <c:pt idx="3415">
                  <c:v>9.4861111111111107</c:v>
                </c:pt>
                <c:pt idx="3416">
                  <c:v>9.4888888888888889</c:v>
                </c:pt>
                <c:pt idx="3417">
                  <c:v>9.4916666666666671</c:v>
                </c:pt>
                <c:pt idx="3418">
                  <c:v>9.4944444444444436</c:v>
                </c:pt>
                <c:pt idx="3419">
                  <c:v>9.4972222222222218</c:v>
                </c:pt>
                <c:pt idx="3420">
                  <c:v>9.5</c:v>
                </c:pt>
                <c:pt idx="3421">
                  <c:v>9.5027777777777782</c:v>
                </c:pt>
                <c:pt idx="3422">
                  <c:v>9.5055555555555564</c:v>
                </c:pt>
                <c:pt idx="3423">
                  <c:v>9.5083333333333329</c:v>
                </c:pt>
                <c:pt idx="3424">
                  <c:v>9.5111111111111111</c:v>
                </c:pt>
                <c:pt idx="3425">
                  <c:v>9.5138888888888893</c:v>
                </c:pt>
                <c:pt idx="3426">
                  <c:v>9.5166666666666675</c:v>
                </c:pt>
                <c:pt idx="3427">
                  <c:v>9.5194444444444439</c:v>
                </c:pt>
                <c:pt idx="3428">
                  <c:v>9.5222222222222221</c:v>
                </c:pt>
                <c:pt idx="3429">
                  <c:v>9.5250000000000004</c:v>
                </c:pt>
                <c:pt idx="3430">
                  <c:v>9.5277777777777786</c:v>
                </c:pt>
                <c:pt idx="3431">
                  <c:v>9.530555555555555</c:v>
                </c:pt>
                <c:pt idx="3432">
                  <c:v>9.5333333333333332</c:v>
                </c:pt>
                <c:pt idx="3433">
                  <c:v>9.5361111111111114</c:v>
                </c:pt>
                <c:pt idx="3434">
                  <c:v>9.5388888888888896</c:v>
                </c:pt>
                <c:pt idx="3435">
                  <c:v>9.5416666666666661</c:v>
                </c:pt>
                <c:pt idx="3436">
                  <c:v>9.5444444444444443</c:v>
                </c:pt>
                <c:pt idx="3437">
                  <c:v>9.5472222222222225</c:v>
                </c:pt>
                <c:pt idx="3438">
                  <c:v>9.5500000000000007</c:v>
                </c:pt>
                <c:pt idx="3439">
                  <c:v>9.5527777777777771</c:v>
                </c:pt>
                <c:pt idx="3440">
                  <c:v>9.5555555555555554</c:v>
                </c:pt>
                <c:pt idx="3441">
                  <c:v>9.5583333333333336</c:v>
                </c:pt>
                <c:pt idx="3442">
                  <c:v>9.5611111111111118</c:v>
                </c:pt>
                <c:pt idx="3443">
                  <c:v>9.5638888888888882</c:v>
                </c:pt>
                <c:pt idx="3444">
                  <c:v>9.5666666666666664</c:v>
                </c:pt>
                <c:pt idx="3445">
                  <c:v>9.5694444444444446</c:v>
                </c:pt>
                <c:pt idx="3446">
                  <c:v>9.5722222222222229</c:v>
                </c:pt>
                <c:pt idx="3447">
                  <c:v>9.5749999999999993</c:v>
                </c:pt>
                <c:pt idx="3448">
                  <c:v>9.5777777777777775</c:v>
                </c:pt>
                <c:pt idx="3449">
                  <c:v>9.5805555555555557</c:v>
                </c:pt>
                <c:pt idx="3450">
                  <c:v>9.5833333333333339</c:v>
                </c:pt>
                <c:pt idx="3451">
                  <c:v>9.5861111111111104</c:v>
                </c:pt>
                <c:pt idx="3452">
                  <c:v>9.5888888888888886</c:v>
                </c:pt>
                <c:pt idx="3453">
                  <c:v>9.5916666666666668</c:v>
                </c:pt>
                <c:pt idx="3454">
                  <c:v>9.594444444444445</c:v>
                </c:pt>
                <c:pt idx="3455">
                  <c:v>9.5972222222222214</c:v>
                </c:pt>
                <c:pt idx="3456">
                  <c:v>9.6</c:v>
                </c:pt>
                <c:pt idx="3457">
                  <c:v>9.6027777777777779</c:v>
                </c:pt>
                <c:pt idx="3458">
                  <c:v>9.6055555555555561</c:v>
                </c:pt>
                <c:pt idx="3459">
                  <c:v>9.6083333333333325</c:v>
                </c:pt>
                <c:pt idx="3460">
                  <c:v>9.6111111111111107</c:v>
                </c:pt>
                <c:pt idx="3461">
                  <c:v>9.6138888888888889</c:v>
                </c:pt>
                <c:pt idx="3462">
                  <c:v>9.6166666666666671</c:v>
                </c:pt>
                <c:pt idx="3463">
                  <c:v>9.6194444444444436</c:v>
                </c:pt>
                <c:pt idx="3464">
                  <c:v>9.6222222222222218</c:v>
                </c:pt>
                <c:pt idx="3465">
                  <c:v>9.625</c:v>
                </c:pt>
                <c:pt idx="3466">
                  <c:v>9.6277777777777782</c:v>
                </c:pt>
                <c:pt idx="3467">
                  <c:v>9.6305555555555564</c:v>
                </c:pt>
                <c:pt idx="3468">
                  <c:v>9.6333333333333329</c:v>
                </c:pt>
                <c:pt idx="3469">
                  <c:v>9.6361111111111111</c:v>
                </c:pt>
                <c:pt idx="3470">
                  <c:v>9.6388888888888893</c:v>
                </c:pt>
                <c:pt idx="3471">
                  <c:v>9.6416666666666675</c:v>
                </c:pt>
                <c:pt idx="3472">
                  <c:v>9.6444444444444439</c:v>
                </c:pt>
                <c:pt idx="3473">
                  <c:v>9.6472222222222221</c:v>
                </c:pt>
                <c:pt idx="3474">
                  <c:v>9.65</c:v>
                </c:pt>
                <c:pt idx="3475">
                  <c:v>9.6527777777777786</c:v>
                </c:pt>
                <c:pt idx="3476">
                  <c:v>9.655555555555555</c:v>
                </c:pt>
                <c:pt idx="3477">
                  <c:v>9.6583333333333332</c:v>
                </c:pt>
                <c:pt idx="3478">
                  <c:v>9.6611111111111114</c:v>
                </c:pt>
                <c:pt idx="3479">
                  <c:v>9.6638888888888896</c:v>
                </c:pt>
                <c:pt idx="3480">
                  <c:v>9.6666666666666661</c:v>
                </c:pt>
                <c:pt idx="3481">
                  <c:v>9.6694444444444443</c:v>
                </c:pt>
                <c:pt idx="3482">
                  <c:v>9.6722222222222225</c:v>
                </c:pt>
                <c:pt idx="3483">
                  <c:v>9.6750000000000007</c:v>
                </c:pt>
                <c:pt idx="3484">
                  <c:v>9.6777777777777771</c:v>
                </c:pt>
                <c:pt idx="3485">
                  <c:v>9.6805555555555554</c:v>
                </c:pt>
                <c:pt idx="3486">
                  <c:v>9.6833333333333336</c:v>
                </c:pt>
                <c:pt idx="3487">
                  <c:v>9.6861111111111118</c:v>
                </c:pt>
                <c:pt idx="3488">
                  <c:v>9.6888888888888882</c:v>
                </c:pt>
                <c:pt idx="3489">
                  <c:v>9.6916666666666664</c:v>
                </c:pt>
                <c:pt idx="3490">
                  <c:v>9.6944444444444446</c:v>
                </c:pt>
                <c:pt idx="3491">
                  <c:v>9.6972222222222229</c:v>
                </c:pt>
                <c:pt idx="3492">
                  <c:v>9.6999999999999993</c:v>
                </c:pt>
                <c:pt idx="3493">
                  <c:v>9.7027777777777775</c:v>
                </c:pt>
                <c:pt idx="3494">
                  <c:v>9.7055555555555557</c:v>
                </c:pt>
                <c:pt idx="3495">
                  <c:v>9.7083333333333339</c:v>
                </c:pt>
                <c:pt idx="3496">
                  <c:v>9.7111111111111104</c:v>
                </c:pt>
                <c:pt idx="3497">
                  <c:v>9.7138888888888886</c:v>
                </c:pt>
                <c:pt idx="3498">
                  <c:v>9.7166666666666668</c:v>
                </c:pt>
                <c:pt idx="3499">
                  <c:v>9.719444444444445</c:v>
                </c:pt>
                <c:pt idx="3500">
                  <c:v>9.7222222222222214</c:v>
                </c:pt>
                <c:pt idx="3501">
                  <c:v>9.7249999999999996</c:v>
                </c:pt>
                <c:pt idx="3502">
                  <c:v>9.7277777777777779</c:v>
                </c:pt>
                <c:pt idx="3503">
                  <c:v>9.7305555555555561</c:v>
                </c:pt>
                <c:pt idx="3504">
                  <c:v>9.7333333333333325</c:v>
                </c:pt>
                <c:pt idx="3505">
                  <c:v>9.7361111111111107</c:v>
                </c:pt>
                <c:pt idx="3506">
                  <c:v>9.7388888888888889</c:v>
                </c:pt>
                <c:pt idx="3507">
                  <c:v>9.7416666666666671</c:v>
                </c:pt>
                <c:pt idx="3508">
                  <c:v>9.7444444444444436</c:v>
                </c:pt>
                <c:pt idx="3509">
                  <c:v>9.7472222222222218</c:v>
                </c:pt>
                <c:pt idx="3510">
                  <c:v>9.75</c:v>
                </c:pt>
                <c:pt idx="3511">
                  <c:v>9.7527777777777782</c:v>
                </c:pt>
                <c:pt idx="3512">
                  <c:v>9.7555555555555564</c:v>
                </c:pt>
                <c:pt idx="3513">
                  <c:v>9.7583333333333329</c:v>
                </c:pt>
                <c:pt idx="3514">
                  <c:v>9.7611111111111111</c:v>
                </c:pt>
                <c:pt idx="3515">
                  <c:v>9.7638888888888893</c:v>
                </c:pt>
                <c:pt idx="3516">
                  <c:v>9.7666666666666675</c:v>
                </c:pt>
                <c:pt idx="3517">
                  <c:v>9.7694444444444439</c:v>
                </c:pt>
                <c:pt idx="3518">
                  <c:v>9.7722222222222221</c:v>
                </c:pt>
                <c:pt idx="3519">
                  <c:v>9.7750000000000004</c:v>
                </c:pt>
                <c:pt idx="3520">
                  <c:v>9.7777777777777786</c:v>
                </c:pt>
                <c:pt idx="3521">
                  <c:v>9.780555555555555</c:v>
                </c:pt>
                <c:pt idx="3522">
                  <c:v>9.7833333333333332</c:v>
                </c:pt>
                <c:pt idx="3523">
                  <c:v>9.7861111111111114</c:v>
                </c:pt>
                <c:pt idx="3524">
                  <c:v>9.7888888888888896</c:v>
                </c:pt>
                <c:pt idx="3525">
                  <c:v>9.7916666666666661</c:v>
                </c:pt>
                <c:pt idx="3526">
                  <c:v>9.7944444444444443</c:v>
                </c:pt>
                <c:pt idx="3527">
                  <c:v>9.7972222222222225</c:v>
                </c:pt>
                <c:pt idx="3528">
                  <c:v>9.8000000000000007</c:v>
                </c:pt>
                <c:pt idx="3529">
                  <c:v>9.8027777777777771</c:v>
                </c:pt>
                <c:pt idx="3530">
                  <c:v>9.8055555555555554</c:v>
                </c:pt>
                <c:pt idx="3531">
                  <c:v>9.8083333333333336</c:v>
                </c:pt>
                <c:pt idx="3532">
                  <c:v>9.8111111111111118</c:v>
                </c:pt>
                <c:pt idx="3533">
                  <c:v>9.8138888888888882</c:v>
                </c:pt>
                <c:pt idx="3534">
                  <c:v>9.8166666666666664</c:v>
                </c:pt>
                <c:pt idx="3535">
                  <c:v>9.8194444444444446</c:v>
                </c:pt>
                <c:pt idx="3536">
                  <c:v>9.8222222222222229</c:v>
                </c:pt>
                <c:pt idx="3537">
                  <c:v>9.8249999999999993</c:v>
                </c:pt>
                <c:pt idx="3538">
                  <c:v>9.8277777777777775</c:v>
                </c:pt>
                <c:pt idx="3539">
                  <c:v>9.8305555555555557</c:v>
                </c:pt>
                <c:pt idx="3540">
                  <c:v>9.8333333333333339</c:v>
                </c:pt>
                <c:pt idx="3541">
                  <c:v>9.8361111111111104</c:v>
                </c:pt>
                <c:pt idx="3542">
                  <c:v>9.8388888888888886</c:v>
                </c:pt>
                <c:pt idx="3543">
                  <c:v>9.8416666666666668</c:v>
                </c:pt>
                <c:pt idx="3544">
                  <c:v>9.844444444444445</c:v>
                </c:pt>
                <c:pt idx="3545">
                  <c:v>9.8472222222222214</c:v>
                </c:pt>
                <c:pt idx="3546">
                  <c:v>9.85</c:v>
                </c:pt>
                <c:pt idx="3547">
                  <c:v>9.8527777777777779</c:v>
                </c:pt>
                <c:pt idx="3548">
                  <c:v>9.8555555555555561</c:v>
                </c:pt>
                <c:pt idx="3549">
                  <c:v>9.8583333333333325</c:v>
                </c:pt>
                <c:pt idx="3550">
                  <c:v>9.8611111111111107</c:v>
                </c:pt>
                <c:pt idx="3551">
                  <c:v>9.8638888888888889</c:v>
                </c:pt>
                <c:pt idx="3552">
                  <c:v>9.8666666666666671</c:v>
                </c:pt>
                <c:pt idx="3553">
                  <c:v>9.8694444444444436</c:v>
                </c:pt>
                <c:pt idx="3554">
                  <c:v>9.8722222222222218</c:v>
                </c:pt>
                <c:pt idx="3555">
                  <c:v>9.875</c:v>
                </c:pt>
                <c:pt idx="3556">
                  <c:v>9.8777777777777782</c:v>
                </c:pt>
                <c:pt idx="3557">
                  <c:v>9.8805555555555564</c:v>
                </c:pt>
                <c:pt idx="3558">
                  <c:v>9.8833333333333329</c:v>
                </c:pt>
                <c:pt idx="3559">
                  <c:v>9.8861111111111111</c:v>
                </c:pt>
                <c:pt idx="3560">
                  <c:v>9.8888888888888893</c:v>
                </c:pt>
                <c:pt idx="3561">
                  <c:v>9.8916666666666675</c:v>
                </c:pt>
                <c:pt idx="3562">
                  <c:v>9.8944444444444439</c:v>
                </c:pt>
                <c:pt idx="3563">
                  <c:v>9.8972222222222221</c:v>
                </c:pt>
                <c:pt idx="3564">
                  <c:v>9.9</c:v>
                </c:pt>
                <c:pt idx="3565">
                  <c:v>9.9027777777777786</c:v>
                </c:pt>
                <c:pt idx="3566">
                  <c:v>9.905555555555555</c:v>
                </c:pt>
                <c:pt idx="3567">
                  <c:v>9.9083333333333332</c:v>
                </c:pt>
                <c:pt idx="3568">
                  <c:v>9.9111111111111114</c:v>
                </c:pt>
                <c:pt idx="3569">
                  <c:v>9.9138888888888896</c:v>
                </c:pt>
                <c:pt idx="3570">
                  <c:v>9.9166666666666661</c:v>
                </c:pt>
                <c:pt idx="3571">
                  <c:v>9.9194444444444443</c:v>
                </c:pt>
                <c:pt idx="3572">
                  <c:v>9.9222222222222225</c:v>
                </c:pt>
                <c:pt idx="3573">
                  <c:v>9.9250000000000007</c:v>
                </c:pt>
                <c:pt idx="3574">
                  <c:v>9.9277777777777771</c:v>
                </c:pt>
                <c:pt idx="3575">
                  <c:v>9.9305555555555554</c:v>
                </c:pt>
                <c:pt idx="3576">
                  <c:v>9.9333333333333336</c:v>
                </c:pt>
                <c:pt idx="3577">
                  <c:v>9.9361111111111118</c:v>
                </c:pt>
                <c:pt idx="3578">
                  <c:v>9.9388888888888882</c:v>
                </c:pt>
                <c:pt idx="3579">
                  <c:v>9.9416666666666664</c:v>
                </c:pt>
                <c:pt idx="3580">
                  <c:v>9.9444444444444446</c:v>
                </c:pt>
                <c:pt idx="3581">
                  <c:v>9.9472222222222229</c:v>
                </c:pt>
                <c:pt idx="3582">
                  <c:v>9.9499999999999993</c:v>
                </c:pt>
                <c:pt idx="3583">
                  <c:v>9.9527777777777775</c:v>
                </c:pt>
                <c:pt idx="3584">
                  <c:v>9.9555555555555557</c:v>
                </c:pt>
                <c:pt idx="3585">
                  <c:v>9.9583333333333339</c:v>
                </c:pt>
                <c:pt idx="3586">
                  <c:v>9.9611111111111104</c:v>
                </c:pt>
                <c:pt idx="3587">
                  <c:v>9.9638888888888886</c:v>
                </c:pt>
                <c:pt idx="3588">
                  <c:v>9.9666666666666668</c:v>
                </c:pt>
                <c:pt idx="3589">
                  <c:v>9.969444444444445</c:v>
                </c:pt>
                <c:pt idx="3590">
                  <c:v>9.9722222222222214</c:v>
                </c:pt>
                <c:pt idx="3591">
                  <c:v>9.9749999999999996</c:v>
                </c:pt>
                <c:pt idx="3592">
                  <c:v>9.9777777777777779</c:v>
                </c:pt>
                <c:pt idx="3593">
                  <c:v>9.9805555555555561</c:v>
                </c:pt>
                <c:pt idx="3594">
                  <c:v>9.9833333333333325</c:v>
                </c:pt>
                <c:pt idx="3595">
                  <c:v>9.9861111111111107</c:v>
                </c:pt>
                <c:pt idx="3596">
                  <c:v>9.9888888888888889</c:v>
                </c:pt>
                <c:pt idx="3597">
                  <c:v>9.9916666666666671</c:v>
                </c:pt>
                <c:pt idx="3598">
                  <c:v>9.9944444444444436</c:v>
                </c:pt>
                <c:pt idx="3599">
                  <c:v>9.9972222222222218</c:v>
                </c:pt>
                <c:pt idx="3600">
                  <c:v>10</c:v>
                </c:pt>
                <c:pt idx="3601">
                  <c:v>10.002777777777778</c:v>
                </c:pt>
                <c:pt idx="3602">
                  <c:v>10.005555555555556</c:v>
                </c:pt>
                <c:pt idx="3603">
                  <c:v>10.008333333333333</c:v>
                </c:pt>
                <c:pt idx="3604">
                  <c:v>10.011111111111111</c:v>
                </c:pt>
                <c:pt idx="3605">
                  <c:v>10.013888888888889</c:v>
                </c:pt>
                <c:pt idx="3606">
                  <c:v>10.016666666666667</c:v>
                </c:pt>
                <c:pt idx="3607">
                  <c:v>10.019444444444444</c:v>
                </c:pt>
                <c:pt idx="3608">
                  <c:v>10.022222222222222</c:v>
                </c:pt>
                <c:pt idx="3609">
                  <c:v>10.025</c:v>
                </c:pt>
                <c:pt idx="3610">
                  <c:v>10.027777777777779</c:v>
                </c:pt>
                <c:pt idx="3611">
                  <c:v>10.030555555555555</c:v>
                </c:pt>
                <c:pt idx="3612">
                  <c:v>10.033333333333333</c:v>
                </c:pt>
                <c:pt idx="3613">
                  <c:v>10.036111111111111</c:v>
                </c:pt>
                <c:pt idx="3614">
                  <c:v>10.03888888888889</c:v>
                </c:pt>
                <c:pt idx="3615">
                  <c:v>10.041666666666666</c:v>
                </c:pt>
                <c:pt idx="3616">
                  <c:v>10.044444444444444</c:v>
                </c:pt>
                <c:pt idx="3617">
                  <c:v>10.047222222222222</c:v>
                </c:pt>
                <c:pt idx="3618">
                  <c:v>10.050000000000001</c:v>
                </c:pt>
                <c:pt idx="3619">
                  <c:v>10.052777777777777</c:v>
                </c:pt>
                <c:pt idx="3620">
                  <c:v>10.055555555555555</c:v>
                </c:pt>
                <c:pt idx="3621">
                  <c:v>10.058333333333334</c:v>
                </c:pt>
                <c:pt idx="3622">
                  <c:v>10.061111111111112</c:v>
                </c:pt>
                <c:pt idx="3623">
                  <c:v>10.063888888888888</c:v>
                </c:pt>
                <c:pt idx="3624">
                  <c:v>10.066666666666666</c:v>
                </c:pt>
                <c:pt idx="3625">
                  <c:v>10.069444444444445</c:v>
                </c:pt>
                <c:pt idx="3626">
                  <c:v>10.072222222222223</c:v>
                </c:pt>
                <c:pt idx="3627">
                  <c:v>10.074999999999999</c:v>
                </c:pt>
                <c:pt idx="3628">
                  <c:v>10.077777777777778</c:v>
                </c:pt>
                <c:pt idx="3629">
                  <c:v>10.080555555555556</c:v>
                </c:pt>
                <c:pt idx="3630">
                  <c:v>10.083333333333334</c:v>
                </c:pt>
                <c:pt idx="3631">
                  <c:v>10.08611111111111</c:v>
                </c:pt>
                <c:pt idx="3632">
                  <c:v>10.088888888888889</c:v>
                </c:pt>
                <c:pt idx="3633">
                  <c:v>10.091666666666667</c:v>
                </c:pt>
                <c:pt idx="3634">
                  <c:v>10.094444444444445</c:v>
                </c:pt>
                <c:pt idx="3635">
                  <c:v>10.097222222222221</c:v>
                </c:pt>
                <c:pt idx="3636">
                  <c:v>10.1</c:v>
                </c:pt>
                <c:pt idx="3637">
                  <c:v>10.102777777777778</c:v>
                </c:pt>
                <c:pt idx="3638">
                  <c:v>10.105555555555556</c:v>
                </c:pt>
                <c:pt idx="3639">
                  <c:v>10.108333333333333</c:v>
                </c:pt>
                <c:pt idx="3640">
                  <c:v>10.111111111111111</c:v>
                </c:pt>
                <c:pt idx="3641">
                  <c:v>10.113888888888889</c:v>
                </c:pt>
                <c:pt idx="3642">
                  <c:v>10.116666666666667</c:v>
                </c:pt>
                <c:pt idx="3643">
                  <c:v>10.119444444444444</c:v>
                </c:pt>
                <c:pt idx="3644">
                  <c:v>10.122222222222222</c:v>
                </c:pt>
                <c:pt idx="3645">
                  <c:v>10.125</c:v>
                </c:pt>
                <c:pt idx="3646">
                  <c:v>10.127777777777778</c:v>
                </c:pt>
                <c:pt idx="3647">
                  <c:v>10.130555555555556</c:v>
                </c:pt>
                <c:pt idx="3648">
                  <c:v>10.133333333333333</c:v>
                </c:pt>
                <c:pt idx="3649">
                  <c:v>10.136111111111111</c:v>
                </c:pt>
                <c:pt idx="3650">
                  <c:v>10.138888888888889</c:v>
                </c:pt>
                <c:pt idx="3651">
                  <c:v>10.141666666666667</c:v>
                </c:pt>
                <c:pt idx="3652">
                  <c:v>10.144444444444444</c:v>
                </c:pt>
                <c:pt idx="3653">
                  <c:v>10.147222222222222</c:v>
                </c:pt>
                <c:pt idx="3654">
                  <c:v>10.15</c:v>
                </c:pt>
                <c:pt idx="3655">
                  <c:v>10.152777777777779</c:v>
                </c:pt>
                <c:pt idx="3656">
                  <c:v>10.155555555555555</c:v>
                </c:pt>
                <c:pt idx="3657">
                  <c:v>10.158333333333333</c:v>
                </c:pt>
                <c:pt idx="3658">
                  <c:v>10.161111111111111</c:v>
                </c:pt>
                <c:pt idx="3659">
                  <c:v>10.16388888888889</c:v>
                </c:pt>
                <c:pt idx="3660">
                  <c:v>10.166666666666666</c:v>
                </c:pt>
                <c:pt idx="3661">
                  <c:v>10.169444444444444</c:v>
                </c:pt>
                <c:pt idx="3662">
                  <c:v>10.172222222222222</c:v>
                </c:pt>
                <c:pt idx="3663">
                  <c:v>10.175000000000001</c:v>
                </c:pt>
                <c:pt idx="3664">
                  <c:v>10.177777777777777</c:v>
                </c:pt>
                <c:pt idx="3665">
                  <c:v>10.180555555555555</c:v>
                </c:pt>
                <c:pt idx="3666">
                  <c:v>10.183333333333334</c:v>
                </c:pt>
                <c:pt idx="3667">
                  <c:v>10.186111111111112</c:v>
                </c:pt>
                <c:pt idx="3668">
                  <c:v>10.188888888888888</c:v>
                </c:pt>
                <c:pt idx="3669">
                  <c:v>10.191666666666666</c:v>
                </c:pt>
                <c:pt idx="3670">
                  <c:v>10.194444444444445</c:v>
                </c:pt>
                <c:pt idx="3671">
                  <c:v>10.197222222222223</c:v>
                </c:pt>
                <c:pt idx="3672">
                  <c:v>10.199999999999999</c:v>
                </c:pt>
                <c:pt idx="3673">
                  <c:v>10.202777777777778</c:v>
                </c:pt>
                <c:pt idx="3674">
                  <c:v>10.205555555555556</c:v>
                </c:pt>
                <c:pt idx="3675">
                  <c:v>10.208333333333334</c:v>
                </c:pt>
                <c:pt idx="3676">
                  <c:v>10.21111111111111</c:v>
                </c:pt>
                <c:pt idx="3677">
                  <c:v>10.213888888888889</c:v>
                </c:pt>
                <c:pt idx="3678">
                  <c:v>10.216666666666667</c:v>
                </c:pt>
                <c:pt idx="3679">
                  <c:v>10.219444444444445</c:v>
                </c:pt>
                <c:pt idx="3680">
                  <c:v>10.222222222222221</c:v>
                </c:pt>
                <c:pt idx="3681">
                  <c:v>10.225</c:v>
                </c:pt>
                <c:pt idx="3682">
                  <c:v>10.227777777777778</c:v>
                </c:pt>
                <c:pt idx="3683">
                  <c:v>10.230555555555556</c:v>
                </c:pt>
                <c:pt idx="3684">
                  <c:v>10.233333333333333</c:v>
                </c:pt>
                <c:pt idx="3685">
                  <c:v>10.236111111111111</c:v>
                </c:pt>
                <c:pt idx="3686">
                  <c:v>10.238888888888889</c:v>
                </c:pt>
                <c:pt idx="3687">
                  <c:v>10.241666666666667</c:v>
                </c:pt>
                <c:pt idx="3688">
                  <c:v>10.244444444444444</c:v>
                </c:pt>
                <c:pt idx="3689">
                  <c:v>10.247222222222222</c:v>
                </c:pt>
                <c:pt idx="3690">
                  <c:v>10.25</c:v>
                </c:pt>
                <c:pt idx="3691">
                  <c:v>10.252777777777778</c:v>
                </c:pt>
                <c:pt idx="3692">
                  <c:v>10.255555555555556</c:v>
                </c:pt>
                <c:pt idx="3693">
                  <c:v>10.258333333333333</c:v>
                </c:pt>
                <c:pt idx="3694">
                  <c:v>10.261111111111111</c:v>
                </c:pt>
                <c:pt idx="3695">
                  <c:v>10.263888888888889</c:v>
                </c:pt>
                <c:pt idx="3696">
                  <c:v>10.266666666666667</c:v>
                </c:pt>
                <c:pt idx="3697">
                  <c:v>10.269444444444444</c:v>
                </c:pt>
                <c:pt idx="3698">
                  <c:v>10.272222222222222</c:v>
                </c:pt>
                <c:pt idx="3699">
                  <c:v>10.275</c:v>
                </c:pt>
                <c:pt idx="3700">
                  <c:v>10.277777777777779</c:v>
                </c:pt>
                <c:pt idx="3701">
                  <c:v>10.280555555555555</c:v>
                </c:pt>
                <c:pt idx="3702">
                  <c:v>10.283333333333333</c:v>
                </c:pt>
                <c:pt idx="3703">
                  <c:v>10.286111111111111</c:v>
                </c:pt>
                <c:pt idx="3704">
                  <c:v>10.28888888888889</c:v>
                </c:pt>
                <c:pt idx="3705">
                  <c:v>10.291666666666666</c:v>
                </c:pt>
                <c:pt idx="3706">
                  <c:v>10.294444444444444</c:v>
                </c:pt>
                <c:pt idx="3707">
                  <c:v>10.297222222222222</c:v>
                </c:pt>
                <c:pt idx="3708">
                  <c:v>10.3</c:v>
                </c:pt>
                <c:pt idx="3709">
                  <c:v>10.302777777777777</c:v>
                </c:pt>
                <c:pt idx="3710">
                  <c:v>10.305555555555555</c:v>
                </c:pt>
                <c:pt idx="3711">
                  <c:v>10.308333333333334</c:v>
                </c:pt>
                <c:pt idx="3712">
                  <c:v>10.311111111111112</c:v>
                </c:pt>
                <c:pt idx="3713">
                  <c:v>10.313888888888888</c:v>
                </c:pt>
                <c:pt idx="3714">
                  <c:v>10.316666666666666</c:v>
                </c:pt>
                <c:pt idx="3715">
                  <c:v>10.319444444444445</c:v>
                </c:pt>
                <c:pt idx="3716">
                  <c:v>10.322222222222223</c:v>
                </c:pt>
                <c:pt idx="3717">
                  <c:v>10.324999999999999</c:v>
                </c:pt>
                <c:pt idx="3718">
                  <c:v>10.327777777777778</c:v>
                </c:pt>
                <c:pt idx="3719">
                  <c:v>10.330555555555556</c:v>
                </c:pt>
                <c:pt idx="3720">
                  <c:v>10.333333333333334</c:v>
                </c:pt>
                <c:pt idx="3721">
                  <c:v>10.33611111111111</c:v>
                </c:pt>
                <c:pt idx="3722">
                  <c:v>10.338888888888889</c:v>
                </c:pt>
                <c:pt idx="3723">
                  <c:v>10.341666666666667</c:v>
                </c:pt>
                <c:pt idx="3724">
                  <c:v>10.344444444444445</c:v>
                </c:pt>
                <c:pt idx="3725">
                  <c:v>10.347222222222221</c:v>
                </c:pt>
                <c:pt idx="3726">
                  <c:v>10.35</c:v>
                </c:pt>
                <c:pt idx="3727">
                  <c:v>10.352777777777778</c:v>
                </c:pt>
                <c:pt idx="3728">
                  <c:v>10.355555555555556</c:v>
                </c:pt>
                <c:pt idx="3729">
                  <c:v>10.358333333333333</c:v>
                </c:pt>
                <c:pt idx="3730">
                  <c:v>10.361111111111111</c:v>
                </c:pt>
                <c:pt idx="3731">
                  <c:v>10.363888888888889</c:v>
                </c:pt>
                <c:pt idx="3732">
                  <c:v>10.366666666666667</c:v>
                </c:pt>
                <c:pt idx="3733">
                  <c:v>10.369444444444444</c:v>
                </c:pt>
                <c:pt idx="3734">
                  <c:v>10.372222222222222</c:v>
                </c:pt>
                <c:pt idx="3735">
                  <c:v>10.375</c:v>
                </c:pt>
                <c:pt idx="3736">
                  <c:v>10.377777777777778</c:v>
                </c:pt>
                <c:pt idx="3737">
                  <c:v>10.380555555555556</c:v>
                </c:pt>
                <c:pt idx="3738">
                  <c:v>10.383333333333333</c:v>
                </c:pt>
                <c:pt idx="3739">
                  <c:v>10.386111111111111</c:v>
                </c:pt>
                <c:pt idx="3740">
                  <c:v>10.388888888888889</c:v>
                </c:pt>
                <c:pt idx="3741">
                  <c:v>10.391666666666667</c:v>
                </c:pt>
                <c:pt idx="3742">
                  <c:v>10.394444444444444</c:v>
                </c:pt>
                <c:pt idx="3743">
                  <c:v>10.397222222222222</c:v>
                </c:pt>
                <c:pt idx="3744">
                  <c:v>10.4</c:v>
                </c:pt>
                <c:pt idx="3745">
                  <c:v>10.402777777777779</c:v>
                </c:pt>
                <c:pt idx="3746">
                  <c:v>10.405555555555555</c:v>
                </c:pt>
                <c:pt idx="3747">
                  <c:v>10.408333333333333</c:v>
                </c:pt>
                <c:pt idx="3748">
                  <c:v>10.411111111111111</c:v>
                </c:pt>
                <c:pt idx="3749">
                  <c:v>10.41388888888889</c:v>
                </c:pt>
                <c:pt idx="3750">
                  <c:v>10.416666666666666</c:v>
                </c:pt>
                <c:pt idx="3751">
                  <c:v>10.419444444444444</c:v>
                </c:pt>
                <c:pt idx="3752">
                  <c:v>10.422222222222222</c:v>
                </c:pt>
                <c:pt idx="3753">
                  <c:v>10.425000000000001</c:v>
                </c:pt>
                <c:pt idx="3754">
                  <c:v>10.427777777777777</c:v>
                </c:pt>
                <c:pt idx="3755">
                  <c:v>10.430555555555555</c:v>
                </c:pt>
                <c:pt idx="3756">
                  <c:v>10.433333333333334</c:v>
                </c:pt>
                <c:pt idx="3757">
                  <c:v>10.436111111111112</c:v>
                </c:pt>
                <c:pt idx="3758">
                  <c:v>10.438888888888888</c:v>
                </c:pt>
                <c:pt idx="3759">
                  <c:v>10.441666666666666</c:v>
                </c:pt>
                <c:pt idx="3760">
                  <c:v>10.444444444444445</c:v>
                </c:pt>
                <c:pt idx="3761">
                  <c:v>10.447222222222223</c:v>
                </c:pt>
                <c:pt idx="3762">
                  <c:v>10.45</c:v>
                </c:pt>
                <c:pt idx="3763">
                  <c:v>10.452777777777778</c:v>
                </c:pt>
                <c:pt idx="3764">
                  <c:v>10.455555555555556</c:v>
                </c:pt>
                <c:pt idx="3765">
                  <c:v>10.458333333333334</c:v>
                </c:pt>
                <c:pt idx="3766">
                  <c:v>10.46111111111111</c:v>
                </c:pt>
                <c:pt idx="3767">
                  <c:v>10.463888888888889</c:v>
                </c:pt>
                <c:pt idx="3768">
                  <c:v>10.466666666666667</c:v>
                </c:pt>
                <c:pt idx="3769">
                  <c:v>10.469444444444445</c:v>
                </c:pt>
                <c:pt idx="3770">
                  <c:v>10.472222222222221</c:v>
                </c:pt>
                <c:pt idx="3771">
                  <c:v>10.475</c:v>
                </c:pt>
                <c:pt idx="3772">
                  <c:v>10.477777777777778</c:v>
                </c:pt>
                <c:pt idx="3773">
                  <c:v>10.480555555555556</c:v>
                </c:pt>
                <c:pt idx="3774">
                  <c:v>10.483333333333333</c:v>
                </c:pt>
                <c:pt idx="3775">
                  <c:v>10.486111111111111</c:v>
                </c:pt>
                <c:pt idx="3776">
                  <c:v>10.488888888888889</c:v>
                </c:pt>
                <c:pt idx="3777">
                  <c:v>10.491666666666667</c:v>
                </c:pt>
                <c:pt idx="3778">
                  <c:v>10.494444444444444</c:v>
                </c:pt>
                <c:pt idx="3779">
                  <c:v>10.497222222222222</c:v>
                </c:pt>
                <c:pt idx="3780">
                  <c:v>10.5</c:v>
                </c:pt>
                <c:pt idx="3781">
                  <c:v>10.502777777777778</c:v>
                </c:pt>
                <c:pt idx="3782">
                  <c:v>10.505555555555556</c:v>
                </c:pt>
                <c:pt idx="3783">
                  <c:v>10.508333333333333</c:v>
                </c:pt>
                <c:pt idx="3784">
                  <c:v>10.511111111111111</c:v>
                </c:pt>
                <c:pt idx="3785">
                  <c:v>10.513888888888889</c:v>
                </c:pt>
                <c:pt idx="3786">
                  <c:v>10.516666666666667</c:v>
                </c:pt>
                <c:pt idx="3787">
                  <c:v>10.519444444444444</c:v>
                </c:pt>
                <c:pt idx="3788">
                  <c:v>10.522222222222222</c:v>
                </c:pt>
                <c:pt idx="3789">
                  <c:v>10.525</c:v>
                </c:pt>
                <c:pt idx="3790">
                  <c:v>10.527777777777779</c:v>
                </c:pt>
                <c:pt idx="3791">
                  <c:v>10.530555555555555</c:v>
                </c:pt>
                <c:pt idx="3792">
                  <c:v>10.533333333333333</c:v>
                </c:pt>
                <c:pt idx="3793">
                  <c:v>10.536111111111111</c:v>
                </c:pt>
                <c:pt idx="3794">
                  <c:v>10.53888888888889</c:v>
                </c:pt>
                <c:pt idx="3795">
                  <c:v>10.541666666666666</c:v>
                </c:pt>
                <c:pt idx="3796">
                  <c:v>10.544444444444444</c:v>
                </c:pt>
                <c:pt idx="3797">
                  <c:v>10.547222222222222</c:v>
                </c:pt>
                <c:pt idx="3798">
                  <c:v>10.55</c:v>
                </c:pt>
                <c:pt idx="3799">
                  <c:v>10.552777777777777</c:v>
                </c:pt>
                <c:pt idx="3800">
                  <c:v>10.555555555555555</c:v>
                </c:pt>
                <c:pt idx="3801">
                  <c:v>10.558333333333334</c:v>
                </c:pt>
                <c:pt idx="3802">
                  <c:v>10.561111111111112</c:v>
                </c:pt>
                <c:pt idx="3803">
                  <c:v>10.563888888888888</c:v>
                </c:pt>
                <c:pt idx="3804">
                  <c:v>10.566666666666666</c:v>
                </c:pt>
                <c:pt idx="3805">
                  <c:v>10.569444444444445</c:v>
                </c:pt>
                <c:pt idx="3806">
                  <c:v>10.572222222222223</c:v>
                </c:pt>
                <c:pt idx="3807">
                  <c:v>10.574999999999999</c:v>
                </c:pt>
                <c:pt idx="3808">
                  <c:v>10.577777777777778</c:v>
                </c:pt>
                <c:pt idx="3809">
                  <c:v>10.580555555555556</c:v>
                </c:pt>
                <c:pt idx="3810">
                  <c:v>10.583333333333334</c:v>
                </c:pt>
                <c:pt idx="3811">
                  <c:v>10.58611111111111</c:v>
                </c:pt>
                <c:pt idx="3812">
                  <c:v>10.588888888888889</c:v>
                </c:pt>
                <c:pt idx="3813">
                  <c:v>10.591666666666667</c:v>
                </c:pt>
                <c:pt idx="3814">
                  <c:v>10.594444444444445</c:v>
                </c:pt>
                <c:pt idx="3815">
                  <c:v>10.597222222222221</c:v>
                </c:pt>
                <c:pt idx="3816">
                  <c:v>10.6</c:v>
                </c:pt>
                <c:pt idx="3817">
                  <c:v>10.602777777777778</c:v>
                </c:pt>
                <c:pt idx="3818">
                  <c:v>10.605555555555556</c:v>
                </c:pt>
                <c:pt idx="3819">
                  <c:v>10.608333333333333</c:v>
                </c:pt>
                <c:pt idx="3820">
                  <c:v>10.611111111111111</c:v>
                </c:pt>
                <c:pt idx="3821">
                  <c:v>10.613888888888889</c:v>
                </c:pt>
                <c:pt idx="3822">
                  <c:v>10.616666666666667</c:v>
                </c:pt>
                <c:pt idx="3823">
                  <c:v>10.619444444444444</c:v>
                </c:pt>
                <c:pt idx="3824">
                  <c:v>10.622222222222222</c:v>
                </c:pt>
                <c:pt idx="3825">
                  <c:v>10.625</c:v>
                </c:pt>
                <c:pt idx="3826">
                  <c:v>10.627777777777778</c:v>
                </c:pt>
                <c:pt idx="3827">
                  <c:v>10.630555555555556</c:v>
                </c:pt>
                <c:pt idx="3828">
                  <c:v>10.633333333333333</c:v>
                </c:pt>
                <c:pt idx="3829">
                  <c:v>10.636111111111111</c:v>
                </c:pt>
                <c:pt idx="3830">
                  <c:v>10.638888888888889</c:v>
                </c:pt>
                <c:pt idx="3831">
                  <c:v>10.641666666666667</c:v>
                </c:pt>
                <c:pt idx="3832">
                  <c:v>10.644444444444444</c:v>
                </c:pt>
                <c:pt idx="3833">
                  <c:v>10.647222222222222</c:v>
                </c:pt>
                <c:pt idx="3834">
                  <c:v>10.65</c:v>
                </c:pt>
                <c:pt idx="3835">
                  <c:v>10.652777777777779</c:v>
                </c:pt>
                <c:pt idx="3836">
                  <c:v>10.655555555555555</c:v>
                </c:pt>
                <c:pt idx="3837">
                  <c:v>10.658333333333333</c:v>
                </c:pt>
                <c:pt idx="3838">
                  <c:v>10.661111111111111</c:v>
                </c:pt>
                <c:pt idx="3839">
                  <c:v>10.66388888888889</c:v>
                </c:pt>
                <c:pt idx="3840">
                  <c:v>10.666666666666666</c:v>
                </c:pt>
                <c:pt idx="3841">
                  <c:v>10.669444444444444</c:v>
                </c:pt>
                <c:pt idx="3842">
                  <c:v>10.672222222222222</c:v>
                </c:pt>
                <c:pt idx="3843">
                  <c:v>10.675000000000001</c:v>
                </c:pt>
                <c:pt idx="3844">
                  <c:v>10.677777777777777</c:v>
                </c:pt>
                <c:pt idx="3845">
                  <c:v>10.680555555555555</c:v>
                </c:pt>
                <c:pt idx="3846">
                  <c:v>10.683333333333334</c:v>
                </c:pt>
                <c:pt idx="3847">
                  <c:v>10.686111111111112</c:v>
                </c:pt>
                <c:pt idx="3848">
                  <c:v>10.688888888888888</c:v>
                </c:pt>
                <c:pt idx="3849">
                  <c:v>10.691666666666666</c:v>
                </c:pt>
                <c:pt idx="3850">
                  <c:v>10.694444444444445</c:v>
                </c:pt>
                <c:pt idx="3851">
                  <c:v>10.697222222222223</c:v>
                </c:pt>
                <c:pt idx="3852">
                  <c:v>10.7</c:v>
                </c:pt>
                <c:pt idx="3853">
                  <c:v>10.702777777777778</c:v>
                </c:pt>
                <c:pt idx="3854">
                  <c:v>10.705555555555556</c:v>
                </c:pt>
                <c:pt idx="3855">
                  <c:v>10.708333333333334</c:v>
                </c:pt>
                <c:pt idx="3856">
                  <c:v>10.71111111111111</c:v>
                </c:pt>
                <c:pt idx="3857">
                  <c:v>10.713888888888889</c:v>
                </c:pt>
                <c:pt idx="3858">
                  <c:v>10.716666666666667</c:v>
                </c:pt>
                <c:pt idx="3859">
                  <c:v>10.719444444444445</c:v>
                </c:pt>
                <c:pt idx="3860">
                  <c:v>10.722222222222221</c:v>
                </c:pt>
                <c:pt idx="3861">
                  <c:v>10.725</c:v>
                </c:pt>
                <c:pt idx="3862">
                  <c:v>10.727777777777778</c:v>
                </c:pt>
                <c:pt idx="3863">
                  <c:v>10.730555555555556</c:v>
                </c:pt>
                <c:pt idx="3864">
                  <c:v>10.733333333333333</c:v>
                </c:pt>
                <c:pt idx="3865">
                  <c:v>10.736111111111111</c:v>
                </c:pt>
                <c:pt idx="3866">
                  <c:v>10.738888888888889</c:v>
                </c:pt>
                <c:pt idx="3867">
                  <c:v>10.741666666666667</c:v>
                </c:pt>
                <c:pt idx="3868">
                  <c:v>10.744444444444444</c:v>
                </c:pt>
                <c:pt idx="3869">
                  <c:v>10.747222222222222</c:v>
                </c:pt>
                <c:pt idx="3870">
                  <c:v>10.75</c:v>
                </c:pt>
                <c:pt idx="3871">
                  <c:v>10.752777777777778</c:v>
                </c:pt>
                <c:pt idx="3872">
                  <c:v>10.755555555555556</c:v>
                </c:pt>
                <c:pt idx="3873">
                  <c:v>10.758333333333333</c:v>
                </c:pt>
                <c:pt idx="3874">
                  <c:v>10.761111111111111</c:v>
                </c:pt>
                <c:pt idx="3875">
                  <c:v>10.763888888888889</c:v>
                </c:pt>
                <c:pt idx="3876">
                  <c:v>10.766666666666667</c:v>
                </c:pt>
                <c:pt idx="3877">
                  <c:v>10.769444444444444</c:v>
                </c:pt>
                <c:pt idx="3878">
                  <c:v>10.772222222222222</c:v>
                </c:pt>
                <c:pt idx="3879">
                  <c:v>10.775</c:v>
                </c:pt>
                <c:pt idx="3880">
                  <c:v>10.777777777777779</c:v>
                </c:pt>
                <c:pt idx="3881">
                  <c:v>10.780555555555555</c:v>
                </c:pt>
                <c:pt idx="3882">
                  <c:v>10.783333333333333</c:v>
                </c:pt>
                <c:pt idx="3883">
                  <c:v>10.786111111111111</c:v>
                </c:pt>
                <c:pt idx="3884">
                  <c:v>10.78888888888889</c:v>
                </c:pt>
                <c:pt idx="3885">
                  <c:v>10.791666666666666</c:v>
                </c:pt>
                <c:pt idx="3886">
                  <c:v>10.794444444444444</c:v>
                </c:pt>
                <c:pt idx="3887">
                  <c:v>10.797222222222222</c:v>
                </c:pt>
                <c:pt idx="3888">
                  <c:v>10.8</c:v>
                </c:pt>
                <c:pt idx="3889">
                  <c:v>10.802777777777777</c:v>
                </c:pt>
                <c:pt idx="3890">
                  <c:v>10.805555555555555</c:v>
                </c:pt>
                <c:pt idx="3891">
                  <c:v>10.808333333333334</c:v>
                </c:pt>
                <c:pt idx="3892">
                  <c:v>10.811111111111112</c:v>
                </c:pt>
                <c:pt idx="3893">
                  <c:v>10.813888888888888</c:v>
                </c:pt>
                <c:pt idx="3894">
                  <c:v>10.816666666666666</c:v>
                </c:pt>
                <c:pt idx="3895">
                  <c:v>10.819444444444445</c:v>
                </c:pt>
                <c:pt idx="3896">
                  <c:v>10.822222222222223</c:v>
                </c:pt>
                <c:pt idx="3897">
                  <c:v>10.824999999999999</c:v>
                </c:pt>
                <c:pt idx="3898">
                  <c:v>10.827777777777778</c:v>
                </c:pt>
                <c:pt idx="3899">
                  <c:v>10.830555555555556</c:v>
                </c:pt>
                <c:pt idx="3900">
                  <c:v>10.833333333333334</c:v>
                </c:pt>
                <c:pt idx="3901">
                  <c:v>10.83611111111111</c:v>
                </c:pt>
                <c:pt idx="3902">
                  <c:v>10.838888888888889</c:v>
                </c:pt>
                <c:pt idx="3903">
                  <c:v>10.841666666666667</c:v>
                </c:pt>
                <c:pt idx="3904">
                  <c:v>10.844444444444445</c:v>
                </c:pt>
                <c:pt idx="3905">
                  <c:v>10.847222222222221</c:v>
                </c:pt>
                <c:pt idx="3906">
                  <c:v>10.85</c:v>
                </c:pt>
                <c:pt idx="3907">
                  <c:v>10.852777777777778</c:v>
                </c:pt>
                <c:pt idx="3908">
                  <c:v>10.855555555555556</c:v>
                </c:pt>
                <c:pt idx="3909">
                  <c:v>10.858333333333333</c:v>
                </c:pt>
                <c:pt idx="3910">
                  <c:v>10.861111111111111</c:v>
                </c:pt>
                <c:pt idx="3911">
                  <c:v>10.863888888888889</c:v>
                </c:pt>
                <c:pt idx="3912">
                  <c:v>10.866666666666667</c:v>
                </c:pt>
                <c:pt idx="3913">
                  <c:v>10.869444444444444</c:v>
                </c:pt>
                <c:pt idx="3914">
                  <c:v>10.872222222222222</c:v>
                </c:pt>
                <c:pt idx="3915">
                  <c:v>10.875</c:v>
                </c:pt>
                <c:pt idx="3916">
                  <c:v>10.877777777777778</c:v>
                </c:pt>
                <c:pt idx="3917">
                  <c:v>10.880555555555556</c:v>
                </c:pt>
                <c:pt idx="3918">
                  <c:v>10.883333333333333</c:v>
                </c:pt>
                <c:pt idx="3919">
                  <c:v>10.886111111111111</c:v>
                </c:pt>
                <c:pt idx="3920">
                  <c:v>10.888888888888889</c:v>
                </c:pt>
                <c:pt idx="3921">
                  <c:v>10.891666666666667</c:v>
                </c:pt>
                <c:pt idx="3922">
                  <c:v>10.894444444444444</c:v>
                </c:pt>
                <c:pt idx="3923">
                  <c:v>10.897222222222222</c:v>
                </c:pt>
                <c:pt idx="3924">
                  <c:v>10.9</c:v>
                </c:pt>
                <c:pt idx="3925">
                  <c:v>10.902777777777779</c:v>
                </c:pt>
                <c:pt idx="3926">
                  <c:v>10.905555555555555</c:v>
                </c:pt>
                <c:pt idx="3927">
                  <c:v>10.908333333333333</c:v>
                </c:pt>
                <c:pt idx="3928">
                  <c:v>10.911111111111111</c:v>
                </c:pt>
                <c:pt idx="3929">
                  <c:v>10.91388888888889</c:v>
                </c:pt>
                <c:pt idx="3930">
                  <c:v>10.916666666666666</c:v>
                </c:pt>
                <c:pt idx="3931">
                  <c:v>10.919444444444444</c:v>
                </c:pt>
                <c:pt idx="3932">
                  <c:v>10.922222222222222</c:v>
                </c:pt>
                <c:pt idx="3933">
                  <c:v>10.925000000000001</c:v>
                </c:pt>
                <c:pt idx="3934">
                  <c:v>10.927777777777777</c:v>
                </c:pt>
                <c:pt idx="3935">
                  <c:v>10.930555555555555</c:v>
                </c:pt>
                <c:pt idx="3936">
                  <c:v>10.933333333333334</c:v>
                </c:pt>
                <c:pt idx="3937">
                  <c:v>10.936111111111112</c:v>
                </c:pt>
                <c:pt idx="3938">
                  <c:v>10.938888888888888</c:v>
                </c:pt>
                <c:pt idx="3939">
                  <c:v>10.941666666666666</c:v>
                </c:pt>
                <c:pt idx="3940">
                  <c:v>10.944444444444445</c:v>
                </c:pt>
                <c:pt idx="3941">
                  <c:v>10.947222222222223</c:v>
                </c:pt>
                <c:pt idx="3942">
                  <c:v>10.95</c:v>
                </c:pt>
                <c:pt idx="3943">
                  <c:v>10.952777777777778</c:v>
                </c:pt>
                <c:pt idx="3944">
                  <c:v>10.955555555555556</c:v>
                </c:pt>
                <c:pt idx="3945">
                  <c:v>10.958333333333334</c:v>
                </c:pt>
                <c:pt idx="3946">
                  <c:v>10.96111111111111</c:v>
                </c:pt>
                <c:pt idx="3947">
                  <c:v>10.963888888888889</c:v>
                </c:pt>
                <c:pt idx="3948">
                  <c:v>10.966666666666667</c:v>
                </c:pt>
                <c:pt idx="3949">
                  <c:v>10.969444444444445</c:v>
                </c:pt>
                <c:pt idx="3950">
                  <c:v>10.972222222222221</c:v>
                </c:pt>
                <c:pt idx="3951">
                  <c:v>10.975</c:v>
                </c:pt>
                <c:pt idx="3952">
                  <c:v>10.977777777777778</c:v>
                </c:pt>
                <c:pt idx="3953">
                  <c:v>10.980555555555556</c:v>
                </c:pt>
                <c:pt idx="3954">
                  <c:v>10.983333333333333</c:v>
                </c:pt>
                <c:pt idx="3955">
                  <c:v>10.986111111111111</c:v>
                </c:pt>
                <c:pt idx="3956">
                  <c:v>10.988888888888889</c:v>
                </c:pt>
                <c:pt idx="3957">
                  <c:v>10.991666666666667</c:v>
                </c:pt>
                <c:pt idx="3958">
                  <c:v>10.994444444444444</c:v>
                </c:pt>
                <c:pt idx="3959">
                  <c:v>10.997222222222222</c:v>
                </c:pt>
                <c:pt idx="3960">
                  <c:v>11</c:v>
                </c:pt>
                <c:pt idx="3961">
                  <c:v>11.002777777777778</c:v>
                </c:pt>
                <c:pt idx="3962">
                  <c:v>11.005555555555556</c:v>
                </c:pt>
                <c:pt idx="3963">
                  <c:v>11.008333333333333</c:v>
                </c:pt>
                <c:pt idx="3964">
                  <c:v>11.011111111111111</c:v>
                </c:pt>
                <c:pt idx="3965">
                  <c:v>11.013888888888889</c:v>
                </c:pt>
                <c:pt idx="3966">
                  <c:v>11.016666666666667</c:v>
                </c:pt>
                <c:pt idx="3967">
                  <c:v>11.019444444444444</c:v>
                </c:pt>
                <c:pt idx="3968">
                  <c:v>11.022222222222222</c:v>
                </c:pt>
                <c:pt idx="3969">
                  <c:v>11.025</c:v>
                </c:pt>
                <c:pt idx="3970">
                  <c:v>11.027777777777779</c:v>
                </c:pt>
                <c:pt idx="3971">
                  <c:v>11.030555555555555</c:v>
                </c:pt>
                <c:pt idx="3972">
                  <c:v>11.033333333333333</c:v>
                </c:pt>
                <c:pt idx="3973">
                  <c:v>11.036111111111111</c:v>
                </c:pt>
                <c:pt idx="3974">
                  <c:v>11.03888888888889</c:v>
                </c:pt>
                <c:pt idx="3975">
                  <c:v>11.041666666666666</c:v>
                </c:pt>
                <c:pt idx="3976">
                  <c:v>11.044444444444444</c:v>
                </c:pt>
                <c:pt idx="3977">
                  <c:v>11.047222222222222</c:v>
                </c:pt>
                <c:pt idx="3978">
                  <c:v>11.05</c:v>
                </c:pt>
                <c:pt idx="3979">
                  <c:v>11.052777777777777</c:v>
                </c:pt>
                <c:pt idx="3980">
                  <c:v>11.055555555555555</c:v>
                </c:pt>
                <c:pt idx="3981">
                  <c:v>11.058333333333334</c:v>
                </c:pt>
                <c:pt idx="3982">
                  <c:v>11.061111111111112</c:v>
                </c:pt>
                <c:pt idx="3983">
                  <c:v>11.063888888888888</c:v>
                </c:pt>
                <c:pt idx="3984">
                  <c:v>11.066666666666666</c:v>
                </c:pt>
                <c:pt idx="3985">
                  <c:v>11.069444444444445</c:v>
                </c:pt>
                <c:pt idx="3986">
                  <c:v>11.072222222222223</c:v>
                </c:pt>
                <c:pt idx="3987">
                  <c:v>11.074999999999999</c:v>
                </c:pt>
                <c:pt idx="3988">
                  <c:v>11.077777777777778</c:v>
                </c:pt>
                <c:pt idx="3989">
                  <c:v>11.080555555555556</c:v>
                </c:pt>
                <c:pt idx="3990">
                  <c:v>11.083333333333334</c:v>
                </c:pt>
                <c:pt idx="3991">
                  <c:v>11.08611111111111</c:v>
                </c:pt>
                <c:pt idx="3992">
                  <c:v>11.088888888888889</c:v>
                </c:pt>
                <c:pt idx="3993">
                  <c:v>11.091666666666667</c:v>
                </c:pt>
                <c:pt idx="3994">
                  <c:v>11.094444444444445</c:v>
                </c:pt>
                <c:pt idx="3995">
                  <c:v>11.097222222222221</c:v>
                </c:pt>
                <c:pt idx="3996">
                  <c:v>11.1</c:v>
                </c:pt>
                <c:pt idx="3997">
                  <c:v>11.102777777777778</c:v>
                </c:pt>
                <c:pt idx="3998">
                  <c:v>11.105555555555556</c:v>
                </c:pt>
                <c:pt idx="3999">
                  <c:v>11.108333333333333</c:v>
                </c:pt>
                <c:pt idx="4000">
                  <c:v>11.111111111111111</c:v>
                </c:pt>
                <c:pt idx="4001">
                  <c:v>11.113888888888889</c:v>
                </c:pt>
                <c:pt idx="4002">
                  <c:v>11.116666666666667</c:v>
                </c:pt>
                <c:pt idx="4003">
                  <c:v>11.119444444444444</c:v>
                </c:pt>
                <c:pt idx="4004">
                  <c:v>11.122222222222222</c:v>
                </c:pt>
                <c:pt idx="4005">
                  <c:v>11.125</c:v>
                </c:pt>
                <c:pt idx="4006">
                  <c:v>11.127777777777778</c:v>
                </c:pt>
                <c:pt idx="4007">
                  <c:v>11.130555555555556</c:v>
                </c:pt>
                <c:pt idx="4008">
                  <c:v>11.133333333333333</c:v>
                </c:pt>
                <c:pt idx="4009">
                  <c:v>11.136111111111111</c:v>
                </c:pt>
                <c:pt idx="4010">
                  <c:v>11.138888888888889</c:v>
                </c:pt>
                <c:pt idx="4011">
                  <c:v>11.141666666666667</c:v>
                </c:pt>
                <c:pt idx="4012">
                  <c:v>11.144444444444444</c:v>
                </c:pt>
                <c:pt idx="4013">
                  <c:v>11.147222222222222</c:v>
                </c:pt>
                <c:pt idx="4014">
                  <c:v>11.15</c:v>
                </c:pt>
                <c:pt idx="4015">
                  <c:v>11.152777777777779</c:v>
                </c:pt>
                <c:pt idx="4016">
                  <c:v>11.155555555555555</c:v>
                </c:pt>
                <c:pt idx="4017">
                  <c:v>11.158333333333333</c:v>
                </c:pt>
                <c:pt idx="4018">
                  <c:v>11.161111111111111</c:v>
                </c:pt>
                <c:pt idx="4019">
                  <c:v>11.16388888888889</c:v>
                </c:pt>
                <c:pt idx="4020">
                  <c:v>11.166666666666666</c:v>
                </c:pt>
                <c:pt idx="4021">
                  <c:v>11.169444444444444</c:v>
                </c:pt>
                <c:pt idx="4022">
                  <c:v>11.172222222222222</c:v>
                </c:pt>
                <c:pt idx="4023">
                  <c:v>11.175000000000001</c:v>
                </c:pt>
                <c:pt idx="4024">
                  <c:v>11.177777777777777</c:v>
                </c:pt>
                <c:pt idx="4025">
                  <c:v>11.180555555555555</c:v>
                </c:pt>
                <c:pt idx="4026">
                  <c:v>11.183333333333334</c:v>
                </c:pt>
                <c:pt idx="4027">
                  <c:v>11.186111111111112</c:v>
                </c:pt>
                <c:pt idx="4028">
                  <c:v>11.188888888888888</c:v>
                </c:pt>
                <c:pt idx="4029">
                  <c:v>11.191666666666666</c:v>
                </c:pt>
                <c:pt idx="4030">
                  <c:v>11.194444444444445</c:v>
                </c:pt>
                <c:pt idx="4031">
                  <c:v>11.197222222222223</c:v>
                </c:pt>
                <c:pt idx="4032">
                  <c:v>11.2</c:v>
                </c:pt>
                <c:pt idx="4033">
                  <c:v>11.202777777777778</c:v>
                </c:pt>
                <c:pt idx="4034">
                  <c:v>11.205555555555556</c:v>
                </c:pt>
                <c:pt idx="4035">
                  <c:v>11.208333333333334</c:v>
                </c:pt>
                <c:pt idx="4036">
                  <c:v>11.21111111111111</c:v>
                </c:pt>
                <c:pt idx="4037">
                  <c:v>11.213888888888889</c:v>
                </c:pt>
                <c:pt idx="4038">
                  <c:v>11.216666666666667</c:v>
                </c:pt>
                <c:pt idx="4039">
                  <c:v>11.219444444444445</c:v>
                </c:pt>
                <c:pt idx="4040">
                  <c:v>11.222222222222221</c:v>
                </c:pt>
                <c:pt idx="4041">
                  <c:v>11.225</c:v>
                </c:pt>
                <c:pt idx="4042">
                  <c:v>11.227777777777778</c:v>
                </c:pt>
                <c:pt idx="4043">
                  <c:v>11.230555555555556</c:v>
                </c:pt>
                <c:pt idx="4044">
                  <c:v>11.233333333333333</c:v>
                </c:pt>
                <c:pt idx="4045">
                  <c:v>11.236111111111111</c:v>
                </c:pt>
                <c:pt idx="4046">
                  <c:v>11.238888888888889</c:v>
                </c:pt>
                <c:pt idx="4047">
                  <c:v>11.241666666666667</c:v>
                </c:pt>
                <c:pt idx="4048">
                  <c:v>11.244444444444444</c:v>
                </c:pt>
                <c:pt idx="4049">
                  <c:v>11.247222222222222</c:v>
                </c:pt>
                <c:pt idx="4050">
                  <c:v>11.25</c:v>
                </c:pt>
                <c:pt idx="4051">
                  <c:v>11.252777777777778</c:v>
                </c:pt>
                <c:pt idx="4052">
                  <c:v>11.255555555555556</c:v>
                </c:pt>
                <c:pt idx="4053">
                  <c:v>11.258333333333333</c:v>
                </c:pt>
                <c:pt idx="4054">
                  <c:v>11.261111111111111</c:v>
                </c:pt>
                <c:pt idx="4055">
                  <c:v>11.263888888888889</c:v>
                </c:pt>
                <c:pt idx="4056">
                  <c:v>11.266666666666667</c:v>
                </c:pt>
                <c:pt idx="4057">
                  <c:v>11.269444444444444</c:v>
                </c:pt>
                <c:pt idx="4058">
                  <c:v>11.272222222222222</c:v>
                </c:pt>
                <c:pt idx="4059">
                  <c:v>11.275</c:v>
                </c:pt>
                <c:pt idx="4060">
                  <c:v>11.277777777777779</c:v>
                </c:pt>
                <c:pt idx="4061">
                  <c:v>11.280555555555555</c:v>
                </c:pt>
                <c:pt idx="4062">
                  <c:v>11.283333333333333</c:v>
                </c:pt>
                <c:pt idx="4063">
                  <c:v>11.286111111111111</c:v>
                </c:pt>
                <c:pt idx="4064">
                  <c:v>11.28888888888889</c:v>
                </c:pt>
                <c:pt idx="4065">
                  <c:v>11.291666666666666</c:v>
                </c:pt>
                <c:pt idx="4066">
                  <c:v>11.294444444444444</c:v>
                </c:pt>
                <c:pt idx="4067">
                  <c:v>11.297222222222222</c:v>
                </c:pt>
                <c:pt idx="4068">
                  <c:v>11.3</c:v>
                </c:pt>
                <c:pt idx="4069">
                  <c:v>11.302777777777777</c:v>
                </c:pt>
                <c:pt idx="4070">
                  <c:v>11.305555555555555</c:v>
                </c:pt>
                <c:pt idx="4071">
                  <c:v>11.308333333333334</c:v>
                </c:pt>
                <c:pt idx="4072">
                  <c:v>11.311111111111112</c:v>
                </c:pt>
                <c:pt idx="4073">
                  <c:v>11.313888888888888</c:v>
                </c:pt>
                <c:pt idx="4074">
                  <c:v>11.316666666666666</c:v>
                </c:pt>
                <c:pt idx="4075">
                  <c:v>11.319444444444445</c:v>
                </c:pt>
                <c:pt idx="4076">
                  <c:v>11.322222222222223</c:v>
                </c:pt>
                <c:pt idx="4077">
                  <c:v>11.324999999999999</c:v>
                </c:pt>
                <c:pt idx="4078">
                  <c:v>11.327777777777778</c:v>
                </c:pt>
                <c:pt idx="4079">
                  <c:v>11.330555555555556</c:v>
                </c:pt>
                <c:pt idx="4080">
                  <c:v>11.333333333333334</c:v>
                </c:pt>
                <c:pt idx="4081">
                  <c:v>11.33611111111111</c:v>
                </c:pt>
                <c:pt idx="4082">
                  <c:v>11.338888888888889</c:v>
                </c:pt>
                <c:pt idx="4083">
                  <c:v>11.341666666666667</c:v>
                </c:pt>
                <c:pt idx="4084">
                  <c:v>11.344444444444445</c:v>
                </c:pt>
                <c:pt idx="4085">
                  <c:v>11.347222222222221</c:v>
                </c:pt>
                <c:pt idx="4086">
                  <c:v>11.35</c:v>
                </c:pt>
                <c:pt idx="4087">
                  <c:v>11.352777777777778</c:v>
                </c:pt>
                <c:pt idx="4088">
                  <c:v>11.355555555555556</c:v>
                </c:pt>
                <c:pt idx="4089">
                  <c:v>11.358333333333333</c:v>
                </c:pt>
                <c:pt idx="4090">
                  <c:v>11.361111111111111</c:v>
                </c:pt>
                <c:pt idx="4091">
                  <c:v>11.363888888888889</c:v>
                </c:pt>
                <c:pt idx="4092">
                  <c:v>11.366666666666667</c:v>
                </c:pt>
                <c:pt idx="4093">
                  <c:v>11.369444444444444</c:v>
                </c:pt>
                <c:pt idx="4094">
                  <c:v>11.372222222222222</c:v>
                </c:pt>
                <c:pt idx="4095">
                  <c:v>11.375</c:v>
                </c:pt>
                <c:pt idx="4096">
                  <c:v>11.377777777777778</c:v>
                </c:pt>
                <c:pt idx="4097">
                  <c:v>11.380555555555556</c:v>
                </c:pt>
                <c:pt idx="4098">
                  <c:v>11.383333333333333</c:v>
                </c:pt>
                <c:pt idx="4099">
                  <c:v>11.386111111111111</c:v>
                </c:pt>
                <c:pt idx="4100">
                  <c:v>11.388888888888889</c:v>
                </c:pt>
                <c:pt idx="4101">
                  <c:v>11.391666666666667</c:v>
                </c:pt>
                <c:pt idx="4102">
                  <c:v>11.394444444444444</c:v>
                </c:pt>
                <c:pt idx="4103">
                  <c:v>11.397222222222222</c:v>
                </c:pt>
                <c:pt idx="4104">
                  <c:v>11.4</c:v>
                </c:pt>
                <c:pt idx="4105">
                  <c:v>11.402777777777779</c:v>
                </c:pt>
                <c:pt idx="4106">
                  <c:v>11.405555555555555</c:v>
                </c:pt>
                <c:pt idx="4107">
                  <c:v>11.408333333333333</c:v>
                </c:pt>
                <c:pt idx="4108">
                  <c:v>11.411111111111111</c:v>
                </c:pt>
                <c:pt idx="4109">
                  <c:v>11.41388888888889</c:v>
                </c:pt>
                <c:pt idx="4110">
                  <c:v>11.416666666666666</c:v>
                </c:pt>
                <c:pt idx="4111">
                  <c:v>11.419444444444444</c:v>
                </c:pt>
                <c:pt idx="4112">
                  <c:v>11.422222222222222</c:v>
                </c:pt>
                <c:pt idx="4113">
                  <c:v>11.425000000000001</c:v>
                </c:pt>
                <c:pt idx="4114">
                  <c:v>11.427777777777777</c:v>
                </c:pt>
                <c:pt idx="4115">
                  <c:v>11.430555555555555</c:v>
                </c:pt>
                <c:pt idx="4116">
                  <c:v>11.433333333333334</c:v>
                </c:pt>
                <c:pt idx="4117">
                  <c:v>11.436111111111112</c:v>
                </c:pt>
                <c:pt idx="4118">
                  <c:v>11.438888888888888</c:v>
                </c:pt>
                <c:pt idx="4119">
                  <c:v>11.441666666666666</c:v>
                </c:pt>
                <c:pt idx="4120">
                  <c:v>11.444444444444445</c:v>
                </c:pt>
                <c:pt idx="4121">
                  <c:v>11.447222222222223</c:v>
                </c:pt>
                <c:pt idx="4122">
                  <c:v>11.45</c:v>
                </c:pt>
                <c:pt idx="4123">
                  <c:v>11.452777777777778</c:v>
                </c:pt>
                <c:pt idx="4124">
                  <c:v>11.455555555555556</c:v>
                </c:pt>
                <c:pt idx="4125">
                  <c:v>11.458333333333334</c:v>
                </c:pt>
                <c:pt idx="4126">
                  <c:v>11.46111111111111</c:v>
                </c:pt>
                <c:pt idx="4127">
                  <c:v>11.463888888888889</c:v>
                </c:pt>
                <c:pt idx="4128">
                  <c:v>11.466666666666667</c:v>
                </c:pt>
                <c:pt idx="4129">
                  <c:v>11.469444444444445</c:v>
                </c:pt>
                <c:pt idx="4130">
                  <c:v>11.472222222222221</c:v>
                </c:pt>
                <c:pt idx="4131">
                  <c:v>11.475</c:v>
                </c:pt>
                <c:pt idx="4132">
                  <c:v>11.477777777777778</c:v>
                </c:pt>
                <c:pt idx="4133">
                  <c:v>11.480555555555556</c:v>
                </c:pt>
                <c:pt idx="4134">
                  <c:v>11.483333333333333</c:v>
                </c:pt>
                <c:pt idx="4135">
                  <c:v>11.486111111111111</c:v>
                </c:pt>
                <c:pt idx="4136">
                  <c:v>11.488888888888889</c:v>
                </c:pt>
                <c:pt idx="4137">
                  <c:v>11.491666666666667</c:v>
                </c:pt>
                <c:pt idx="4138">
                  <c:v>11.494444444444444</c:v>
                </c:pt>
                <c:pt idx="4139">
                  <c:v>11.497222222222222</c:v>
                </c:pt>
                <c:pt idx="4140">
                  <c:v>11.5</c:v>
                </c:pt>
                <c:pt idx="4141">
                  <c:v>11.502777777777778</c:v>
                </c:pt>
                <c:pt idx="4142">
                  <c:v>11.505555555555556</c:v>
                </c:pt>
                <c:pt idx="4143">
                  <c:v>11.508333333333333</c:v>
                </c:pt>
                <c:pt idx="4144">
                  <c:v>11.511111111111111</c:v>
                </c:pt>
                <c:pt idx="4145">
                  <c:v>11.513888888888889</c:v>
                </c:pt>
                <c:pt idx="4146">
                  <c:v>11.516666666666667</c:v>
                </c:pt>
                <c:pt idx="4147">
                  <c:v>11.519444444444444</c:v>
                </c:pt>
                <c:pt idx="4148">
                  <c:v>11.522222222222222</c:v>
                </c:pt>
                <c:pt idx="4149">
                  <c:v>11.525</c:v>
                </c:pt>
                <c:pt idx="4150">
                  <c:v>11.527777777777779</c:v>
                </c:pt>
                <c:pt idx="4151">
                  <c:v>11.530555555555555</c:v>
                </c:pt>
                <c:pt idx="4152">
                  <c:v>11.533333333333333</c:v>
                </c:pt>
                <c:pt idx="4153">
                  <c:v>11.536111111111111</c:v>
                </c:pt>
                <c:pt idx="4154">
                  <c:v>11.53888888888889</c:v>
                </c:pt>
                <c:pt idx="4155">
                  <c:v>11.541666666666666</c:v>
                </c:pt>
                <c:pt idx="4156">
                  <c:v>11.544444444444444</c:v>
                </c:pt>
                <c:pt idx="4157">
                  <c:v>11.547222222222222</c:v>
                </c:pt>
                <c:pt idx="4158">
                  <c:v>11.55</c:v>
                </c:pt>
                <c:pt idx="4159">
                  <c:v>11.552777777777777</c:v>
                </c:pt>
                <c:pt idx="4160">
                  <c:v>11.555555555555555</c:v>
                </c:pt>
                <c:pt idx="4161">
                  <c:v>11.558333333333334</c:v>
                </c:pt>
                <c:pt idx="4162">
                  <c:v>11.561111111111112</c:v>
                </c:pt>
                <c:pt idx="4163">
                  <c:v>11.563888888888888</c:v>
                </c:pt>
                <c:pt idx="4164">
                  <c:v>11.566666666666666</c:v>
                </c:pt>
                <c:pt idx="4165">
                  <c:v>11.569444444444445</c:v>
                </c:pt>
                <c:pt idx="4166">
                  <c:v>11.572222222222223</c:v>
                </c:pt>
                <c:pt idx="4167">
                  <c:v>11.574999999999999</c:v>
                </c:pt>
                <c:pt idx="4168">
                  <c:v>11.577777777777778</c:v>
                </c:pt>
                <c:pt idx="4169">
                  <c:v>11.580555555555556</c:v>
                </c:pt>
                <c:pt idx="4170">
                  <c:v>11.583333333333334</c:v>
                </c:pt>
                <c:pt idx="4171">
                  <c:v>11.58611111111111</c:v>
                </c:pt>
                <c:pt idx="4172">
                  <c:v>11.588888888888889</c:v>
                </c:pt>
                <c:pt idx="4173">
                  <c:v>11.591666666666667</c:v>
                </c:pt>
                <c:pt idx="4174">
                  <c:v>11.594444444444445</c:v>
                </c:pt>
                <c:pt idx="4175">
                  <c:v>11.597222222222221</c:v>
                </c:pt>
                <c:pt idx="4176">
                  <c:v>11.6</c:v>
                </c:pt>
                <c:pt idx="4177">
                  <c:v>11.602777777777778</c:v>
                </c:pt>
                <c:pt idx="4178">
                  <c:v>11.605555555555556</c:v>
                </c:pt>
                <c:pt idx="4179">
                  <c:v>11.608333333333333</c:v>
                </c:pt>
                <c:pt idx="4180">
                  <c:v>11.611111111111111</c:v>
                </c:pt>
                <c:pt idx="4181">
                  <c:v>11.613888888888889</c:v>
                </c:pt>
                <c:pt idx="4182">
                  <c:v>11.616666666666667</c:v>
                </c:pt>
                <c:pt idx="4183">
                  <c:v>11.619444444444444</c:v>
                </c:pt>
                <c:pt idx="4184">
                  <c:v>11.622222222222222</c:v>
                </c:pt>
                <c:pt idx="4185">
                  <c:v>11.625</c:v>
                </c:pt>
                <c:pt idx="4186">
                  <c:v>11.627777777777778</c:v>
                </c:pt>
                <c:pt idx="4187">
                  <c:v>11.630555555555556</c:v>
                </c:pt>
                <c:pt idx="4188">
                  <c:v>11.633333333333333</c:v>
                </c:pt>
                <c:pt idx="4189">
                  <c:v>11.636111111111111</c:v>
                </c:pt>
                <c:pt idx="4190">
                  <c:v>11.638888888888889</c:v>
                </c:pt>
                <c:pt idx="4191">
                  <c:v>11.641666666666667</c:v>
                </c:pt>
                <c:pt idx="4192">
                  <c:v>11.644444444444444</c:v>
                </c:pt>
                <c:pt idx="4193">
                  <c:v>11.647222222222222</c:v>
                </c:pt>
                <c:pt idx="4194">
                  <c:v>11.65</c:v>
                </c:pt>
                <c:pt idx="4195">
                  <c:v>11.652777777777779</c:v>
                </c:pt>
                <c:pt idx="4196">
                  <c:v>11.655555555555555</c:v>
                </c:pt>
                <c:pt idx="4197">
                  <c:v>11.658333333333333</c:v>
                </c:pt>
                <c:pt idx="4198">
                  <c:v>11.661111111111111</c:v>
                </c:pt>
                <c:pt idx="4199">
                  <c:v>11.66388888888889</c:v>
                </c:pt>
                <c:pt idx="4200">
                  <c:v>11.666666666666666</c:v>
                </c:pt>
                <c:pt idx="4201">
                  <c:v>11.669444444444444</c:v>
                </c:pt>
                <c:pt idx="4202">
                  <c:v>11.672222222222222</c:v>
                </c:pt>
                <c:pt idx="4203">
                  <c:v>11.675000000000001</c:v>
                </c:pt>
                <c:pt idx="4204">
                  <c:v>11.677777777777777</c:v>
                </c:pt>
                <c:pt idx="4205">
                  <c:v>11.680555555555555</c:v>
                </c:pt>
                <c:pt idx="4206">
                  <c:v>11.683333333333334</c:v>
                </c:pt>
                <c:pt idx="4207">
                  <c:v>11.686111111111112</c:v>
                </c:pt>
                <c:pt idx="4208">
                  <c:v>11.688888888888888</c:v>
                </c:pt>
                <c:pt idx="4209">
                  <c:v>11.691666666666666</c:v>
                </c:pt>
                <c:pt idx="4210">
                  <c:v>11.694444444444445</c:v>
                </c:pt>
                <c:pt idx="4211">
                  <c:v>11.697222222222223</c:v>
                </c:pt>
                <c:pt idx="4212">
                  <c:v>11.7</c:v>
                </c:pt>
                <c:pt idx="4213">
                  <c:v>11.702777777777778</c:v>
                </c:pt>
                <c:pt idx="4214">
                  <c:v>11.705555555555556</c:v>
                </c:pt>
                <c:pt idx="4215">
                  <c:v>11.708333333333334</c:v>
                </c:pt>
                <c:pt idx="4216">
                  <c:v>11.71111111111111</c:v>
                </c:pt>
                <c:pt idx="4217">
                  <c:v>11.713888888888889</c:v>
                </c:pt>
                <c:pt idx="4218">
                  <c:v>11.716666666666667</c:v>
                </c:pt>
                <c:pt idx="4219">
                  <c:v>11.719444444444445</c:v>
                </c:pt>
                <c:pt idx="4220">
                  <c:v>11.722222222222221</c:v>
                </c:pt>
                <c:pt idx="4221">
                  <c:v>11.725</c:v>
                </c:pt>
                <c:pt idx="4222">
                  <c:v>11.727777777777778</c:v>
                </c:pt>
                <c:pt idx="4223">
                  <c:v>11.730555555555556</c:v>
                </c:pt>
                <c:pt idx="4224">
                  <c:v>11.733333333333333</c:v>
                </c:pt>
                <c:pt idx="4225">
                  <c:v>11.736111111111111</c:v>
                </c:pt>
                <c:pt idx="4226">
                  <c:v>11.738888888888889</c:v>
                </c:pt>
                <c:pt idx="4227">
                  <c:v>11.741666666666667</c:v>
                </c:pt>
                <c:pt idx="4228">
                  <c:v>11.744444444444444</c:v>
                </c:pt>
                <c:pt idx="4229">
                  <c:v>11.747222222222222</c:v>
                </c:pt>
                <c:pt idx="4230">
                  <c:v>11.75</c:v>
                </c:pt>
                <c:pt idx="4231">
                  <c:v>11.752777777777778</c:v>
                </c:pt>
                <c:pt idx="4232">
                  <c:v>11.755555555555556</c:v>
                </c:pt>
                <c:pt idx="4233">
                  <c:v>11.758333333333333</c:v>
                </c:pt>
                <c:pt idx="4234">
                  <c:v>11.761111111111111</c:v>
                </c:pt>
                <c:pt idx="4235">
                  <c:v>11.763888888888889</c:v>
                </c:pt>
                <c:pt idx="4236">
                  <c:v>11.766666666666667</c:v>
                </c:pt>
                <c:pt idx="4237">
                  <c:v>11.769444444444444</c:v>
                </c:pt>
                <c:pt idx="4238">
                  <c:v>11.772222222222222</c:v>
                </c:pt>
                <c:pt idx="4239">
                  <c:v>11.775</c:v>
                </c:pt>
                <c:pt idx="4240">
                  <c:v>11.777777777777779</c:v>
                </c:pt>
                <c:pt idx="4241">
                  <c:v>11.780555555555555</c:v>
                </c:pt>
                <c:pt idx="4242">
                  <c:v>11.783333333333333</c:v>
                </c:pt>
                <c:pt idx="4243">
                  <c:v>11.786111111111111</c:v>
                </c:pt>
                <c:pt idx="4244">
                  <c:v>11.78888888888889</c:v>
                </c:pt>
                <c:pt idx="4245">
                  <c:v>11.791666666666666</c:v>
                </c:pt>
                <c:pt idx="4246">
                  <c:v>11.794444444444444</c:v>
                </c:pt>
                <c:pt idx="4247">
                  <c:v>11.797222222222222</c:v>
                </c:pt>
                <c:pt idx="4248">
                  <c:v>11.8</c:v>
                </c:pt>
                <c:pt idx="4249">
                  <c:v>11.802777777777777</c:v>
                </c:pt>
                <c:pt idx="4250">
                  <c:v>11.805555555555555</c:v>
                </c:pt>
                <c:pt idx="4251">
                  <c:v>11.808333333333334</c:v>
                </c:pt>
                <c:pt idx="4252">
                  <c:v>11.811111111111112</c:v>
                </c:pt>
                <c:pt idx="4253">
                  <c:v>11.813888888888888</c:v>
                </c:pt>
                <c:pt idx="4254">
                  <c:v>11.816666666666666</c:v>
                </c:pt>
                <c:pt idx="4255">
                  <c:v>11.819444444444445</c:v>
                </c:pt>
                <c:pt idx="4256">
                  <c:v>11.822222222222223</c:v>
                </c:pt>
                <c:pt idx="4257">
                  <c:v>11.824999999999999</c:v>
                </c:pt>
                <c:pt idx="4258">
                  <c:v>11.827777777777778</c:v>
                </c:pt>
                <c:pt idx="4259">
                  <c:v>11.830555555555556</c:v>
                </c:pt>
                <c:pt idx="4260">
                  <c:v>11.833333333333334</c:v>
                </c:pt>
                <c:pt idx="4261">
                  <c:v>11.83611111111111</c:v>
                </c:pt>
                <c:pt idx="4262">
                  <c:v>11.838888888888889</c:v>
                </c:pt>
                <c:pt idx="4263">
                  <c:v>11.841666666666667</c:v>
                </c:pt>
                <c:pt idx="4264">
                  <c:v>11.844444444444445</c:v>
                </c:pt>
                <c:pt idx="4265">
                  <c:v>11.847222222222221</c:v>
                </c:pt>
                <c:pt idx="4266">
                  <c:v>11.85</c:v>
                </c:pt>
                <c:pt idx="4267">
                  <c:v>11.852777777777778</c:v>
                </c:pt>
                <c:pt idx="4268">
                  <c:v>11.855555555555556</c:v>
                </c:pt>
                <c:pt idx="4269">
                  <c:v>11.858333333333333</c:v>
                </c:pt>
                <c:pt idx="4270">
                  <c:v>11.861111111111111</c:v>
                </c:pt>
                <c:pt idx="4271">
                  <c:v>11.863888888888889</c:v>
                </c:pt>
                <c:pt idx="4272">
                  <c:v>11.866666666666667</c:v>
                </c:pt>
                <c:pt idx="4273">
                  <c:v>11.869444444444444</c:v>
                </c:pt>
                <c:pt idx="4274">
                  <c:v>11.872222222222222</c:v>
                </c:pt>
                <c:pt idx="4275">
                  <c:v>11.875</c:v>
                </c:pt>
                <c:pt idx="4276">
                  <c:v>11.877777777777778</c:v>
                </c:pt>
                <c:pt idx="4277">
                  <c:v>11.880555555555556</c:v>
                </c:pt>
                <c:pt idx="4278">
                  <c:v>11.883333333333333</c:v>
                </c:pt>
                <c:pt idx="4279">
                  <c:v>11.886111111111111</c:v>
                </c:pt>
                <c:pt idx="4280">
                  <c:v>11.888888888888889</c:v>
                </c:pt>
                <c:pt idx="4281">
                  <c:v>11.891666666666667</c:v>
                </c:pt>
                <c:pt idx="4282">
                  <c:v>11.894444444444444</c:v>
                </c:pt>
                <c:pt idx="4283">
                  <c:v>11.897222222222222</c:v>
                </c:pt>
                <c:pt idx="4284">
                  <c:v>11.9</c:v>
                </c:pt>
                <c:pt idx="4285">
                  <c:v>11.902777777777779</c:v>
                </c:pt>
                <c:pt idx="4286">
                  <c:v>11.905555555555555</c:v>
                </c:pt>
                <c:pt idx="4287">
                  <c:v>11.908333333333333</c:v>
                </c:pt>
                <c:pt idx="4288">
                  <c:v>11.911111111111111</c:v>
                </c:pt>
                <c:pt idx="4289">
                  <c:v>11.91388888888889</c:v>
                </c:pt>
                <c:pt idx="4290">
                  <c:v>11.916666666666666</c:v>
                </c:pt>
                <c:pt idx="4291">
                  <c:v>11.919444444444444</c:v>
                </c:pt>
                <c:pt idx="4292">
                  <c:v>11.922222222222222</c:v>
                </c:pt>
                <c:pt idx="4293">
                  <c:v>11.925000000000001</c:v>
                </c:pt>
                <c:pt idx="4294">
                  <c:v>11.927777777777777</c:v>
                </c:pt>
                <c:pt idx="4295">
                  <c:v>11.930555555555555</c:v>
                </c:pt>
                <c:pt idx="4296">
                  <c:v>11.933333333333334</c:v>
                </c:pt>
                <c:pt idx="4297">
                  <c:v>11.936111111111112</c:v>
                </c:pt>
                <c:pt idx="4298">
                  <c:v>11.938888888888888</c:v>
                </c:pt>
                <c:pt idx="4299">
                  <c:v>11.941666666666666</c:v>
                </c:pt>
                <c:pt idx="4300">
                  <c:v>11.944444444444445</c:v>
                </c:pt>
                <c:pt idx="4301">
                  <c:v>11.947222222222223</c:v>
                </c:pt>
                <c:pt idx="4302">
                  <c:v>11.95</c:v>
                </c:pt>
                <c:pt idx="4303">
                  <c:v>11.952777777777778</c:v>
                </c:pt>
                <c:pt idx="4304">
                  <c:v>11.955555555555556</c:v>
                </c:pt>
                <c:pt idx="4305">
                  <c:v>11.958333333333334</c:v>
                </c:pt>
                <c:pt idx="4306">
                  <c:v>11.96111111111111</c:v>
                </c:pt>
                <c:pt idx="4307">
                  <c:v>11.963888888888889</c:v>
                </c:pt>
                <c:pt idx="4308">
                  <c:v>11.966666666666667</c:v>
                </c:pt>
                <c:pt idx="4309">
                  <c:v>11.969444444444445</c:v>
                </c:pt>
                <c:pt idx="4310">
                  <c:v>11.972222222222221</c:v>
                </c:pt>
                <c:pt idx="4311">
                  <c:v>11.975</c:v>
                </c:pt>
                <c:pt idx="4312">
                  <c:v>11.977777777777778</c:v>
                </c:pt>
                <c:pt idx="4313">
                  <c:v>11.980555555555556</c:v>
                </c:pt>
                <c:pt idx="4314">
                  <c:v>11.983333333333333</c:v>
                </c:pt>
                <c:pt idx="4315">
                  <c:v>11.986111111111111</c:v>
                </c:pt>
                <c:pt idx="4316">
                  <c:v>11.988888888888889</c:v>
                </c:pt>
                <c:pt idx="4317">
                  <c:v>11.991666666666667</c:v>
                </c:pt>
                <c:pt idx="4318">
                  <c:v>11.994444444444444</c:v>
                </c:pt>
                <c:pt idx="4319">
                  <c:v>11.997222222222222</c:v>
                </c:pt>
                <c:pt idx="4320">
                  <c:v>12</c:v>
                </c:pt>
                <c:pt idx="4321">
                  <c:v>12.002777777777778</c:v>
                </c:pt>
                <c:pt idx="4322">
                  <c:v>12.005555555555556</c:v>
                </c:pt>
                <c:pt idx="4323">
                  <c:v>12.008333333333333</c:v>
                </c:pt>
                <c:pt idx="4324">
                  <c:v>12.011111111111111</c:v>
                </c:pt>
                <c:pt idx="4325">
                  <c:v>12.013888888888889</c:v>
                </c:pt>
                <c:pt idx="4326">
                  <c:v>12.016666666666667</c:v>
                </c:pt>
                <c:pt idx="4327">
                  <c:v>12.019444444444444</c:v>
                </c:pt>
                <c:pt idx="4328">
                  <c:v>12.022222222222222</c:v>
                </c:pt>
                <c:pt idx="4329">
                  <c:v>12.025</c:v>
                </c:pt>
                <c:pt idx="4330">
                  <c:v>12.027777777777779</c:v>
                </c:pt>
                <c:pt idx="4331">
                  <c:v>12.030555555555555</c:v>
                </c:pt>
                <c:pt idx="4332">
                  <c:v>12.033333333333333</c:v>
                </c:pt>
                <c:pt idx="4333">
                  <c:v>12.036111111111111</c:v>
                </c:pt>
                <c:pt idx="4334">
                  <c:v>12.03888888888889</c:v>
                </c:pt>
                <c:pt idx="4335">
                  <c:v>12.041666666666666</c:v>
                </c:pt>
                <c:pt idx="4336">
                  <c:v>12.044444444444444</c:v>
                </c:pt>
                <c:pt idx="4337">
                  <c:v>12.047222222222222</c:v>
                </c:pt>
                <c:pt idx="4338">
                  <c:v>12.05</c:v>
                </c:pt>
                <c:pt idx="4339">
                  <c:v>12.052777777777777</c:v>
                </c:pt>
                <c:pt idx="4340">
                  <c:v>12.055555555555555</c:v>
                </c:pt>
                <c:pt idx="4341">
                  <c:v>12.058333333333334</c:v>
                </c:pt>
                <c:pt idx="4342">
                  <c:v>12.061111111111112</c:v>
                </c:pt>
                <c:pt idx="4343">
                  <c:v>12.063888888888888</c:v>
                </c:pt>
                <c:pt idx="4344">
                  <c:v>12.066666666666666</c:v>
                </c:pt>
                <c:pt idx="4345">
                  <c:v>12.069444444444445</c:v>
                </c:pt>
                <c:pt idx="4346">
                  <c:v>12.072222222222223</c:v>
                </c:pt>
                <c:pt idx="4347">
                  <c:v>12.074999999999999</c:v>
                </c:pt>
                <c:pt idx="4348">
                  <c:v>12.077777777777778</c:v>
                </c:pt>
                <c:pt idx="4349">
                  <c:v>12.080555555555556</c:v>
                </c:pt>
                <c:pt idx="4350">
                  <c:v>12.083333333333334</c:v>
                </c:pt>
                <c:pt idx="4351">
                  <c:v>12.08611111111111</c:v>
                </c:pt>
                <c:pt idx="4352">
                  <c:v>12.088888888888889</c:v>
                </c:pt>
                <c:pt idx="4353">
                  <c:v>12.091666666666667</c:v>
                </c:pt>
                <c:pt idx="4354">
                  <c:v>12.094444444444445</c:v>
                </c:pt>
                <c:pt idx="4355">
                  <c:v>12.097222222222221</c:v>
                </c:pt>
                <c:pt idx="4356">
                  <c:v>12.1</c:v>
                </c:pt>
                <c:pt idx="4357">
                  <c:v>12.102777777777778</c:v>
                </c:pt>
                <c:pt idx="4358">
                  <c:v>12.105555555555556</c:v>
                </c:pt>
                <c:pt idx="4359">
                  <c:v>12.108333333333333</c:v>
                </c:pt>
                <c:pt idx="4360">
                  <c:v>12.111111111111111</c:v>
                </c:pt>
                <c:pt idx="4361">
                  <c:v>12.113888888888889</c:v>
                </c:pt>
                <c:pt idx="4362">
                  <c:v>12.116666666666667</c:v>
                </c:pt>
                <c:pt idx="4363">
                  <c:v>12.119444444444444</c:v>
                </c:pt>
                <c:pt idx="4364">
                  <c:v>12.122222222222222</c:v>
                </c:pt>
                <c:pt idx="4365">
                  <c:v>12.125</c:v>
                </c:pt>
                <c:pt idx="4366">
                  <c:v>12.127777777777778</c:v>
                </c:pt>
                <c:pt idx="4367">
                  <c:v>12.130555555555556</c:v>
                </c:pt>
                <c:pt idx="4368">
                  <c:v>12.133333333333333</c:v>
                </c:pt>
                <c:pt idx="4369">
                  <c:v>12.136111111111111</c:v>
                </c:pt>
                <c:pt idx="4370">
                  <c:v>12.138888888888889</c:v>
                </c:pt>
                <c:pt idx="4371">
                  <c:v>12.141666666666667</c:v>
                </c:pt>
                <c:pt idx="4372">
                  <c:v>12.144444444444444</c:v>
                </c:pt>
                <c:pt idx="4373">
                  <c:v>12.147222222222222</c:v>
                </c:pt>
                <c:pt idx="4374">
                  <c:v>12.15</c:v>
                </c:pt>
                <c:pt idx="4375">
                  <c:v>12.152777777777779</c:v>
                </c:pt>
                <c:pt idx="4376">
                  <c:v>12.155555555555555</c:v>
                </c:pt>
                <c:pt idx="4377">
                  <c:v>12.158333333333333</c:v>
                </c:pt>
                <c:pt idx="4378">
                  <c:v>12.161111111111111</c:v>
                </c:pt>
                <c:pt idx="4379">
                  <c:v>12.16388888888889</c:v>
                </c:pt>
                <c:pt idx="4380">
                  <c:v>12.166666666666666</c:v>
                </c:pt>
                <c:pt idx="4381">
                  <c:v>12.169444444444444</c:v>
                </c:pt>
                <c:pt idx="4382">
                  <c:v>12.172222222222222</c:v>
                </c:pt>
                <c:pt idx="4383">
                  <c:v>12.175000000000001</c:v>
                </c:pt>
                <c:pt idx="4384">
                  <c:v>12.177777777777777</c:v>
                </c:pt>
                <c:pt idx="4385">
                  <c:v>12.180555555555555</c:v>
                </c:pt>
                <c:pt idx="4386">
                  <c:v>12.183333333333334</c:v>
                </c:pt>
                <c:pt idx="4387">
                  <c:v>12.186111111111112</c:v>
                </c:pt>
                <c:pt idx="4388">
                  <c:v>12.188888888888888</c:v>
                </c:pt>
                <c:pt idx="4389">
                  <c:v>12.191666666666666</c:v>
                </c:pt>
                <c:pt idx="4390">
                  <c:v>12.194444444444445</c:v>
                </c:pt>
                <c:pt idx="4391">
                  <c:v>12.197222222222223</c:v>
                </c:pt>
                <c:pt idx="4392">
                  <c:v>12.2</c:v>
                </c:pt>
                <c:pt idx="4393">
                  <c:v>12.202777777777778</c:v>
                </c:pt>
                <c:pt idx="4394">
                  <c:v>12.205555555555556</c:v>
                </c:pt>
                <c:pt idx="4395">
                  <c:v>12.208333333333334</c:v>
                </c:pt>
                <c:pt idx="4396">
                  <c:v>12.21111111111111</c:v>
                </c:pt>
                <c:pt idx="4397">
                  <c:v>12.213888888888889</c:v>
                </c:pt>
                <c:pt idx="4398">
                  <c:v>12.216666666666667</c:v>
                </c:pt>
                <c:pt idx="4399">
                  <c:v>12.219444444444445</c:v>
                </c:pt>
                <c:pt idx="4400">
                  <c:v>12.222222222222221</c:v>
                </c:pt>
                <c:pt idx="4401">
                  <c:v>12.225</c:v>
                </c:pt>
                <c:pt idx="4402">
                  <c:v>12.227777777777778</c:v>
                </c:pt>
                <c:pt idx="4403">
                  <c:v>12.230555555555556</c:v>
                </c:pt>
                <c:pt idx="4404">
                  <c:v>12.233333333333333</c:v>
                </c:pt>
                <c:pt idx="4405">
                  <c:v>12.236111111111111</c:v>
                </c:pt>
                <c:pt idx="4406">
                  <c:v>12.238888888888889</c:v>
                </c:pt>
                <c:pt idx="4407">
                  <c:v>12.241666666666667</c:v>
                </c:pt>
                <c:pt idx="4408">
                  <c:v>12.244444444444444</c:v>
                </c:pt>
                <c:pt idx="4409">
                  <c:v>12.247222222222222</c:v>
                </c:pt>
                <c:pt idx="4410">
                  <c:v>12.25</c:v>
                </c:pt>
                <c:pt idx="4411">
                  <c:v>12.252777777777778</c:v>
                </c:pt>
                <c:pt idx="4412">
                  <c:v>12.255555555555556</c:v>
                </c:pt>
                <c:pt idx="4413">
                  <c:v>12.258333333333333</c:v>
                </c:pt>
                <c:pt idx="4414">
                  <c:v>12.261111111111111</c:v>
                </c:pt>
                <c:pt idx="4415">
                  <c:v>12.263888888888889</c:v>
                </c:pt>
                <c:pt idx="4416">
                  <c:v>12.266666666666667</c:v>
                </c:pt>
                <c:pt idx="4417">
                  <c:v>12.269444444444444</c:v>
                </c:pt>
                <c:pt idx="4418">
                  <c:v>12.272222222222222</c:v>
                </c:pt>
                <c:pt idx="4419">
                  <c:v>12.275</c:v>
                </c:pt>
                <c:pt idx="4420">
                  <c:v>12.277777777777779</c:v>
                </c:pt>
                <c:pt idx="4421">
                  <c:v>12.280555555555555</c:v>
                </c:pt>
                <c:pt idx="4422">
                  <c:v>12.283333333333333</c:v>
                </c:pt>
                <c:pt idx="4423">
                  <c:v>12.286111111111111</c:v>
                </c:pt>
                <c:pt idx="4424">
                  <c:v>12.28888888888889</c:v>
                </c:pt>
                <c:pt idx="4425">
                  <c:v>12.291666666666666</c:v>
                </c:pt>
                <c:pt idx="4426">
                  <c:v>12.294444444444444</c:v>
                </c:pt>
                <c:pt idx="4427">
                  <c:v>12.297222222222222</c:v>
                </c:pt>
                <c:pt idx="4428">
                  <c:v>12.3</c:v>
                </c:pt>
                <c:pt idx="4429">
                  <c:v>12.302777777777777</c:v>
                </c:pt>
                <c:pt idx="4430">
                  <c:v>12.305555555555555</c:v>
                </c:pt>
                <c:pt idx="4431">
                  <c:v>12.308333333333334</c:v>
                </c:pt>
                <c:pt idx="4432">
                  <c:v>12.311111111111112</c:v>
                </c:pt>
                <c:pt idx="4433">
                  <c:v>12.313888888888888</c:v>
                </c:pt>
                <c:pt idx="4434">
                  <c:v>12.316666666666666</c:v>
                </c:pt>
                <c:pt idx="4435">
                  <c:v>12.319444444444445</c:v>
                </c:pt>
                <c:pt idx="4436">
                  <c:v>12.322222222222223</c:v>
                </c:pt>
                <c:pt idx="4437">
                  <c:v>12.324999999999999</c:v>
                </c:pt>
                <c:pt idx="4438">
                  <c:v>12.327777777777778</c:v>
                </c:pt>
                <c:pt idx="4439">
                  <c:v>12.330555555555556</c:v>
                </c:pt>
                <c:pt idx="4440">
                  <c:v>12.333333333333334</c:v>
                </c:pt>
                <c:pt idx="4441">
                  <c:v>12.33611111111111</c:v>
                </c:pt>
                <c:pt idx="4442">
                  <c:v>12.338888888888889</c:v>
                </c:pt>
                <c:pt idx="4443">
                  <c:v>12.341666666666667</c:v>
                </c:pt>
                <c:pt idx="4444">
                  <c:v>12.344444444444445</c:v>
                </c:pt>
                <c:pt idx="4445">
                  <c:v>12.347222222222221</c:v>
                </c:pt>
                <c:pt idx="4446">
                  <c:v>12.35</c:v>
                </c:pt>
                <c:pt idx="4447">
                  <c:v>12.352777777777778</c:v>
                </c:pt>
                <c:pt idx="4448">
                  <c:v>12.355555555555556</c:v>
                </c:pt>
                <c:pt idx="4449">
                  <c:v>12.358333333333333</c:v>
                </c:pt>
                <c:pt idx="4450">
                  <c:v>12.361111111111111</c:v>
                </c:pt>
                <c:pt idx="4451">
                  <c:v>12.363888888888889</c:v>
                </c:pt>
                <c:pt idx="4452">
                  <c:v>12.366666666666667</c:v>
                </c:pt>
                <c:pt idx="4453">
                  <c:v>12.369444444444444</c:v>
                </c:pt>
                <c:pt idx="4454">
                  <c:v>12.372222222222222</c:v>
                </c:pt>
                <c:pt idx="4455">
                  <c:v>12.375</c:v>
                </c:pt>
                <c:pt idx="4456">
                  <c:v>12.377777777777778</c:v>
                </c:pt>
                <c:pt idx="4457">
                  <c:v>12.380555555555556</c:v>
                </c:pt>
                <c:pt idx="4458">
                  <c:v>12.383333333333333</c:v>
                </c:pt>
                <c:pt idx="4459">
                  <c:v>12.386111111111111</c:v>
                </c:pt>
                <c:pt idx="4460">
                  <c:v>12.388888888888889</c:v>
                </c:pt>
                <c:pt idx="4461">
                  <c:v>12.391666666666667</c:v>
                </c:pt>
                <c:pt idx="4462">
                  <c:v>12.394444444444444</c:v>
                </c:pt>
                <c:pt idx="4463">
                  <c:v>12.397222222222222</c:v>
                </c:pt>
                <c:pt idx="4464">
                  <c:v>12.4</c:v>
                </c:pt>
                <c:pt idx="4465">
                  <c:v>12.402777777777779</c:v>
                </c:pt>
                <c:pt idx="4466">
                  <c:v>12.405555555555555</c:v>
                </c:pt>
                <c:pt idx="4467">
                  <c:v>12.408333333333333</c:v>
                </c:pt>
                <c:pt idx="4468">
                  <c:v>12.411111111111111</c:v>
                </c:pt>
                <c:pt idx="4469">
                  <c:v>12.41388888888889</c:v>
                </c:pt>
                <c:pt idx="4470">
                  <c:v>12.416666666666666</c:v>
                </c:pt>
                <c:pt idx="4471">
                  <c:v>12.419444444444444</c:v>
                </c:pt>
                <c:pt idx="4472">
                  <c:v>12.422222222222222</c:v>
                </c:pt>
                <c:pt idx="4473">
                  <c:v>12.425000000000001</c:v>
                </c:pt>
                <c:pt idx="4474">
                  <c:v>12.427777777777777</c:v>
                </c:pt>
                <c:pt idx="4475">
                  <c:v>12.430555555555555</c:v>
                </c:pt>
                <c:pt idx="4476">
                  <c:v>12.433333333333334</c:v>
                </c:pt>
                <c:pt idx="4477">
                  <c:v>12.436111111111112</c:v>
                </c:pt>
                <c:pt idx="4478">
                  <c:v>12.438888888888888</c:v>
                </c:pt>
                <c:pt idx="4479">
                  <c:v>12.441666666666666</c:v>
                </c:pt>
                <c:pt idx="4480">
                  <c:v>12.444444444444445</c:v>
                </c:pt>
                <c:pt idx="4481">
                  <c:v>12.447222222222223</c:v>
                </c:pt>
                <c:pt idx="4482">
                  <c:v>12.45</c:v>
                </c:pt>
                <c:pt idx="4483">
                  <c:v>12.452777777777778</c:v>
                </c:pt>
                <c:pt idx="4484">
                  <c:v>12.455555555555556</c:v>
                </c:pt>
                <c:pt idx="4485">
                  <c:v>12.458333333333334</c:v>
                </c:pt>
                <c:pt idx="4486">
                  <c:v>12.46111111111111</c:v>
                </c:pt>
                <c:pt idx="4487">
                  <c:v>12.463888888888889</c:v>
                </c:pt>
                <c:pt idx="4488">
                  <c:v>12.466666666666667</c:v>
                </c:pt>
                <c:pt idx="4489">
                  <c:v>12.469444444444445</c:v>
                </c:pt>
                <c:pt idx="4490">
                  <c:v>12.472222222222221</c:v>
                </c:pt>
                <c:pt idx="4491">
                  <c:v>12.475</c:v>
                </c:pt>
                <c:pt idx="4492">
                  <c:v>12.477777777777778</c:v>
                </c:pt>
                <c:pt idx="4493">
                  <c:v>12.480555555555556</c:v>
                </c:pt>
                <c:pt idx="4494">
                  <c:v>12.483333333333333</c:v>
                </c:pt>
                <c:pt idx="4495">
                  <c:v>12.486111111111111</c:v>
                </c:pt>
                <c:pt idx="4496">
                  <c:v>12.488888888888889</c:v>
                </c:pt>
                <c:pt idx="4497">
                  <c:v>12.491666666666667</c:v>
                </c:pt>
                <c:pt idx="4498">
                  <c:v>12.494444444444444</c:v>
                </c:pt>
                <c:pt idx="4499">
                  <c:v>12.497222222222222</c:v>
                </c:pt>
                <c:pt idx="4500">
                  <c:v>12.5</c:v>
                </c:pt>
                <c:pt idx="4501">
                  <c:v>12.502777777777778</c:v>
                </c:pt>
                <c:pt idx="4502">
                  <c:v>12.505555555555556</c:v>
                </c:pt>
                <c:pt idx="4503">
                  <c:v>12.508333333333333</c:v>
                </c:pt>
                <c:pt idx="4504">
                  <c:v>12.511111111111111</c:v>
                </c:pt>
                <c:pt idx="4505">
                  <c:v>12.513888888888889</c:v>
                </c:pt>
                <c:pt idx="4506">
                  <c:v>12.516666666666667</c:v>
                </c:pt>
                <c:pt idx="4507">
                  <c:v>12.519444444444444</c:v>
                </c:pt>
                <c:pt idx="4508">
                  <c:v>12.522222222222222</c:v>
                </c:pt>
                <c:pt idx="4509">
                  <c:v>12.525</c:v>
                </c:pt>
                <c:pt idx="4510">
                  <c:v>12.527777777777779</c:v>
                </c:pt>
                <c:pt idx="4511">
                  <c:v>12.530555555555555</c:v>
                </c:pt>
                <c:pt idx="4512">
                  <c:v>12.533333333333333</c:v>
                </c:pt>
                <c:pt idx="4513">
                  <c:v>12.536111111111111</c:v>
                </c:pt>
                <c:pt idx="4514">
                  <c:v>12.53888888888889</c:v>
                </c:pt>
                <c:pt idx="4515">
                  <c:v>12.541666666666666</c:v>
                </c:pt>
                <c:pt idx="4516">
                  <c:v>12.544444444444444</c:v>
                </c:pt>
                <c:pt idx="4517">
                  <c:v>12.547222222222222</c:v>
                </c:pt>
                <c:pt idx="4518">
                  <c:v>12.55</c:v>
                </c:pt>
                <c:pt idx="4519">
                  <c:v>12.552777777777777</c:v>
                </c:pt>
                <c:pt idx="4520">
                  <c:v>12.555555555555555</c:v>
                </c:pt>
                <c:pt idx="4521">
                  <c:v>12.558333333333334</c:v>
                </c:pt>
                <c:pt idx="4522">
                  <c:v>12.561111111111112</c:v>
                </c:pt>
                <c:pt idx="4523">
                  <c:v>12.563888888888888</c:v>
                </c:pt>
                <c:pt idx="4524">
                  <c:v>12.566666666666666</c:v>
                </c:pt>
                <c:pt idx="4525">
                  <c:v>12.569444444444445</c:v>
                </c:pt>
                <c:pt idx="4526">
                  <c:v>12.572222222222223</c:v>
                </c:pt>
                <c:pt idx="4527">
                  <c:v>12.574999999999999</c:v>
                </c:pt>
                <c:pt idx="4528">
                  <c:v>12.577777777777778</c:v>
                </c:pt>
                <c:pt idx="4529">
                  <c:v>12.580555555555556</c:v>
                </c:pt>
                <c:pt idx="4530">
                  <c:v>12.583333333333334</c:v>
                </c:pt>
                <c:pt idx="4531">
                  <c:v>12.58611111111111</c:v>
                </c:pt>
                <c:pt idx="4532">
                  <c:v>12.588888888888889</c:v>
                </c:pt>
                <c:pt idx="4533">
                  <c:v>12.591666666666667</c:v>
                </c:pt>
                <c:pt idx="4534">
                  <c:v>12.594444444444445</c:v>
                </c:pt>
                <c:pt idx="4535">
                  <c:v>12.597222222222221</c:v>
                </c:pt>
                <c:pt idx="4536">
                  <c:v>12.6</c:v>
                </c:pt>
                <c:pt idx="4537">
                  <c:v>12.602777777777778</c:v>
                </c:pt>
                <c:pt idx="4538">
                  <c:v>12.605555555555556</c:v>
                </c:pt>
                <c:pt idx="4539">
                  <c:v>12.608333333333333</c:v>
                </c:pt>
                <c:pt idx="4540">
                  <c:v>12.611111111111111</c:v>
                </c:pt>
                <c:pt idx="4541">
                  <c:v>12.613888888888889</c:v>
                </c:pt>
                <c:pt idx="4542">
                  <c:v>12.616666666666667</c:v>
                </c:pt>
                <c:pt idx="4543">
                  <c:v>12.619444444444444</c:v>
                </c:pt>
                <c:pt idx="4544">
                  <c:v>12.622222222222222</c:v>
                </c:pt>
                <c:pt idx="4545">
                  <c:v>12.625</c:v>
                </c:pt>
                <c:pt idx="4546">
                  <c:v>12.627777777777778</c:v>
                </c:pt>
                <c:pt idx="4547">
                  <c:v>12.630555555555556</c:v>
                </c:pt>
                <c:pt idx="4548">
                  <c:v>12.633333333333333</c:v>
                </c:pt>
                <c:pt idx="4549">
                  <c:v>12.636111111111111</c:v>
                </c:pt>
                <c:pt idx="4550">
                  <c:v>12.638888888888889</c:v>
                </c:pt>
                <c:pt idx="4551">
                  <c:v>12.641666666666667</c:v>
                </c:pt>
                <c:pt idx="4552">
                  <c:v>12.644444444444444</c:v>
                </c:pt>
                <c:pt idx="4553">
                  <c:v>12.647222222222222</c:v>
                </c:pt>
                <c:pt idx="4554">
                  <c:v>12.65</c:v>
                </c:pt>
                <c:pt idx="4555">
                  <c:v>12.652777777777779</c:v>
                </c:pt>
                <c:pt idx="4556">
                  <c:v>12.655555555555555</c:v>
                </c:pt>
                <c:pt idx="4557">
                  <c:v>12.658333333333333</c:v>
                </c:pt>
                <c:pt idx="4558">
                  <c:v>12.661111111111111</c:v>
                </c:pt>
                <c:pt idx="4559">
                  <c:v>12.66388888888889</c:v>
                </c:pt>
                <c:pt idx="4560">
                  <c:v>12.666666666666666</c:v>
                </c:pt>
                <c:pt idx="4561">
                  <c:v>12.669444444444444</c:v>
                </c:pt>
                <c:pt idx="4562">
                  <c:v>12.672222222222222</c:v>
                </c:pt>
                <c:pt idx="4563">
                  <c:v>12.675000000000001</c:v>
                </c:pt>
                <c:pt idx="4564">
                  <c:v>12.677777777777777</c:v>
                </c:pt>
                <c:pt idx="4565">
                  <c:v>12.680555555555555</c:v>
                </c:pt>
                <c:pt idx="4566">
                  <c:v>12.683333333333334</c:v>
                </c:pt>
                <c:pt idx="4567">
                  <c:v>12.686111111111112</c:v>
                </c:pt>
                <c:pt idx="4568">
                  <c:v>12.688888888888888</c:v>
                </c:pt>
                <c:pt idx="4569">
                  <c:v>12.691666666666666</c:v>
                </c:pt>
                <c:pt idx="4570">
                  <c:v>12.694444444444445</c:v>
                </c:pt>
                <c:pt idx="4571">
                  <c:v>12.697222222222223</c:v>
                </c:pt>
                <c:pt idx="4572">
                  <c:v>12.7</c:v>
                </c:pt>
                <c:pt idx="4573">
                  <c:v>12.702777777777778</c:v>
                </c:pt>
                <c:pt idx="4574">
                  <c:v>12.705555555555556</c:v>
                </c:pt>
                <c:pt idx="4575">
                  <c:v>12.708333333333334</c:v>
                </c:pt>
                <c:pt idx="4576">
                  <c:v>12.71111111111111</c:v>
                </c:pt>
                <c:pt idx="4577">
                  <c:v>12.713888888888889</c:v>
                </c:pt>
                <c:pt idx="4578">
                  <c:v>12.716666666666667</c:v>
                </c:pt>
                <c:pt idx="4579">
                  <c:v>12.719444444444445</c:v>
                </c:pt>
                <c:pt idx="4580">
                  <c:v>12.722222222222221</c:v>
                </c:pt>
                <c:pt idx="4581">
                  <c:v>12.725</c:v>
                </c:pt>
                <c:pt idx="4582">
                  <c:v>12.727777777777778</c:v>
                </c:pt>
                <c:pt idx="4583">
                  <c:v>12.730555555555556</c:v>
                </c:pt>
                <c:pt idx="4584">
                  <c:v>12.733333333333333</c:v>
                </c:pt>
                <c:pt idx="4585">
                  <c:v>12.736111111111111</c:v>
                </c:pt>
                <c:pt idx="4586">
                  <c:v>12.738888888888889</c:v>
                </c:pt>
                <c:pt idx="4587">
                  <c:v>12.741666666666667</c:v>
                </c:pt>
                <c:pt idx="4588">
                  <c:v>12.744444444444444</c:v>
                </c:pt>
                <c:pt idx="4589">
                  <c:v>12.747222222222222</c:v>
                </c:pt>
                <c:pt idx="4590">
                  <c:v>12.75</c:v>
                </c:pt>
                <c:pt idx="4591">
                  <c:v>12.752777777777778</c:v>
                </c:pt>
                <c:pt idx="4592">
                  <c:v>12.755555555555556</c:v>
                </c:pt>
                <c:pt idx="4593">
                  <c:v>12.758333333333333</c:v>
                </c:pt>
                <c:pt idx="4594">
                  <c:v>12.761111111111111</c:v>
                </c:pt>
                <c:pt idx="4595">
                  <c:v>12.763888888888889</c:v>
                </c:pt>
                <c:pt idx="4596">
                  <c:v>12.766666666666667</c:v>
                </c:pt>
                <c:pt idx="4597">
                  <c:v>12.769444444444444</c:v>
                </c:pt>
                <c:pt idx="4598">
                  <c:v>12.772222222222222</c:v>
                </c:pt>
                <c:pt idx="4599">
                  <c:v>12.775</c:v>
                </c:pt>
                <c:pt idx="4600">
                  <c:v>12.777777777777779</c:v>
                </c:pt>
                <c:pt idx="4601">
                  <c:v>12.780555555555555</c:v>
                </c:pt>
                <c:pt idx="4602">
                  <c:v>12.783333333333333</c:v>
                </c:pt>
                <c:pt idx="4603">
                  <c:v>12.786111111111111</c:v>
                </c:pt>
                <c:pt idx="4604">
                  <c:v>12.78888888888889</c:v>
                </c:pt>
                <c:pt idx="4605">
                  <c:v>12.791666666666666</c:v>
                </c:pt>
                <c:pt idx="4606">
                  <c:v>12.794444444444444</c:v>
                </c:pt>
                <c:pt idx="4607">
                  <c:v>12.797222222222222</c:v>
                </c:pt>
                <c:pt idx="4608">
                  <c:v>12.8</c:v>
                </c:pt>
                <c:pt idx="4609">
                  <c:v>12.802777777777777</c:v>
                </c:pt>
                <c:pt idx="4610">
                  <c:v>12.805555555555555</c:v>
                </c:pt>
                <c:pt idx="4611">
                  <c:v>12.808333333333334</c:v>
                </c:pt>
                <c:pt idx="4612">
                  <c:v>12.811111111111112</c:v>
                </c:pt>
                <c:pt idx="4613">
                  <c:v>12.813888888888888</c:v>
                </c:pt>
                <c:pt idx="4614">
                  <c:v>12.816666666666666</c:v>
                </c:pt>
                <c:pt idx="4615">
                  <c:v>12.819444444444445</c:v>
                </c:pt>
                <c:pt idx="4616">
                  <c:v>12.822222222222223</c:v>
                </c:pt>
                <c:pt idx="4617">
                  <c:v>12.824999999999999</c:v>
                </c:pt>
                <c:pt idx="4618">
                  <c:v>12.827777777777778</c:v>
                </c:pt>
                <c:pt idx="4619">
                  <c:v>12.830555555555556</c:v>
                </c:pt>
                <c:pt idx="4620">
                  <c:v>12.833333333333334</c:v>
                </c:pt>
                <c:pt idx="4621">
                  <c:v>12.83611111111111</c:v>
                </c:pt>
                <c:pt idx="4622">
                  <c:v>12.838888888888889</c:v>
                </c:pt>
                <c:pt idx="4623">
                  <c:v>12.841666666666667</c:v>
                </c:pt>
                <c:pt idx="4624">
                  <c:v>12.844444444444445</c:v>
                </c:pt>
                <c:pt idx="4625">
                  <c:v>12.847222222222221</c:v>
                </c:pt>
                <c:pt idx="4626">
                  <c:v>12.85</c:v>
                </c:pt>
                <c:pt idx="4627">
                  <c:v>12.852777777777778</c:v>
                </c:pt>
                <c:pt idx="4628">
                  <c:v>12.855555555555556</c:v>
                </c:pt>
                <c:pt idx="4629">
                  <c:v>12.858333333333333</c:v>
                </c:pt>
                <c:pt idx="4630">
                  <c:v>12.861111111111111</c:v>
                </c:pt>
                <c:pt idx="4631">
                  <c:v>12.863888888888889</c:v>
                </c:pt>
                <c:pt idx="4632">
                  <c:v>12.866666666666667</c:v>
                </c:pt>
                <c:pt idx="4633">
                  <c:v>12.869444444444444</c:v>
                </c:pt>
                <c:pt idx="4634">
                  <c:v>12.872222222222222</c:v>
                </c:pt>
                <c:pt idx="4635">
                  <c:v>12.875</c:v>
                </c:pt>
                <c:pt idx="4636">
                  <c:v>12.877777777777778</c:v>
                </c:pt>
                <c:pt idx="4637">
                  <c:v>12.880555555555556</c:v>
                </c:pt>
                <c:pt idx="4638">
                  <c:v>12.883333333333333</c:v>
                </c:pt>
                <c:pt idx="4639">
                  <c:v>12.886111111111111</c:v>
                </c:pt>
                <c:pt idx="4640">
                  <c:v>12.888888888888889</c:v>
                </c:pt>
                <c:pt idx="4641">
                  <c:v>12.891666666666667</c:v>
                </c:pt>
                <c:pt idx="4642">
                  <c:v>12.894444444444444</c:v>
                </c:pt>
                <c:pt idx="4643">
                  <c:v>12.897222222222222</c:v>
                </c:pt>
                <c:pt idx="4644">
                  <c:v>12.9</c:v>
                </c:pt>
                <c:pt idx="4645">
                  <c:v>12.902777777777779</c:v>
                </c:pt>
                <c:pt idx="4646">
                  <c:v>12.905555555555555</c:v>
                </c:pt>
                <c:pt idx="4647">
                  <c:v>12.908333333333333</c:v>
                </c:pt>
                <c:pt idx="4648">
                  <c:v>12.911111111111111</c:v>
                </c:pt>
                <c:pt idx="4649">
                  <c:v>12.91388888888889</c:v>
                </c:pt>
                <c:pt idx="4650">
                  <c:v>12.916666666666666</c:v>
                </c:pt>
                <c:pt idx="4651">
                  <c:v>12.919444444444444</c:v>
                </c:pt>
                <c:pt idx="4652">
                  <c:v>12.922222222222222</c:v>
                </c:pt>
                <c:pt idx="4653">
                  <c:v>12.925000000000001</c:v>
                </c:pt>
                <c:pt idx="4654">
                  <c:v>12.927777777777777</c:v>
                </c:pt>
                <c:pt idx="4655">
                  <c:v>12.930555555555555</c:v>
                </c:pt>
                <c:pt idx="4656">
                  <c:v>12.933333333333334</c:v>
                </c:pt>
                <c:pt idx="4657">
                  <c:v>12.936111111111112</c:v>
                </c:pt>
                <c:pt idx="4658">
                  <c:v>12.938888888888888</c:v>
                </c:pt>
                <c:pt idx="4659">
                  <c:v>12.941666666666666</c:v>
                </c:pt>
                <c:pt idx="4660">
                  <c:v>12.944444444444445</c:v>
                </c:pt>
                <c:pt idx="4661">
                  <c:v>12.947222222222223</c:v>
                </c:pt>
                <c:pt idx="4662">
                  <c:v>12.95</c:v>
                </c:pt>
                <c:pt idx="4663">
                  <c:v>12.952777777777778</c:v>
                </c:pt>
                <c:pt idx="4664">
                  <c:v>12.955555555555556</c:v>
                </c:pt>
                <c:pt idx="4665">
                  <c:v>12.958333333333334</c:v>
                </c:pt>
                <c:pt idx="4666">
                  <c:v>12.96111111111111</c:v>
                </c:pt>
                <c:pt idx="4667">
                  <c:v>12.963888888888889</c:v>
                </c:pt>
                <c:pt idx="4668">
                  <c:v>12.966666666666667</c:v>
                </c:pt>
                <c:pt idx="4669">
                  <c:v>12.969444444444445</c:v>
                </c:pt>
                <c:pt idx="4670">
                  <c:v>12.972222222222221</c:v>
                </c:pt>
                <c:pt idx="4671">
                  <c:v>12.975</c:v>
                </c:pt>
                <c:pt idx="4672">
                  <c:v>12.977777777777778</c:v>
                </c:pt>
                <c:pt idx="4673">
                  <c:v>12.980555555555556</c:v>
                </c:pt>
                <c:pt idx="4674">
                  <c:v>12.983333333333333</c:v>
                </c:pt>
                <c:pt idx="4675">
                  <c:v>12.986111111111111</c:v>
                </c:pt>
                <c:pt idx="4676">
                  <c:v>12.988888888888889</c:v>
                </c:pt>
                <c:pt idx="4677">
                  <c:v>12.991666666666667</c:v>
                </c:pt>
                <c:pt idx="4678">
                  <c:v>12.994444444444444</c:v>
                </c:pt>
                <c:pt idx="4679">
                  <c:v>12.997222222222222</c:v>
                </c:pt>
                <c:pt idx="4680">
                  <c:v>13</c:v>
                </c:pt>
                <c:pt idx="4681">
                  <c:v>13.002777777777778</c:v>
                </c:pt>
                <c:pt idx="4682">
                  <c:v>13.005555555555556</c:v>
                </c:pt>
                <c:pt idx="4683">
                  <c:v>13.008333333333333</c:v>
                </c:pt>
                <c:pt idx="4684">
                  <c:v>13.011111111111111</c:v>
                </c:pt>
                <c:pt idx="4685">
                  <c:v>13.013888888888889</c:v>
                </c:pt>
                <c:pt idx="4686">
                  <c:v>13.016666666666667</c:v>
                </c:pt>
                <c:pt idx="4687">
                  <c:v>13.019444444444444</c:v>
                </c:pt>
                <c:pt idx="4688">
                  <c:v>13.022222222222222</c:v>
                </c:pt>
                <c:pt idx="4689">
                  <c:v>13.025</c:v>
                </c:pt>
                <c:pt idx="4690">
                  <c:v>13.027777777777779</c:v>
                </c:pt>
                <c:pt idx="4691">
                  <c:v>13.030555555555555</c:v>
                </c:pt>
                <c:pt idx="4692">
                  <c:v>13.033333333333333</c:v>
                </c:pt>
                <c:pt idx="4693">
                  <c:v>13.036111111111111</c:v>
                </c:pt>
                <c:pt idx="4694">
                  <c:v>13.03888888888889</c:v>
                </c:pt>
                <c:pt idx="4695">
                  <c:v>13.041666666666666</c:v>
                </c:pt>
                <c:pt idx="4696">
                  <c:v>13.044444444444444</c:v>
                </c:pt>
                <c:pt idx="4697">
                  <c:v>13.047222222222222</c:v>
                </c:pt>
                <c:pt idx="4698">
                  <c:v>13.05</c:v>
                </c:pt>
                <c:pt idx="4699">
                  <c:v>13.052777777777777</c:v>
                </c:pt>
                <c:pt idx="4700">
                  <c:v>13.055555555555555</c:v>
                </c:pt>
                <c:pt idx="4701">
                  <c:v>13.058333333333334</c:v>
                </c:pt>
                <c:pt idx="4702">
                  <c:v>13.061111111111112</c:v>
                </c:pt>
                <c:pt idx="4703">
                  <c:v>13.063888888888888</c:v>
                </c:pt>
                <c:pt idx="4704">
                  <c:v>13.066666666666666</c:v>
                </c:pt>
                <c:pt idx="4705">
                  <c:v>13.069444444444445</c:v>
                </c:pt>
                <c:pt idx="4706">
                  <c:v>13.072222222222223</c:v>
                </c:pt>
                <c:pt idx="4707">
                  <c:v>13.074999999999999</c:v>
                </c:pt>
                <c:pt idx="4708">
                  <c:v>13.077777777777778</c:v>
                </c:pt>
                <c:pt idx="4709">
                  <c:v>13.080555555555556</c:v>
                </c:pt>
                <c:pt idx="4710">
                  <c:v>13.083333333333334</c:v>
                </c:pt>
                <c:pt idx="4711">
                  <c:v>13.08611111111111</c:v>
                </c:pt>
                <c:pt idx="4712">
                  <c:v>13.088888888888889</c:v>
                </c:pt>
                <c:pt idx="4713">
                  <c:v>13.091666666666667</c:v>
                </c:pt>
                <c:pt idx="4714">
                  <c:v>13.094444444444445</c:v>
                </c:pt>
                <c:pt idx="4715">
                  <c:v>13.097222222222221</c:v>
                </c:pt>
                <c:pt idx="4716">
                  <c:v>13.1</c:v>
                </c:pt>
                <c:pt idx="4717">
                  <c:v>13.102777777777778</c:v>
                </c:pt>
                <c:pt idx="4718">
                  <c:v>13.105555555555556</c:v>
                </c:pt>
                <c:pt idx="4719">
                  <c:v>13.108333333333333</c:v>
                </c:pt>
                <c:pt idx="4720">
                  <c:v>13.111111111111111</c:v>
                </c:pt>
                <c:pt idx="4721">
                  <c:v>13.113888888888889</c:v>
                </c:pt>
                <c:pt idx="4722">
                  <c:v>13.116666666666667</c:v>
                </c:pt>
                <c:pt idx="4723">
                  <c:v>13.119444444444444</c:v>
                </c:pt>
                <c:pt idx="4724">
                  <c:v>13.122222222222222</c:v>
                </c:pt>
                <c:pt idx="4725">
                  <c:v>13.125</c:v>
                </c:pt>
                <c:pt idx="4726">
                  <c:v>13.127777777777778</c:v>
                </c:pt>
                <c:pt idx="4727">
                  <c:v>13.130555555555556</c:v>
                </c:pt>
                <c:pt idx="4728">
                  <c:v>13.133333333333333</c:v>
                </c:pt>
                <c:pt idx="4729">
                  <c:v>13.136111111111111</c:v>
                </c:pt>
                <c:pt idx="4730">
                  <c:v>13.138888888888889</c:v>
                </c:pt>
                <c:pt idx="4731">
                  <c:v>13.141666666666667</c:v>
                </c:pt>
                <c:pt idx="4732">
                  <c:v>13.144444444444444</c:v>
                </c:pt>
                <c:pt idx="4733">
                  <c:v>13.147222222222222</c:v>
                </c:pt>
                <c:pt idx="4734">
                  <c:v>13.15</c:v>
                </c:pt>
                <c:pt idx="4735">
                  <c:v>13.152777777777779</c:v>
                </c:pt>
                <c:pt idx="4736">
                  <c:v>13.155555555555555</c:v>
                </c:pt>
                <c:pt idx="4737">
                  <c:v>13.158333333333333</c:v>
                </c:pt>
                <c:pt idx="4738">
                  <c:v>13.161111111111111</c:v>
                </c:pt>
                <c:pt idx="4739">
                  <c:v>13.16388888888889</c:v>
                </c:pt>
                <c:pt idx="4740">
                  <c:v>13.166666666666666</c:v>
                </c:pt>
                <c:pt idx="4741">
                  <c:v>13.169444444444444</c:v>
                </c:pt>
                <c:pt idx="4742">
                  <c:v>13.172222222222222</c:v>
                </c:pt>
                <c:pt idx="4743">
                  <c:v>13.175000000000001</c:v>
                </c:pt>
                <c:pt idx="4744">
                  <c:v>13.177777777777777</c:v>
                </c:pt>
                <c:pt idx="4745">
                  <c:v>13.180555555555555</c:v>
                </c:pt>
                <c:pt idx="4746">
                  <c:v>13.183333333333334</c:v>
                </c:pt>
                <c:pt idx="4747">
                  <c:v>13.186111111111112</c:v>
                </c:pt>
                <c:pt idx="4748">
                  <c:v>13.188888888888888</c:v>
                </c:pt>
                <c:pt idx="4749">
                  <c:v>13.191666666666666</c:v>
                </c:pt>
                <c:pt idx="4750">
                  <c:v>13.194444444444445</c:v>
                </c:pt>
                <c:pt idx="4751">
                  <c:v>13.197222222222223</c:v>
                </c:pt>
                <c:pt idx="4752">
                  <c:v>13.2</c:v>
                </c:pt>
                <c:pt idx="4753">
                  <c:v>13.202777777777778</c:v>
                </c:pt>
                <c:pt idx="4754">
                  <c:v>13.205555555555556</c:v>
                </c:pt>
                <c:pt idx="4755">
                  <c:v>13.208333333333334</c:v>
                </c:pt>
                <c:pt idx="4756">
                  <c:v>13.21111111111111</c:v>
                </c:pt>
                <c:pt idx="4757">
                  <c:v>13.213888888888889</c:v>
                </c:pt>
                <c:pt idx="4758">
                  <c:v>13.216666666666667</c:v>
                </c:pt>
                <c:pt idx="4759">
                  <c:v>13.219444444444445</c:v>
                </c:pt>
                <c:pt idx="4760">
                  <c:v>13.222222222222221</c:v>
                </c:pt>
                <c:pt idx="4761">
                  <c:v>13.225</c:v>
                </c:pt>
                <c:pt idx="4762">
                  <c:v>13.227777777777778</c:v>
                </c:pt>
                <c:pt idx="4763">
                  <c:v>13.230555555555556</c:v>
                </c:pt>
                <c:pt idx="4764">
                  <c:v>13.233333333333333</c:v>
                </c:pt>
                <c:pt idx="4765">
                  <c:v>13.236111111111111</c:v>
                </c:pt>
                <c:pt idx="4766">
                  <c:v>13.238888888888889</c:v>
                </c:pt>
                <c:pt idx="4767">
                  <c:v>13.241666666666667</c:v>
                </c:pt>
                <c:pt idx="4768">
                  <c:v>13.244444444444444</c:v>
                </c:pt>
                <c:pt idx="4769">
                  <c:v>13.247222222222222</c:v>
                </c:pt>
                <c:pt idx="4770">
                  <c:v>13.25</c:v>
                </c:pt>
                <c:pt idx="4771">
                  <c:v>13.252777777777778</c:v>
                </c:pt>
                <c:pt idx="4772">
                  <c:v>13.255555555555556</c:v>
                </c:pt>
                <c:pt idx="4773">
                  <c:v>13.258333333333333</c:v>
                </c:pt>
                <c:pt idx="4774">
                  <c:v>13.261111111111111</c:v>
                </c:pt>
                <c:pt idx="4775">
                  <c:v>13.263888888888889</c:v>
                </c:pt>
                <c:pt idx="4776">
                  <c:v>13.266666666666667</c:v>
                </c:pt>
                <c:pt idx="4777">
                  <c:v>13.269444444444444</c:v>
                </c:pt>
                <c:pt idx="4778">
                  <c:v>13.272222222222222</c:v>
                </c:pt>
                <c:pt idx="4779">
                  <c:v>13.275</c:v>
                </c:pt>
                <c:pt idx="4780">
                  <c:v>13.277777777777779</c:v>
                </c:pt>
                <c:pt idx="4781">
                  <c:v>13.280555555555555</c:v>
                </c:pt>
                <c:pt idx="4782">
                  <c:v>13.283333333333333</c:v>
                </c:pt>
                <c:pt idx="4783">
                  <c:v>13.286111111111111</c:v>
                </c:pt>
                <c:pt idx="4784">
                  <c:v>13.28888888888889</c:v>
                </c:pt>
                <c:pt idx="4785">
                  <c:v>13.291666666666666</c:v>
                </c:pt>
                <c:pt idx="4786">
                  <c:v>13.294444444444444</c:v>
                </c:pt>
                <c:pt idx="4787">
                  <c:v>13.297222222222222</c:v>
                </c:pt>
                <c:pt idx="4788">
                  <c:v>13.3</c:v>
                </c:pt>
                <c:pt idx="4789">
                  <c:v>13.302777777777777</c:v>
                </c:pt>
                <c:pt idx="4790">
                  <c:v>13.305555555555555</c:v>
                </c:pt>
                <c:pt idx="4791">
                  <c:v>13.308333333333334</c:v>
                </c:pt>
                <c:pt idx="4792">
                  <c:v>13.311111111111112</c:v>
                </c:pt>
                <c:pt idx="4793">
                  <c:v>13.313888888888888</c:v>
                </c:pt>
                <c:pt idx="4794">
                  <c:v>13.316666666666666</c:v>
                </c:pt>
                <c:pt idx="4795">
                  <c:v>13.319444444444445</c:v>
                </c:pt>
                <c:pt idx="4796">
                  <c:v>13.322222222222223</c:v>
                </c:pt>
                <c:pt idx="4797">
                  <c:v>13.324999999999999</c:v>
                </c:pt>
                <c:pt idx="4798">
                  <c:v>13.327777777777778</c:v>
                </c:pt>
                <c:pt idx="4799">
                  <c:v>13.330555555555556</c:v>
                </c:pt>
                <c:pt idx="4800">
                  <c:v>13.333333333333334</c:v>
                </c:pt>
                <c:pt idx="4801">
                  <c:v>13.33611111111111</c:v>
                </c:pt>
                <c:pt idx="4802">
                  <c:v>13.338888888888889</c:v>
                </c:pt>
                <c:pt idx="4803">
                  <c:v>13.341666666666667</c:v>
                </c:pt>
                <c:pt idx="4804">
                  <c:v>13.344444444444445</c:v>
                </c:pt>
                <c:pt idx="4805">
                  <c:v>13.347222222222221</c:v>
                </c:pt>
                <c:pt idx="4806">
                  <c:v>13.35</c:v>
                </c:pt>
                <c:pt idx="4807">
                  <c:v>13.352777777777778</c:v>
                </c:pt>
                <c:pt idx="4808">
                  <c:v>13.355555555555556</c:v>
                </c:pt>
                <c:pt idx="4809">
                  <c:v>13.358333333333333</c:v>
                </c:pt>
                <c:pt idx="4810">
                  <c:v>13.361111111111111</c:v>
                </c:pt>
                <c:pt idx="4811">
                  <c:v>13.363888888888889</c:v>
                </c:pt>
                <c:pt idx="4812">
                  <c:v>13.366666666666667</c:v>
                </c:pt>
                <c:pt idx="4813">
                  <c:v>13.369444444444444</c:v>
                </c:pt>
                <c:pt idx="4814">
                  <c:v>13.372222222222222</c:v>
                </c:pt>
                <c:pt idx="4815">
                  <c:v>13.375</c:v>
                </c:pt>
                <c:pt idx="4816">
                  <c:v>13.377777777777778</c:v>
                </c:pt>
                <c:pt idx="4817">
                  <c:v>13.380555555555556</c:v>
                </c:pt>
                <c:pt idx="4818">
                  <c:v>13.383333333333333</c:v>
                </c:pt>
                <c:pt idx="4819">
                  <c:v>13.386111111111111</c:v>
                </c:pt>
                <c:pt idx="4820">
                  <c:v>13.388888888888889</c:v>
                </c:pt>
                <c:pt idx="4821">
                  <c:v>13.391666666666667</c:v>
                </c:pt>
                <c:pt idx="4822">
                  <c:v>13.394444444444444</c:v>
                </c:pt>
                <c:pt idx="4823">
                  <c:v>13.397222222222222</c:v>
                </c:pt>
                <c:pt idx="4824">
                  <c:v>13.4</c:v>
                </c:pt>
                <c:pt idx="4825">
                  <c:v>13.402777777777779</c:v>
                </c:pt>
                <c:pt idx="4826">
                  <c:v>13.405555555555555</c:v>
                </c:pt>
                <c:pt idx="4827">
                  <c:v>13.408333333333333</c:v>
                </c:pt>
                <c:pt idx="4828">
                  <c:v>13.411111111111111</c:v>
                </c:pt>
                <c:pt idx="4829">
                  <c:v>13.41388888888889</c:v>
                </c:pt>
                <c:pt idx="4830">
                  <c:v>13.416666666666666</c:v>
                </c:pt>
                <c:pt idx="4831">
                  <c:v>13.419444444444444</c:v>
                </c:pt>
                <c:pt idx="4832">
                  <c:v>13.422222222222222</c:v>
                </c:pt>
                <c:pt idx="4833">
                  <c:v>13.425000000000001</c:v>
                </c:pt>
                <c:pt idx="4834">
                  <c:v>13.427777777777777</c:v>
                </c:pt>
                <c:pt idx="4835">
                  <c:v>13.430555555555555</c:v>
                </c:pt>
                <c:pt idx="4836">
                  <c:v>13.433333333333334</c:v>
                </c:pt>
                <c:pt idx="4837">
                  <c:v>13.436111111111112</c:v>
                </c:pt>
                <c:pt idx="4838">
                  <c:v>13.438888888888888</c:v>
                </c:pt>
                <c:pt idx="4839">
                  <c:v>13.441666666666666</c:v>
                </c:pt>
                <c:pt idx="4840">
                  <c:v>13.444444444444445</c:v>
                </c:pt>
                <c:pt idx="4841">
                  <c:v>13.447222222222223</c:v>
                </c:pt>
                <c:pt idx="4842">
                  <c:v>13.45</c:v>
                </c:pt>
                <c:pt idx="4843">
                  <c:v>13.452777777777778</c:v>
                </c:pt>
                <c:pt idx="4844">
                  <c:v>13.455555555555556</c:v>
                </c:pt>
                <c:pt idx="4845">
                  <c:v>13.458333333333334</c:v>
                </c:pt>
                <c:pt idx="4846">
                  <c:v>13.46111111111111</c:v>
                </c:pt>
                <c:pt idx="4847">
                  <c:v>13.463888888888889</c:v>
                </c:pt>
                <c:pt idx="4848">
                  <c:v>13.466666666666667</c:v>
                </c:pt>
                <c:pt idx="4849">
                  <c:v>13.469444444444445</c:v>
                </c:pt>
                <c:pt idx="4850">
                  <c:v>13.472222222222221</c:v>
                </c:pt>
                <c:pt idx="4851">
                  <c:v>13.475</c:v>
                </c:pt>
                <c:pt idx="4852">
                  <c:v>13.477777777777778</c:v>
                </c:pt>
                <c:pt idx="4853">
                  <c:v>13.480555555555556</c:v>
                </c:pt>
                <c:pt idx="4854">
                  <c:v>13.483333333333333</c:v>
                </c:pt>
                <c:pt idx="4855">
                  <c:v>13.486111111111111</c:v>
                </c:pt>
                <c:pt idx="4856">
                  <c:v>13.488888888888889</c:v>
                </c:pt>
                <c:pt idx="4857">
                  <c:v>13.491666666666667</c:v>
                </c:pt>
                <c:pt idx="4858">
                  <c:v>13.494444444444444</c:v>
                </c:pt>
                <c:pt idx="4859">
                  <c:v>13.497222222222222</c:v>
                </c:pt>
                <c:pt idx="4860">
                  <c:v>13.5</c:v>
                </c:pt>
                <c:pt idx="4861">
                  <c:v>13.502777777777778</c:v>
                </c:pt>
                <c:pt idx="4862">
                  <c:v>13.505555555555556</c:v>
                </c:pt>
                <c:pt idx="4863">
                  <c:v>13.508333333333333</c:v>
                </c:pt>
                <c:pt idx="4864">
                  <c:v>13.511111111111111</c:v>
                </c:pt>
                <c:pt idx="4865">
                  <c:v>13.513888888888889</c:v>
                </c:pt>
                <c:pt idx="4866">
                  <c:v>13.516666666666667</c:v>
                </c:pt>
                <c:pt idx="4867">
                  <c:v>13.519444444444444</c:v>
                </c:pt>
                <c:pt idx="4868">
                  <c:v>13.522222222222222</c:v>
                </c:pt>
                <c:pt idx="4869">
                  <c:v>13.525</c:v>
                </c:pt>
                <c:pt idx="4870">
                  <c:v>13.527777777777779</c:v>
                </c:pt>
                <c:pt idx="4871">
                  <c:v>13.530555555555555</c:v>
                </c:pt>
                <c:pt idx="4872">
                  <c:v>13.533333333333333</c:v>
                </c:pt>
                <c:pt idx="4873">
                  <c:v>13.536111111111111</c:v>
                </c:pt>
                <c:pt idx="4874">
                  <c:v>13.53888888888889</c:v>
                </c:pt>
                <c:pt idx="4875">
                  <c:v>13.541666666666666</c:v>
                </c:pt>
                <c:pt idx="4876">
                  <c:v>13.544444444444444</c:v>
                </c:pt>
                <c:pt idx="4877">
                  <c:v>13.547222222222222</c:v>
                </c:pt>
                <c:pt idx="4878">
                  <c:v>13.55</c:v>
                </c:pt>
                <c:pt idx="4879">
                  <c:v>13.552777777777777</c:v>
                </c:pt>
                <c:pt idx="4880">
                  <c:v>13.555555555555555</c:v>
                </c:pt>
                <c:pt idx="4881">
                  <c:v>13.558333333333334</c:v>
                </c:pt>
                <c:pt idx="4882">
                  <c:v>13.561111111111112</c:v>
                </c:pt>
                <c:pt idx="4883">
                  <c:v>13.563888888888888</c:v>
                </c:pt>
                <c:pt idx="4884">
                  <c:v>13.566666666666666</c:v>
                </c:pt>
                <c:pt idx="4885">
                  <c:v>13.569444444444445</c:v>
                </c:pt>
                <c:pt idx="4886">
                  <c:v>13.572222222222223</c:v>
                </c:pt>
                <c:pt idx="4887">
                  <c:v>13.574999999999999</c:v>
                </c:pt>
                <c:pt idx="4888">
                  <c:v>13.577777777777778</c:v>
                </c:pt>
                <c:pt idx="4889">
                  <c:v>13.580555555555556</c:v>
                </c:pt>
                <c:pt idx="4890">
                  <c:v>13.583333333333334</c:v>
                </c:pt>
                <c:pt idx="4891">
                  <c:v>13.58611111111111</c:v>
                </c:pt>
                <c:pt idx="4892">
                  <c:v>13.588888888888889</c:v>
                </c:pt>
                <c:pt idx="4893">
                  <c:v>13.591666666666667</c:v>
                </c:pt>
                <c:pt idx="4894">
                  <c:v>13.594444444444445</c:v>
                </c:pt>
                <c:pt idx="4895">
                  <c:v>13.597222222222221</c:v>
                </c:pt>
                <c:pt idx="4896">
                  <c:v>13.6</c:v>
                </c:pt>
                <c:pt idx="4897">
                  <c:v>13.602777777777778</c:v>
                </c:pt>
                <c:pt idx="4898">
                  <c:v>13.605555555555556</c:v>
                </c:pt>
                <c:pt idx="4899">
                  <c:v>13.608333333333333</c:v>
                </c:pt>
                <c:pt idx="4900">
                  <c:v>13.611111111111111</c:v>
                </c:pt>
                <c:pt idx="4901">
                  <c:v>13.613888888888889</c:v>
                </c:pt>
                <c:pt idx="4902">
                  <c:v>13.616666666666667</c:v>
                </c:pt>
                <c:pt idx="4903">
                  <c:v>13.619444444444444</c:v>
                </c:pt>
                <c:pt idx="4904">
                  <c:v>13.622222222222222</c:v>
                </c:pt>
                <c:pt idx="4905">
                  <c:v>13.625</c:v>
                </c:pt>
                <c:pt idx="4906">
                  <c:v>13.627777777777778</c:v>
                </c:pt>
                <c:pt idx="4907">
                  <c:v>13.630555555555556</c:v>
                </c:pt>
                <c:pt idx="4908">
                  <c:v>13.633333333333333</c:v>
                </c:pt>
                <c:pt idx="4909">
                  <c:v>13.636111111111111</c:v>
                </c:pt>
                <c:pt idx="4910">
                  <c:v>13.638888888888889</c:v>
                </c:pt>
                <c:pt idx="4911">
                  <c:v>13.641666666666667</c:v>
                </c:pt>
                <c:pt idx="4912">
                  <c:v>13.644444444444444</c:v>
                </c:pt>
                <c:pt idx="4913">
                  <c:v>13.647222222222222</c:v>
                </c:pt>
                <c:pt idx="4914">
                  <c:v>13.65</c:v>
                </c:pt>
                <c:pt idx="4915">
                  <c:v>13.652777777777779</c:v>
                </c:pt>
                <c:pt idx="4916">
                  <c:v>13.655555555555555</c:v>
                </c:pt>
                <c:pt idx="4917">
                  <c:v>13.658333333333333</c:v>
                </c:pt>
                <c:pt idx="4918">
                  <c:v>13.661111111111111</c:v>
                </c:pt>
                <c:pt idx="4919">
                  <c:v>13.66388888888889</c:v>
                </c:pt>
                <c:pt idx="4920">
                  <c:v>13.666666666666666</c:v>
                </c:pt>
                <c:pt idx="4921">
                  <c:v>13.669444444444444</c:v>
                </c:pt>
                <c:pt idx="4922">
                  <c:v>13.672222222222222</c:v>
                </c:pt>
                <c:pt idx="4923">
                  <c:v>13.675000000000001</c:v>
                </c:pt>
                <c:pt idx="4924">
                  <c:v>13.677777777777777</c:v>
                </c:pt>
                <c:pt idx="4925">
                  <c:v>13.680555555555555</c:v>
                </c:pt>
                <c:pt idx="4926">
                  <c:v>13.683333333333334</c:v>
                </c:pt>
                <c:pt idx="4927">
                  <c:v>13.686111111111112</c:v>
                </c:pt>
                <c:pt idx="4928">
                  <c:v>13.688888888888888</c:v>
                </c:pt>
                <c:pt idx="4929">
                  <c:v>13.691666666666666</c:v>
                </c:pt>
                <c:pt idx="4930">
                  <c:v>13.694444444444445</c:v>
                </c:pt>
                <c:pt idx="4931">
                  <c:v>13.697222222222223</c:v>
                </c:pt>
                <c:pt idx="4932">
                  <c:v>13.7</c:v>
                </c:pt>
                <c:pt idx="4933">
                  <c:v>13.702777777777778</c:v>
                </c:pt>
                <c:pt idx="4934">
                  <c:v>13.705555555555556</c:v>
                </c:pt>
                <c:pt idx="4935">
                  <c:v>13.708333333333334</c:v>
                </c:pt>
                <c:pt idx="4936">
                  <c:v>13.71111111111111</c:v>
                </c:pt>
                <c:pt idx="4937">
                  <c:v>13.713888888888889</c:v>
                </c:pt>
                <c:pt idx="4938">
                  <c:v>13.716666666666667</c:v>
                </c:pt>
                <c:pt idx="4939">
                  <c:v>13.719444444444445</c:v>
                </c:pt>
                <c:pt idx="4940">
                  <c:v>13.722222222222221</c:v>
                </c:pt>
                <c:pt idx="4941">
                  <c:v>13.725</c:v>
                </c:pt>
                <c:pt idx="4942">
                  <c:v>13.727777777777778</c:v>
                </c:pt>
                <c:pt idx="4943">
                  <c:v>13.730555555555556</c:v>
                </c:pt>
                <c:pt idx="4944">
                  <c:v>13.733333333333333</c:v>
                </c:pt>
                <c:pt idx="4945">
                  <c:v>13.736111111111111</c:v>
                </c:pt>
                <c:pt idx="4946">
                  <c:v>13.738888888888889</c:v>
                </c:pt>
                <c:pt idx="4947">
                  <c:v>13.741666666666667</c:v>
                </c:pt>
                <c:pt idx="4948">
                  <c:v>13.744444444444444</c:v>
                </c:pt>
                <c:pt idx="4949">
                  <c:v>13.747222222222222</c:v>
                </c:pt>
                <c:pt idx="4950">
                  <c:v>13.75</c:v>
                </c:pt>
                <c:pt idx="4951">
                  <c:v>13.752777777777778</c:v>
                </c:pt>
                <c:pt idx="4952">
                  <c:v>13.755555555555556</c:v>
                </c:pt>
                <c:pt idx="4953">
                  <c:v>13.758333333333333</c:v>
                </c:pt>
                <c:pt idx="4954">
                  <c:v>13.761111111111111</c:v>
                </c:pt>
                <c:pt idx="4955">
                  <c:v>13.763888888888889</c:v>
                </c:pt>
                <c:pt idx="4956">
                  <c:v>13.766666666666667</c:v>
                </c:pt>
                <c:pt idx="4957">
                  <c:v>13.769444444444444</c:v>
                </c:pt>
                <c:pt idx="4958">
                  <c:v>13.772222222222222</c:v>
                </c:pt>
                <c:pt idx="4959">
                  <c:v>13.775</c:v>
                </c:pt>
                <c:pt idx="4960">
                  <c:v>13.777777777777779</c:v>
                </c:pt>
                <c:pt idx="4961">
                  <c:v>13.780555555555555</c:v>
                </c:pt>
                <c:pt idx="4962">
                  <c:v>13.783333333333333</c:v>
                </c:pt>
                <c:pt idx="4963">
                  <c:v>13.786111111111111</c:v>
                </c:pt>
                <c:pt idx="4964">
                  <c:v>13.78888888888889</c:v>
                </c:pt>
                <c:pt idx="4965">
                  <c:v>13.791666666666666</c:v>
                </c:pt>
                <c:pt idx="4966">
                  <c:v>13.794444444444444</c:v>
                </c:pt>
                <c:pt idx="4967">
                  <c:v>13.797222222222222</c:v>
                </c:pt>
                <c:pt idx="4968">
                  <c:v>13.8</c:v>
                </c:pt>
                <c:pt idx="4969">
                  <c:v>13.802777777777777</c:v>
                </c:pt>
                <c:pt idx="4970">
                  <c:v>13.805555555555555</c:v>
                </c:pt>
                <c:pt idx="4971">
                  <c:v>13.808333333333334</c:v>
                </c:pt>
                <c:pt idx="4972">
                  <c:v>13.811111111111112</c:v>
                </c:pt>
                <c:pt idx="4973">
                  <c:v>13.813888888888888</c:v>
                </c:pt>
                <c:pt idx="4974">
                  <c:v>13.816666666666666</c:v>
                </c:pt>
                <c:pt idx="4975">
                  <c:v>13.819444444444445</c:v>
                </c:pt>
                <c:pt idx="4976">
                  <c:v>13.822222222222223</c:v>
                </c:pt>
                <c:pt idx="4977">
                  <c:v>13.824999999999999</c:v>
                </c:pt>
                <c:pt idx="4978">
                  <c:v>13.827777777777778</c:v>
                </c:pt>
                <c:pt idx="4979">
                  <c:v>13.830555555555556</c:v>
                </c:pt>
                <c:pt idx="4980">
                  <c:v>13.833333333333334</c:v>
                </c:pt>
                <c:pt idx="4981">
                  <c:v>13.83611111111111</c:v>
                </c:pt>
                <c:pt idx="4982">
                  <c:v>13.838888888888889</c:v>
                </c:pt>
                <c:pt idx="4983">
                  <c:v>13.841666666666667</c:v>
                </c:pt>
                <c:pt idx="4984">
                  <c:v>13.844444444444445</c:v>
                </c:pt>
                <c:pt idx="4985">
                  <c:v>13.847222222222221</c:v>
                </c:pt>
                <c:pt idx="4986">
                  <c:v>13.85</c:v>
                </c:pt>
                <c:pt idx="4987">
                  <c:v>13.852777777777778</c:v>
                </c:pt>
                <c:pt idx="4988">
                  <c:v>13.855555555555556</c:v>
                </c:pt>
                <c:pt idx="4989">
                  <c:v>13.858333333333333</c:v>
                </c:pt>
                <c:pt idx="4990">
                  <c:v>13.861111111111111</c:v>
                </c:pt>
                <c:pt idx="4991">
                  <c:v>13.863888888888889</c:v>
                </c:pt>
                <c:pt idx="4992">
                  <c:v>13.866666666666667</c:v>
                </c:pt>
                <c:pt idx="4993">
                  <c:v>13.869444444444444</c:v>
                </c:pt>
                <c:pt idx="4994">
                  <c:v>13.872222222222222</c:v>
                </c:pt>
                <c:pt idx="4995">
                  <c:v>13.875</c:v>
                </c:pt>
                <c:pt idx="4996">
                  <c:v>13.877777777777778</c:v>
                </c:pt>
                <c:pt idx="4997">
                  <c:v>13.880555555555556</c:v>
                </c:pt>
                <c:pt idx="4998">
                  <c:v>13.883333333333333</c:v>
                </c:pt>
                <c:pt idx="4999">
                  <c:v>13.886111111111111</c:v>
                </c:pt>
                <c:pt idx="5000">
                  <c:v>13.888888888888889</c:v>
                </c:pt>
                <c:pt idx="5001">
                  <c:v>13.891666666666667</c:v>
                </c:pt>
                <c:pt idx="5002">
                  <c:v>13.894444444444444</c:v>
                </c:pt>
                <c:pt idx="5003">
                  <c:v>13.897222222222222</c:v>
                </c:pt>
                <c:pt idx="5004">
                  <c:v>13.9</c:v>
                </c:pt>
                <c:pt idx="5005">
                  <c:v>13.902777777777779</c:v>
                </c:pt>
                <c:pt idx="5006">
                  <c:v>13.905555555555555</c:v>
                </c:pt>
                <c:pt idx="5007">
                  <c:v>13.908333333333333</c:v>
                </c:pt>
                <c:pt idx="5008">
                  <c:v>13.911111111111111</c:v>
                </c:pt>
                <c:pt idx="5009">
                  <c:v>13.91388888888889</c:v>
                </c:pt>
                <c:pt idx="5010">
                  <c:v>13.916666666666666</c:v>
                </c:pt>
                <c:pt idx="5011">
                  <c:v>13.919444444444444</c:v>
                </c:pt>
                <c:pt idx="5012">
                  <c:v>13.922222222222222</c:v>
                </c:pt>
                <c:pt idx="5013">
                  <c:v>13.925000000000001</c:v>
                </c:pt>
                <c:pt idx="5014">
                  <c:v>13.927777777777777</c:v>
                </c:pt>
                <c:pt idx="5015">
                  <c:v>13.930555555555555</c:v>
                </c:pt>
                <c:pt idx="5016">
                  <c:v>13.933333333333334</c:v>
                </c:pt>
                <c:pt idx="5017">
                  <c:v>13.936111111111112</c:v>
                </c:pt>
                <c:pt idx="5018">
                  <c:v>13.938888888888888</c:v>
                </c:pt>
                <c:pt idx="5019">
                  <c:v>13.941666666666666</c:v>
                </c:pt>
                <c:pt idx="5020">
                  <c:v>13.944444444444445</c:v>
                </c:pt>
                <c:pt idx="5021">
                  <c:v>13.947222222222223</c:v>
                </c:pt>
                <c:pt idx="5022">
                  <c:v>13.95</c:v>
                </c:pt>
                <c:pt idx="5023">
                  <c:v>13.952777777777778</c:v>
                </c:pt>
                <c:pt idx="5024">
                  <c:v>13.955555555555556</c:v>
                </c:pt>
                <c:pt idx="5025">
                  <c:v>13.958333333333334</c:v>
                </c:pt>
                <c:pt idx="5026">
                  <c:v>13.96111111111111</c:v>
                </c:pt>
                <c:pt idx="5027">
                  <c:v>13.963888888888889</c:v>
                </c:pt>
                <c:pt idx="5028">
                  <c:v>13.966666666666667</c:v>
                </c:pt>
                <c:pt idx="5029">
                  <c:v>13.969444444444445</c:v>
                </c:pt>
                <c:pt idx="5030">
                  <c:v>13.972222222222221</c:v>
                </c:pt>
                <c:pt idx="5031">
                  <c:v>13.975</c:v>
                </c:pt>
                <c:pt idx="5032">
                  <c:v>13.977777777777778</c:v>
                </c:pt>
                <c:pt idx="5033">
                  <c:v>13.980555555555556</c:v>
                </c:pt>
                <c:pt idx="5034">
                  <c:v>13.983333333333333</c:v>
                </c:pt>
                <c:pt idx="5035">
                  <c:v>13.986111111111111</c:v>
                </c:pt>
                <c:pt idx="5036">
                  <c:v>13.988888888888889</c:v>
                </c:pt>
                <c:pt idx="5037">
                  <c:v>13.991666666666667</c:v>
                </c:pt>
                <c:pt idx="5038">
                  <c:v>13.994444444444444</c:v>
                </c:pt>
                <c:pt idx="5039">
                  <c:v>13.997222222222222</c:v>
                </c:pt>
                <c:pt idx="5040">
                  <c:v>14</c:v>
                </c:pt>
                <c:pt idx="5041">
                  <c:v>14.002777777777778</c:v>
                </c:pt>
                <c:pt idx="5042">
                  <c:v>14.005555555555556</c:v>
                </c:pt>
                <c:pt idx="5043">
                  <c:v>14.008333333333333</c:v>
                </c:pt>
                <c:pt idx="5044">
                  <c:v>14.011111111111111</c:v>
                </c:pt>
                <c:pt idx="5045">
                  <c:v>14.013888888888889</c:v>
                </c:pt>
                <c:pt idx="5046">
                  <c:v>14.016666666666667</c:v>
                </c:pt>
                <c:pt idx="5047">
                  <c:v>14.019444444444444</c:v>
                </c:pt>
                <c:pt idx="5048">
                  <c:v>14.022222222222222</c:v>
                </c:pt>
                <c:pt idx="5049">
                  <c:v>14.025</c:v>
                </c:pt>
                <c:pt idx="5050">
                  <c:v>14.027777777777779</c:v>
                </c:pt>
                <c:pt idx="5051">
                  <c:v>14.030555555555555</c:v>
                </c:pt>
                <c:pt idx="5052">
                  <c:v>14.033333333333333</c:v>
                </c:pt>
                <c:pt idx="5053">
                  <c:v>14.036111111111111</c:v>
                </c:pt>
                <c:pt idx="5054">
                  <c:v>14.03888888888889</c:v>
                </c:pt>
                <c:pt idx="5055">
                  <c:v>14.041666666666666</c:v>
                </c:pt>
                <c:pt idx="5056">
                  <c:v>14.044444444444444</c:v>
                </c:pt>
                <c:pt idx="5057">
                  <c:v>14.047222222222222</c:v>
                </c:pt>
                <c:pt idx="5058">
                  <c:v>14.05</c:v>
                </c:pt>
                <c:pt idx="5059">
                  <c:v>14.052777777777777</c:v>
                </c:pt>
                <c:pt idx="5060">
                  <c:v>14.055555555555555</c:v>
                </c:pt>
                <c:pt idx="5061">
                  <c:v>14.058333333333334</c:v>
                </c:pt>
                <c:pt idx="5062">
                  <c:v>14.061111111111112</c:v>
                </c:pt>
                <c:pt idx="5063">
                  <c:v>14.063888888888888</c:v>
                </c:pt>
                <c:pt idx="5064">
                  <c:v>14.066666666666666</c:v>
                </c:pt>
                <c:pt idx="5065">
                  <c:v>14.069444444444445</c:v>
                </c:pt>
                <c:pt idx="5066">
                  <c:v>14.072222222222223</c:v>
                </c:pt>
                <c:pt idx="5067">
                  <c:v>14.074999999999999</c:v>
                </c:pt>
                <c:pt idx="5068">
                  <c:v>14.077777777777778</c:v>
                </c:pt>
                <c:pt idx="5069">
                  <c:v>14.080555555555556</c:v>
                </c:pt>
                <c:pt idx="5070">
                  <c:v>14.083333333333334</c:v>
                </c:pt>
                <c:pt idx="5071">
                  <c:v>14.08611111111111</c:v>
                </c:pt>
                <c:pt idx="5072">
                  <c:v>14.088888888888889</c:v>
                </c:pt>
                <c:pt idx="5073">
                  <c:v>14.091666666666667</c:v>
                </c:pt>
                <c:pt idx="5074">
                  <c:v>14.094444444444445</c:v>
                </c:pt>
                <c:pt idx="5075">
                  <c:v>14.097222222222221</c:v>
                </c:pt>
                <c:pt idx="5076">
                  <c:v>14.1</c:v>
                </c:pt>
                <c:pt idx="5077">
                  <c:v>14.102777777777778</c:v>
                </c:pt>
                <c:pt idx="5078">
                  <c:v>14.105555555555556</c:v>
                </c:pt>
                <c:pt idx="5079">
                  <c:v>14.108333333333333</c:v>
                </c:pt>
                <c:pt idx="5080">
                  <c:v>14.111111111111111</c:v>
                </c:pt>
                <c:pt idx="5081">
                  <c:v>14.113888888888889</c:v>
                </c:pt>
                <c:pt idx="5082">
                  <c:v>14.116666666666667</c:v>
                </c:pt>
                <c:pt idx="5083">
                  <c:v>14.119444444444444</c:v>
                </c:pt>
                <c:pt idx="5084">
                  <c:v>14.122222222222222</c:v>
                </c:pt>
                <c:pt idx="5085">
                  <c:v>14.125</c:v>
                </c:pt>
                <c:pt idx="5086">
                  <c:v>14.127777777777778</c:v>
                </c:pt>
                <c:pt idx="5087">
                  <c:v>14.130555555555556</c:v>
                </c:pt>
                <c:pt idx="5088">
                  <c:v>14.133333333333333</c:v>
                </c:pt>
                <c:pt idx="5089">
                  <c:v>14.136111111111111</c:v>
                </c:pt>
                <c:pt idx="5090">
                  <c:v>14.138888888888889</c:v>
                </c:pt>
                <c:pt idx="5091">
                  <c:v>14.141666666666667</c:v>
                </c:pt>
                <c:pt idx="5092">
                  <c:v>14.144444444444444</c:v>
                </c:pt>
                <c:pt idx="5093">
                  <c:v>14.147222222222222</c:v>
                </c:pt>
                <c:pt idx="5094">
                  <c:v>14.15</c:v>
                </c:pt>
                <c:pt idx="5095">
                  <c:v>14.152777777777779</c:v>
                </c:pt>
                <c:pt idx="5096">
                  <c:v>14.155555555555555</c:v>
                </c:pt>
                <c:pt idx="5097">
                  <c:v>14.158333333333333</c:v>
                </c:pt>
                <c:pt idx="5098">
                  <c:v>14.161111111111111</c:v>
                </c:pt>
                <c:pt idx="5099">
                  <c:v>14.16388888888889</c:v>
                </c:pt>
                <c:pt idx="5100">
                  <c:v>14.166666666666666</c:v>
                </c:pt>
                <c:pt idx="5101">
                  <c:v>14.169444444444444</c:v>
                </c:pt>
                <c:pt idx="5102">
                  <c:v>14.172222222222222</c:v>
                </c:pt>
                <c:pt idx="5103">
                  <c:v>14.175000000000001</c:v>
                </c:pt>
                <c:pt idx="5104">
                  <c:v>14.177777777777777</c:v>
                </c:pt>
                <c:pt idx="5105">
                  <c:v>14.180555555555555</c:v>
                </c:pt>
                <c:pt idx="5106">
                  <c:v>14.183333333333334</c:v>
                </c:pt>
                <c:pt idx="5107">
                  <c:v>14.186111111111112</c:v>
                </c:pt>
                <c:pt idx="5108">
                  <c:v>14.188888888888888</c:v>
                </c:pt>
                <c:pt idx="5109">
                  <c:v>14.191666666666666</c:v>
                </c:pt>
                <c:pt idx="5110">
                  <c:v>14.194444444444445</c:v>
                </c:pt>
                <c:pt idx="5111">
                  <c:v>14.197222222222223</c:v>
                </c:pt>
                <c:pt idx="5112">
                  <c:v>14.2</c:v>
                </c:pt>
                <c:pt idx="5113">
                  <c:v>14.202777777777778</c:v>
                </c:pt>
                <c:pt idx="5114">
                  <c:v>14.205555555555556</c:v>
                </c:pt>
                <c:pt idx="5115">
                  <c:v>14.208333333333334</c:v>
                </c:pt>
                <c:pt idx="5116">
                  <c:v>14.21111111111111</c:v>
                </c:pt>
                <c:pt idx="5117">
                  <c:v>14.213888888888889</c:v>
                </c:pt>
                <c:pt idx="5118">
                  <c:v>14.216666666666667</c:v>
                </c:pt>
                <c:pt idx="5119">
                  <c:v>14.219444444444445</c:v>
                </c:pt>
                <c:pt idx="5120">
                  <c:v>14.222222222222221</c:v>
                </c:pt>
                <c:pt idx="5121">
                  <c:v>14.225</c:v>
                </c:pt>
                <c:pt idx="5122">
                  <c:v>14.227777777777778</c:v>
                </c:pt>
                <c:pt idx="5123">
                  <c:v>14.230555555555556</c:v>
                </c:pt>
                <c:pt idx="5124">
                  <c:v>14.233333333333333</c:v>
                </c:pt>
                <c:pt idx="5125">
                  <c:v>14.236111111111111</c:v>
                </c:pt>
                <c:pt idx="5126">
                  <c:v>14.238888888888889</c:v>
                </c:pt>
                <c:pt idx="5127">
                  <c:v>14.241666666666667</c:v>
                </c:pt>
                <c:pt idx="5128">
                  <c:v>14.244444444444444</c:v>
                </c:pt>
                <c:pt idx="5129">
                  <c:v>14.247222222222222</c:v>
                </c:pt>
                <c:pt idx="5130">
                  <c:v>14.25</c:v>
                </c:pt>
                <c:pt idx="5131">
                  <c:v>14.252777777777778</c:v>
                </c:pt>
                <c:pt idx="5132">
                  <c:v>14.255555555555556</c:v>
                </c:pt>
                <c:pt idx="5133">
                  <c:v>14.258333333333333</c:v>
                </c:pt>
                <c:pt idx="5134">
                  <c:v>14.261111111111111</c:v>
                </c:pt>
                <c:pt idx="5135">
                  <c:v>14.263888888888889</c:v>
                </c:pt>
                <c:pt idx="5136">
                  <c:v>14.266666666666667</c:v>
                </c:pt>
                <c:pt idx="5137">
                  <c:v>14.269444444444444</c:v>
                </c:pt>
                <c:pt idx="5138">
                  <c:v>14.272222222222222</c:v>
                </c:pt>
                <c:pt idx="5139">
                  <c:v>14.275</c:v>
                </c:pt>
                <c:pt idx="5140">
                  <c:v>14.277777777777779</c:v>
                </c:pt>
                <c:pt idx="5141">
                  <c:v>14.280555555555555</c:v>
                </c:pt>
                <c:pt idx="5142">
                  <c:v>14.283333333333333</c:v>
                </c:pt>
                <c:pt idx="5143">
                  <c:v>14.286111111111111</c:v>
                </c:pt>
                <c:pt idx="5144">
                  <c:v>14.28888888888889</c:v>
                </c:pt>
                <c:pt idx="5145">
                  <c:v>14.291666666666666</c:v>
                </c:pt>
                <c:pt idx="5146">
                  <c:v>14.294444444444444</c:v>
                </c:pt>
                <c:pt idx="5147">
                  <c:v>14.297222222222222</c:v>
                </c:pt>
                <c:pt idx="5148">
                  <c:v>14.3</c:v>
                </c:pt>
                <c:pt idx="5149">
                  <c:v>14.302777777777777</c:v>
                </c:pt>
                <c:pt idx="5150">
                  <c:v>14.305555555555555</c:v>
                </c:pt>
                <c:pt idx="5151">
                  <c:v>14.308333333333334</c:v>
                </c:pt>
                <c:pt idx="5152">
                  <c:v>14.311111111111112</c:v>
                </c:pt>
                <c:pt idx="5153">
                  <c:v>14.313888888888888</c:v>
                </c:pt>
                <c:pt idx="5154">
                  <c:v>14.316666666666666</c:v>
                </c:pt>
                <c:pt idx="5155">
                  <c:v>14.319444444444445</c:v>
                </c:pt>
                <c:pt idx="5156">
                  <c:v>14.322222222222223</c:v>
                </c:pt>
                <c:pt idx="5157">
                  <c:v>14.324999999999999</c:v>
                </c:pt>
                <c:pt idx="5158">
                  <c:v>14.327777777777778</c:v>
                </c:pt>
                <c:pt idx="5159">
                  <c:v>14.330555555555556</c:v>
                </c:pt>
                <c:pt idx="5160">
                  <c:v>14.333333333333334</c:v>
                </c:pt>
                <c:pt idx="5161">
                  <c:v>14.33611111111111</c:v>
                </c:pt>
                <c:pt idx="5162">
                  <c:v>14.338888888888889</c:v>
                </c:pt>
                <c:pt idx="5163">
                  <c:v>14.341666666666667</c:v>
                </c:pt>
                <c:pt idx="5164">
                  <c:v>14.344444444444445</c:v>
                </c:pt>
                <c:pt idx="5165">
                  <c:v>14.347222222222221</c:v>
                </c:pt>
                <c:pt idx="5166">
                  <c:v>14.35</c:v>
                </c:pt>
                <c:pt idx="5167">
                  <c:v>14.352777777777778</c:v>
                </c:pt>
                <c:pt idx="5168">
                  <c:v>14.355555555555556</c:v>
                </c:pt>
                <c:pt idx="5169">
                  <c:v>14.358333333333333</c:v>
                </c:pt>
                <c:pt idx="5170">
                  <c:v>14.361111111111111</c:v>
                </c:pt>
                <c:pt idx="5171">
                  <c:v>14.363888888888889</c:v>
                </c:pt>
                <c:pt idx="5172">
                  <c:v>14.366666666666667</c:v>
                </c:pt>
                <c:pt idx="5173">
                  <c:v>14.369444444444444</c:v>
                </c:pt>
                <c:pt idx="5174">
                  <c:v>14.372222222222222</c:v>
                </c:pt>
                <c:pt idx="5175">
                  <c:v>14.375</c:v>
                </c:pt>
                <c:pt idx="5176">
                  <c:v>14.377777777777778</c:v>
                </c:pt>
                <c:pt idx="5177">
                  <c:v>14.380555555555556</c:v>
                </c:pt>
                <c:pt idx="5178">
                  <c:v>14.383333333333333</c:v>
                </c:pt>
                <c:pt idx="5179">
                  <c:v>14.386111111111111</c:v>
                </c:pt>
                <c:pt idx="5180">
                  <c:v>14.388888888888889</c:v>
                </c:pt>
                <c:pt idx="5181">
                  <c:v>14.391666666666667</c:v>
                </c:pt>
                <c:pt idx="5182">
                  <c:v>14.394444444444444</c:v>
                </c:pt>
                <c:pt idx="5183">
                  <c:v>14.397222222222222</c:v>
                </c:pt>
                <c:pt idx="5184">
                  <c:v>14.4</c:v>
                </c:pt>
                <c:pt idx="5185">
                  <c:v>14.402777777777779</c:v>
                </c:pt>
                <c:pt idx="5186">
                  <c:v>14.405555555555555</c:v>
                </c:pt>
                <c:pt idx="5187">
                  <c:v>14.408333333333333</c:v>
                </c:pt>
                <c:pt idx="5188">
                  <c:v>14.411111111111111</c:v>
                </c:pt>
                <c:pt idx="5189">
                  <c:v>14.41388888888889</c:v>
                </c:pt>
                <c:pt idx="5190">
                  <c:v>14.416666666666666</c:v>
                </c:pt>
                <c:pt idx="5191">
                  <c:v>14.419444444444444</c:v>
                </c:pt>
                <c:pt idx="5192">
                  <c:v>14.422222222222222</c:v>
                </c:pt>
                <c:pt idx="5193">
                  <c:v>14.425000000000001</c:v>
                </c:pt>
                <c:pt idx="5194">
                  <c:v>14.427777777777777</c:v>
                </c:pt>
                <c:pt idx="5195">
                  <c:v>14.430555555555555</c:v>
                </c:pt>
                <c:pt idx="5196">
                  <c:v>14.433333333333334</c:v>
                </c:pt>
                <c:pt idx="5197">
                  <c:v>14.436111111111112</c:v>
                </c:pt>
                <c:pt idx="5198">
                  <c:v>14.438888888888888</c:v>
                </c:pt>
                <c:pt idx="5199">
                  <c:v>14.441666666666666</c:v>
                </c:pt>
                <c:pt idx="5200">
                  <c:v>14.444444444444445</c:v>
                </c:pt>
                <c:pt idx="5201">
                  <c:v>14.447222222222223</c:v>
                </c:pt>
                <c:pt idx="5202">
                  <c:v>14.45</c:v>
                </c:pt>
                <c:pt idx="5203">
                  <c:v>14.452777777777778</c:v>
                </c:pt>
                <c:pt idx="5204">
                  <c:v>14.455555555555556</c:v>
                </c:pt>
                <c:pt idx="5205">
                  <c:v>14.458333333333334</c:v>
                </c:pt>
                <c:pt idx="5206">
                  <c:v>14.46111111111111</c:v>
                </c:pt>
                <c:pt idx="5207">
                  <c:v>14.463888888888889</c:v>
                </c:pt>
                <c:pt idx="5208">
                  <c:v>14.466666666666667</c:v>
                </c:pt>
                <c:pt idx="5209">
                  <c:v>14.469444444444445</c:v>
                </c:pt>
                <c:pt idx="5210">
                  <c:v>14.472222222222221</c:v>
                </c:pt>
                <c:pt idx="5211">
                  <c:v>14.475</c:v>
                </c:pt>
                <c:pt idx="5212">
                  <c:v>14.477777777777778</c:v>
                </c:pt>
                <c:pt idx="5213">
                  <c:v>14.480555555555556</c:v>
                </c:pt>
                <c:pt idx="5214">
                  <c:v>14.483333333333333</c:v>
                </c:pt>
                <c:pt idx="5215">
                  <c:v>14.486111111111111</c:v>
                </c:pt>
                <c:pt idx="5216">
                  <c:v>14.488888888888889</c:v>
                </c:pt>
                <c:pt idx="5217">
                  <c:v>14.491666666666667</c:v>
                </c:pt>
                <c:pt idx="5218">
                  <c:v>14.494444444444444</c:v>
                </c:pt>
                <c:pt idx="5219">
                  <c:v>14.497222222222222</c:v>
                </c:pt>
                <c:pt idx="5220">
                  <c:v>14.5</c:v>
                </c:pt>
                <c:pt idx="5221">
                  <c:v>14.502777777777778</c:v>
                </c:pt>
                <c:pt idx="5222">
                  <c:v>14.505555555555556</c:v>
                </c:pt>
                <c:pt idx="5223">
                  <c:v>14.508333333333333</c:v>
                </c:pt>
                <c:pt idx="5224">
                  <c:v>14.511111111111111</c:v>
                </c:pt>
                <c:pt idx="5225">
                  <c:v>14.513888888888889</c:v>
                </c:pt>
                <c:pt idx="5226">
                  <c:v>14.516666666666667</c:v>
                </c:pt>
                <c:pt idx="5227">
                  <c:v>14.519444444444444</c:v>
                </c:pt>
                <c:pt idx="5228">
                  <c:v>14.522222222222222</c:v>
                </c:pt>
                <c:pt idx="5229">
                  <c:v>14.525</c:v>
                </c:pt>
                <c:pt idx="5230">
                  <c:v>14.527777777777779</c:v>
                </c:pt>
                <c:pt idx="5231">
                  <c:v>14.530555555555555</c:v>
                </c:pt>
                <c:pt idx="5232">
                  <c:v>14.533333333333333</c:v>
                </c:pt>
                <c:pt idx="5233">
                  <c:v>14.536111111111111</c:v>
                </c:pt>
                <c:pt idx="5234">
                  <c:v>14.53888888888889</c:v>
                </c:pt>
                <c:pt idx="5235">
                  <c:v>14.541666666666666</c:v>
                </c:pt>
                <c:pt idx="5236">
                  <c:v>14.544444444444444</c:v>
                </c:pt>
                <c:pt idx="5237">
                  <c:v>14.547222222222222</c:v>
                </c:pt>
                <c:pt idx="5238">
                  <c:v>14.55</c:v>
                </c:pt>
                <c:pt idx="5239">
                  <c:v>14.552777777777777</c:v>
                </c:pt>
                <c:pt idx="5240">
                  <c:v>14.555555555555555</c:v>
                </c:pt>
                <c:pt idx="5241">
                  <c:v>14.558333333333334</c:v>
                </c:pt>
                <c:pt idx="5242">
                  <c:v>14.561111111111112</c:v>
                </c:pt>
                <c:pt idx="5243">
                  <c:v>14.563888888888888</c:v>
                </c:pt>
                <c:pt idx="5244">
                  <c:v>14.566666666666666</c:v>
                </c:pt>
                <c:pt idx="5245">
                  <c:v>14.569444444444445</c:v>
                </c:pt>
                <c:pt idx="5246">
                  <c:v>14.572222222222223</c:v>
                </c:pt>
                <c:pt idx="5247">
                  <c:v>14.574999999999999</c:v>
                </c:pt>
                <c:pt idx="5248">
                  <c:v>14.577777777777778</c:v>
                </c:pt>
                <c:pt idx="5249">
                  <c:v>14.580555555555556</c:v>
                </c:pt>
                <c:pt idx="5250">
                  <c:v>14.583333333333334</c:v>
                </c:pt>
                <c:pt idx="5251">
                  <c:v>14.58611111111111</c:v>
                </c:pt>
                <c:pt idx="5252">
                  <c:v>14.588888888888889</c:v>
                </c:pt>
                <c:pt idx="5253">
                  <c:v>14.591666666666667</c:v>
                </c:pt>
                <c:pt idx="5254">
                  <c:v>14.594444444444445</c:v>
                </c:pt>
                <c:pt idx="5255">
                  <c:v>14.597222222222221</c:v>
                </c:pt>
                <c:pt idx="5256">
                  <c:v>14.6</c:v>
                </c:pt>
                <c:pt idx="5257">
                  <c:v>14.602777777777778</c:v>
                </c:pt>
                <c:pt idx="5258">
                  <c:v>14.605555555555556</c:v>
                </c:pt>
                <c:pt idx="5259">
                  <c:v>14.608333333333333</c:v>
                </c:pt>
                <c:pt idx="5260">
                  <c:v>14.611111111111111</c:v>
                </c:pt>
                <c:pt idx="5261">
                  <c:v>14.613888888888889</c:v>
                </c:pt>
                <c:pt idx="5262">
                  <c:v>14.616666666666667</c:v>
                </c:pt>
                <c:pt idx="5263">
                  <c:v>14.619444444444444</c:v>
                </c:pt>
                <c:pt idx="5264">
                  <c:v>14.622222222222222</c:v>
                </c:pt>
                <c:pt idx="5265">
                  <c:v>14.625</c:v>
                </c:pt>
                <c:pt idx="5266">
                  <c:v>14.627777777777778</c:v>
                </c:pt>
                <c:pt idx="5267">
                  <c:v>14.630555555555556</c:v>
                </c:pt>
                <c:pt idx="5268">
                  <c:v>14.633333333333333</c:v>
                </c:pt>
                <c:pt idx="5269">
                  <c:v>14.636111111111111</c:v>
                </c:pt>
                <c:pt idx="5270">
                  <c:v>14.638888888888889</c:v>
                </c:pt>
                <c:pt idx="5271">
                  <c:v>14.641666666666667</c:v>
                </c:pt>
                <c:pt idx="5272">
                  <c:v>14.644444444444444</c:v>
                </c:pt>
                <c:pt idx="5273">
                  <c:v>14.647222222222222</c:v>
                </c:pt>
                <c:pt idx="5274">
                  <c:v>14.65</c:v>
                </c:pt>
                <c:pt idx="5275">
                  <c:v>14.652777777777779</c:v>
                </c:pt>
                <c:pt idx="5276">
                  <c:v>14.655555555555555</c:v>
                </c:pt>
                <c:pt idx="5277">
                  <c:v>14.658333333333333</c:v>
                </c:pt>
                <c:pt idx="5278">
                  <c:v>14.661111111111111</c:v>
                </c:pt>
                <c:pt idx="5279">
                  <c:v>14.66388888888889</c:v>
                </c:pt>
                <c:pt idx="5280">
                  <c:v>14.666666666666666</c:v>
                </c:pt>
                <c:pt idx="5281">
                  <c:v>14.669444444444444</c:v>
                </c:pt>
                <c:pt idx="5282">
                  <c:v>14.672222222222222</c:v>
                </c:pt>
                <c:pt idx="5283">
                  <c:v>14.675000000000001</c:v>
                </c:pt>
                <c:pt idx="5284">
                  <c:v>14.677777777777777</c:v>
                </c:pt>
                <c:pt idx="5285">
                  <c:v>14.680555555555555</c:v>
                </c:pt>
                <c:pt idx="5286">
                  <c:v>14.683333333333334</c:v>
                </c:pt>
                <c:pt idx="5287">
                  <c:v>14.686111111111112</c:v>
                </c:pt>
                <c:pt idx="5288">
                  <c:v>14.688888888888888</c:v>
                </c:pt>
                <c:pt idx="5289">
                  <c:v>14.691666666666666</c:v>
                </c:pt>
                <c:pt idx="5290">
                  <c:v>14.694444444444445</c:v>
                </c:pt>
                <c:pt idx="5291">
                  <c:v>14.697222222222223</c:v>
                </c:pt>
                <c:pt idx="5292">
                  <c:v>14.7</c:v>
                </c:pt>
                <c:pt idx="5293">
                  <c:v>14.702777777777778</c:v>
                </c:pt>
                <c:pt idx="5294">
                  <c:v>14.705555555555556</c:v>
                </c:pt>
                <c:pt idx="5295">
                  <c:v>14.708333333333334</c:v>
                </c:pt>
                <c:pt idx="5296">
                  <c:v>14.71111111111111</c:v>
                </c:pt>
                <c:pt idx="5297">
                  <c:v>14.713888888888889</c:v>
                </c:pt>
                <c:pt idx="5298">
                  <c:v>14.716666666666667</c:v>
                </c:pt>
                <c:pt idx="5299">
                  <c:v>14.719444444444445</c:v>
                </c:pt>
                <c:pt idx="5300">
                  <c:v>14.722222222222221</c:v>
                </c:pt>
                <c:pt idx="5301">
                  <c:v>14.725</c:v>
                </c:pt>
                <c:pt idx="5302">
                  <c:v>14.727777777777778</c:v>
                </c:pt>
                <c:pt idx="5303">
                  <c:v>14.730555555555556</c:v>
                </c:pt>
                <c:pt idx="5304">
                  <c:v>14.733333333333333</c:v>
                </c:pt>
                <c:pt idx="5305">
                  <c:v>14.736111111111111</c:v>
                </c:pt>
                <c:pt idx="5306">
                  <c:v>14.738888888888889</c:v>
                </c:pt>
                <c:pt idx="5307">
                  <c:v>14.741666666666667</c:v>
                </c:pt>
                <c:pt idx="5308">
                  <c:v>14.744444444444444</c:v>
                </c:pt>
                <c:pt idx="5309">
                  <c:v>14.747222222222222</c:v>
                </c:pt>
                <c:pt idx="5310">
                  <c:v>14.75</c:v>
                </c:pt>
                <c:pt idx="5311">
                  <c:v>14.752777777777778</c:v>
                </c:pt>
                <c:pt idx="5312">
                  <c:v>14.755555555555556</c:v>
                </c:pt>
                <c:pt idx="5313">
                  <c:v>14.758333333333333</c:v>
                </c:pt>
                <c:pt idx="5314">
                  <c:v>14.761111111111111</c:v>
                </c:pt>
                <c:pt idx="5315">
                  <c:v>14.763888888888889</c:v>
                </c:pt>
                <c:pt idx="5316">
                  <c:v>14.766666666666667</c:v>
                </c:pt>
                <c:pt idx="5317">
                  <c:v>14.769444444444444</c:v>
                </c:pt>
                <c:pt idx="5318">
                  <c:v>14.772222222222222</c:v>
                </c:pt>
                <c:pt idx="5319">
                  <c:v>14.775</c:v>
                </c:pt>
                <c:pt idx="5320">
                  <c:v>14.777777777777779</c:v>
                </c:pt>
                <c:pt idx="5321">
                  <c:v>14.780555555555555</c:v>
                </c:pt>
                <c:pt idx="5322">
                  <c:v>14.783333333333333</c:v>
                </c:pt>
                <c:pt idx="5323">
                  <c:v>14.786111111111111</c:v>
                </c:pt>
                <c:pt idx="5324">
                  <c:v>14.78888888888889</c:v>
                </c:pt>
                <c:pt idx="5325">
                  <c:v>14.791666666666666</c:v>
                </c:pt>
                <c:pt idx="5326">
                  <c:v>14.794444444444444</c:v>
                </c:pt>
                <c:pt idx="5327">
                  <c:v>14.797222222222222</c:v>
                </c:pt>
                <c:pt idx="5328">
                  <c:v>14.8</c:v>
                </c:pt>
                <c:pt idx="5329">
                  <c:v>14.802777777777777</c:v>
                </c:pt>
                <c:pt idx="5330">
                  <c:v>14.805555555555555</c:v>
                </c:pt>
                <c:pt idx="5331">
                  <c:v>14.808333333333334</c:v>
                </c:pt>
                <c:pt idx="5332">
                  <c:v>14.811111111111112</c:v>
                </c:pt>
                <c:pt idx="5333">
                  <c:v>14.813888888888888</c:v>
                </c:pt>
                <c:pt idx="5334">
                  <c:v>14.816666666666666</c:v>
                </c:pt>
                <c:pt idx="5335">
                  <c:v>14.819444444444445</c:v>
                </c:pt>
                <c:pt idx="5336">
                  <c:v>14.822222222222223</c:v>
                </c:pt>
                <c:pt idx="5337">
                  <c:v>14.824999999999999</c:v>
                </c:pt>
                <c:pt idx="5338">
                  <c:v>14.827777777777778</c:v>
                </c:pt>
                <c:pt idx="5339">
                  <c:v>14.830555555555556</c:v>
                </c:pt>
                <c:pt idx="5340">
                  <c:v>14.833333333333334</c:v>
                </c:pt>
                <c:pt idx="5341">
                  <c:v>14.83611111111111</c:v>
                </c:pt>
                <c:pt idx="5342">
                  <c:v>14.838888888888889</c:v>
                </c:pt>
                <c:pt idx="5343">
                  <c:v>14.841666666666667</c:v>
                </c:pt>
                <c:pt idx="5344">
                  <c:v>14.844444444444445</c:v>
                </c:pt>
                <c:pt idx="5345">
                  <c:v>14.847222222222221</c:v>
                </c:pt>
                <c:pt idx="5346">
                  <c:v>14.85</c:v>
                </c:pt>
                <c:pt idx="5347">
                  <c:v>14.852777777777778</c:v>
                </c:pt>
                <c:pt idx="5348">
                  <c:v>14.855555555555556</c:v>
                </c:pt>
                <c:pt idx="5349">
                  <c:v>14.858333333333333</c:v>
                </c:pt>
                <c:pt idx="5350">
                  <c:v>14.861111111111111</c:v>
                </c:pt>
                <c:pt idx="5351">
                  <c:v>14.863888888888889</c:v>
                </c:pt>
                <c:pt idx="5352">
                  <c:v>14.866666666666667</c:v>
                </c:pt>
                <c:pt idx="5353">
                  <c:v>14.869444444444444</c:v>
                </c:pt>
                <c:pt idx="5354">
                  <c:v>14.872222222222222</c:v>
                </c:pt>
                <c:pt idx="5355">
                  <c:v>14.875</c:v>
                </c:pt>
                <c:pt idx="5356">
                  <c:v>14.877777777777778</c:v>
                </c:pt>
                <c:pt idx="5357">
                  <c:v>14.880555555555556</c:v>
                </c:pt>
                <c:pt idx="5358">
                  <c:v>14.883333333333333</c:v>
                </c:pt>
                <c:pt idx="5359">
                  <c:v>14.886111111111111</c:v>
                </c:pt>
                <c:pt idx="5360">
                  <c:v>14.888888888888889</c:v>
                </c:pt>
                <c:pt idx="5361">
                  <c:v>14.891666666666667</c:v>
                </c:pt>
                <c:pt idx="5362">
                  <c:v>14.894444444444444</c:v>
                </c:pt>
                <c:pt idx="5363">
                  <c:v>14.897222222222222</c:v>
                </c:pt>
                <c:pt idx="5364">
                  <c:v>14.9</c:v>
                </c:pt>
                <c:pt idx="5365">
                  <c:v>14.902777777777779</c:v>
                </c:pt>
                <c:pt idx="5366">
                  <c:v>14.905555555555555</c:v>
                </c:pt>
                <c:pt idx="5367">
                  <c:v>14.908333333333333</c:v>
                </c:pt>
                <c:pt idx="5368">
                  <c:v>14.911111111111111</c:v>
                </c:pt>
                <c:pt idx="5369">
                  <c:v>14.91388888888889</c:v>
                </c:pt>
                <c:pt idx="5370">
                  <c:v>14.916666666666666</c:v>
                </c:pt>
                <c:pt idx="5371">
                  <c:v>14.919444444444444</c:v>
                </c:pt>
                <c:pt idx="5372">
                  <c:v>14.922222222222222</c:v>
                </c:pt>
                <c:pt idx="5373">
                  <c:v>14.925000000000001</c:v>
                </c:pt>
                <c:pt idx="5374">
                  <c:v>14.927777777777777</c:v>
                </c:pt>
                <c:pt idx="5375">
                  <c:v>14.930555555555555</c:v>
                </c:pt>
                <c:pt idx="5376">
                  <c:v>14.933333333333334</c:v>
                </c:pt>
                <c:pt idx="5377">
                  <c:v>14.936111111111112</c:v>
                </c:pt>
                <c:pt idx="5378">
                  <c:v>14.938888888888888</c:v>
                </c:pt>
                <c:pt idx="5379">
                  <c:v>14.941666666666666</c:v>
                </c:pt>
                <c:pt idx="5380">
                  <c:v>14.944444444444445</c:v>
                </c:pt>
                <c:pt idx="5381">
                  <c:v>14.947222222222223</c:v>
                </c:pt>
                <c:pt idx="5382">
                  <c:v>14.95</c:v>
                </c:pt>
                <c:pt idx="5383">
                  <c:v>14.952777777777778</c:v>
                </c:pt>
                <c:pt idx="5384">
                  <c:v>14.955555555555556</c:v>
                </c:pt>
                <c:pt idx="5385">
                  <c:v>14.958333333333334</c:v>
                </c:pt>
                <c:pt idx="5386">
                  <c:v>14.96111111111111</c:v>
                </c:pt>
                <c:pt idx="5387">
                  <c:v>14.963888888888889</c:v>
                </c:pt>
                <c:pt idx="5388">
                  <c:v>14.966666666666667</c:v>
                </c:pt>
                <c:pt idx="5389">
                  <c:v>14.969444444444445</c:v>
                </c:pt>
                <c:pt idx="5390">
                  <c:v>14.972222222222221</c:v>
                </c:pt>
                <c:pt idx="5391">
                  <c:v>14.975</c:v>
                </c:pt>
                <c:pt idx="5392">
                  <c:v>14.977777777777778</c:v>
                </c:pt>
                <c:pt idx="5393">
                  <c:v>14.980555555555556</c:v>
                </c:pt>
                <c:pt idx="5394">
                  <c:v>14.983333333333333</c:v>
                </c:pt>
                <c:pt idx="5395">
                  <c:v>14.986111111111111</c:v>
                </c:pt>
                <c:pt idx="5396">
                  <c:v>14.988888888888889</c:v>
                </c:pt>
                <c:pt idx="5397">
                  <c:v>14.991666666666667</c:v>
                </c:pt>
                <c:pt idx="5398">
                  <c:v>14.994444444444444</c:v>
                </c:pt>
                <c:pt idx="5399">
                  <c:v>14.997222222222222</c:v>
                </c:pt>
                <c:pt idx="5400">
                  <c:v>15</c:v>
                </c:pt>
                <c:pt idx="5401">
                  <c:v>15.002777777777778</c:v>
                </c:pt>
                <c:pt idx="5402">
                  <c:v>15.005555555555556</c:v>
                </c:pt>
                <c:pt idx="5403">
                  <c:v>15.008333333333333</c:v>
                </c:pt>
                <c:pt idx="5404">
                  <c:v>15.011111111111111</c:v>
                </c:pt>
                <c:pt idx="5405">
                  <c:v>15.013888888888889</c:v>
                </c:pt>
                <c:pt idx="5406">
                  <c:v>15.016666666666667</c:v>
                </c:pt>
                <c:pt idx="5407">
                  <c:v>15.019444444444444</c:v>
                </c:pt>
                <c:pt idx="5408">
                  <c:v>15.022222222222222</c:v>
                </c:pt>
                <c:pt idx="5409">
                  <c:v>15.025</c:v>
                </c:pt>
                <c:pt idx="5410">
                  <c:v>15.027777777777779</c:v>
                </c:pt>
                <c:pt idx="5411">
                  <c:v>15.030555555555555</c:v>
                </c:pt>
                <c:pt idx="5412">
                  <c:v>15.033333333333333</c:v>
                </c:pt>
                <c:pt idx="5413">
                  <c:v>15.036111111111111</c:v>
                </c:pt>
                <c:pt idx="5414">
                  <c:v>15.03888888888889</c:v>
                </c:pt>
                <c:pt idx="5415">
                  <c:v>15.041666666666666</c:v>
                </c:pt>
                <c:pt idx="5416">
                  <c:v>15.044444444444444</c:v>
                </c:pt>
                <c:pt idx="5417">
                  <c:v>15.047222222222222</c:v>
                </c:pt>
                <c:pt idx="5418">
                  <c:v>15.05</c:v>
                </c:pt>
                <c:pt idx="5419">
                  <c:v>15.052777777777777</c:v>
                </c:pt>
                <c:pt idx="5420">
                  <c:v>15.055555555555555</c:v>
                </c:pt>
                <c:pt idx="5421">
                  <c:v>15.058333333333334</c:v>
                </c:pt>
                <c:pt idx="5422">
                  <c:v>15.061111111111112</c:v>
                </c:pt>
                <c:pt idx="5423">
                  <c:v>15.063888888888888</c:v>
                </c:pt>
                <c:pt idx="5424">
                  <c:v>15.066666666666666</c:v>
                </c:pt>
                <c:pt idx="5425">
                  <c:v>15.069444444444445</c:v>
                </c:pt>
                <c:pt idx="5426">
                  <c:v>15.072222222222223</c:v>
                </c:pt>
                <c:pt idx="5427">
                  <c:v>15.074999999999999</c:v>
                </c:pt>
                <c:pt idx="5428">
                  <c:v>15.077777777777778</c:v>
                </c:pt>
                <c:pt idx="5429">
                  <c:v>15.080555555555556</c:v>
                </c:pt>
                <c:pt idx="5430">
                  <c:v>15.083333333333334</c:v>
                </c:pt>
                <c:pt idx="5431">
                  <c:v>15.08611111111111</c:v>
                </c:pt>
                <c:pt idx="5432">
                  <c:v>15.088888888888889</c:v>
                </c:pt>
                <c:pt idx="5433">
                  <c:v>15.091666666666667</c:v>
                </c:pt>
                <c:pt idx="5434">
                  <c:v>15.094444444444445</c:v>
                </c:pt>
                <c:pt idx="5435">
                  <c:v>15.097222222222221</c:v>
                </c:pt>
                <c:pt idx="5436">
                  <c:v>15.1</c:v>
                </c:pt>
                <c:pt idx="5437">
                  <c:v>15.102777777777778</c:v>
                </c:pt>
                <c:pt idx="5438">
                  <c:v>15.105555555555556</c:v>
                </c:pt>
                <c:pt idx="5439">
                  <c:v>15.108333333333333</c:v>
                </c:pt>
                <c:pt idx="5440">
                  <c:v>15.111111111111111</c:v>
                </c:pt>
                <c:pt idx="5441">
                  <c:v>15.113888888888889</c:v>
                </c:pt>
                <c:pt idx="5442">
                  <c:v>15.116666666666667</c:v>
                </c:pt>
                <c:pt idx="5443">
                  <c:v>15.119444444444444</c:v>
                </c:pt>
                <c:pt idx="5444">
                  <c:v>15.122222222222222</c:v>
                </c:pt>
                <c:pt idx="5445">
                  <c:v>15.125</c:v>
                </c:pt>
                <c:pt idx="5446">
                  <c:v>15.127777777777778</c:v>
                </c:pt>
                <c:pt idx="5447">
                  <c:v>15.130555555555556</c:v>
                </c:pt>
                <c:pt idx="5448">
                  <c:v>15.133333333333333</c:v>
                </c:pt>
                <c:pt idx="5449">
                  <c:v>15.136111111111111</c:v>
                </c:pt>
                <c:pt idx="5450">
                  <c:v>15.138888888888889</c:v>
                </c:pt>
                <c:pt idx="5451">
                  <c:v>15.141666666666667</c:v>
                </c:pt>
                <c:pt idx="5452">
                  <c:v>15.144444444444444</c:v>
                </c:pt>
                <c:pt idx="5453">
                  <c:v>15.147222222222222</c:v>
                </c:pt>
                <c:pt idx="5454">
                  <c:v>15.15</c:v>
                </c:pt>
                <c:pt idx="5455">
                  <c:v>15.152777777777779</c:v>
                </c:pt>
                <c:pt idx="5456">
                  <c:v>15.155555555555555</c:v>
                </c:pt>
                <c:pt idx="5457">
                  <c:v>15.158333333333333</c:v>
                </c:pt>
                <c:pt idx="5458">
                  <c:v>15.161111111111111</c:v>
                </c:pt>
                <c:pt idx="5459">
                  <c:v>15.16388888888889</c:v>
                </c:pt>
                <c:pt idx="5460">
                  <c:v>15.166666666666666</c:v>
                </c:pt>
                <c:pt idx="5461">
                  <c:v>15.169444444444444</c:v>
                </c:pt>
                <c:pt idx="5462">
                  <c:v>15.172222222222222</c:v>
                </c:pt>
                <c:pt idx="5463">
                  <c:v>15.175000000000001</c:v>
                </c:pt>
                <c:pt idx="5464">
                  <c:v>15.177777777777777</c:v>
                </c:pt>
                <c:pt idx="5465">
                  <c:v>15.180555555555555</c:v>
                </c:pt>
                <c:pt idx="5466">
                  <c:v>15.183333333333334</c:v>
                </c:pt>
                <c:pt idx="5467">
                  <c:v>15.186111111111112</c:v>
                </c:pt>
                <c:pt idx="5468">
                  <c:v>15.188888888888888</c:v>
                </c:pt>
                <c:pt idx="5469">
                  <c:v>15.191666666666666</c:v>
                </c:pt>
                <c:pt idx="5470">
                  <c:v>15.194444444444445</c:v>
                </c:pt>
                <c:pt idx="5471">
                  <c:v>15.197222222222223</c:v>
                </c:pt>
                <c:pt idx="5472">
                  <c:v>15.2</c:v>
                </c:pt>
                <c:pt idx="5473">
                  <c:v>15.202777777777778</c:v>
                </c:pt>
                <c:pt idx="5474">
                  <c:v>15.205555555555556</c:v>
                </c:pt>
                <c:pt idx="5475">
                  <c:v>15.208333333333334</c:v>
                </c:pt>
                <c:pt idx="5476">
                  <c:v>15.21111111111111</c:v>
                </c:pt>
                <c:pt idx="5477">
                  <c:v>15.213888888888889</c:v>
                </c:pt>
                <c:pt idx="5478">
                  <c:v>15.216666666666667</c:v>
                </c:pt>
                <c:pt idx="5479">
                  <c:v>15.219444444444445</c:v>
                </c:pt>
                <c:pt idx="5480">
                  <c:v>15.222222222222221</c:v>
                </c:pt>
                <c:pt idx="5481">
                  <c:v>15.225</c:v>
                </c:pt>
                <c:pt idx="5482">
                  <c:v>15.227777777777778</c:v>
                </c:pt>
                <c:pt idx="5483">
                  <c:v>15.230555555555556</c:v>
                </c:pt>
                <c:pt idx="5484">
                  <c:v>15.233333333333333</c:v>
                </c:pt>
                <c:pt idx="5485">
                  <c:v>15.236111111111111</c:v>
                </c:pt>
                <c:pt idx="5486">
                  <c:v>15.238888888888889</c:v>
                </c:pt>
                <c:pt idx="5487">
                  <c:v>15.241666666666667</c:v>
                </c:pt>
                <c:pt idx="5488">
                  <c:v>15.244444444444444</c:v>
                </c:pt>
                <c:pt idx="5489">
                  <c:v>15.247222222222222</c:v>
                </c:pt>
                <c:pt idx="5490">
                  <c:v>15.25</c:v>
                </c:pt>
                <c:pt idx="5491">
                  <c:v>15.252777777777778</c:v>
                </c:pt>
                <c:pt idx="5492">
                  <c:v>15.255555555555556</c:v>
                </c:pt>
                <c:pt idx="5493">
                  <c:v>15.258333333333333</c:v>
                </c:pt>
                <c:pt idx="5494">
                  <c:v>15.261111111111111</c:v>
                </c:pt>
                <c:pt idx="5495">
                  <c:v>15.263888888888889</c:v>
                </c:pt>
                <c:pt idx="5496">
                  <c:v>15.266666666666667</c:v>
                </c:pt>
                <c:pt idx="5497">
                  <c:v>15.269444444444444</c:v>
                </c:pt>
                <c:pt idx="5498">
                  <c:v>15.272222222222222</c:v>
                </c:pt>
                <c:pt idx="5499">
                  <c:v>15.275</c:v>
                </c:pt>
                <c:pt idx="5500">
                  <c:v>15.277777777777779</c:v>
                </c:pt>
                <c:pt idx="5501">
                  <c:v>15.280555555555555</c:v>
                </c:pt>
                <c:pt idx="5502">
                  <c:v>15.283333333333333</c:v>
                </c:pt>
                <c:pt idx="5503">
                  <c:v>15.286111111111111</c:v>
                </c:pt>
                <c:pt idx="5504">
                  <c:v>15.28888888888889</c:v>
                </c:pt>
                <c:pt idx="5505">
                  <c:v>15.291666666666666</c:v>
                </c:pt>
                <c:pt idx="5506">
                  <c:v>15.294444444444444</c:v>
                </c:pt>
                <c:pt idx="5507">
                  <c:v>15.297222222222222</c:v>
                </c:pt>
                <c:pt idx="5508">
                  <c:v>15.3</c:v>
                </c:pt>
                <c:pt idx="5509">
                  <c:v>15.302777777777777</c:v>
                </c:pt>
                <c:pt idx="5510">
                  <c:v>15.305555555555555</c:v>
                </c:pt>
                <c:pt idx="5511">
                  <c:v>15.308333333333334</c:v>
                </c:pt>
                <c:pt idx="5512">
                  <c:v>15.311111111111112</c:v>
                </c:pt>
                <c:pt idx="5513">
                  <c:v>15.313888888888888</c:v>
                </c:pt>
                <c:pt idx="5514">
                  <c:v>15.316666666666666</c:v>
                </c:pt>
                <c:pt idx="5515">
                  <c:v>15.319444444444445</c:v>
                </c:pt>
                <c:pt idx="5516">
                  <c:v>15.322222222222223</c:v>
                </c:pt>
                <c:pt idx="5517">
                  <c:v>15.324999999999999</c:v>
                </c:pt>
                <c:pt idx="5518">
                  <c:v>15.327777777777778</c:v>
                </c:pt>
                <c:pt idx="5519">
                  <c:v>15.330555555555556</c:v>
                </c:pt>
                <c:pt idx="5520">
                  <c:v>15.333333333333334</c:v>
                </c:pt>
                <c:pt idx="5521">
                  <c:v>15.33611111111111</c:v>
                </c:pt>
                <c:pt idx="5522">
                  <c:v>15.338888888888889</c:v>
                </c:pt>
                <c:pt idx="5523">
                  <c:v>15.341666666666667</c:v>
                </c:pt>
                <c:pt idx="5524">
                  <c:v>15.344444444444445</c:v>
                </c:pt>
                <c:pt idx="5525">
                  <c:v>15.347222222222221</c:v>
                </c:pt>
                <c:pt idx="5526">
                  <c:v>15.35</c:v>
                </c:pt>
                <c:pt idx="5527">
                  <c:v>15.352777777777778</c:v>
                </c:pt>
                <c:pt idx="5528">
                  <c:v>15.355555555555556</c:v>
                </c:pt>
                <c:pt idx="5529">
                  <c:v>15.358333333333333</c:v>
                </c:pt>
                <c:pt idx="5530">
                  <c:v>15.361111111111111</c:v>
                </c:pt>
                <c:pt idx="5531">
                  <c:v>15.363888888888889</c:v>
                </c:pt>
                <c:pt idx="5532">
                  <c:v>15.366666666666667</c:v>
                </c:pt>
                <c:pt idx="5533">
                  <c:v>15.369444444444444</c:v>
                </c:pt>
                <c:pt idx="5534">
                  <c:v>15.372222222222222</c:v>
                </c:pt>
                <c:pt idx="5535">
                  <c:v>15.375</c:v>
                </c:pt>
                <c:pt idx="5536">
                  <c:v>15.377777777777778</c:v>
                </c:pt>
                <c:pt idx="5537">
                  <c:v>15.380555555555556</c:v>
                </c:pt>
                <c:pt idx="5538">
                  <c:v>15.383333333333333</c:v>
                </c:pt>
                <c:pt idx="5539">
                  <c:v>15.386111111111111</c:v>
                </c:pt>
                <c:pt idx="5540">
                  <c:v>15.388888888888889</c:v>
                </c:pt>
                <c:pt idx="5541">
                  <c:v>15.391666666666667</c:v>
                </c:pt>
                <c:pt idx="5542">
                  <c:v>15.394444444444444</c:v>
                </c:pt>
                <c:pt idx="5543">
                  <c:v>15.397222222222222</c:v>
                </c:pt>
                <c:pt idx="5544">
                  <c:v>15.4</c:v>
                </c:pt>
                <c:pt idx="5545">
                  <c:v>15.402777777777779</c:v>
                </c:pt>
                <c:pt idx="5546">
                  <c:v>15.405555555555555</c:v>
                </c:pt>
                <c:pt idx="5547">
                  <c:v>15.408333333333333</c:v>
                </c:pt>
                <c:pt idx="5548">
                  <c:v>15.411111111111111</c:v>
                </c:pt>
                <c:pt idx="5549">
                  <c:v>15.41388888888889</c:v>
                </c:pt>
                <c:pt idx="5550">
                  <c:v>15.416666666666666</c:v>
                </c:pt>
                <c:pt idx="5551">
                  <c:v>15.419444444444444</c:v>
                </c:pt>
                <c:pt idx="5552">
                  <c:v>15.422222222222222</c:v>
                </c:pt>
                <c:pt idx="5553">
                  <c:v>15.425000000000001</c:v>
                </c:pt>
                <c:pt idx="5554">
                  <c:v>15.427777777777777</c:v>
                </c:pt>
                <c:pt idx="5555">
                  <c:v>15.430555555555555</c:v>
                </c:pt>
                <c:pt idx="5556">
                  <c:v>15.433333333333334</c:v>
                </c:pt>
                <c:pt idx="5557">
                  <c:v>15.436111111111112</c:v>
                </c:pt>
                <c:pt idx="5558">
                  <c:v>15.438888888888888</c:v>
                </c:pt>
                <c:pt idx="5559">
                  <c:v>15.441666666666666</c:v>
                </c:pt>
                <c:pt idx="5560">
                  <c:v>15.444444444444445</c:v>
                </c:pt>
                <c:pt idx="5561">
                  <c:v>15.447222222222223</c:v>
                </c:pt>
                <c:pt idx="5562">
                  <c:v>15.45</c:v>
                </c:pt>
                <c:pt idx="5563">
                  <c:v>15.452777777777778</c:v>
                </c:pt>
                <c:pt idx="5564">
                  <c:v>15.455555555555556</c:v>
                </c:pt>
                <c:pt idx="5565">
                  <c:v>15.458333333333334</c:v>
                </c:pt>
                <c:pt idx="5566">
                  <c:v>15.46111111111111</c:v>
                </c:pt>
                <c:pt idx="5567">
                  <c:v>15.463888888888889</c:v>
                </c:pt>
                <c:pt idx="5568">
                  <c:v>15.466666666666667</c:v>
                </c:pt>
                <c:pt idx="5569">
                  <c:v>15.469444444444445</c:v>
                </c:pt>
                <c:pt idx="5570">
                  <c:v>15.472222222222221</c:v>
                </c:pt>
                <c:pt idx="5571">
                  <c:v>15.475</c:v>
                </c:pt>
                <c:pt idx="5572">
                  <c:v>15.477777777777778</c:v>
                </c:pt>
                <c:pt idx="5573">
                  <c:v>15.480555555555556</c:v>
                </c:pt>
                <c:pt idx="5574">
                  <c:v>15.483333333333333</c:v>
                </c:pt>
                <c:pt idx="5575">
                  <c:v>15.486111111111111</c:v>
                </c:pt>
                <c:pt idx="5576">
                  <c:v>15.488888888888889</c:v>
                </c:pt>
                <c:pt idx="5577">
                  <c:v>15.491666666666667</c:v>
                </c:pt>
                <c:pt idx="5578">
                  <c:v>15.494444444444444</c:v>
                </c:pt>
                <c:pt idx="5579">
                  <c:v>15.497222222222222</c:v>
                </c:pt>
                <c:pt idx="5580">
                  <c:v>15.5</c:v>
                </c:pt>
                <c:pt idx="5581">
                  <c:v>15.502777777777778</c:v>
                </c:pt>
                <c:pt idx="5582">
                  <c:v>15.505555555555556</c:v>
                </c:pt>
                <c:pt idx="5583">
                  <c:v>15.508333333333333</c:v>
                </c:pt>
                <c:pt idx="5584">
                  <c:v>15.511111111111111</c:v>
                </c:pt>
                <c:pt idx="5585">
                  <c:v>15.513888888888889</c:v>
                </c:pt>
                <c:pt idx="5586">
                  <c:v>15.516666666666667</c:v>
                </c:pt>
                <c:pt idx="5587">
                  <c:v>15.519444444444444</c:v>
                </c:pt>
                <c:pt idx="5588">
                  <c:v>15.522222222222222</c:v>
                </c:pt>
                <c:pt idx="5589">
                  <c:v>15.525</c:v>
                </c:pt>
                <c:pt idx="5590">
                  <c:v>15.527777777777779</c:v>
                </c:pt>
                <c:pt idx="5591">
                  <c:v>15.530555555555555</c:v>
                </c:pt>
                <c:pt idx="5592">
                  <c:v>15.533333333333333</c:v>
                </c:pt>
                <c:pt idx="5593">
                  <c:v>15.536111111111111</c:v>
                </c:pt>
                <c:pt idx="5594">
                  <c:v>15.53888888888889</c:v>
                </c:pt>
                <c:pt idx="5595">
                  <c:v>15.541666666666666</c:v>
                </c:pt>
                <c:pt idx="5596">
                  <c:v>15.544444444444444</c:v>
                </c:pt>
                <c:pt idx="5597">
                  <c:v>15.547222222222222</c:v>
                </c:pt>
                <c:pt idx="5598">
                  <c:v>15.55</c:v>
                </c:pt>
                <c:pt idx="5599">
                  <c:v>15.552777777777777</c:v>
                </c:pt>
                <c:pt idx="5600">
                  <c:v>15.555555555555555</c:v>
                </c:pt>
                <c:pt idx="5601">
                  <c:v>15.558333333333334</c:v>
                </c:pt>
                <c:pt idx="5602">
                  <c:v>15.561111111111112</c:v>
                </c:pt>
                <c:pt idx="5603">
                  <c:v>15.563888888888888</c:v>
                </c:pt>
                <c:pt idx="5604">
                  <c:v>15.566666666666666</c:v>
                </c:pt>
                <c:pt idx="5605">
                  <c:v>15.569444444444445</c:v>
                </c:pt>
                <c:pt idx="5606">
                  <c:v>15.572222222222223</c:v>
                </c:pt>
                <c:pt idx="5607">
                  <c:v>15.574999999999999</c:v>
                </c:pt>
                <c:pt idx="5608">
                  <c:v>15.577777777777778</c:v>
                </c:pt>
                <c:pt idx="5609">
                  <c:v>15.580555555555556</c:v>
                </c:pt>
                <c:pt idx="5610">
                  <c:v>15.583333333333334</c:v>
                </c:pt>
                <c:pt idx="5611">
                  <c:v>15.58611111111111</c:v>
                </c:pt>
                <c:pt idx="5612">
                  <c:v>15.588888888888889</c:v>
                </c:pt>
                <c:pt idx="5613">
                  <c:v>15.591666666666667</c:v>
                </c:pt>
                <c:pt idx="5614">
                  <c:v>15.594444444444445</c:v>
                </c:pt>
                <c:pt idx="5615">
                  <c:v>15.597222222222221</c:v>
                </c:pt>
                <c:pt idx="5616">
                  <c:v>15.6</c:v>
                </c:pt>
                <c:pt idx="5617">
                  <c:v>15.602777777777778</c:v>
                </c:pt>
                <c:pt idx="5618">
                  <c:v>15.605555555555556</c:v>
                </c:pt>
                <c:pt idx="5619">
                  <c:v>15.608333333333333</c:v>
                </c:pt>
                <c:pt idx="5620">
                  <c:v>15.611111111111111</c:v>
                </c:pt>
                <c:pt idx="5621">
                  <c:v>15.613888888888889</c:v>
                </c:pt>
                <c:pt idx="5622">
                  <c:v>15.616666666666667</c:v>
                </c:pt>
                <c:pt idx="5623">
                  <c:v>15.619444444444444</c:v>
                </c:pt>
                <c:pt idx="5624">
                  <c:v>15.622222222222222</c:v>
                </c:pt>
                <c:pt idx="5625">
                  <c:v>15.625</c:v>
                </c:pt>
                <c:pt idx="5626">
                  <c:v>15.627777777777778</c:v>
                </c:pt>
                <c:pt idx="5627">
                  <c:v>15.630555555555556</c:v>
                </c:pt>
                <c:pt idx="5628">
                  <c:v>15.633333333333333</c:v>
                </c:pt>
                <c:pt idx="5629">
                  <c:v>15.636111111111111</c:v>
                </c:pt>
                <c:pt idx="5630">
                  <c:v>15.638888888888889</c:v>
                </c:pt>
                <c:pt idx="5631">
                  <c:v>15.641666666666667</c:v>
                </c:pt>
                <c:pt idx="5632">
                  <c:v>15.644444444444444</c:v>
                </c:pt>
                <c:pt idx="5633">
                  <c:v>15.647222222222222</c:v>
                </c:pt>
                <c:pt idx="5634">
                  <c:v>15.65</c:v>
                </c:pt>
                <c:pt idx="5635">
                  <c:v>15.652777777777779</c:v>
                </c:pt>
                <c:pt idx="5636">
                  <c:v>15.655555555555555</c:v>
                </c:pt>
                <c:pt idx="5637">
                  <c:v>15.658333333333333</c:v>
                </c:pt>
                <c:pt idx="5638">
                  <c:v>15.661111111111111</c:v>
                </c:pt>
                <c:pt idx="5639">
                  <c:v>15.66388888888889</c:v>
                </c:pt>
                <c:pt idx="5640">
                  <c:v>15.666666666666666</c:v>
                </c:pt>
                <c:pt idx="5641">
                  <c:v>15.669444444444444</c:v>
                </c:pt>
                <c:pt idx="5642">
                  <c:v>15.672222222222222</c:v>
                </c:pt>
                <c:pt idx="5643">
                  <c:v>15.675000000000001</c:v>
                </c:pt>
                <c:pt idx="5644">
                  <c:v>15.677777777777777</c:v>
                </c:pt>
                <c:pt idx="5645">
                  <c:v>15.680555555555555</c:v>
                </c:pt>
                <c:pt idx="5646">
                  <c:v>15.683333333333334</c:v>
                </c:pt>
                <c:pt idx="5647">
                  <c:v>15.686111111111112</c:v>
                </c:pt>
                <c:pt idx="5648">
                  <c:v>15.688888888888888</c:v>
                </c:pt>
                <c:pt idx="5649">
                  <c:v>15.691666666666666</c:v>
                </c:pt>
                <c:pt idx="5650">
                  <c:v>15.694444444444445</c:v>
                </c:pt>
                <c:pt idx="5651">
                  <c:v>15.697222222222223</c:v>
                </c:pt>
                <c:pt idx="5652">
                  <c:v>15.7</c:v>
                </c:pt>
                <c:pt idx="5653">
                  <c:v>15.702777777777778</c:v>
                </c:pt>
                <c:pt idx="5654">
                  <c:v>15.705555555555556</c:v>
                </c:pt>
                <c:pt idx="5655">
                  <c:v>15.708333333333334</c:v>
                </c:pt>
                <c:pt idx="5656">
                  <c:v>15.71111111111111</c:v>
                </c:pt>
                <c:pt idx="5657">
                  <c:v>15.713888888888889</c:v>
                </c:pt>
                <c:pt idx="5658">
                  <c:v>15.716666666666667</c:v>
                </c:pt>
                <c:pt idx="5659">
                  <c:v>15.719444444444445</c:v>
                </c:pt>
                <c:pt idx="5660">
                  <c:v>15.722222222222221</c:v>
                </c:pt>
                <c:pt idx="5661">
                  <c:v>15.725</c:v>
                </c:pt>
                <c:pt idx="5662">
                  <c:v>15.727777777777778</c:v>
                </c:pt>
                <c:pt idx="5663">
                  <c:v>15.730555555555556</c:v>
                </c:pt>
                <c:pt idx="5664">
                  <c:v>15.733333333333333</c:v>
                </c:pt>
                <c:pt idx="5665">
                  <c:v>15.736111111111111</c:v>
                </c:pt>
                <c:pt idx="5666">
                  <c:v>15.738888888888889</c:v>
                </c:pt>
                <c:pt idx="5667">
                  <c:v>15.741666666666667</c:v>
                </c:pt>
                <c:pt idx="5668">
                  <c:v>15.744444444444444</c:v>
                </c:pt>
                <c:pt idx="5669">
                  <c:v>15.747222222222222</c:v>
                </c:pt>
                <c:pt idx="5670">
                  <c:v>15.75</c:v>
                </c:pt>
                <c:pt idx="5671">
                  <c:v>15.752777777777778</c:v>
                </c:pt>
                <c:pt idx="5672">
                  <c:v>15.755555555555556</c:v>
                </c:pt>
                <c:pt idx="5673">
                  <c:v>15.758333333333333</c:v>
                </c:pt>
                <c:pt idx="5674">
                  <c:v>15.761111111111111</c:v>
                </c:pt>
                <c:pt idx="5675">
                  <c:v>15.763888888888889</c:v>
                </c:pt>
                <c:pt idx="5676">
                  <c:v>15.766666666666667</c:v>
                </c:pt>
                <c:pt idx="5677">
                  <c:v>15.769444444444444</c:v>
                </c:pt>
                <c:pt idx="5678">
                  <c:v>15.772222222222222</c:v>
                </c:pt>
                <c:pt idx="5679">
                  <c:v>15.775</c:v>
                </c:pt>
                <c:pt idx="5680">
                  <c:v>15.777777777777779</c:v>
                </c:pt>
                <c:pt idx="5681">
                  <c:v>15.780555555555555</c:v>
                </c:pt>
                <c:pt idx="5682">
                  <c:v>15.783333333333333</c:v>
                </c:pt>
                <c:pt idx="5683">
                  <c:v>15.786111111111111</c:v>
                </c:pt>
                <c:pt idx="5684">
                  <c:v>15.78888888888889</c:v>
                </c:pt>
                <c:pt idx="5685">
                  <c:v>15.791666666666666</c:v>
                </c:pt>
                <c:pt idx="5686">
                  <c:v>15.794444444444444</c:v>
                </c:pt>
                <c:pt idx="5687">
                  <c:v>15.797222222222222</c:v>
                </c:pt>
                <c:pt idx="5688">
                  <c:v>15.8</c:v>
                </c:pt>
                <c:pt idx="5689">
                  <c:v>15.802777777777777</c:v>
                </c:pt>
                <c:pt idx="5690">
                  <c:v>15.805555555555555</c:v>
                </c:pt>
                <c:pt idx="5691">
                  <c:v>15.808333333333334</c:v>
                </c:pt>
                <c:pt idx="5692">
                  <c:v>15.811111111111112</c:v>
                </c:pt>
                <c:pt idx="5693">
                  <c:v>15.813888888888888</c:v>
                </c:pt>
                <c:pt idx="5694">
                  <c:v>15.816666666666666</c:v>
                </c:pt>
                <c:pt idx="5695">
                  <c:v>15.819444444444445</c:v>
                </c:pt>
                <c:pt idx="5696">
                  <c:v>15.822222222222223</c:v>
                </c:pt>
                <c:pt idx="5697">
                  <c:v>15.824999999999999</c:v>
                </c:pt>
                <c:pt idx="5698">
                  <c:v>15.827777777777778</c:v>
                </c:pt>
                <c:pt idx="5699">
                  <c:v>15.830555555555556</c:v>
                </c:pt>
                <c:pt idx="5700">
                  <c:v>15.833333333333334</c:v>
                </c:pt>
                <c:pt idx="5701">
                  <c:v>15.83611111111111</c:v>
                </c:pt>
                <c:pt idx="5702">
                  <c:v>15.838888888888889</c:v>
                </c:pt>
                <c:pt idx="5703">
                  <c:v>15.841666666666667</c:v>
                </c:pt>
                <c:pt idx="5704">
                  <c:v>15.844444444444445</c:v>
                </c:pt>
                <c:pt idx="5705">
                  <c:v>15.847222222222221</c:v>
                </c:pt>
                <c:pt idx="5706">
                  <c:v>15.85</c:v>
                </c:pt>
                <c:pt idx="5707">
                  <c:v>15.852777777777778</c:v>
                </c:pt>
                <c:pt idx="5708">
                  <c:v>15.855555555555556</c:v>
                </c:pt>
                <c:pt idx="5709">
                  <c:v>15.858333333333333</c:v>
                </c:pt>
                <c:pt idx="5710">
                  <c:v>15.861111111111111</c:v>
                </c:pt>
                <c:pt idx="5711">
                  <c:v>15.863888888888889</c:v>
                </c:pt>
                <c:pt idx="5712">
                  <c:v>15.866666666666667</c:v>
                </c:pt>
                <c:pt idx="5713">
                  <c:v>15.869444444444444</c:v>
                </c:pt>
                <c:pt idx="5714">
                  <c:v>15.872222222222222</c:v>
                </c:pt>
                <c:pt idx="5715">
                  <c:v>15.875</c:v>
                </c:pt>
                <c:pt idx="5716">
                  <c:v>15.877777777777778</c:v>
                </c:pt>
                <c:pt idx="5717">
                  <c:v>15.880555555555556</c:v>
                </c:pt>
                <c:pt idx="5718">
                  <c:v>15.883333333333333</c:v>
                </c:pt>
                <c:pt idx="5719">
                  <c:v>15.886111111111111</c:v>
                </c:pt>
                <c:pt idx="5720">
                  <c:v>15.888888888888889</c:v>
                </c:pt>
                <c:pt idx="5721">
                  <c:v>15.891666666666667</c:v>
                </c:pt>
                <c:pt idx="5722">
                  <c:v>15.894444444444444</c:v>
                </c:pt>
                <c:pt idx="5723">
                  <c:v>15.897222222222222</c:v>
                </c:pt>
                <c:pt idx="5724">
                  <c:v>15.9</c:v>
                </c:pt>
                <c:pt idx="5725">
                  <c:v>15.902777777777779</c:v>
                </c:pt>
                <c:pt idx="5726">
                  <c:v>15.905555555555555</c:v>
                </c:pt>
                <c:pt idx="5727">
                  <c:v>15.908333333333333</c:v>
                </c:pt>
                <c:pt idx="5728">
                  <c:v>15.911111111111111</c:v>
                </c:pt>
                <c:pt idx="5729">
                  <c:v>15.91388888888889</c:v>
                </c:pt>
                <c:pt idx="5730">
                  <c:v>15.916666666666666</c:v>
                </c:pt>
                <c:pt idx="5731">
                  <c:v>15.919444444444444</c:v>
                </c:pt>
                <c:pt idx="5732">
                  <c:v>15.922222222222222</c:v>
                </c:pt>
                <c:pt idx="5733">
                  <c:v>15.925000000000001</c:v>
                </c:pt>
                <c:pt idx="5734">
                  <c:v>15.927777777777777</c:v>
                </c:pt>
                <c:pt idx="5735">
                  <c:v>15.930555555555555</c:v>
                </c:pt>
                <c:pt idx="5736">
                  <c:v>15.933333333333334</c:v>
                </c:pt>
                <c:pt idx="5737">
                  <c:v>15.936111111111112</c:v>
                </c:pt>
                <c:pt idx="5738">
                  <c:v>15.938888888888888</c:v>
                </c:pt>
                <c:pt idx="5739">
                  <c:v>15.941666666666666</c:v>
                </c:pt>
                <c:pt idx="5740">
                  <c:v>15.944444444444445</c:v>
                </c:pt>
                <c:pt idx="5741">
                  <c:v>15.947222222222223</c:v>
                </c:pt>
                <c:pt idx="5742">
                  <c:v>15.95</c:v>
                </c:pt>
                <c:pt idx="5743">
                  <c:v>15.952777777777778</c:v>
                </c:pt>
                <c:pt idx="5744">
                  <c:v>15.955555555555556</c:v>
                </c:pt>
                <c:pt idx="5745">
                  <c:v>15.958333333333334</c:v>
                </c:pt>
                <c:pt idx="5746">
                  <c:v>15.96111111111111</c:v>
                </c:pt>
                <c:pt idx="5747">
                  <c:v>15.963888888888889</c:v>
                </c:pt>
                <c:pt idx="5748">
                  <c:v>15.966666666666667</c:v>
                </c:pt>
                <c:pt idx="5749">
                  <c:v>15.969444444444445</c:v>
                </c:pt>
                <c:pt idx="5750">
                  <c:v>15.972222222222221</c:v>
                </c:pt>
                <c:pt idx="5751">
                  <c:v>15.975</c:v>
                </c:pt>
                <c:pt idx="5752">
                  <c:v>15.977777777777778</c:v>
                </c:pt>
                <c:pt idx="5753">
                  <c:v>15.980555555555556</c:v>
                </c:pt>
                <c:pt idx="5754">
                  <c:v>15.983333333333333</c:v>
                </c:pt>
                <c:pt idx="5755">
                  <c:v>15.986111111111111</c:v>
                </c:pt>
                <c:pt idx="5756">
                  <c:v>15.988888888888889</c:v>
                </c:pt>
                <c:pt idx="5757">
                  <c:v>15.991666666666667</c:v>
                </c:pt>
                <c:pt idx="5758">
                  <c:v>15.994444444444444</c:v>
                </c:pt>
                <c:pt idx="5759">
                  <c:v>15.997222222222222</c:v>
                </c:pt>
                <c:pt idx="5760">
                  <c:v>16</c:v>
                </c:pt>
                <c:pt idx="5761">
                  <c:v>16.002777777777776</c:v>
                </c:pt>
                <c:pt idx="5762">
                  <c:v>16.005555555555556</c:v>
                </c:pt>
                <c:pt idx="5763">
                  <c:v>16.008333333333333</c:v>
                </c:pt>
                <c:pt idx="5764">
                  <c:v>16.011111111111113</c:v>
                </c:pt>
                <c:pt idx="5765">
                  <c:v>16.013888888888889</c:v>
                </c:pt>
                <c:pt idx="5766">
                  <c:v>16.016666666666666</c:v>
                </c:pt>
                <c:pt idx="5767">
                  <c:v>16.019444444444446</c:v>
                </c:pt>
                <c:pt idx="5768">
                  <c:v>16.022222222222222</c:v>
                </c:pt>
                <c:pt idx="5769">
                  <c:v>16.024999999999999</c:v>
                </c:pt>
                <c:pt idx="5770">
                  <c:v>16.027777777777779</c:v>
                </c:pt>
                <c:pt idx="5771">
                  <c:v>16.030555555555555</c:v>
                </c:pt>
                <c:pt idx="5772">
                  <c:v>16.033333333333335</c:v>
                </c:pt>
                <c:pt idx="5773">
                  <c:v>16.036111111111111</c:v>
                </c:pt>
                <c:pt idx="5774">
                  <c:v>16.038888888888888</c:v>
                </c:pt>
                <c:pt idx="5775">
                  <c:v>16.041666666666668</c:v>
                </c:pt>
                <c:pt idx="5776">
                  <c:v>16.044444444444444</c:v>
                </c:pt>
                <c:pt idx="5777">
                  <c:v>16.047222222222221</c:v>
                </c:pt>
                <c:pt idx="5778">
                  <c:v>16.05</c:v>
                </c:pt>
                <c:pt idx="5779">
                  <c:v>16.052777777777777</c:v>
                </c:pt>
                <c:pt idx="5780">
                  <c:v>16.055555555555557</c:v>
                </c:pt>
                <c:pt idx="5781">
                  <c:v>16.058333333333334</c:v>
                </c:pt>
                <c:pt idx="5782">
                  <c:v>16.06111111111111</c:v>
                </c:pt>
                <c:pt idx="5783">
                  <c:v>16.06388888888889</c:v>
                </c:pt>
                <c:pt idx="5784">
                  <c:v>16.066666666666666</c:v>
                </c:pt>
                <c:pt idx="5785">
                  <c:v>16.069444444444443</c:v>
                </c:pt>
                <c:pt idx="5786">
                  <c:v>16.072222222222223</c:v>
                </c:pt>
                <c:pt idx="5787">
                  <c:v>16.074999999999999</c:v>
                </c:pt>
                <c:pt idx="5788">
                  <c:v>16.077777777777779</c:v>
                </c:pt>
                <c:pt idx="5789">
                  <c:v>16.080555555555556</c:v>
                </c:pt>
                <c:pt idx="5790">
                  <c:v>16.083333333333332</c:v>
                </c:pt>
                <c:pt idx="5791">
                  <c:v>16.086111111111112</c:v>
                </c:pt>
                <c:pt idx="5792">
                  <c:v>16.088888888888889</c:v>
                </c:pt>
                <c:pt idx="5793">
                  <c:v>16.091666666666665</c:v>
                </c:pt>
                <c:pt idx="5794">
                  <c:v>16.094444444444445</c:v>
                </c:pt>
                <c:pt idx="5795">
                  <c:v>16.097222222222221</c:v>
                </c:pt>
                <c:pt idx="5796">
                  <c:v>16.100000000000001</c:v>
                </c:pt>
                <c:pt idx="5797">
                  <c:v>16.102777777777778</c:v>
                </c:pt>
                <c:pt idx="5798">
                  <c:v>16.105555555555554</c:v>
                </c:pt>
                <c:pt idx="5799">
                  <c:v>16.108333333333334</c:v>
                </c:pt>
                <c:pt idx="5800">
                  <c:v>16.111111111111111</c:v>
                </c:pt>
                <c:pt idx="5801">
                  <c:v>16.113888888888887</c:v>
                </c:pt>
                <c:pt idx="5802">
                  <c:v>16.116666666666667</c:v>
                </c:pt>
                <c:pt idx="5803">
                  <c:v>16.119444444444444</c:v>
                </c:pt>
                <c:pt idx="5804">
                  <c:v>16.122222222222224</c:v>
                </c:pt>
                <c:pt idx="5805">
                  <c:v>16.125</c:v>
                </c:pt>
                <c:pt idx="5806">
                  <c:v>16.127777777777776</c:v>
                </c:pt>
                <c:pt idx="5807">
                  <c:v>16.130555555555556</c:v>
                </c:pt>
                <c:pt idx="5808">
                  <c:v>16.133333333333333</c:v>
                </c:pt>
                <c:pt idx="5809">
                  <c:v>16.136111111111113</c:v>
                </c:pt>
                <c:pt idx="5810">
                  <c:v>16.138888888888889</c:v>
                </c:pt>
                <c:pt idx="5811">
                  <c:v>16.141666666666666</c:v>
                </c:pt>
                <c:pt idx="5812">
                  <c:v>16.144444444444446</c:v>
                </c:pt>
                <c:pt idx="5813">
                  <c:v>16.147222222222222</c:v>
                </c:pt>
                <c:pt idx="5814">
                  <c:v>16.149999999999999</c:v>
                </c:pt>
                <c:pt idx="5815">
                  <c:v>16.152777777777779</c:v>
                </c:pt>
                <c:pt idx="5816">
                  <c:v>16.155555555555555</c:v>
                </c:pt>
                <c:pt idx="5817">
                  <c:v>16.158333333333335</c:v>
                </c:pt>
                <c:pt idx="5818">
                  <c:v>16.161111111111111</c:v>
                </c:pt>
                <c:pt idx="5819">
                  <c:v>16.163888888888888</c:v>
                </c:pt>
                <c:pt idx="5820">
                  <c:v>16.166666666666668</c:v>
                </c:pt>
                <c:pt idx="5821">
                  <c:v>16.169444444444444</c:v>
                </c:pt>
                <c:pt idx="5822">
                  <c:v>16.172222222222221</c:v>
                </c:pt>
                <c:pt idx="5823">
                  <c:v>16.175000000000001</c:v>
                </c:pt>
                <c:pt idx="5824">
                  <c:v>16.177777777777777</c:v>
                </c:pt>
                <c:pt idx="5825">
                  <c:v>16.180555555555557</c:v>
                </c:pt>
                <c:pt idx="5826">
                  <c:v>16.183333333333334</c:v>
                </c:pt>
                <c:pt idx="5827">
                  <c:v>16.18611111111111</c:v>
                </c:pt>
                <c:pt idx="5828">
                  <c:v>16.18888888888889</c:v>
                </c:pt>
                <c:pt idx="5829">
                  <c:v>16.191666666666666</c:v>
                </c:pt>
                <c:pt idx="5830">
                  <c:v>16.194444444444443</c:v>
                </c:pt>
                <c:pt idx="5831">
                  <c:v>16.197222222222223</c:v>
                </c:pt>
                <c:pt idx="5832">
                  <c:v>16.2</c:v>
                </c:pt>
                <c:pt idx="5833">
                  <c:v>16.202777777777779</c:v>
                </c:pt>
                <c:pt idx="5834">
                  <c:v>16.205555555555556</c:v>
                </c:pt>
                <c:pt idx="5835">
                  <c:v>16.208333333333332</c:v>
                </c:pt>
                <c:pt idx="5836">
                  <c:v>16.211111111111112</c:v>
                </c:pt>
                <c:pt idx="5837">
                  <c:v>16.213888888888889</c:v>
                </c:pt>
                <c:pt idx="5838">
                  <c:v>16.216666666666665</c:v>
                </c:pt>
                <c:pt idx="5839">
                  <c:v>16.219444444444445</c:v>
                </c:pt>
                <c:pt idx="5840">
                  <c:v>16.222222222222221</c:v>
                </c:pt>
                <c:pt idx="5841">
                  <c:v>16.225000000000001</c:v>
                </c:pt>
                <c:pt idx="5842">
                  <c:v>16.227777777777778</c:v>
                </c:pt>
                <c:pt idx="5843">
                  <c:v>16.230555555555554</c:v>
                </c:pt>
                <c:pt idx="5844">
                  <c:v>16.233333333333334</c:v>
                </c:pt>
                <c:pt idx="5845">
                  <c:v>16.236111111111111</c:v>
                </c:pt>
                <c:pt idx="5846">
                  <c:v>16.238888888888887</c:v>
                </c:pt>
                <c:pt idx="5847">
                  <c:v>16.241666666666667</c:v>
                </c:pt>
                <c:pt idx="5848">
                  <c:v>16.244444444444444</c:v>
                </c:pt>
                <c:pt idx="5849">
                  <c:v>16.247222222222224</c:v>
                </c:pt>
                <c:pt idx="5850">
                  <c:v>16.25</c:v>
                </c:pt>
                <c:pt idx="5851">
                  <c:v>16.252777777777776</c:v>
                </c:pt>
                <c:pt idx="5852">
                  <c:v>16.255555555555556</c:v>
                </c:pt>
                <c:pt idx="5853">
                  <c:v>16.258333333333333</c:v>
                </c:pt>
                <c:pt idx="5854">
                  <c:v>16.261111111111113</c:v>
                </c:pt>
                <c:pt idx="5855">
                  <c:v>16.263888888888889</c:v>
                </c:pt>
                <c:pt idx="5856">
                  <c:v>16.266666666666666</c:v>
                </c:pt>
                <c:pt idx="5857">
                  <c:v>16.269444444444446</c:v>
                </c:pt>
                <c:pt idx="5858">
                  <c:v>16.272222222222222</c:v>
                </c:pt>
                <c:pt idx="5859">
                  <c:v>16.274999999999999</c:v>
                </c:pt>
                <c:pt idx="5860">
                  <c:v>16.277777777777779</c:v>
                </c:pt>
                <c:pt idx="5861">
                  <c:v>16.280555555555555</c:v>
                </c:pt>
                <c:pt idx="5862">
                  <c:v>16.283333333333335</c:v>
                </c:pt>
                <c:pt idx="5863">
                  <c:v>16.286111111111111</c:v>
                </c:pt>
                <c:pt idx="5864">
                  <c:v>16.288888888888888</c:v>
                </c:pt>
                <c:pt idx="5865">
                  <c:v>16.291666666666668</c:v>
                </c:pt>
                <c:pt idx="5866">
                  <c:v>16.294444444444444</c:v>
                </c:pt>
                <c:pt idx="5867">
                  <c:v>16.297222222222221</c:v>
                </c:pt>
                <c:pt idx="5868">
                  <c:v>16.3</c:v>
                </c:pt>
                <c:pt idx="5869">
                  <c:v>16.302777777777777</c:v>
                </c:pt>
                <c:pt idx="5870">
                  <c:v>16.305555555555557</c:v>
                </c:pt>
                <c:pt idx="5871">
                  <c:v>16.308333333333334</c:v>
                </c:pt>
                <c:pt idx="5872">
                  <c:v>16.31111111111111</c:v>
                </c:pt>
                <c:pt idx="5873">
                  <c:v>16.31388888888889</c:v>
                </c:pt>
                <c:pt idx="5874">
                  <c:v>16.316666666666666</c:v>
                </c:pt>
                <c:pt idx="5875">
                  <c:v>16.319444444444443</c:v>
                </c:pt>
                <c:pt idx="5876">
                  <c:v>16.322222222222223</c:v>
                </c:pt>
                <c:pt idx="5877">
                  <c:v>16.324999999999999</c:v>
                </c:pt>
                <c:pt idx="5878">
                  <c:v>16.327777777777779</c:v>
                </c:pt>
                <c:pt idx="5879">
                  <c:v>16.330555555555556</c:v>
                </c:pt>
                <c:pt idx="5880">
                  <c:v>16.333333333333332</c:v>
                </c:pt>
                <c:pt idx="5881">
                  <c:v>16.336111111111112</c:v>
                </c:pt>
                <c:pt idx="5882">
                  <c:v>16.338888888888889</c:v>
                </c:pt>
                <c:pt idx="5883">
                  <c:v>16.341666666666665</c:v>
                </c:pt>
                <c:pt idx="5884">
                  <c:v>16.344444444444445</c:v>
                </c:pt>
                <c:pt idx="5885">
                  <c:v>16.347222222222221</c:v>
                </c:pt>
                <c:pt idx="5886">
                  <c:v>16.350000000000001</c:v>
                </c:pt>
                <c:pt idx="5887">
                  <c:v>16.352777777777778</c:v>
                </c:pt>
                <c:pt idx="5888">
                  <c:v>16.355555555555554</c:v>
                </c:pt>
                <c:pt idx="5889">
                  <c:v>16.358333333333334</c:v>
                </c:pt>
                <c:pt idx="5890">
                  <c:v>16.361111111111111</c:v>
                </c:pt>
                <c:pt idx="5891">
                  <c:v>16.363888888888887</c:v>
                </c:pt>
                <c:pt idx="5892">
                  <c:v>16.366666666666667</c:v>
                </c:pt>
                <c:pt idx="5893">
                  <c:v>16.369444444444444</c:v>
                </c:pt>
                <c:pt idx="5894">
                  <c:v>16.372222222222224</c:v>
                </c:pt>
                <c:pt idx="5895">
                  <c:v>16.375</c:v>
                </c:pt>
                <c:pt idx="5896">
                  <c:v>16.377777777777776</c:v>
                </c:pt>
                <c:pt idx="5897">
                  <c:v>16.380555555555556</c:v>
                </c:pt>
                <c:pt idx="5898">
                  <c:v>16.383333333333333</c:v>
                </c:pt>
                <c:pt idx="5899">
                  <c:v>16.386111111111113</c:v>
                </c:pt>
                <c:pt idx="5900">
                  <c:v>16.388888888888889</c:v>
                </c:pt>
                <c:pt idx="5901">
                  <c:v>16.391666666666666</c:v>
                </c:pt>
                <c:pt idx="5902">
                  <c:v>16.394444444444446</c:v>
                </c:pt>
                <c:pt idx="5903">
                  <c:v>16.397222222222222</c:v>
                </c:pt>
                <c:pt idx="5904">
                  <c:v>16.399999999999999</c:v>
                </c:pt>
                <c:pt idx="5905">
                  <c:v>16.402777777777779</c:v>
                </c:pt>
                <c:pt idx="5906">
                  <c:v>16.405555555555555</c:v>
                </c:pt>
                <c:pt idx="5907">
                  <c:v>16.408333333333335</c:v>
                </c:pt>
                <c:pt idx="5908">
                  <c:v>16.411111111111111</c:v>
                </c:pt>
                <c:pt idx="5909">
                  <c:v>16.413888888888888</c:v>
                </c:pt>
                <c:pt idx="5910">
                  <c:v>16.416666666666668</c:v>
                </c:pt>
                <c:pt idx="5911">
                  <c:v>16.419444444444444</c:v>
                </c:pt>
                <c:pt idx="5912">
                  <c:v>16.422222222222221</c:v>
                </c:pt>
                <c:pt idx="5913">
                  <c:v>16.425000000000001</c:v>
                </c:pt>
                <c:pt idx="5914">
                  <c:v>16.427777777777777</c:v>
                </c:pt>
                <c:pt idx="5915">
                  <c:v>16.430555555555557</c:v>
                </c:pt>
                <c:pt idx="5916">
                  <c:v>16.433333333333334</c:v>
                </c:pt>
                <c:pt idx="5917">
                  <c:v>16.43611111111111</c:v>
                </c:pt>
                <c:pt idx="5918">
                  <c:v>16.43888888888889</c:v>
                </c:pt>
                <c:pt idx="5919">
                  <c:v>16.441666666666666</c:v>
                </c:pt>
                <c:pt idx="5920">
                  <c:v>16.444444444444443</c:v>
                </c:pt>
                <c:pt idx="5921">
                  <c:v>16.447222222222223</c:v>
                </c:pt>
                <c:pt idx="5922">
                  <c:v>16.45</c:v>
                </c:pt>
                <c:pt idx="5923">
                  <c:v>16.452777777777779</c:v>
                </c:pt>
                <c:pt idx="5924">
                  <c:v>16.455555555555556</c:v>
                </c:pt>
                <c:pt idx="5925">
                  <c:v>16.458333333333332</c:v>
                </c:pt>
                <c:pt idx="5926">
                  <c:v>16.461111111111112</c:v>
                </c:pt>
                <c:pt idx="5927">
                  <c:v>16.463888888888889</c:v>
                </c:pt>
                <c:pt idx="5928">
                  <c:v>16.466666666666665</c:v>
                </c:pt>
                <c:pt idx="5929">
                  <c:v>16.469444444444445</c:v>
                </c:pt>
                <c:pt idx="5930">
                  <c:v>16.472222222222221</c:v>
                </c:pt>
                <c:pt idx="5931">
                  <c:v>16.475000000000001</c:v>
                </c:pt>
                <c:pt idx="5932">
                  <c:v>16.477777777777778</c:v>
                </c:pt>
                <c:pt idx="5933">
                  <c:v>16.480555555555554</c:v>
                </c:pt>
                <c:pt idx="5934">
                  <c:v>16.483333333333334</c:v>
                </c:pt>
                <c:pt idx="5935">
                  <c:v>16.486111111111111</c:v>
                </c:pt>
                <c:pt idx="5936">
                  <c:v>16.488888888888887</c:v>
                </c:pt>
                <c:pt idx="5937">
                  <c:v>16.491666666666667</c:v>
                </c:pt>
                <c:pt idx="5938">
                  <c:v>16.494444444444444</c:v>
                </c:pt>
                <c:pt idx="5939">
                  <c:v>16.497222222222224</c:v>
                </c:pt>
                <c:pt idx="5940">
                  <c:v>16.5</c:v>
                </c:pt>
                <c:pt idx="5941">
                  <c:v>16.502777777777776</c:v>
                </c:pt>
                <c:pt idx="5942">
                  <c:v>16.505555555555556</c:v>
                </c:pt>
                <c:pt idx="5943">
                  <c:v>16.508333333333333</c:v>
                </c:pt>
                <c:pt idx="5944">
                  <c:v>16.511111111111113</c:v>
                </c:pt>
                <c:pt idx="5945">
                  <c:v>16.513888888888889</c:v>
                </c:pt>
                <c:pt idx="5946">
                  <c:v>16.516666666666666</c:v>
                </c:pt>
                <c:pt idx="5947">
                  <c:v>16.519444444444446</c:v>
                </c:pt>
                <c:pt idx="5948">
                  <c:v>16.522222222222222</c:v>
                </c:pt>
                <c:pt idx="5949">
                  <c:v>16.524999999999999</c:v>
                </c:pt>
                <c:pt idx="5950">
                  <c:v>16.527777777777779</c:v>
                </c:pt>
                <c:pt idx="5951">
                  <c:v>16.530555555555555</c:v>
                </c:pt>
                <c:pt idx="5952">
                  <c:v>16.533333333333335</c:v>
                </c:pt>
                <c:pt idx="5953">
                  <c:v>16.536111111111111</c:v>
                </c:pt>
                <c:pt idx="5954">
                  <c:v>16.538888888888888</c:v>
                </c:pt>
                <c:pt idx="5955">
                  <c:v>16.541666666666668</c:v>
                </c:pt>
                <c:pt idx="5956">
                  <c:v>16.544444444444444</c:v>
                </c:pt>
                <c:pt idx="5957">
                  <c:v>16.547222222222221</c:v>
                </c:pt>
                <c:pt idx="5958">
                  <c:v>16.55</c:v>
                </c:pt>
                <c:pt idx="5959">
                  <c:v>16.552777777777777</c:v>
                </c:pt>
                <c:pt idx="5960">
                  <c:v>16.555555555555557</c:v>
                </c:pt>
                <c:pt idx="5961">
                  <c:v>16.558333333333334</c:v>
                </c:pt>
                <c:pt idx="5962">
                  <c:v>16.56111111111111</c:v>
                </c:pt>
                <c:pt idx="5963">
                  <c:v>16.56388888888889</c:v>
                </c:pt>
                <c:pt idx="5964">
                  <c:v>16.566666666666666</c:v>
                </c:pt>
                <c:pt idx="5965">
                  <c:v>16.569444444444443</c:v>
                </c:pt>
                <c:pt idx="5966">
                  <c:v>16.572222222222223</c:v>
                </c:pt>
                <c:pt idx="5967">
                  <c:v>16.574999999999999</c:v>
                </c:pt>
                <c:pt idx="5968">
                  <c:v>16.577777777777779</c:v>
                </c:pt>
                <c:pt idx="5969">
                  <c:v>16.580555555555556</c:v>
                </c:pt>
                <c:pt idx="5970">
                  <c:v>16.583333333333332</c:v>
                </c:pt>
                <c:pt idx="5971">
                  <c:v>16.586111111111112</c:v>
                </c:pt>
                <c:pt idx="5972">
                  <c:v>16.588888888888889</c:v>
                </c:pt>
                <c:pt idx="5973">
                  <c:v>16.591666666666665</c:v>
                </c:pt>
                <c:pt idx="5974">
                  <c:v>16.594444444444445</c:v>
                </c:pt>
                <c:pt idx="5975">
                  <c:v>16.597222222222221</c:v>
                </c:pt>
                <c:pt idx="5976">
                  <c:v>16.600000000000001</c:v>
                </c:pt>
                <c:pt idx="5977">
                  <c:v>16.602777777777778</c:v>
                </c:pt>
                <c:pt idx="5978">
                  <c:v>16.605555555555554</c:v>
                </c:pt>
                <c:pt idx="5979">
                  <c:v>16.608333333333334</c:v>
                </c:pt>
                <c:pt idx="5980">
                  <c:v>16.611111111111111</c:v>
                </c:pt>
                <c:pt idx="5981">
                  <c:v>16.613888888888887</c:v>
                </c:pt>
                <c:pt idx="5982">
                  <c:v>16.616666666666667</c:v>
                </c:pt>
                <c:pt idx="5983">
                  <c:v>16.619444444444444</c:v>
                </c:pt>
                <c:pt idx="5984">
                  <c:v>16.622222222222224</c:v>
                </c:pt>
                <c:pt idx="5985">
                  <c:v>16.625</c:v>
                </c:pt>
                <c:pt idx="5986">
                  <c:v>16.627777777777776</c:v>
                </c:pt>
                <c:pt idx="5987">
                  <c:v>16.630555555555556</c:v>
                </c:pt>
                <c:pt idx="5988">
                  <c:v>16.633333333333333</c:v>
                </c:pt>
                <c:pt idx="5989">
                  <c:v>16.636111111111113</c:v>
                </c:pt>
                <c:pt idx="5990">
                  <c:v>16.638888888888889</c:v>
                </c:pt>
                <c:pt idx="5991">
                  <c:v>16.641666666666666</c:v>
                </c:pt>
                <c:pt idx="5992">
                  <c:v>16.644444444444446</c:v>
                </c:pt>
                <c:pt idx="5993">
                  <c:v>16.647222222222222</c:v>
                </c:pt>
                <c:pt idx="5994">
                  <c:v>16.649999999999999</c:v>
                </c:pt>
                <c:pt idx="5995">
                  <c:v>16.652777777777779</c:v>
                </c:pt>
                <c:pt idx="5996">
                  <c:v>16.655555555555555</c:v>
                </c:pt>
                <c:pt idx="5997">
                  <c:v>16.658333333333335</c:v>
                </c:pt>
                <c:pt idx="5998">
                  <c:v>16.661111111111111</c:v>
                </c:pt>
                <c:pt idx="5999">
                  <c:v>16.663888888888888</c:v>
                </c:pt>
                <c:pt idx="6000">
                  <c:v>16.666666666666668</c:v>
                </c:pt>
                <c:pt idx="6001">
                  <c:v>16.669444444444444</c:v>
                </c:pt>
                <c:pt idx="6002">
                  <c:v>16.672222222222221</c:v>
                </c:pt>
                <c:pt idx="6003">
                  <c:v>16.675000000000001</c:v>
                </c:pt>
                <c:pt idx="6004">
                  <c:v>16.677777777777777</c:v>
                </c:pt>
                <c:pt idx="6005">
                  <c:v>16.680555555555557</c:v>
                </c:pt>
                <c:pt idx="6006">
                  <c:v>16.683333333333334</c:v>
                </c:pt>
                <c:pt idx="6007">
                  <c:v>16.68611111111111</c:v>
                </c:pt>
                <c:pt idx="6008">
                  <c:v>16.68888888888889</c:v>
                </c:pt>
                <c:pt idx="6009">
                  <c:v>16.691666666666666</c:v>
                </c:pt>
                <c:pt idx="6010">
                  <c:v>16.694444444444443</c:v>
                </c:pt>
                <c:pt idx="6011">
                  <c:v>16.697222222222223</c:v>
                </c:pt>
                <c:pt idx="6012">
                  <c:v>16.7</c:v>
                </c:pt>
                <c:pt idx="6013">
                  <c:v>16.702777777777779</c:v>
                </c:pt>
                <c:pt idx="6014">
                  <c:v>16.705555555555556</c:v>
                </c:pt>
                <c:pt idx="6015">
                  <c:v>16.708333333333332</c:v>
                </c:pt>
                <c:pt idx="6016">
                  <c:v>16.711111111111112</c:v>
                </c:pt>
                <c:pt idx="6017">
                  <c:v>16.713888888888889</c:v>
                </c:pt>
                <c:pt idx="6018">
                  <c:v>16.716666666666665</c:v>
                </c:pt>
                <c:pt idx="6019">
                  <c:v>16.719444444444445</c:v>
                </c:pt>
                <c:pt idx="6020">
                  <c:v>16.722222222222221</c:v>
                </c:pt>
                <c:pt idx="6021">
                  <c:v>16.725000000000001</c:v>
                </c:pt>
                <c:pt idx="6022">
                  <c:v>16.727777777777778</c:v>
                </c:pt>
                <c:pt idx="6023">
                  <c:v>16.730555555555554</c:v>
                </c:pt>
                <c:pt idx="6024">
                  <c:v>16.733333333333334</c:v>
                </c:pt>
                <c:pt idx="6025">
                  <c:v>16.736111111111111</c:v>
                </c:pt>
                <c:pt idx="6026">
                  <c:v>16.738888888888887</c:v>
                </c:pt>
                <c:pt idx="6027">
                  <c:v>16.741666666666667</c:v>
                </c:pt>
                <c:pt idx="6028">
                  <c:v>16.744444444444444</c:v>
                </c:pt>
                <c:pt idx="6029">
                  <c:v>16.747222222222224</c:v>
                </c:pt>
                <c:pt idx="6030">
                  <c:v>16.75</c:v>
                </c:pt>
                <c:pt idx="6031">
                  <c:v>16.752777777777776</c:v>
                </c:pt>
                <c:pt idx="6032">
                  <c:v>16.755555555555556</c:v>
                </c:pt>
                <c:pt idx="6033">
                  <c:v>16.758333333333333</c:v>
                </c:pt>
                <c:pt idx="6034">
                  <c:v>16.761111111111113</c:v>
                </c:pt>
                <c:pt idx="6035">
                  <c:v>16.763888888888889</c:v>
                </c:pt>
                <c:pt idx="6036">
                  <c:v>16.766666666666666</c:v>
                </c:pt>
                <c:pt idx="6037">
                  <c:v>16.769444444444446</c:v>
                </c:pt>
                <c:pt idx="6038">
                  <c:v>16.772222222222222</c:v>
                </c:pt>
                <c:pt idx="6039">
                  <c:v>16.774999999999999</c:v>
                </c:pt>
                <c:pt idx="6040">
                  <c:v>16.777777777777779</c:v>
                </c:pt>
                <c:pt idx="6041">
                  <c:v>16.780555555555555</c:v>
                </c:pt>
                <c:pt idx="6042">
                  <c:v>16.783333333333335</c:v>
                </c:pt>
                <c:pt idx="6043">
                  <c:v>16.786111111111111</c:v>
                </c:pt>
                <c:pt idx="6044">
                  <c:v>16.788888888888888</c:v>
                </c:pt>
                <c:pt idx="6045">
                  <c:v>16.791666666666668</c:v>
                </c:pt>
                <c:pt idx="6046">
                  <c:v>16.794444444444444</c:v>
                </c:pt>
                <c:pt idx="6047">
                  <c:v>16.797222222222221</c:v>
                </c:pt>
                <c:pt idx="6048">
                  <c:v>16.8</c:v>
                </c:pt>
                <c:pt idx="6049">
                  <c:v>16.802777777777777</c:v>
                </c:pt>
                <c:pt idx="6050">
                  <c:v>16.805555555555557</c:v>
                </c:pt>
                <c:pt idx="6051">
                  <c:v>16.808333333333334</c:v>
                </c:pt>
                <c:pt idx="6052">
                  <c:v>16.81111111111111</c:v>
                </c:pt>
                <c:pt idx="6053">
                  <c:v>16.81388888888889</c:v>
                </c:pt>
                <c:pt idx="6054">
                  <c:v>16.816666666666666</c:v>
                </c:pt>
                <c:pt idx="6055">
                  <c:v>16.819444444444443</c:v>
                </c:pt>
                <c:pt idx="6056">
                  <c:v>16.822222222222223</c:v>
                </c:pt>
                <c:pt idx="6057">
                  <c:v>16.824999999999999</c:v>
                </c:pt>
                <c:pt idx="6058">
                  <c:v>16.827777777777779</c:v>
                </c:pt>
                <c:pt idx="6059">
                  <c:v>16.830555555555556</c:v>
                </c:pt>
                <c:pt idx="6060">
                  <c:v>16.833333333333332</c:v>
                </c:pt>
                <c:pt idx="6061">
                  <c:v>16.836111111111112</c:v>
                </c:pt>
                <c:pt idx="6062">
                  <c:v>16.838888888888889</c:v>
                </c:pt>
                <c:pt idx="6063">
                  <c:v>16.841666666666665</c:v>
                </c:pt>
                <c:pt idx="6064">
                  <c:v>16.844444444444445</c:v>
                </c:pt>
                <c:pt idx="6065">
                  <c:v>16.847222222222221</c:v>
                </c:pt>
                <c:pt idx="6066">
                  <c:v>16.850000000000001</c:v>
                </c:pt>
                <c:pt idx="6067">
                  <c:v>16.852777777777778</c:v>
                </c:pt>
                <c:pt idx="6068">
                  <c:v>16.855555555555554</c:v>
                </c:pt>
                <c:pt idx="6069">
                  <c:v>16.858333333333334</c:v>
                </c:pt>
                <c:pt idx="6070">
                  <c:v>16.861111111111111</c:v>
                </c:pt>
                <c:pt idx="6071">
                  <c:v>16.863888888888887</c:v>
                </c:pt>
                <c:pt idx="6072">
                  <c:v>16.866666666666667</c:v>
                </c:pt>
                <c:pt idx="6073">
                  <c:v>16.869444444444444</c:v>
                </c:pt>
                <c:pt idx="6074">
                  <c:v>16.872222222222224</c:v>
                </c:pt>
                <c:pt idx="6075">
                  <c:v>16.875</c:v>
                </c:pt>
                <c:pt idx="6076">
                  <c:v>16.877777777777776</c:v>
                </c:pt>
                <c:pt idx="6077">
                  <c:v>16.880555555555556</c:v>
                </c:pt>
                <c:pt idx="6078">
                  <c:v>16.883333333333333</c:v>
                </c:pt>
                <c:pt idx="6079">
                  <c:v>16.886111111111113</c:v>
                </c:pt>
                <c:pt idx="6080">
                  <c:v>16.888888888888889</c:v>
                </c:pt>
                <c:pt idx="6081">
                  <c:v>16.891666666666666</c:v>
                </c:pt>
                <c:pt idx="6082">
                  <c:v>16.894444444444446</c:v>
                </c:pt>
                <c:pt idx="6083">
                  <c:v>16.897222222222222</c:v>
                </c:pt>
                <c:pt idx="6084">
                  <c:v>16.899999999999999</c:v>
                </c:pt>
                <c:pt idx="6085">
                  <c:v>16.902777777777779</c:v>
                </c:pt>
                <c:pt idx="6086">
                  <c:v>16.905555555555555</c:v>
                </c:pt>
                <c:pt idx="6087">
                  <c:v>16.908333333333335</c:v>
                </c:pt>
                <c:pt idx="6088">
                  <c:v>16.911111111111111</c:v>
                </c:pt>
                <c:pt idx="6089">
                  <c:v>16.913888888888888</c:v>
                </c:pt>
                <c:pt idx="6090">
                  <c:v>16.916666666666668</c:v>
                </c:pt>
                <c:pt idx="6091">
                  <c:v>16.919444444444444</c:v>
                </c:pt>
                <c:pt idx="6092">
                  <c:v>16.922222222222221</c:v>
                </c:pt>
                <c:pt idx="6093">
                  <c:v>16.925000000000001</c:v>
                </c:pt>
                <c:pt idx="6094">
                  <c:v>16.927777777777777</c:v>
                </c:pt>
                <c:pt idx="6095">
                  <c:v>16.930555555555557</c:v>
                </c:pt>
                <c:pt idx="6096">
                  <c:v>16.933333333333334</c:v>
                </c:pt>
                <c:pt idx="6097">
                  <c:v>16.93611111111111</c:v>
                </c:pt>
                <c:pt idx="6098">
                  <c:v>16.93888888888889</c:v>
                </c:pt>
                <c:pt idx="6099">
                  <c:v>16.941666666666666</c:v>
                </c:pt>
                <c:pt idx="6100">
                  <c:v>16.944444444444443</c:v>
                </c:pt>
                <c:pt idx="6101">
                  <c:v>16.947222222222223</c:v>
                </c:pt>
                <c:pt idx="6102">
                  <c:v>16.95</c:v>
                </c:pt>
                <c:pt idx="6103">
                  <c:v>16.952777777777779</c:v>
                </c:pt>
                <c:pt idx="6104">
                  <c:v>16.955555555555556</c:v>
                </c:pt>
                <c:pt idx="6105">
                  <c:v>16.958333333333332</c:v>
                </c:pt>
                <c:pt idx="6106">
                  <c:v>16.961111111111112</c:v>
                </c:pt>
                <c:pt idx="6107">
                  <c:v>16.963888888888889</c:v>
                </c:pt>
                <c:pt idx="6108">
                  <c:v>16.966666666666665</c:v>
                </c:pt>
                <c:pt idx="6109">
                  <c:v>16.969444444444445</c:v>
                </c:pt>
                <c:pt idx="6110">
                  <c:v>16.972222222222221</c:v>
                </c:pt>
                <c:pt idx="6111">
                  <c:v>16.975000000000001</c:v>
                </c:pt>
                <c:pt idx="6112">
                  <c:v>16.977777777777778</c:v>
                </c:pt>
                <c:pt idx="6113">
                  <c:v>16.980555555555554</c:v>
                </c:pt>
                <c:pt idx="6114">
                  <c:v>16.983333333333334</c:v>
                </c:pt>
                <c:pt idx="6115">
                  <c:v>16.986111111111111</c:v>
                </c:pt>
                <c:pt idx="6116">
                  <c:v>16.988888888888887</c:v>
                </c:pt>
                <c:pt idx="6117">
                  <c:v>16.991666666666667</c:v>
                </c:pt>
                <c:pt idx="6118">
                  <c:v>16.994444444444444</c:v>
                </c:pt>
                <c:pt idx="6119">
                  <c:v>16.997222222222224</c:v>
                </c:pt>
                <c:pt idx="6120">
                  <c:v>17</c:v>
                </c:pt>
                <c:pt idx="6121">
                  <c:v>17.002777777777776</c:v>
                </c:pt>
                <c:pt idx="6122">
                  <c:v>17.005555555555556</c:v>
                </c:pt>
                <c:pt idx="6123">
                  <c:v>17.008333333333333</c:v>
                </c:pt>
                <c:pt idx="6124">
                  <c:v>17.011111111111113</c:v>
                </c:pt>
                <c:pt idx="6125">
                  <c:v>17.013888888888889</c:v>
                </c:pt>
                <c:pt idx="6126">
                  <c:v>17.016666666666666</c:v>
                </c:pt>
                <c:pt idx="6127">
                  <c:v>17.019444444444446</c:v>
                </c:pt>
                <c:pt idx="6128">
                  <c:v>17.022222222222222</c:v>
                </c:pt>
                <c:pt idx="6129">
                  <c:v>17.024999999999999</c:v>
                </c:pt>
                <c:pt idx="6130">
                  <c:v>17.027777777777779</c:v>
                </c:pt>
                <c:pt idx="6131">
                  <c:v>17.030555555555555</c:v>
                </c:pt>
                <c:pt idx="6132">
                  <c:v>17.033333333333335</c:v>
                </c:pt>
                <c:pt idx="6133">
                  <c:v>17.036111111111111</c:v>
                </c:pt>
                <c:pt idx="6134">
                  <c:v>17.038888888888888</c:v>
                </c:pt>
                <c:pt idx="6135">
                  <c:v>17.041666666666668</c:v>
                </c:pt>
                <c:pt idx="6136">
                  <c:v>17.044444444444444</c:v>
                </c:pt>
                <c:pt idx="6137">
                  <c:v>17.047222222222221</c:v>
                </c:pt>
                <c:pt idx="6138">
                  <c:v>17.05</c:v>
                </c:pt>
                <c:pt idx="6139">
                  <c:v>17.052777777777777</c:v>
                </c:pt>
                <c:pt idx="6140">
                  <c:v>17.055555555555557</c:v>
                </c:pt>
                <c:pt idx="6141">
                  <c:v>17.058333333333334</c:v>
                </c:pt>
                <c:pt idx="6142">
                  <c:v>17.06111111111111</c:v>
                </c:pt>
                <c:pt idx="6143">
                  <c:v>17.06388888888889</c:v>
                </c:pt>
                <c:pt idx="6144">
                  <c:v>17.066666666666666</c:v>
                </c:pt>
                <c:pt idx="6145">
                  <c:v>17.069444444444443</c:v>
                </c:pt>
                <c:pt idx="6146">
                  <c:v>17.072222222222223</c:v>
                </c:pt>
                <c:pt idx="6147">
                  <c:v>17.074999999999999</c:v>
                </c:pt>
                <c:pt idx="6148">
                  <c:v>17.077777777777779</c:v>
                </c:pt>
                <c:pt idx="6149">
                  <c:v>17.080555555555556</c:v>
                </c:pt>
                <c:pt idx="6150">
                  <c:v>17.083333333333332</c:v>
                </c:pt>
                <c:pt idx="6151">
                  <c:v>17.086111111111112</c:v>
                </c:pt>
                <c:pt idx="6152">
                  <c:v>17.088888888888889</c:v>
                </c:pt>
                <c:pt idx="6153">
                  <c:v>17.091666666666665</c:v>
                </c:pt>
                <c:pt idx="6154">
                  <c:v>17.094444444444445</c:v>
                </c:pt>
                <c:pt idx="6155">
                  <c:v>17.097222222222221</c:v>
                </c:pt>
                <c:pt idx="6156">
                  <c:v>17.100000000000001</c:v>
                </c:pt>
                <c:pt idx="6157">
                  <c:v>17.102777777777778</c:v>
                </c:pt>
                <c:pt idx="6158">
                  <c:v>17.105555555555554</c:v>
                </c:pt>
                <c:pt idx="6159">
                  <c:v>17.108333333333334</c:v>
                </c:pt>
                <c:pt idx="6160">
                  <c:v>17.111111111111111</c:v>
                </c:pt>
                <c:pt idx="6161">
                  <c:v>17.113888888888887</c:v>
                </c:pt>
                <c:pt idx="6162">
                  <c:v>17.116666666666667</c:v>
                </c:pt>
                <c:pt idx="6163">
                  <c:v>17.119444444444444</c:v>
                </c:pt>
                <c:pt idx="6164">
                  <c:v>17.122222222222224</c:v>
                </c:pt>
                <c:pt idx="6165">
                  <c:v>17.125</c:v>
                </c:pt>
                <c:pt idx="6166">
                  <c:v>17.127777777777776</c:v>
                </c:pt>
                <c:pt idx="6167">
                  <c:v>17.130555555555556</c:v>
                </c:pt>
                <c:pt idx="6168">
                  <c:v>17.133333333333333</c:v>
                </c:pt>
                <c:pt idx="6169">
                  <c:v>17.136111111111113</c:v>
                </c:pt>
                <c:pt idx="6170">
                  <c:v>17.138888888888889</c:v>
                </c:pt>
                <c:pt idx="6171">
                  <c:v>17.141666666666666</c:v>
                </c:pt>
                <c:pt idx="6172">
                  <c:v>17.144444444444446</c:v>
                </c:pt>
                <c:pt idx="6173">
                  <c:v>17.147222222222222</c:v>
                </c:pt>
                <c:pt idx="6174">
                  <c:v>17.149999999999999</c:v>
                </c:pt>
                <c:pt idx="6175">
                  <c:v>17.152777777777779</c:v>
                </c:pt>
                <c:pt idx="6176">
                  <c:v>17.155555555555555</c:v>
                </c:pt>
                <c:pt idx="6177">
                  <c:v>17.158333333333335</c:v>
                </c:pt>
                <c:pt idx="6178">
                  <c:v>17.161111111111111</c:v>
                </c:pt>
                <c:pt idx="6179">
                  <c:v>17.163888888888888</c:v>
                </c:pt>
                <c:pt idx="6180">
                  <c:v>17.166666666666668</c:v>
                </c:pt>
                <c:pt idx="6181">
                  <c:v>17.169444444444444</c:v>
                </c:pt>
                <c:pt idx="6182">
                  <c:v>17.172222222222221</c:v>
                </c:pt>
                <c:pt idx="6183">
                  <c:v>17.175000000000001</c:v>
                </c:pt>
                <c:pt idx="6184">
                  <c:v>17.177777777777777</c:v>
                </c:pt>
                <c:pt idx="6185">
                  <c:v>17.180555555555557</c:v>
                </c:pt>
                <c:pt idx="6186">
                  <c:v>17.183333333333334</c:v>
                </c:pt>
                <c:pt idx="6187">
                  <c:v>17.18611111111111</c:v>
                </c:pt>
                <c:pt idx="6188">
                  <c:v>17.18888888888889</c:v>
                </c:pt>
                <c:pt idx="6189">
                  <c:v>17.191666666666666</c:v>
                </c:pt>
                <c:pt idx="6190">
                  <c:v>17.194444444444443</c:v>
                </c:pt>
                <c:pt idx="6191">
                  <c:v>17.197222222222223</c:v>
                </c:pt>
                <c:pt idx="6192">
                  <c:v>17.2</c:v>
                </c:pt>
                <c:pt idx="6193">
                  <c:v>17.202777777777779</c:v>
                </c:pt>
                <c:pt idx="6194">
                  <c:v>17.205555555555556</c:v>
                </c:pt>
                <c:pt idx="6195">
                  <c:v>17.208333333333332</c:v>
                </c:pt>
                <c:pt idx="6196">
                  <c:v>17.211111111111112</c:v>
                </c:pt>
                <c:pt idx="6197">
                  <c:v>17.213888888888889</c:v>
                </c:pt>
                <c:pt idx="6198">
                  <c:v>17.216666666666665</c:v>
                </c:pt>
                <c:pt idx="6199">
                  <c:v>17.219444444444445</c:v>
                </c:pt>
                <c:pt idx="6200">
                  <c:v>17.222222222222221</c:v>
                </c:pt>
                <c:pt idx="6201">
                  <c:v>17.225000000000001</c:v>
                </c:pt>
                <c:pt idx="6202">
                  <c:v>17.227777777777778</c:v>
                </c:pt>
                <c:pt idx="6203">
                  <c:v>17.230555555555554</c:v>
                </c:pt>
                <c:pt idx="6204">
                  <c:v>17.233333333333334</c:v>
                </c:pt>
                <c:pt idx="6205">
                  <c:v>17.236111111111111</c:v>
                </c:pt>
                <c:pt idx="6206">
                  <c:v>17.238888888888887</c:v>
                </c:pt>
                <c:pt idx="6207">
                  <c:v>17.241666666666667</c:v>
                </c:pt>
                <c:pt idx="6208">
                  <c:v>17.244444444444444</c:v>
                </c:pt>
                <c:pt idx="6209">
                  <c:v>17.247222222222224</c:v>
                </c:pt>
                <c:pt idx="6210">
                  <c:v>17.25</c:v>
                </c:pt>
                <c:pt idx="6211">
                  <c:v>17.252777777777776</c:v>
                </c:pt>
                <c:pt idx="6212">
                  <c:v>17.255555555555556</c:v>
                </c:pt>
                <c:pt idx="6213">
                  <c:v>17.258333333333333</c:v>
                </c:pt>
                <c:pt idx="6214">
                  <c:v>17.261111111111113</c:v>
                </c:pt>
                <c:pt idx="6215">
                  <c:v>17.263888888888889</c:v>
                </c:pt>
                <c:pt idx="6216">
                  <c:v>17.266666666666666</c:v>
                </c:pt>
                <c:pt idx="6217">
                  <c:v>17.269444444444446</c:v>
                </c:pt>
                <c:pt idx="6218">
                  <c:v>17.272222222222222</c:v>
                </c:pt>
                <c:pt idx="6219">
                  <c:v>17.274999999999999</c:v>
                </c:pt>
                <c:pt idx="6220">
                  <c:v>17.277777777777779</c:v>
                </c:pt>
                <c:pt idx="6221">
                  <c:v>17.280555555555555</c:v>
                </c:pt>
                <c:pt idx="6222">
                  <c:v>17.283333333333335</c:v>
                </c:pt>
                <c:pt idx="6223">
                  <c:v>17.286111111111111</c:v>
                </c:pt>
                <c:pt idx="6224">
                  <c:v>17.288888888888888</c:v>
                </c:pt>
                <c:pt idx="6225">
                  <c:v>17.291666666666668</c:v>
                </c:pt>
                <c:pt idx="6226">
                  <c:v>17.294444444444444</c:v>
                </c:pt>
                <c:pt idx="6227">
                  <c:v>17.297222222222221</c:v>
                </c:pt>
                <c:pt idx="6228">
                  <c:v>17.3</c:v>
                </c:pt>
                <c:pt idx="6229">
                  <c:v>17.302777777777777</c:v>
                </c:pt>
                <c:pt idx="6230">
                  <c:v>17.305555555555557</c:v>
                </c:pt>
                <c:pt idx="6231">
                  <c:v>17.308333333333334</c:v>
                </c:pt>
                <c:pt idx="6232">
                  <c:v>17.31111111111111</c:v>
                </c:pt>
                <c:pt idx="6233">
                  <c:v>17.31388888888889</c:v>
                </c:pt>
                <c:pt idx="6234">
                  <c:v>17.316666666666666</c:v>
                </c:pt>
                <c:pt idx="6235">
                  <c:v>17.319444444444443</c:v>
                </c:pt>
                <c:pt idx="6236">
                  <c:v>17.322222222222223</c:v>
                </c:pt>
                <c:pt idx="6237">
                  <c:v>17.324999999999999</c:v>
                </c:pt>
                <c:pt idx="6238">
                  <c:v>17.327777777777779</c:v>
                </c:pt>
                <c:pt idx="6239">
                  <c:v>17.330555555555556</c:v>
                </c:pt>
                <c:pt idx="6240">
                  <c:v>17.333333333333332</c:v>
                </c:pt>
                <c:pt idx="6241">
                  <c:v>17.336111111111112</c:v>
                </c:pt>
                <c:pt idx="6242">
                  <c:v>17.338888888888889</c:v>
                </c:pt>
                <c:pt idx="6243">
                  <c:v>17.341666666666665</c:v>
                </c:pt>
                <c:pt idx="6244">
                  <c:v>17.344444444444445</c:v>
                </c:pt>
                <c:pt idx="6245">
                  <c:v>17.347222222222221</c:v>
                </c:pt>
                <c:pt idx="6246">
                  <c:v>17.350000000000001</c:v>
                </c:pt>
                <c:pt idx="6247">
                  <c:v>17.352777777777778</c:v>
                </c:pt>
                <c:pt idx="6248">
                  <c:v>17.355555555555554</c:v>
                </c:pt>
                <c:pt idx="6249">
                  <c:v>17.358333333333334</c:v>
                </c:pt>
                <c:pt idx="6250">
                  <c:v>17.361111111111111</c:v>
                </c:pt>
                <c:pt idx="6251">
                  <c:v>17.363888888888887</c:v>
                </c:pt>
                <c:pt idx="6252">
                  <c:v>17.366666666666667</c:v>
                </c:pt>
                <c:pt idx="6253">
                  <c:v>17.369444444444444</c:v>
                </c:pt>
                <c:pt idx="6254">
                  <c:v>17.372222222222224</c:v>
                </c:pt>
                <c:pt idx="6255">
                  <c:v>17.375</c:v>
                </c:pt>
                <c:pt idx="6256">
                  <c:v>17.377777777777776</c:v>
                </c:pt>
                <c:pt idx="6257">
                  <c:v>17.380555555555556</c:v>
                </c:pt>
                <c:pt idx="6258">
                  <c:v>17.383333333333333</c:v>
                </c:pt>
                <c:pt idx="6259">
                  <c:v>17.386111111111113</c:v>
                </c:pt>
                <c:pt idx="6260">
                  <c:v>17.388888888888889</c:v>
                </c:pt>
                <c:pt idx="6261">
                  <c:v>17.391666666666666</c:v>
                </c:pt>
                <c:pt idx="6262">
                  <c:v>17.394444444444446</c:v>
                </c:pt>
                <c:pt idx="6263">
                  <c:v>17.397222222222222</c:v>
                </c:pt>
                <c:pt idx="6264">
                  <c:v>17.399999999999999</c:v>
                </c:pt>
                <c:pt idx="6265">
                  <c:v>17.402777777777779</c:v>
                </c:pt>
                <c:pt idx="6266">
                  <c:v>17.405555555555555</c:v>
                </c:pt>
                <c:pt idx="6267">
                  <c:v>17.408333333333335</c:v>
                </c:pt>
                <c:pt idx="6268">
                  <c:v>17.411111111111111</c:v>
                </c:pt>
                <c:pt idx="6269">
                  <c:v>17.413888888888888</c:v>
                </c:pt>
                <c:pt idx="6270">
                  <c:v>17.416666666666668</c:v>
                </c:pt>
                <c:pt idx="6271">
                  <c:v>17.419444444444444</c:v>
                </c:pt>
                <c:pt idx="6272">
                  <c:v>17.422222222222221</c:v>
                </c:pt>
                <c:pt idx="6273">
                  <c:v>17.425000000000001</c:v>
                </c:pt>
                <c:pt idx="6274">
                  <c:v>17.427777777777777</c:v>
                </c:pt>
                <c:pt idx="6275">
                  <c:v>17.430555555555557</c:v>
                </c:pt>
                <c:pt idx="6276">
                  <c:v>17.433333333333334</c:v>
                </c:pt>
                <c:pt idx="6277">
                  <c:v>17.43611111111111</c:v>
                </c:pt>
                <c:pt idx="6278">
                  <c:v>17.43888888888889</c:v>
                </c:pt>
                <c:pt idx="6279">
                  <c:v>17.441666666666666</c:v>
                </c:pt>
                <c:pt idx="6280">
                  <c:v>17.444444444444443</c:v>
                </c:pt>
                <c:pt idx="6281">
                  <c:v>17.447222222222223</c:v>
                </c:pt>
                <c:pt idx="6282">
                  <c:v>17.45</c:v>
                </c:pt>
                <c:pt idx="6283">
                  <c:v>17.452777777777779</c:v>
                </c:pt>
                <c:pt idx="6284">
                  <c:v>17.455555555555556</c:v>
                </c:pt>
                <c:pt idx="6285">
                  <c:v>17.458333333333332</c:v>
                </c:pt>
                <c:pt idx="6286">
                  <c:v>17.461111111111112</c:v>
                </c:pt>
                <c:pt idx="6287">
                  <c:v>17.463888888888889</c:v>
                </c:pt>
                <c:pt idx="6288">
                  <c:v>17.466666666666665</c:v>
                </c:pt>
                <c:pt idx="6289">
                  <c:v>17.469444444444445</c:v>
                </c:pt>
                <c:pt idx="6290">
                  <c:v>17.472222222222221</c:v>
                </c:pt>
                <c:pt idx="6291">
                  <c:v>17.475000000000001</c:v>
                </c:pt>
                <c:pt idx="6292">
                  <c:v>17.477777777777778</c:v>
                </c:pt>
                <c:pt idx="6293">
                  <c:v>17.480555555555554</c:v>
                </c:pt>
                <c:pt idx="6294">
                  <c:v>17.483333333333334</c:v>
                </c:pt>
                <c:pt idx="6295">
                  <c:v>17.486111111111111</c:v>
                </c:pt>
                <c:pt idx="6296">
                  <c:v>17.488888888888887</c:v>
                </c:pt>
                <c:pt idx="6297">
                  <c:v>17.491666666666667</c:v>
                </c:pt>
                <c:pt idx="6298">
                  <c:v>17.494444444444444</c:v>
                </c:pt>
                <c:pt idx="6299">
                  <c:v>17.497222222222224</c:v>
                </c:pt>
                <c:pt idx="6300">
                  <c:v>17.5</c:v>
                </c:pt>
                <c:pt idx="6301">
                  <c:v>17.502777777777776</c:v>
                </c:pt>
                <c:pt idx="6302">
                  <c:v>17.505555555555556</c:v>
                </c:pt>
                <c:pt idx="6303">
                  <c:v>17.508333333333333</c:v>
                </c:pt>
                <c:pt idx="6304">
                  <c:v>17.511111111111113</c:v>
                </c:pt>
                <c:pt idx="6305">
                  <c:v>17.513888888888889</c:v>
                </c:pt>
                <c:pt idx="6306">
                  <c:v>17.516666666666666</c:v>
                </c:pt>
                <c:pt idx="6307">
                  <c:v>17.519444444444446</c:v>
                </c:pt>
                <c:pt idx="6308">
                  <c:v>17.522222222222222</c:v>
                </c:pt>
                <c:pt idx="6309">
                  <c:v>17.524999999999999</c:v>
                </c:pt>
                <c:pt idx="6310">
                  <c:v>17.527777777777779</c:v>
                </c:pt>
                <c:pt idx="6311">
                  <c:v>17.530555555555555</c:v>
                </c:pt>
                <c:pt idx="6312">
                  <c:v>17.533333333333335</c:v>
                </c:pt>
                <c:pt idx="6313">
                  <c:v>17.536111111111111</c:v>
                </c:pt>
                <c:pt idx="6314">
                  <c:v>17.538888888888888</c:v>
                </c:pt>
                <c:pt idx="6315">
                  <c:v>17.541666666666668</c:v>
                </c:pt>
                <c:pt idx="6316">
                  <c:v>17.544444444444444</c:v>
                </c:pt>
                <c:pt idx="6317">
                  <c:v>17.547222222222221</c:v>
                </c:pt>
                <c:pt idx="6318">
                  <c:v>17.55</c:v>
                </c:pt>
                <c:pt idx="6319">
                  <c:v>17.552777777777777</c:v>
                </c:pt>
                <c:pt idx="6320">
                  <c:v>17.555555555555557</c:v>
                </c:pt>
                <c:pt idx="6321">
                  <c:v>17.558333333333334</c:v>
                </c:pt>
                <c:pt idx="6322">
                  <c:v>17.56111111111111</c:v>
                </c:pt>
                <c:pt idx="6323">
                  <c:v>17.56388888888889</c:v>
                </c:pt>
                <c:pt idx="6324">
                  <c:v>17.566666666666666</c:v>
                </c:pt>
                <c:pt idx="6325">
                  <c:v>17.569444444444443</c:v>
                </c:pt>
                <c:pt idx="6326">
                  <c:v>17.572222222222223</c:v>
                </c:pt>
                <c:pt idx="6327">
                  <c:v>17.574999999999999</c:v>
                </c:pt>
                <c:pt idx="6328">
                  <c:v>17.577777777777779</c:v>
                </c:pt>
                <c:pt idx="6329">
                  <c:v>17.580555555555556</c:v>
                </c:pt>
                <c:pt idx="6330">
                  <c:v>17.583333333333332</c:v>
                </c:pt>
                <c:pt idx="6331">
                  <c:v>17.586111111111112</c:v>
                </c:pt>
                <c:pt idx="6332">
                  <c:v>17.588888888888889</c:v>
                </c:pt>
                <c:pt idx="6333">
                  <c:v>17.591666666666665</c:v>
                </c:pt>
                <c:pt idx="6334">
                  <c:v>17.594444444444445</c:v>
                </c:pt>
                <c:pt idx="6335">
                  <c:v>17.597222222222221</c:v>
                </c:pt>
                <c:pt idx="6336">
                  <c:v>17.600000000000001</c:v>
                </c:pt>
                <c:pt idx="6337">
                  <c:v>17.602777777777778</c:v>
                </c:pt>
                <c:pt idx="6338">
                  <c:v>17.605555555555554</c:v>
                </c:pt>
                <c:pt idx="6339">
                  <c:v>17.608333333333334</c:v>
                </c:pt>
                <c:pt idx="6340">
                  <c:v>17.611111111111111</c:v>
                </c:pt>
                <c:pt idx="6341">
                  <c:v>17.613888888888887</c:v>
                </c:pt>
                <c:pt idx="6342">
                  <c:v>17.616666666666667</c:v>
                </c:pt>
                <c:pt idx="6343">
                  <c:v>17.619444444444444</c:v>
                </c:pt>
                <c:pt idx="6344">
                  <c:v>17.622222222222224</c:v>
                </c:pt>
                <c:pt idx="6345">
                  <c:v>17.625</c:v>
                </c:pt>
                <c:pt idx="6346">
                  <c:v>17.627777777777776</c:v>
                </c:pt>
                <c:pt idx="6347">
                  <c:v>17.630555555555556</c:v>
                </c:pt>
                <c:pt idx="6348">
                  <c:v>17.633333333333333</c:v>
                </c:pt>
                <c:pt idx="6349">
                  <c:v>17.636111111111113</c:v>
                </c:pt>
                <c:pt idx="6350">
                  <c:v>17.638888888888889</c:v>
                </c:pt>
                <c:pt idx="6351">
                  <c:v>17.641666666666666</c:v>
                </c:pt>
                <c:pt idx="6352">
                  <c:v>17.644444444444446</c:v>
                </c:pt>
                <c:pt idx="6353">
                  <c:v>17.647222222222222</c:v>
                </c:pt>
                <c:pt idx="6354">
                  <c:v>17.649999999999999</c:v>
                </c:pt>
                <c:pt idx="6355">
                  <c:v>17.652777777777779</c:v>
                </c:pt>
                <c:pt idx="6356">
                  <c:v>17.655555555555555</c:v>
                </c:pt>
                <c:pt idx="6357">
                  <c:v>17.658333333333335</c:v>
                </c:pt>
                <c:pt idx="6358">
                  <c:v>17.661111111111111</c:v>
                </c:pt>
                <c:pt idx="6359">
                  <c:v>17.663888888888888</c:v>
                </c:pt>
                <c:pt idx="6360">
                  <c:v>17.666666666666668</c:v>
                </c:pt>
                <c:pt idx="6361">
                  <c:v>17.669444444444444</c:v>
                </c:pt>
                <c:pt idx="6362">
                  <c:v>17.672222222222221</c:v>
                </c:pt>
                <c:pt idx="6363">
                  <c:v>17.675000000000001</c:v>
                </c:pt>
                <c:pt idx="6364">
                  <c:v>17.677777777777777</c:v>
                </c:pt>
                <c:pt idx="6365">
                  <c:v>17.680555555555557</c:v>
                </c:pt>
                <c:pt idx="6366">
                  <c:v>17.683333333333334</c:v>
                </c:pt>
                <c:pt idx="6367">
                  <c:v>17.68611111111111</c:v>
                </c:pt>
                <c:pt idx="6368">
                  <c:v>17.68888888888889</c:v>
                </c:pt>
                <c:pt idx="6369">
                  <c:v>17.691666666666666</c:v>
                </c:pt>
                <c:pt idx="6370">
                  <c:v>17.694444444444443</c:v>
                </c:pt>
                <c:pt idx="6371">
                  <c:v>17.697222222222223</c:v>
                </c:pt>
                <c:pt idx="6372">
                  <c:v>17.7</c:v>
                </c:pt>
                <c:pt idx="6373">
                  <c:v>17.702777777777779</c:v>
                </c:pt>
                <c:pt idx="6374">
                  <c:v>17.705555555555556</c:v>
                </c:pt>
                <c:pt idx="6375">
                  <c:v>17.708333333333332</c:v>
                </c:pt>
                <c:pt idx="6376">
                  <c:v>17.711111111111112</c:v>
                </c:pt>
                <c:pt idx="6377">
                  <c:v>17.713888888888889</c:v>
                </c:pt>
                <c:pt idx="6378">
                  <c:v>17.716666666666665</c:v>
                </c:pt>
                <c:pt idx="6379">
                  <c:v>17.719444444444445</c:v>
                </c:pt>
                <c:pt idx="6380">
                  <c:v>17.722222222222221</c:v>
                </c:pt>
                <c:pt idx="6381">
                  <c:v>17.725000000000001</c:v>
                </c:pt>
                <c:pt idx="6382">
                  <c:v>17.727777777777778</c:v>
                </c:pt>
                <c:pt idx="6383">
                  <c:v>17.730555555555554</c:v>
                </c:pt>
                <c:pt idx="6384">
                  <c:v>17.733333333333334</c:v>
                </c:pt>
                <c:pt idx="6385">
                  <c:v>17.736111111111111</c:v>
                </c:pt>
                <c:pt idx="6386">
                  <c:v>17.738888888888887</c:v>
                </c:pt>
                <c:pt idx="6387">
                  <c:v>17.741666666666667</c:v>
                </c:pt>
                <c:pt idx="6388">
                  <c:v>17.744444444444444</c:v>
                </c:pt>
                <c:pt idx="6389">
                  <c:v>17.747222222222224</c:v>
                </c:pt>
                <c:pt idx="6390">
                  <c:v>17.75</c:v>
                </c:pt>
                <c:pt idx="6391">
                  <c:v>17.752777777777776</c:v>
                </c:pt>
                <c:pt idx="6392">
                  <c:v>17.755555555555556</c:v>
                </c:pt>
                <c:pt idx="6393">
                  <c:v>17.758333333333333</c:v>
                </c:pt>
                <c:pt idx="6394">
                  <c:v>17.761111111111113</c:v>
                </c:pt>
                <c:pt idx="6395">
                  <c:v>17.763888888888889</c:v>
                </c:pt>
                <c:pt idx="6396">
                  <c:v>17.766666666666666</c:v>
                </c:pt>
                <c:pt idx="6397">
                  <c:v>17.769444444444446</c:v>
                </c:pt>
                <c:pt idx="6398">
                  <c:v>17.772222222222222</c:v>
                </c:pt>
                <c:pt idx="6399">
                  <c:v>17.774999999999999</c:v>
                </c:pt>
                <c:pt idx="6400">
                  <c:v>17.777777777777779</c:v>
                </c:pt>
                <c:pt idx="6401">
                  <c:v>17.780555555555555</c:v>
                </c:pt>
                <c:pt idx="6402">
                  <c:v>17.783333333333335</c:v>
                </c:pt>
                <c:pt idx="6403">
                  <c:v>17.786111111111111</c:v>
                </c:pt>
                <c:pt idx="6404">
                  <c:v>17.788888888888888</c:v>
                </c:pt>
                <c:pt idx="6405">
                  <c:v>17.791666666666668</c:v>
                </c:pt>
                <c:pt idx="6406">
                  <c:v>17.794444444444444</c:v>
                </c:pt>
                <c:pt idx="6407">
                  <c:v>17.797222222222221</c:v>
                </c:pt>
                <c:pt idx="6408">
                  <c:v>17.8</c:v>
                </c:pt>
                <c:pt idx="6409">
                  <c:v>17.802777777777777</c:v>
                </c:pt>
                <c:pt idx="6410">
                  <c:v>17.805555555555557</c:v>
                </c:pt>
                <c:pt idx="6411">
                  <c:v>17.808333333333334</c:v>
                </c:pt>
                <c:pt idx="6412">
                  <c:v>17.81111111111111</c:v>
                </c:pt>
                <c:pt idx="6413">
                  <c:v>17.81388888888889</c:v>
                </c:pt>
                <c:pt idx="6414">
                  <c:v>17.816666666666666</c:v>
                </c:pt>
                <c:pt idx="6415">
                  <c:v>17.819444444444443</c:v>
                </c:pt>
                <c:pt idx="6416">
                  <c:v>17.822222222222223</c:v>
                </c:pt>
                <c:pt idx="6417">
                  <c:v>17.824999999999999</c:v>
                </c:pt>
                <c:pt idx="6418">
                  <c:v>17.827777777777779</c:v>
                </c:pt>
                <c:pt idx="6419">
                  <c:v>17.830555555555556</c:v>
                </c:pt>
                <c:pt idx="6420">
                  <c:v>17.833333333333332</c:v>
                </c:pt>
                <c:pt idx="6421">
                  <c:v>17.836111111111112</c:v>
                </c:pt>
                <c:pt idx="6422">
                  <c:v>17.838888888888889</c:v>
                </c:pt>
                <c:pt idx="6423">
                  <c:v>17.841666666666665</c:v>
                </c:pt>
                <c:pt idx="6424">
                  <c:v>17.844444444444445</c:v>
                </c:pt>
                <c:pt idx="6425">
                  <c:v>17.847222222222221</c:v>
                </c:pt>
                <c:pt idx="6426">
                  <c:v>17.850000000000001</c:v>
                </c:pt>
                <c:pt idx="6427">
                  <c:v>17.852777777777778</c:v>
                </c:pt>
                <c:pt idx="6428">
                  <c:v>17.855555555555554</c:v>
                </c:pt>
                <c:pt idx="6429">
                  <c:v>17.858333333333334</c:v>
                </c:pt>
                <c:pt idx="6430">
                  <c:v>17.861111111111111</c:v>
                </c:pt>
                <c:pt idx="6431">
                  <c:v>17.863888888888887</c:v>
                </c:pt>
                <c:pt idx="6432">
                  <c:v>17.866666666666667</c:v>
                </c:pt>
                <c:pt idx="6433">
                  <c:v>17.869444444444444</c:v>
                </c:pt>
                <c:pt idx="6434">
                  <c:v>17.872222222222224</c:v>
                </c:pt>
                <c:pt idx="6435">
                  <c:v>17.875</c:v>
                </c:pt>
                <c:pt idx="6436">
                  <c:v>17.877777777777776</c:v>
                </c:pt>
                <c:pt idx="6437">
                  <c:v>17.880555555555556</c:v>
                </c:pt>
                <c:pt idx="6438">
                  <c:v>17.883333333333333</c:v>
                </c:pt>
                <c:pt idx="6439">
                  <c:v>17.886111111111113</c:v>
                </c:pt>
                <c:pt idx="6440">
                  <c:v>17.888888888888889</c:v>
                </c:pt>
                <c:pt idx="6441">
                  <c:v>17.891666666666666</c:v>
                </c:pt>
                <c:pt idx="6442">
                  <c:v>17.894444444444446</c:v>
                </c:pt>
                <c:pt idx="6443">
                  <c:v>17.897222222222222</c:v>
                </c:pt>
                <c:pt idx="6444">
                  <c:v>17.899999999999999</c:v>
                </c:pt>
                <c:pt idx="6445">
                  <c:v>17.902777777777779</c:v>
                </c:pt>
                <c:pt idx="6446">
                  <c:v>17.905555555555555</c:v>
                </c:pt>
                <c:pt idx="6447">
                  <c:v>17.908333333333335</c:v>
                </c:pt>
                <c:pt idx="6448">
                  <c:v>17.911111111111111</c:v>
                </c:pt>
                <c:pt idx="6449">
                  <c:v>17.913888888888888</c:v>
                </c:pt>
                <c:pt idx="6450">
                  <c:v>17.916666666666668</c:v>
                </c:pt>
                <c:pt idx="6451">
                  <c:v>17.919444444444444</c:v>
                </c:pt>
                <c:pt idx="6452">
                  <c:v>17.922222222222221</c:v>
                </c:pt>
                <c:pt idx="6453">
                  <c:v>17.925000000000001</c:v>
                </c:pt>
                <c:pt idx="6454">
                  <c:v>17.927777777777777</c:v>
                </c:pt>
                <c:pt idx="6455">
                  <c:v>17.930555555555557</c:v>
                </c:pt>
                <c:pt idx="6456">
                  <c:v>17.933333333333334</c:v>
                </c:pt>
                <c:pt idx="6457">
                  <c:v>17.93611111111111</c:v>
                </c:pt>
                <c:pt idx="6458">
                  <c:v>17.93888888888889</c:v>
                </c:pt>
                <c:pt idx="6459">
                  <c:v>17.941666666666666</c:v>
                </c:pt>
                <c:pt idx="6460">
                  <c:v>17.944444444444443</c:v>
                </c:pt>
                <c:pt idx="6461">
                  <c:v>17.947222222222223</c:v>
                </c:pt>
                <c:pt idx="6462">
                  <c:v>17.95</c:v>
                </c:pt>
                <c:pt idx="6463">
                  <c:v>17.952777777777779</c:v>
                </c:pt>
                <c:pt idx="6464">
                  <c:v>17.955555555555556</c:v>
                </c:pt>
                <c:pt idx="6465">
                  <c:v>17.958333333333332</c:v>
                </c:pt>
                <c:pt idx="6466">
                  <c:v>17.961111111111112</c:v>
                </c:pt>
                <c:pt idx="6467">
                  <c:v>17.963888888888889</c:v>
                </c:pt>
                <c:pt idx="6468">
                  <c:v>17.966666666666665</c:v>
                </c:pt>
                <c:pt idx="6469">
                  <c:v>17.969444444444445</c:v>
                </c:pt>
                <c:pt idx="6470">
                  <c:v>17.972222222222221</c:v>
                </c:pt>
                <c:pt idx="6471">
                  <c:v>17.975000000000001</c:v>
                </c:pt>
                <c:pt idx="6472">
                  <c:v>17.977777777777778</c:v>
                </c:pt>
                <c:pt idx="6473">
                  <c:v>17.980555555555554</c:v>
                </c:pt>
                <c:pt idx="6474">
                  <c:v>17.983333333333334</c:v>
                </c:pt>
                <c:pt idx="6475">
                  <c:v>17.986111111111111</c:v>
                </c:pt>
                <c:pt idx="6476">
                  <c:v>17.988888888888887</c:v>
                </c:pt>
                <c:pt idx="6477">
                  <c:v>17.991666666666667</c:v>
                </c:pt>
                <c:pt idx="6478">
                  <c:v>17.994444444444444</c:v>
                </c:pt>
                <c:pt idx="6479">
                  <c:v>17.997222222222224</c:v>
                </c:pt>
                <c:pt idx="6480">
                  <c:v>18</c:v>
                </c:pt>
                <c:pt idx="6481">
                  <c:v>18.002777777777776</c:v>
                </c:pt>
                <c:pt idx="6482">
                  <c:v>18.005555555555556</c:v>
                </c:pt>
                <c:pt idx="6483">
                  <c:v>18.008333333333333</c:v>
                </c:pt>
                <c:pt idx="6484">
                  <c:v>18.011111111111113</c:v>
                </c:pt>
                <c:pt idx="6485">
                  <c:v>18.013888888888889</c:v>
                </c:pt>
                <c:pt idx="6486">
                  <c:v>18.016666666666666</c:v>
                </c:pt>
                <c:pt idx="6487">
                  <c:v>18.019444444444446</c:v>
                </c:pt>
                <c:pt idx="6488">
                  <c:v>18.022222222222222</c:v>
                </c:pt>
                <c:pt idx="6489">
                  <c:v>18.024999999999999</c:v>
                </c:pt>
                <c:pt idx="6490">
                  <c:v>18.027777777777779</c:v>
                </c:pt>
                <c:pt idx="6491">
                  <c:v>18.030555555555555</c:v>
                </c:pt>
                <c:pt idx="6492">
                  <c:v>18.033333333333335</c:v>
                </c:pt>
                <c:pt idx="6493">
                  <c:v>18.036111111111111</c:v>
                </c:pt>
                <c:pt idx="6494">
                  <c:v>18.038888888888888</c:v>
                </c:pt>
                <c:pt idx="6495">
                  <c:v>18.041666666666668</c:v>
                </c:pt>
                <c:pt idx="6496">
                  <c:v>18.044444444444444</c:v>
                </c:pt>
                <c:pt idx="6497">
                  <c:v>18.047222222222221</c:v>
                </c:pt>
                <c:pt idx="6498">
                  <c:v>18.05</c:v>
                </c:pt>
                <c:pt idx="6499">
                  <c:v>18.052777777777777</c:v>
                </c:pt>
                <c:pt idx="6500">
                  <c:v>18.055555555555557</c:v>
                </c:pt>
                <c:pt idx="6501">
                  <c:v>18.058333333333334</c:v>
                </c:pt>
                <c:pt idx="6502">
                  <c:v>18.06111111111111</c:v>
                </c:pt>
                <c:pt idx="6503">
                  <c:v>18.06388888888889</c:v>
                </c:pt>
                <c:pt idx="6504">
                  <c:v>18.066666666666666</c:v>
                </c:pt>
                <c:pt idx="6505">
                  <c:v>18.069444444444443</c:v>
                </c:pt>
                <c:pt idx="6506">
                  <c:v>18.072222222222223</c:v>
                </c:pt>
                <c:pt idx="6507">
                  <c:v>18.074999999999999</c:v>
                </c:pt>
                <c:pt idx="6508">
                  <c:v>18.077777777777779</c:v>
                </c:pt>
                <c:pt idx="6509">
                  <c:v>18.080555555555556</c:v>
                </c:pt>
                <c:pt idx="6510">
                  <c:v>18.083333333333332</c:v>
                </c:pt>
                <c:pt idx="6511">
                  <c:v>18.086111111111112</c:v>
                </c:pt>
                <c:pt idx="6512">
                  <c:v>18.088888888888889</c:v>
                </c:pt>
                <c:pt idx="6513">
                  <c:v>18.091666666666665</c:v>
                </c:pt>
                <c:pt idx="6514">
                  <c:v>18.094444444444445</c:v>
                </c:pt>
                <c:pt idx="6515">
                  <c:v>18.097222222222221</c:v>
                </c:pt>
                <c:pt idx="6516">
                  <c:v>18.100000000000001</c:v>
                </c:pt>
                <c:pt idx="6517">
                  <c:v>18.102777777777778</c:v>
                </c:pt>
                <c:pt idx="6518">
                  <c:v>18.105555555555554</c:v>
                </c:pt>
                <c:pt idx="6519">
                  <c:v>18.108333333333334</c:v>
                </c:pt>
                <c:pt idx="6520">
                  <c:v>18.111111111111111</c:v>
                </c:pt>
                <c:pt idx="6521">
                  <c:v>18.113888888888887</c:v>
                </c:pt>
                <c:pt idx="6522">
                  <c:v>18.116666666666667</c:v>
                </c:pt>
                <c:pt idx="6523">
                  <c:v>18.119444444444444</c:v>
                </c:pt>
                <c:pt idx="6524">
                  <c:v>18.122222222222224</c:v>
                </c:pt>
                <c:pt idx="6525">
                  <c:v>18.125</c:v>
                </c:pt>
                <c:pt idx="6526">
                  <c:v>18.127777777777776</c:v>
                </c:pt>
                <c:pt idx="6527">
                  <c:v>18.130555555555556</c:v>
                </c:pt>
                <c:pt idx="6528">
                  <c:v>18.133333333333333</c:v>
                </c:pt>
                <c:pt idx="6529">
                  <c:v>18.136111111111113</c:v>
                </c:pt>
                <c:pt idx="6530">
                  <c:v>18.138888888888889</c:v>
                </c:pt>
                <c:pt idx="6531">
                  <c:v>18.141666666666666</c:v>
                </c:pt>
                <c:pt idx="6532">
                  <c:v>18.144444444444446</c:v>
                </c:pt>
                <c:pt idx="6533">
                  <c:v>18.147222222222222</c:v>
                </c:pt>
                <c:pt idx="6534">
                  <c:v>18.149999999999999</c:v>
                </c:pt>
                <c:pt idx="6535">
                  <c:v>18.152777777777779</c:v>
                </c:pt>
                <c:pt idx="6536">
                  <c:v>18.155555555555555</c:v>
                </c:pt>
                <c:pt idx="6537">
                  <c:v>18.158333333333335</c:v>
                </c:pt>
                <c:pt idx="6538">
                  <c:v>18.161111111111111</c:v>
                </c:pt>
                <c:pt idx="6539">
                  <c:v>18.163888888888888</c:v>
                </c:pt>
                <c:pt idx="6540">
                  <c:v>18.166666666666668</c:v>
                </c:pt>
                <c:pt idx="6541">
                  <c:v>18.169444444444444</c:v>
                </c:pt>
                <c:pt idx="6542">
                  <c:v>18.172222222222221</c:v>
                </c:pt>
                <c:pt idx="6543">
                  <c:v>18.175000000000001</c:v>
                </c:pt>
                <c:pt idx="6544">
                  <c:v>18.177777777777777</c:v>
                </c:pt>
                <c:pt idx="6545">
                  <c:v>18.180555555555557</c:v>
                </c:pt>
                <c:pt idx="6546">
                  <c:v>18.183333333333334</c:v>
                </c:pt>
                <c:pt idx="6547">
                  <c:v>18.18611111111111</c:v>
                </c:pt>
                <c:pt idx="6548">
                  <c:v>18.18888888888889</c:v>
                </c:pt>
                <c:pt idx="6549">
                  <c:v>18.191666666666666</c:v>
                </c:pt>
                <c:pt idx="6550">
                  <c:v>18.194444444444443</c:v>
                </c:pt>
                <c:pt idx="6551">
                  <c:v>18.197222222222223</c:v>
                </c:pt>
                <c:pt idx="6552">
                  <c:v>18.2</c:v>
                </c:pt>
                <c:pt idx="6553">
                  <c:v>18.202777777777779</c:v>
                </c:pt>
                <c:pt idx="6554">
                  <c:v>18.205555555555556</c:v>
                </c:pt>
                <c:pt idx="6555">
                  <c:v>18.208333333333332</c:v>
                </c:pt>
                <c:pt idx="6556">
                  <c:v>18.211111111111112</c:v>
                </c:pt>
                <c:pt idx="6557">
                  <c:v>18.213888888888889</c:v>
                </c:pt>
                <c:pt idx="6558">
                  <c:v>18.216666666666665</c:v>
                </c:pt>
                <c:pt idx="6559">
                  <c:v>18.219444444444445</c:v>
                </c:pt>
                <c:pt idx="6560">
                  <c:v>18.222222222222221</c:v>
                </c:pt>
                <c:pt idx="6561">
                  <c:v>18.225000000000001</c:v>
                </c:pt>
                <c:pt idx="6562">
                  <c:v>18.227777777777778</c:v>
                </c:pt>
                <c:pt idx="6563">
                  <c:v>18.230555555555554</c:v>
                </c:pt>
                <c:pt idx="6564">
                  <c:v>18.233333333333334</c:v>
                </c:pt>
                <c:pt idx="6565">
                  <c:v>18.236111111111111</c:v>
                </c:pt>
                <c:pt idx="6566">
                  <c:v>18.238888888888887</c:v>
                </c:pt>
                <c:pt idx="6567">
                  <c:v>18.241666666666667</c:v>
                </c:pt>
                <c:pt idx="6568">
                  <c:v>18.244444444444444</c:v>
                </c:pt>
                <c:pt idx="6569">
                  <c:v>18.247222222222224</c:v>
                </c:pt>
                <c:pt idx="6570">
                  <c:v>18.25</c:v>
                </c:pt>
                <c:pt idx="6571">
                  <c:v>18.252777777777776</c:v>
                </c:pt>
                <c:pt idx="6572">
                  <c:v>18.255555555555556</c:v>
                </c:pt>
                <c:pt idx="6573">
                  <c:v>18.258333333333333</c:v>
                </c:pt>
                <c:pt idx="6574">
                  <c:v>18.261111111111113</c:v>
                </c:pt>
                <c:pt idx="6575">
                  <c:v>18.263888888888889</c:v>
                </c:pt>
                <c:pt idx="6576">
                  <c:v>18.266666666666666</c:v>
                </c:pt>
                <c:pt idx="6577">
                  <c:v>18.269444444444446</c:v>
                </c:pt>
                <c:pt idx="6578">
                  <c:v>18.272222222222222</c:v>
                </c:pt>
                <c:pt idx="6579">
                  <c:v>18.274999999999999</c:v>
                </c:pt>
                <c:pt idx="6580">
                  <c:v>18.277777777777779</c:v>
                </c:pt>
                <c:pt idx="6581">
                  <c:v>18.280555555555555</c:v>
                </c:pt>
                <c:pt idx="6582">
                  <c:v>18.283333333333335</c:v>
                </c:pt>
                <c:pt idx="6583">
                  <c:v>18.286111111111111</c:v>
                </c:pt>
                <c:pt idx="6584">
                  <c:v>18.288888888888888</c:v>
                </c:pt>
                <c:pt idx="6585">
                  <c:v>18.291666666666668</c:v>
                </c:pt>
                <c:pt idx="6586">
                  <c:v>18.294444444444444</c:v>
                </c:pt>
                <c:pt idx="6587">
                  <c:v>18.297222222222221</c:v>
                </c:pt>
                <c:pt idx="6588">
                  <c:v>18.3</c:v>
                </c:pt>
                <c:pt idx="6589">
                  <c:v>18.302777777777777</c:v>
                </c:pt>
                <c:pt idx="6590">
                  <c:v>18.305555555555557</c:v>
                </c:pt>
                <c:pt idx="6591">
                  <c:v>18.308333333333334</c:v>
                </c:pt>
                <c:pt idx="6592">
                  <c:v>18.31111111111111</c:v>
                </c:pt>
                <c:pt idx="6593">
                  <c:v>18.31388888888889</c:v>
                </c:pt>
                <c:pt idx="6594">
                  <c:v>18.316666666666666</c:v>
                </c:pt>
                <c:pt idx="6595">
                  <c:v>18.319444444444443</c:v>
                </c:pt>
                <c:pt idx="6596">
                  <c:v>18.322222222222223</c:v>
                </c:pt>
                <c:pt idx="6597">
                  <c:v>18.324999999999999</c:v>
                </c:pt>
                <c:pt idx="6598">
                  <c:v>18.327777777777779</c:v>
                </c:pt>
                <c:pt idx="6599">
                  <c:v>18.330555555555556</c:v>
                </c:pt>
                <c:pt idx="6600">
                  <c:v>18.333333333333332</c:v>
                </c:pt>
                <c:pt idx="6601">
                  <c:v>18.336111111111112</c:v>
                </c:pt>
                <c:pt idx="6602">
                  <c:v>18.338888888888889</c:v>
                </c:pt>
                <c:pt idx="6603">
                  <c:v>18.341666666666665</c:v>
                </c:pt>
                <c:pt idx="6604">
                  <c:v>18.344444444444445</c:v>
                </c:pt>
                <c:pt idx="6605">
                  <c:v>18.347222222222221</c:v>
                </c:pt>
                <c:pt idx="6606">
                  <c:v>18.350000000000001</c:v>
                </c:pt>
                <c:pt idx="6607">
                  <c:v>18.352777777777778</c:v>
                </c:pt>
                <c:pt idx="6608">
                  <c:v>18.355555555555554</c:v>
                </c:pt>
                <c:pt idx="6609">
                  <c:v>18.358333333333334</c:v>
                </c:pt>
                <c:pt idx="6610">
                  <c:v>18.361111111111111</c:v>
                </c:pt>
                <c:pt idx="6611">
                  <c:v>18.363888888888887</c:v>
                </c:pt>
                <c:pt idx="6612">
                  <c:v>18.366666666666667</c:v>
                </c:pt>
                <c:pt idx="6613">
                  <c:v>18.369444444444444</c:v>
                </c:pt>
                <c:pt idx="6614">
                  <c:v>18.372222222222224</c:v>
                </c:pt>
                <c:pt idx="6615">
                  <c:v>18.375</c:v>
                </c:pt>
                <c:pt idx="6616">
                  <c:v>18.377777777777776</c:v>
                </c:pt>
                <c:pt idx="6617">
                  <c:v>18.380555555555556</c:v>
                </c:pt>
                <c:pt idx="6618">
                  <c:v>18.383333333333333</c:v>
                </c:pt>
                <c:pt idx="6619">
                  <c:v>18.386111111111113</c:v>
                </c:pt>
                <c:pt idx="6620">
                  <c:v>18.388888888888889</c:v>
                </c:pt>
                <c:pt idx="6621">
                  <c:v>18.391666666666666</c:v>
                </c:pt>
                <c:pt idx="6622">
                  <c:v>18.394444444444446</c:v>
                </c:pt>
                <c:pt idx="6623">
                  <c:v>18.397222222222222</c:v>
                </c:pt>
                <c:pt idx="6624">
                  <c:v>18.399999999999999</c:v>
                </c:pt>
                <c:pt idx="6625">
                  <c:v>18.402777777777779</c:v>
                </c:pt>
                <c:pt idx="6626">
                  <c:v>18.405555555555555</c:v>
                </c:pt>
                <c:pt idx="6627">
                  <c:v>18.408333333333335</c:v>
                </c:pt>
                <c:pt idx="6628">
                  <c:v>18.411111111111111</c:v>
                </c:pt>
                <c:pt idx="6629">
                  <c:v>18.413888888888888</c:v>
                </c:pt>
                <c:pt idx="6630">
                  <c:v>18.416666666666668</c:v>
                </c:pt>
                <c:pt idx="6631">
                  <c:v>18.419444444444444</c:v>
                </c:pt>
                <c:pt idx="6632">
                  <c:v>18.422222222222221</c:v>
                </c:pt>
                <c:pt idx="6633">
                  <c:v>18.425000000000001</c:v>
                </c:pt>
                <c:pt idx="6634">
                  <c:v>18.427777777777777</c:v>
                </c:pt>
                <c:pt idx="6635">
                  <c:v>18.430555555555557</c:v>
                </c:pt>
                <c:pt idx="6636">
                  <c:v>18.433333333333334</c:v>
                </c:pt>
                <c:pt idx="6637">
                  <c:v>18.43611111111111</c:v>
                </c:pt>
                <c:pt idx="6638">
                  <c:v>18.43888888888889</c:v>
                </c:pt>
                <c:pt idx="6639">
                  <c:v>18.441666666666666</c:v>
                </c:pt>
                <c:pt idx="6640">
                  <c:v>18.444444444444443</c:v>
                </c:pt>
                <c:pt idx="6641">
                  <c:v>18.447222222222223</c:v>
                </c:pt>
                <c:pt idx="6642">
                  <c:v>18.45</c:v>
                </c:pt>
                <c:pt idx="6643">
                  <c:v>18.452777777777779</c:v>
                </c:pt>
                <c:pt idx="6644">
                  <c:v>18.455555555555556</c:v>
                </c:pt>
                <c:pt idx="6645">
                  <c:v>18.458333333333332</c:v>
                </c:pt>
                <c:pt idx="6646">
                  <c:v>18.461111111111112</c:v>
                </c:pt>
                <c:pt idx="6647">
                  <c:v>18.463888888888889</c:v>
                </c:pt>
                <c:pt idx="6648">
                  <c:v>18.466666666666665</c:v>
                </c:pt>
                <c:pt idx="6649">
                  <c:v>18.469444444444445</c:v>
                </c:pt>
                <c:pt idx="6650">
                  <c:v>18.472222222222221</c:v>
                </c:pt>
                <c:pt idx="6651">
                  <c:v>18.475000000000001</c:v>
                </c:pt>
                <c:pt idx="6652">
                  <c:v>18.477777777777778</c:v>
                </c:pt>
                <c:pt idx="6653">
                  <c:v>18.480555555555554</c:v>
                </c:pt>
                <c:pt idx="6654">
                  <c:v>18.483333333333334</c:v>
                </c:pt>
                <c:pt idx="6655">
                  <c:v>18.486111111111111</c:v>
                </c:pt>
                <c:pt idx="6656">
                  <c:v>18.488888888888887</c:v>
                </c:pt>
                <c:pt idx="6657">
                  <c:v>18.491666666666667</c:v>
                </c:pt>
                <c:pt idx="6658">
                  <c:v>18.494444444444444</c:v>
                </c:pt>
                <c:pt idx="6659">
                  <c:v>18.497222222222224</c:v>
                </c:pt>
                <c:pt idx="6660">
                  <c:v>18.5</c:v>
                </c:pt>
                <c:pt idx="6661">
                  <c:v>18.502777777777776</c:v>
                </c:pt>
                <c:pt idx="6662">
                  <c:v>18.505555555555556</c:v>
                </c:pt>
                <c:pt idx="6663">
                  <c:v>18.508333333333333</c:v>
                </c:pt>
                <c:pt idx="6664">
                  <c:v>18.511111111111113</c:v>
                </c:pt>
                <c:pt idx="6665">
                  <c:v>18.513888888888889</c:v>
                </c:pt>
                <c:pt idx="6666">
                  <c:v>18.516666666666666</c:v>
                </c:pt>
                <c:pt idx="6667">
                  <c:v>18.519444444444446</c:v>
                </c:pt>
                <c:pt idx="6668">
                  <c:v>18.522222222222222</c:v>
                </c:pt>
                <c:pt idx="6669">
                  <c:v>18.524999999999999</c:v>
                </c:pt>
                <c:pt idx="6670">
                  <c:v>18.527777777777779</c:v>
                </c:pt>
                <c:pt idx="6671">
                  <c:v>18.530555555555555</c:v>
                </c:pt>
                <c:pt idx="6672">
                  <c:v>18.533333333333335</c:v>
                </c:pt>
                <c:pt idx="6673">
                  <c:v>18.536111111111111</c:v>
                </c:pt>
                <c:pt idx="6674">
                  <c:v>18.538888888888888</c:v>
                </c:pt>
                <c:pt idx="6675">
                  <c:v>18.541666666666668</c:v>
                </c:pt>
                <c:pt idx="6676">
                  <c:v>18.544444444444444</c:v>
                </c:pt>
                <c:pt idx="6677">
                  <c:v>18.547222222222221</c:v>
                </c:pt>
                <c:pt idx="6678">
                  <c:v>18.55</c:v>
                </c:pt>
                <c:pt idx="6679">
                  <c:v>18.552777777777777</c:v>
                </c:pt>
                <c:pt idx="6680">
                  <c:v>18.555555555555557</c:v>
                </c:pt>
                <c:pt idx="6681">
                  <c:v>18.558333333333334</c:v>
                </c:pt>
                <c:pt idx="6682">
                  <c:v>18.56111111111111</c:v>
                </c:pt>
                <c:pt idx="6683">
                  <c:v>18.56388888888889</c:v>
                </c:pt>
                <c:pt idx="6684">
                  <c:v>18.566666666666666</c:v>
                </c:pt>
                <c:pt idx="6685">
                  <c:v>18.569444444444443</c:v>
                </c:pt>
                <c:pt idx="6686">
                  <c:v>18.572222222222223</c:v>
                </c:pt>
                <c:pt idx="6687">
                  <c:v>18.574999999999999</c:v>
                </c:pt>
                <c:pt idx="6688">
                  <c:v>18.577777777777779</c:v>
                </c:pt>
                <c:pt idx="6689">
                  <c:v>18.580555555555556</c:v>
                </c:pt>
                <c:pt idx="6690">
                  <c:v>18.583333333333332</c:v>
                </c:pt>
                <c:pt idx="6691">
                  <c:v>18.586111111111112</c:v>
                </c:pt>
                <c:pt idx="6692">
                  <c:v>18.588888888888889</c:v>
                </c:pt>
                <c:pt idx="6693">
                  <c:v>18.591666666666665</c:v>
                </c:pt>
                <c:pt idx="6694">
                  <c:v>18.594444444444445</c:v>
                </c:pt>
                <c:pt idx="6695">
                  <c:v>18.597222222222221</c:v>
                </c:pt>
                <c:pt idx="6696">
                  <c:v>18.600000000000001</c:v>
                </c:pt>
                <c:pt idx="6697">
                  <c:v>18.602777777777778</c:v>
                </c:pt>
                <c:pt idx="6698">
                  <c:v>18.605555555555554</c:v>
                </c:pt>
                <c:pt idx="6699">
                  <c:v>18.608333333333334</c:v>
                </c:pt>
                <c:pt idx="6700">
                  <c:v>18.611111111111111</c:v>
                </c:pt>
                <c:pt idx="6701">
                  <c:v>18.613888888888887</c:v>
                </c:pt>
                <c:pt idx="6702">
                  <c:v>18.616666666666667</c:v>
                </c:pt>
                <c:pt idx="6703">
                  <c:v>18.619444444444444</c:v>
                </c:pt>
                <c:pt idx="6704">
                  <c:v>18.622222222222224</c:v>
                </c:pt>
                <c:pt idx="6705">
                  <c:v>18.625</c:v>
                </c:pt>
                <c:pt idx="6706">
                  <c:v>18.627777777777776</c:v>
                </c:pt>
                <c:pt idx="6707">
                  <c:v>18.630555555555556</c:v>
                </c:pt>
                <c:pt idx="6708">
                  <c:v>18.633333333333333</c:v>
                </c:pt>
                <c:pt idx="6709">
                  <c:v>18.636111111111113</c:v>
                </c:pt>
                <c:pt idx="6710">
                  <c:v>18.638888888888889</c:v>
                </c:pt>
                <c:pt idx="6711">
                  <c:v>18.641666666666666</c:v>
                </c:pt>
                <c:pt idx="6712">
                  <c:v>18.644444444444446</c:v>
                </c:pt>
                <c:pt idx="6713">
                  <c:v>18.647222222222222</c:v>
                </c:pt>
                <c:pt idx="6714">
                  <c:v>18.649999999999999</c:v>
                </c:pt>
                <c:pt idx="6715">
                  <c:v>18.652777777777779</c:v>
                </c:pt>
                <c:pt idx="6716">
                  <c:v>18.655555555555555</c:v>
                </c:pt>
                <c:pt idx="6717">
                  <c:v>18.658333333333335</c:v>
                </c:pt>
                <c:pt idx="6718">
                  <c:v>18.661111111111111</c:v>
                </c:pt>
                <c:pt idx="6719">
                  <c:v>18.663888888888888</c:v>
                </c:pt>
                <c:pt idx="6720">
                  <c:v>18.666666666666668</c:v>
                </c:pt>
                <c:pt idx="6721">
                  <c:v>18.669444444444444</c:v>
                </c:pt>
                <c:pt idx="6722">
                  <c:v>18.672222222222221</c:v>
                </c:pt>
                <c:pt idx="6723">
                  <c:v>18.675000000000001</c:v>
                </c:pt>
                <c:pt idx="6724">
                  <c:v>18.677777777777777</c:v>
                </c:pt>
                <c:pt idx="6725">
                  <c:v>18.680555555555557</c:v>
                </c:pt>
                <c:pt idx="6726">
                  <c:v>18.683333333333334</c:v>
                </c:pt>
                <c:pt idx="6727">
                  <c:v>18.68611111111111</c:v>
                </c:pt>
                <c:pt idx="6728">
                  <c:v>18.68888888888889</c:v>
                </c:pt>
                <c:pt idx="6729">
                  <c:v>18.691666666666666</c:v>
                </c:pt>
                <c:pt idx="6730">
                  <c:v>18.694444444444443</c:v>
                </c:pt>
                <c:pt idx="6731">
                  <c:v>18.697222222222223</c:v>
                </c:pt>
                <c:pt idx="6732">
                  <c:v>18.7</c:v>
                </c:pt>
                <c:pt idx="6733">
                  <c:v>18.702777777777779</c:v>
                </c:pt>
                <c:pt idx="6734">
                  <c:v>18.705555555555556</c:v>
                </c:pt>
                <c:pt idx="6735">
                  <c:v>18.708333333333332</c:v>
                </c:pt>
                <c:pt idx="6736">
                  <c:v>18.711111111111112</c:v>
                </c:pt>
                <c:pt idx="6737">
                  <c:v>18.713888888888889</c:v>
                </c:pt>
                <c:pt idx="6738">
                  <c:v>18.716666666666665</c:v>
                </c:pt>
                <c:pt idx="6739">
                  <c:v>18.719444444444445</c:v>
                </c:pt>
                <c:pt idx="6740">
                  <c:v>18.722222222222221</c:v>
                </c:pt>
                <c:pt idx="6741">
                  <c:v>18.725000000000001</c:v>
                </c:pt>
                <c:pt idx="6742">
                  <c:v>18.727777777777778</c:v>
                </c:pt>
                <c:pt idx="6743">
                  <c:v>18.730555555555554</c:v>
                </c:pt>
                <c:pt idx="6744">
                  <c:v>18.733333333333334</c:v>
                </c:pt>
                <c:pt idx="6745">
                  <c:v>18.736111111111111</c:v>
                </c:pt>
                <c:pt idx="6746">
                  <c:v>18.738888888888887</c:v>
                </c:pt>
                <c:pt idx="6747">
                  <c:v>18.741666666666667</c:v>
                </c:pt>
                <c:pt idx="6748">
                  <c:v>18.744444444444444</c:v>
                </c:pt>
                <c:pt idx="6749">
                  <c:v>18.747222222222224</c:v>
                </c:pt>
                <c:pt idx="6750">
                  <c:v>18.75</c:v>
                </c:pt>
                <c:pt idx="6751">
                  <c:v>18.752777777777776</c:v>
                </c:pt>
                <c:pt idx="6752">
                  <c:v>18.755555555555556</c:v>
                </c:pt>
                <c:pt idx="6753">
                  <c:v>18.758333333333333</c:v>
                </c:pt>
                <c:pt idx="6754">
                  <c:v>18.761111111111113</c:v>
                </c:pt>
                <c:pt idx="6755">
                  <c:v>18.763888888888889</c:v>
                </c:pt>
                <c:pt idx="6756">
                  <c:v>18.766666666666666</c:v>
                </c:pt>
                <c:pt idx="6757">
                  <c:v>18.769444444444446</c:v>
                </c:pt>
                <c:pt idx="6758">
                  <c:v>18.772222222222222</c:v>
                </c:pt>
                <c:pt idx="6759">
                  <c:v>18.774999999999999</c:v>
                </c:pt>
                <c:pt idx="6760">
                  <c:v>18.777777777777779</c:v>
                </c:pt>
                <c:pt idx="6761">
                  <c:v>18.780555555555555</c:v>
                </c:pt>
                <c:pt idx="6762">
                  <c:v>18.783333333333335</c:v>
                </c:pt>
                <c:pt idx="6763">
                  <c:v>18.786111111111111</c:v>
                </c:pt>
                <c:pt idx="6764">
                  <c:v>18.788888888888888</c:v>
                </c:pt>
                <c:pt idx="6765">
                  <c:v>18.791666666666668</c:v>
                </c:pt>
                <c:pt idx="6766">
                  <c:v>18.794444444444444</c:v>
                </c:pt>
                <c:pt idx="6767">
                  <c:v>18.797222222222221</c:v>
                </c:pt>
                <c:pt idx="6768">
                  <c:v>18.8</c:v>
                </c:pt>
                <c:pt idx="6769">
                  <c:v>18.802777777777777</c:v>
                </c:pt>
                <c:pt idx="6770">
                  <c:v>18.805555555555557</c:v>
                </c:pt>
                <c:pt idx="6771">
                  <c:v>18.808333333333334</c:v>
                </c:pt>
                <c:pt idx="6772">
                  <c:v>18.81111111111111</c:v>
                </c:pt>
                <c:pt idx="6773">
                  <c:v>18.81388888888889</c:v>
                </c:pt>
                <c:pt idx="6774">
                  <c:v>18.816666666666666</c:v>
                </c:pt>
                <c:pt idx="6775">
                  <c:v>18.819444444444443</c:v>
                </c:pt>
                <c:pt idx="6776">
                  <c:v>18.822222222222223</c:v>
                </c:pt>
                <c:pt idx="6777">
                  <c:v>18.824999999999999</c:v>
                </c:pt>
                <c:pt idx="6778">
                  <c:v>18.827777777777779</c:v>
                </c:pt>
                <c:pt idx="6779">
                  <c:v>18.830555555555556</c:v>
                </c:pt>
                <c:pt idx="6780">
                  <c:v>18.833333333333332</c:v>
                </c:pt>
                <c:pt idx="6781">
                  <c:v>18.836111111111112</c:v>
                </c:pt>
                <c:pt idx="6782">
                  <c:v>18.838888888888889</c:v>
                </c:pt>
                <c:pt idx="6783">
                  <c:v>18.841666666666665</c:v>
                </c:pt>
                <c:pt idx="6784">
                  <c:v>18.844444444444445</c:v>
                </c:pt>
                <c:pt idx="6785">
                  <c:v>18.847222222222221</c:v>
                </c:pt>
                <c:pt idx="6786">
                  <c:v>18.850000000000001</c:v>
                </c:pt>
                <c:pt idx="6787">
                  <c:v>18.852777777777778</c:v>
                </c:pt>
                <c:pt idx="6788">
                  <c:v>18.855555555555554</c:v>
                </c:pt>
                <c:pt idx="6789">
                  <c:v>18.858333333333334</c:v>
                </c:pt>
                <c:pt idx="6790">
                  <c:v>18.861111111111111</c:v>
                </c:pt>
                <c:pt idx="6791">
                  <c:v>18.863888888888887</c:v>
                </c:pt>
                <c:pt idx="6792">
                  <c:v>18.866666666666667</c:v>
                </c:pt>
                <c:pt idx="6793">
                  <c:v>18.869444444444444</c:v>
                </c:pt>
                <c:pt idx="6794">
                  <c:v>18.872222222222224</c:v>
                </c:pt>
                <c:pt idx="6795">
                  <c:v>18.875</c:v>
                </c:pt>
                <c:pt idx="6796">
                  <c:v>18.877777777777776</c:v>
                </c:pt>
                <c:pt idx="6797">
                  <c:v>18.880555555555556</c:v>
                </c:pt>
                <c:pt idx="6798">
                  <c:v>18.883333333333333</c:v>
                </c:pt>
                <c:pt idx="6799">
                  <c:v>18.886111111111113</c:v>
                </c:pt>
                <c:pt idx="6800">
                  <c:v>18.888888888888889</c:v>
                </c:pt>
                <c:pt idx="6801">
                  <c:v>18.891666666666666</c:v>
                </c:pt>
                <c:pt idx="6802">
                  <c:v>18.894444444444446</c:v>
                </c:pt>
                <c:pt idx="6803">
                  <c:v>18.897222222222222</c:v>
                </c:pt>
                <c:pt idx="6804">
                  <c:v>18.899999999999999</c:v>
                </c:pt>
                <c:pt idx="6805">
                  <c:v>18.902777777777779</c:v>
                </c:pt>
                <c:pt idx="6806">
                  <c:v>18.905555555555555</c:v>
                </c:pt>
                <c:pt idx="6807">
                  <c:v>18.908333333333335</c:v>
                </c:pt>
                <c:pt idx="6808">
                  <c:v>18.911111111111111</c:v>
                </c:pt>
                <c:pt idx="6809">
                  <c:v>18.913888888888888</c:v>
                </c:pt>
                <c:pt idx="6810">
                  <c:v>18.916666666666668</c:v>
                </c:pt>
                <c:pt idx="6811">
                  <c:v>18.919444444444444</c:v>
                </c:pt>
                <c:pt idx="6812">
                  <c:v>18.922222222222221</c:v>
                </c:pt>
                <c:pt idx="6813">
                  <c:v>18.925000000000001</c:v>
                </c:pt>
                <c:pt idx="6814">
                  <c:v>18.927777777777777</c:v>
                </c:pt>
                <c:pt idx="6815">
                  <c:v>18.930555555555557</c:v>
                </c:pt>
                <c:pt idx="6816">
                  <c:v>18.933333333333334</c:v>
                </c:pt>
                <c:pt idx="6817">
                  <c:v>18.93611111111111</c:v>
                </c:pt>
                <c:pt idx="6818">
                  <c:v>18.93888888888889</c:v>
                </c:pt>
                <c:pt idx="6819">
                  <c:v>18.941666666666666</c:v>
                </c:pt>
                <c:pt idx="6820">
                  <c:v>18.944444444444443</c:v>
                </c:pt>
                <c:pt idx="6821">
                  <c:v>18.947222222222223</c:v>
                </c:pt>
                <c:pt idx="6822">
                  <c:v>18.95</c:v>
                </c:pt>
                <c:pt idx="6823">
                  <c:v>18.952777777777779</c:v>
                </c:pt>
                <c:pt idx="6824">
                  <c:v>18.955555555555556</c:v>
                </c:pt>
                <c:pt idx="6825">
                  <c:v>18.958333333333332</c:v>
                </c:pt>
                <c:pt idx="6826">
                  <c:v>18.961111111111112</c:v>
                </c:pt>
                <c:pt idx="6827">
                  <c:v>18.963888888888889</c:v>
                </c:pt>
                <c:pt idx="6828">
                  <c:v>18.966666666666665</c:v>
                </c:pt>
                <c:pt idx="6829">
                  <c:v>18.969444444444445</c:v>
                </c:pt>
                <c:pt idx="6830">
                  <c:v>18.972222222222221</c:v>
                </c:pt>
                <c:pt idx="6831">
                  <c:v>18.975000000000001</c:v>
                </c:pt>
                <c:pt idx="6832">
                  <c:v>18.977777777777778</c:v>
                </c:pt>
                <c:pt idx="6833">
                  <c:v>18.980555555555554</c:v>
                </c:pt>
                <c:pt idx="6834">
                  <c:v>18.983333333333334</c:v>
                </c:pt>
                <c:pt idx="6835">
                  <c:v>18.986111111111111</c:v>
                </c:pt>
                <c:pt idx="6836">
                  <c:v>18.988888888888887</c:v>
                </c:pt>
                <c:pt idx="6837">
                  <c:v>18.991666666666667</c:v>
                </c:pt>
                <c:pt idx="6838">
                  <c:v>18.994444444444444</c:v>
                </c:pt>
                <c:pt idx="6839">
                  <c:v>18.997222222222224</c:v>
                </c:pt>
                <c:pt idx="6840">
                  <c:v>19</c:v>
                </c:pt>
                <c:pt idx="6841">
                  <c:v>19.002777777777776</c:v>
                </c:pt>
                <c:pt idx="6842">
                  <c:v>19.005555555555556</c:v>
                </c:pt>
                <c:pt idx="6843">
                  <c:v>19.008333333333333</c:v>
                </c:pt>
                <c:pt idx="6844">
                  <c:v>19.011111111111113</c:v>
                </c:pt>
                <c:pt idx="6845">
                  <c:v>19.013888888888889</c:v>
                </c:pt>
                <c:pt idx="6846">
                  <c:v>19.016666666666666</c:v>
                </c:pt>
                <c:pt idx="6847">
                  <c:v>19.019444444444446</c:v>
                </c:pt>
                <c:pt idx="6848">
                  <c:v>19.022222222222222</c:v>
                </c:pt>
                <c:pt idx="6849">
                  <c:v>19.024999999999999</c:v>
                </c:pt>
                <c:pt idx="6850">
                  <c:v>19.027777777777779</c:v>
                </c:pt>
                <c:pt idx="6851">
                  <c:v>19.030555555555555</c:v>
                </c:pt>
                <c:pt idx="6852">
                  <c:v>19.033333333333335</c:v>
                </c:pt>
                <c:pt idx="6853">
                  <c:v>19.036111111111111</c:v>
                </c:pt>
                <c:pt idx="6854">
                  <c:v>19.038888888888888</c:v>
                </c:pt>
                <c:pt idx="6855">
                  <c:v>19.041666666666668</c:v>
                </c:pt>
                <c:pt idx="6856">
                  <c:v>19.044444444444444</c:v>
                </c:pt>
                <c:pt idx="6857">
                  <c:v>19.047222222222221</c:v>
                </c:pt>
                <c:pt idx="6858">
                  <c:v>19.05</c:v>
                </c:pt>
                <c:pt idx="6859">
                  <c:v>19.052777777777777</c:v>
                </c:pt>
                <c:pt idx="6860">
                  <c:v>19.055555555555557</c:v>
                </c:pt>
                <c:pt idx="6861">
                  <c:v>19.058333333333334</c:v>
                </c:pt>
                <c:pt idx="6862">
                  <c:v>19.06111111111111</c:v>
                </c:pt>
                <c:pt idx="6863">
                  <c:v>19.06388888888889</c:v>
                </c:pt>
                <c:pt idx="6864">
                  <c:v>19.066666666666666</c:v>
                </c:pt>
                <c:pt idx="6865">
                  <c:v>19.069444444444443</c:v>
                </c:pt>
                <c:pt idx="6866">
                  <c:v>19.072222222222223</c:v>
                </c:pt>
                <c:pt idx="6867">
                  <c:v>19.074999999999999</c:v>
                </c:pt>
                <c:pt idx="6868">
                  <c:v>19.077777777777779</c:v>
                </c:pt>
                <c:pt idx="6869">
                  <c:v>19.080555555555556</c:v>
                </c:pt>
                <c:pt idx="6870">
                  <c:v>19.083333333333332</c:v>
                </c:pt>
                <c:pt idx="6871">
                  <c:v>19.086111111111112</c:v>
                </c:pt>
                <c:pt idx="6872">
                  <c:v>19.088888888888889</c:v>
                </c:pt>
                <c:pt idx="6873">
                  <c:v>19.091666666666665</c:v>
                </c:pt>
                <c:pt idx="6874">
                  <c:v>19.094444444444445</c:v>
                </c:pt>
                <c:pt idx="6875">
                  <c:v>19.097222222222221</c:v>
                </c:pt>
                <c:pt idx="6876">
                  <c:v>19.100000000000001</c:v>
                </c:pt>
                <c:pt idx="6877">
                  <c:v>19.102777777777778</c:v>
                </c:pt>
                <c:pt idx="6878">
                  <c:v>19.105555555555554</c:v>
                </c:pt>
                <c:pt idx="6879">
                  <c:v>19.108333333333334</c:v>
                </c:pt>
                <c:pt idx="6880">
                  <c:v>19.111111111111111</c:v>
                </c:pt>
                <c:pt idx="6881">
                  <c:v>19.113888888888887</c:v>
                </c:pt>
                <c:pt idx="6882">
                  <c:v>19.116666666666667</c:v>
                </c:pt>
                <c:pt idx="6883">
                  <c:v>19.119444444444444</c:v>
                </c:pt>
                <c:pt idx="6884">
                  <c:v>19.122222222222224</c:v>
                </c:pt>
                <c:pt idx="6885">
                  <c:v>19.125</c:v>
                </c:pt>
                <c:pt idx="6886">
                  <c:v>19.127777777777776</c:v>
                </c:pt>
                <c:pt idx="6887">
                  <c:v>19.130555555555556</c:v>
                </c:pt>
                <c:pt idx="6888">
                  <c:v>19.133333333333333</c:v>
                </c:pt>
                <c:pt idx="6889">
                  <c:v>19.136111111111113</c:v>
                </c:pt>
                <c:pt idx="6890">
                  <c:v>19.138888888888889</c:v>
                </c:pt>
                <c:pt idx="6891">
                  <c:v>19.141666666666666</c:v>
                </c:pt>
                <c:pt idx="6892">
                  <c:v>19.144444444444446</c:v>
                </c:pt>
                <c:pt idx="6893">
                  <c:v>19.147222222222222</c:v>
                </c:pt>
                <c:pt idx="6894">
                  <c:v>19.149999999999999</c:v>
                </c:pt>
                <c:pt idx="6895">
                  <c:v>19.152777777777779</c:v>
                </c:pt>
                <c:pt idx="6896">
                  <c:v>19.155555555555555</c:v>
                </c:pt>
                <c:pt idx="6897">
                  <c:v>19.158333333333335</c:v>
                </c:pt>
                <c:pt idx="6898">
                  <c:v>19.161111111111111</c:v>
                </c:pt>
                <c:pt idx="6899">
                  <c:v>19.163888888888888</c:v>
                </c:pt>
                <c:pt idx="6900">
                  <c:v>19.166666666666668</c:v>
                </c:pt>
                <c:pt idx="6901">
                  <c:v>19.169444444444444</c:v>
                </c:pt>
                <c:pt idx="6902">
                  <c:v>19.172222222222221</c:v>
                </c:pt>
                <c:pt idx="6903">
                  <c:v>19.175000000000001</c:v>
                </c:pt>
                <c:pt idx="6904">
                  <c:v>19.177777777777777</c:v>
                </c:pt>
                <c:pt idx="6905">
                  <c:v>19.180555555555557</c:v>
                </c:pt>
                <c:pt idx="6906">
                  <c:v>19.183333333333334</c:v>
                </c:pt>
                <c:pt idx="6907">
                  <c:v>19.18611111111111</c:v>
                </c:pt>
                <c:pt idx="6908">
                  <c:v>19.18888888888889</c:v>
                </c:pt>
                <c:pt idx="6909">
                  <c:v>19.191666666666666</c:v>
                </c:pt>
                <c:pt idx="6910">
                  <c:v>19.194444444444443</c:v>
                </c:pt>
                <c:pt idx="6911">
                  <c:v>19.197222222222223</c:v>
                </c:pt>
                <c:pt idx="6912">
                  <c:v>19.2</c:v>
                </c:pt>
                <c:pt idx="6913">
                  <c:v>19.202777777777779</c:v>
                </c:pt>
                <c:pt idx="6914">
                  <c:v>19.205555555555556</c:v>
                </c:pt>
                <c:pt idx="6915">
                  <c:v>19.208333333333332</c:v>
                </c:pt>
                <c:pt idx="6916">
                  <c:v>19.211111111111112</c:v>
                </c:pt>
                <c:pt idx="6917">
                  <c:v>19.213888888888889</c:v>
                </c:pt>
                <c:pt idx="6918">
                  <c:v>19.216666666666665</c:v>
                </c:pt>
                <c:pt idx="6919">
                  <c:v>19.219444444444445</c:v>
                </c:pt>
                <c:pt idx="6920">
                  <c:v>19.222222222222221</c:v>
                </c:pt>
                <c:pt idx="6921">
                  <c:v>19.225000000000001</c:v>
                </c:pt>
                <c:pt idx="6922">
                  <c:v>19.227777777777778</c:v>
                </c:pt>
                <c:pt idx="6923">
                  <c:v>19.230555555555554</c:v>
                </c:pt>
                <c:pt idx="6924">
                  <c:v>19.233333333333334</c:v>
                </c:pt>
                <c:pt idx="6925">
                  <c:v>19.236111111111111</c:v>
                </c:pt>
                <c:pt idx="6926">
                  <c:v>19.238888888888887</c:v>
                </c:pt>
                <c:pt idx="6927">
                  <c:v>19.241666666666667</c:v>
                </c:pt>
                <c:pt idx="6928">
                  <c:v>19.244444444444444</c:v>
                </c:pt>
                <c:pt idx="6929">
                  <c:v>19.247222222222224</c:v>
                </c:pt>
                <c:pt idx="6930">
                  <c:v>19.25</c:v>
                </c:pt>
                <c:pt idx="6931">
                  <c:v>19.252777777777776</c:v>
                </c:pt>
                <c:pt idx="6932">
                  <c:v>19.255555555555556</c:v>
                </c:pt>
                <c:pt idx="6933">
                  <c:v>19.258333333333333</c:v>
                </c:pt>
                <c:pt idx="6934">
                  <c:v>19.261111111111113</c:v>
                </c:pt>
                <c:pt idx="6935">
                  <c:v>19.263888888888889</c:v>
                </c:pt>
                <c:pt idx="6936">
                  <c:v>19.266666666666666</c:v>
                </c:pt>
                <c:pt idx="6937">
                  <c:v>19.269444444444446</c:v>
                </c:pt>
                <c:pt idx="6938">
                  <c:v>19.272222222222222</c:v>
                </c:pt>
                <c:pt idx="6939">
                  <c:v>19.274999999999999</c:v>
                </c:pt>
                <c:pt idx="6940">
                  <c:v>19.277777777777779</c:v>
                </c:pt>
                <c:pt idx="6941">
                  <c:v>19.280555555555555</c:v>
                </c:pt>
                <c:pt idx="6942">
                  <c:v>19.283333333333335</c:v>
                </c:pt>
                <c:pt idx="6943">
                  <c:v>19.286111111111111</c:v>
                </c:pt>
                <c:pt idx="6944">
                  <c:v>19.288888888888888</c:v>
                </c:pt>
                <c:pt idx="6945">
                  <c:v>19.291666666666668</c:v>
                </c:pt>
                <c:pt idx="6946">
                  <c:v>19.294444444444444</c:v>
                </c:pt>
                <c:pt idx="6947">
                  <c:v>19.297222222222221</c:v>
                </c:pt>
                <c:pt idx="6948">
                  <c:v>19.3</c:v>
                </c:pt>
                <c:pt idx="6949">
                  <c:v>19.302777777777777</c:v>
                </c:pt>
                <c:pt idx="6950">
                  <c:v>19.305555555555557</c:v>
                </c:pt>
                <c:pt idx="6951">
                  <c:v>19.308333333333334</c:v>
                </c:pt>
                <c:pt idx="6952">
                  <c:v>19.31111111111111</c:v>
                </c:pt>
                <c:pt idx="6953">
                  <c:v>19.31388888888889</c:v>
                </c:pt>
                <c:pt idx="6954">
                  <c:v>19.316666666666666</c:v>
                </c:pt>
                <c:pt idx="6955">
                  <c:v>19.319444444444443</c:v>
                </c:pt>
                <c:pt idx="6956">
                  <c:v>19.322222222222223</c:v>
                </c:pt>
                <c:pt idx="6957">
                  <c:v>19.324999999999999</c:v>
                </c:pt>
                <c:pt idx="6958">
                  <c:v>19.327777777777779</c:v>
                </c:pt>
                <c:pt idx="6959">
                  <c:v>19.330555555555556</c:v>
                </c:pt>
                <c:pt idx="6960">
                  <c:v>19.333333333333332</c:v>
                </c:pt>
                <c:pt idx="6961">
                  <c:v>19.336111111111112</c:v>
                </c:pt>
                <c:pt idx="6962">
                  <c:v>19.338888888888889</c:v>
                </c:pt>
                <c:pt idx="6963">
                  <c:v>19.341666666666665</c:v>
                </c:pt>
                <c:pt idx="6964">
                  <c:v>19.344444444444445</c:v>
                </c:pt>
                <c:pt idx="6965">
                  <c:v>19.347222222222221</c:v>
                </c:pt>
                <c:pt idx="6966">
                  <c:v>19.350000000000001</c:v>
                </c:pt>
                <c:pt idx="6967">
                  <c:v>19.352777777777778</c:v>
                </c:pt>
                <c:pt idx="6968">
                  <c:v>19.355555555555554</c:v>
                </c:pt>
                <c:pt idx="6969">
                  <c:v>19.358333333333334</c:v>
                </c:pt>
                <c:pt idx="6970">
                  <c:v>19.361111111111111</c:v>
                </c:pt>
                <c:pt idx="6971">
                  <c:v>19.363888888888887</c:v>
                </c:pt>
                <c:pt idx="6972">
                  <c:v>19.366666666666667</c:v>
                </c:pt>
                <c:pt idx="6973">
                  <c:v>19.369444444444444</c:v>
                </c:pt>
                <c:pt idx="6974">
                  <c:v>19.372222222222224</c:v>
                </c:pt>
                <c:pt idx="6975">
                  <c:v>19.375</c:v>
                </c:pt>
                <c:pt idx="6976">
                  <c:v>19.377777777777776</c:v>
                </c:pt>
                <c:pt idx="6977">
                  <c:v>19.380555555555556</c:v>
                </c:pt>
                <c:pt idx="6978">
                  <c:v>19.383333333333333</c:v>
                </c:pt>
                <c:pt idx="6979">
                  <c:v>19.386111111111113</c:v>
                </c:pt>
                <c:pt idx="6980">
                  <c:v>19.388888888888889</c:v>
                </c:pt>
                <c:pt idx="6981">
                  <c:v>19.391666666666666</c:v>
                </c:pt>
                <c:pt idx="6982">
                  <c:v>19.394444444444446</c:v>
                </c:pt>
                <c:pt idx="6983">
                  <c:v>19.397222222222222</c:v>
                </c:pt>
                <c:pt idx="6984">
                  <c:v>19.399999999999999</c:v>
                </c:pt>
                <c:pt idx="6985">
                  <c:v>19.402777777777779</c:v>
                </c:pt>
                <c:pt idx="6986">
                  <c:v>19.405555555555555</c:v>
                </c:pt>
                <c:pt idx="6987">
                  <c:v>19.408333333333335</c:v>
                </c:pt>
                <c:pt idx="6988">
                  <c:v>19.411111111111111</c:v>
                </c:pt>
                <c:pt idx="6989">
                  <c:v>19.413888888888888</c:v>
                </c:pt>
                <c:pt idx="6990">
                  <c:v>19.416666666666668</c:v>
                </c:pt>
                <c:pt idx="6991">
                  <c:v>19.419444444444444</c:v>
                </c:pt>
                <c:pt idx="6992">
                  <c:v>19.422222222222221</c:v>
                </c:pt>
                <c:pt idx="6993">
                  <c:v>19.425000000000001</c:v>
                </c:pt>
                <c:pt idx="6994">
                  <c:v>19.427777777777777</c:v>
                </c:pt>
                <c:pt idx="6995">
                  <c:v>19.430555555555557</c:v>
                </c:pt>
                <c:pt idx="6996">
                  <c:v>19.433333333333334</c:v>
                </c:pt>
                <c:pt idx="6997">
                  <c:v>19.43611111111111</c:v>
                </c:pt>
                <c:pt idx="6998">
                  <c:v>19.43888888888889</c:v>
                </c:pt>
                <c:pt idx="6999">
                  <c:v>19.441666666666666</c:v>
                </c:pt>
                <c:pt idx="7000">
                  <c:v>19.444444444444443</c:v>
                </c:pt>
                <c:pt idx="7001">
                  <c:v>19.447222222222223</c:v>
                </c:pt>
                <c:pt idx="7002">
                  <c:v>19.45</c:v>
                </c:pt>
                <c:pt idx="7003">
                  <c:v>19.452777777777779</c:v>
                </c:pt>
                <c:pt idx="7004">
                  <c:v>19.455555555555556</c:v>
                </c:pt>
                <c:pt idx="7005">
                  <c:v>19.458333333333332</c:v>
                </c:pt>
                <c:pt idx="7006">
                  <c:v>19.461111111111112</c:v>
                </c:pt>
                <c:pt idx="7007">
                  <c:v>19.463888888888889</c:v>
                </c:pt>
                <c:pt idx="7008">
                  <c:v>19.466666666666665</c:v>
                </c:pt>
                <c:pt idx="7009">
                  <c:v>19.469444444444445</c:v>
                </c:pt>
                <c:pt idx="7010">
                  <c:v>19.472222222222221</c:v>
                </c:pt>
                <c:pt idx="7011">
                  <c:v>19.475000000000001</c:v>
                </c:pt>
                <c:pt idx="7012">
                  <c:v>19.477777777777778</c:v>
                </c:pt>
                <c:pt idx="7013">
                  <c:v>19.480555555555554</c:v>
                </c:pt>
                <c:pt idx="7014">
                  <c:v>19.483333333333334</c:v>
                </c:pt>
                <c:pt idx="7015">
                  <c:v>19.486111111111111</c:v>
                </c:pt>
                <c:pt idx="7016">
                  <c:v>19.488888888888887</c:v>
                </c:pt>
                <c:pt idx="7017">
                  <c:v>19.491666666666667</c:v>
                </c:pt>
                <c:pt idx="7018">
                  <c:v>19.494444444444444</c:v>
                </c:pt>
                <c:pt idx="7019">
                  <c:v>19.497222222222224</c:v>
                </c:pt>
                <c:pt idx="7020">
                  <c:v>19.5</c:v>
                </c:pt>
                <c:pt idx="7021">
                  <c:v>19.502777777777776</c:v>
                </c:pt>
                <c:pt idx="7022">
                  <c:v>19.505555555555556</c:v>
                </c:pt>
                <c:pt idx="7023">
                  <c:v>19.508333333333333</c:v>
                </c:pt>
                <c:pt idx="7024">
                  <c:v>19.511111111111113</c:v>
                </c:pt>
                <c:pt idx="7025">
                  <c:v>19.513888888888889</c:v>
                </c:pt>
                <c:pt idx="7026">
                  <c:v>19.516666666666666</c:v>
                </c:pt>
                <c:pt idx="7027">
                  <c:v>19.519444444444446</c:v>
                </c:pt>
                <c:pt idx="7028">
                  <c:v>19.522222222222222</c:v>
                </c:pt>
                <c:pt idx="7029">
                  <c:v>19.524999999999999</c:v>
                </c:pt>
                <c:pt idx="7030">
                  <c:v>19.527777777777779</c:v>
                </c:pt>
                <c:pt idx="7031">
                  <c:v>19.530555555555555</c:v>
                </c:pt>
                <c:pt idx="7032">
                  <c:v>19.533333333333335</c:v>
                </c:pt>
                <c:pt idx="7033">
                  <c:v>19.536111111111111</c:v>
                </c:pt>
                <c:pt idx="7034">
                  <c:v>19.538888888888888</c:v>
                </c:pt>
                <c:pt idx="7035">
                  <c:v>19.541666666666668</c:v>
                </c:pt>
                <c:pt idx="7036">
                  <c:v>19.544444444444444</c:v>
                </c:pt>
                <c:pt idx="7037">
                  <c:v>19.547222222222221</c:v>
                </c:pt>
                <c:pt idx="7038">
                  <c:v>19.55</c:v>
                </c:pt>
                <c:pt idx="7039">
                  <c:v>19.552777777777777</c:v>
                </c:pt>
                <c:pt idx="7040">
                  <c:v>19.555555555555557</c:v>
                </c:pt>
                <c:pt idx="7041">
                  <c:v>19.558333333333334</c:v>
                </c:pt>
                <c:pt idx="7042">
                  <c:v>19.56111111111111</c:v>
                </c:pt>
                <c:pt idx="7043">
                  <c:v>19.56388888888889</c:v>
                </c:pt>
                <c:pt idx="7044">
                  <c:v>19.566666666666666</c:v>
                </c:pt>
                <c:pt idx="7045">
                  <c:v>19.569444444444443</c:v>
                </c:pt>
                <c:pt idx="7046">
                  <c:v>19.572222222222223</c:v>
                </c:pt>
                <c:pt idx="7047">
                  <c:v>19.574999999999999</c:v>
                </c:pt>
                <c:pt idx="7048">
                  <c:v>19.577777777777779</c:v>
                </c:pt>
                <c:pt idx="7049">
                  <c:v>19.580555555555556</c:v>
                </c:pt>
                <c:pt idx="7050">
                  <c:v>19.583333333333332</c:v>
                </c:pt>
                <c:pt idx="7051">
                  <c:v>19.586111111111112</c:v>
                </c:pt>
                <c:pt idx="7052">
                  <c:v>19.588888888888889</c:v>
                </c:pt>
                <c:pt idx="7053">
                  <c:v>19.591666666666665</c:v>
                </c:pt>
                <c:pt idx="7054">
                  <c:v>19.594444444444445</c:v>
                </c:pt>
                <c:pt idx="7055">
                  <c:v>19.597222222222221</c:v>
                </c:pt>
                <c:pt idx="7056">
                  <c:v>19.600000000000001</c:v>
                </c:pt>
                <c:pt idx="7057">
                  <c:v>19.602777777777778</c:v>
                </c:pt>
                <c:pt idx="7058">
                  <c:v>19.605555555555554</c:v>
                </c:pt>
                <c:pt idx="7059">
                  <c:v>19.608333333333334</c:v>
                </c:pt>
                <c:pt idx="7060">
                  <c:v>19.611111111111111</c:v>
                </c:pt>
                <c:pt idx="7061">
                  <c:v>19.613888888888887</c:v>
                </c:pt>
                <c:pt idx="7062">
                  <c:v>19.616666666666667</c:v>
                </c:pt>
                <c:pt idx="7063">
                  <c:v>19.619444444444444</c:v>
                </c:pt>
                <c:pt idx="7064">
                  <c:v>19.622222222222224</c:v>
                </c:pt>
                <c:pt idx="7065">
                  <c:v>19.625</c:v>
                </c:pt>
                <c:pt idx="7066">
                  <c:v>19.627777777777776</c:v>
                </c:pt>
                <c:pt idx="7067">
                  <c:v>19.630555555555556</c:v>
                </c:pt>
                <c:pt idx="7068">
                  <c:v>19.633333333333333</c:v>
                </c:pt>
                <c:pt idx="7069">
                  <c:v>19.636111111111113</c:v>
                </c:pt>
                <c:pt idx="7070">
                  <c:v>19.638888888888889</c:v>
                </c:pt>
                <c:pt idx="7071">
                  <c:v>19.641666666666666</c:v>
                </c:pt>
                <c:pt idx="7072">
                  <c:v>19.644444444444446</c:v>
                </c:pt>
                <c:pt idx="7073">
                  <c:v>19.647222222222222</c:v>
                </c:pt>
                <c:pt idx="7074">
                  <c:v>19.649999999999999</c:v>
                </c:pt>
                <c:pt idx="7075">
                  <c:v>19.652777777777779</c:v>
                </c:pt>
                <c:pt idx="7076">
                  <c:v>19.655555555555555</c:v>
                </c:pt>
                <c:pt idx="7077">
                  <c:v>19.658333333333335</c:v>
                </c:pt>
                <c:pt idx="7078">
                  <c:v>19.661111111111111</c:v>
                </c:pt>
                <c:pt idx="7079">
                  <c:v>19.663888888888888</c:v>
                </c:pt>
                <c:pt idx="7080">
                  <c:v>19.666666666666668</c:v>
                </c:pt>
                <c:pt idx="7081">
                  <c:v>19.669444444444444</c:v>
                </c:pt>
                <c:pt idx="7082">
                  <c:v>19.672222222222221</c:v>
                </c:pt>
                <c:pt idx="7083">
                  <c:v>19.675000000000001</c:v>
                </c:pt>
                <c:pt idx="7084">
                  <c:v>19.677777777777777</c:v>
                </c:pt>
                <c:pt idx="7085">
                  <c:v>19.680555555555557</c:v>
                </c:pt>
                <c:pt idx="7086">
                  <c:v>19.683333333333334</c:v>
                </c:pt>
                <c:pt idx="7087">
                  <c:v>19.68611111111111</c:v>
                </c:pt>
                <c:pt idx="7088">
                  <c:v>19.68888888888889</c:v>
                </c:pt>
                <c:pt idx="7089">
                  <c:v>19.691666666666666</c:v>
                </c:pt>
                <c:pt idx="7090">
                  <c:v>19.694444444444443</c:v>
                </c:pt>
                <c:pt idx="7091">
                  <c:v>19.697222222222223</c:v>
                </c:pt>
                <c:pt idx="7092">
                  <c:v>19.7</c:v>
                </c:pt>
                <c:pt idx="7093">
                  <c:v>19.702777777777779</c:v>
                </c:pt>
                <c:pt idx="7094">
                  <c:v>19.705555555555556</c:v>
                </c:pt>
                <c:pt idx="7095">
                  <c:v>19.708333333333332</c:v>
                </c:pt>
                <c:pt idx="7096">
                  <c:v>19.711111111111112</c:v>
                </c:pt>
                <c:pt idx="7097">
                  <c:v>19.713888888888889</c:v>
                </c:pt>
                <c:pt idx="7098">
                  <c:v>19.716666666666665</c:v>
                </c:pt>
                <c:pt idx="7099">
                  <c:v>19.719444444444445</c:v>
                </c:pt>
                <c:pt idx="7100">
                  <c:v>19.722222222222221</c:v>
                </c:pt>
                <c:pt idx="7101">
                  <c:v>19.725000000000001</c:v>
                </c:pt>
                <c:pt idx="7102">
                  <c:v>19.727777777777778</c:v>
                </c:pt>
                <c:pt idx="7103">
                  <c:v>19.730555555555554</c:v>
                </c:pt>
                <c:pt idx="7104">
                  <c:v>19.733333333333334</c:v>
                </c:pt>
                <c:pt idx="7105">
                  <c:v>19.736111111111111</c:v>
                </c:pt>
                <c:pt idx="7106">
                  <c:v>19.738888888888887</c:v>
                </c:pt>
                <c:pt idx="7107">
                  <c:v>19.741666666666667</c:v>
                </c:pt>
                <c:pt idx="7108">
                  <c:v>19.744444444444444</c:v>
                </c:pt>
                <c:pt idx="7109">
                  <c:v>19.747222222222224</c:v>
                </c:pt>
                <c:pt idx="7110">
                  <c:v>19.75</c:v>
                </c:pt>
                <c:pt idx="7111">
                  <c:v>19.752777777777776</c:v>
                </c:pt>
                <c:pt idx="7112">
                  <c:v>19.755555555555556</c:v>
                </c:pt>
                <c:pt idx="7113">
                  <c:v>19.758333333333333</c:v>
                </c:pt>
                <c:pt idx="7114">
                  <c:v>19.761111111111113</c:v>
                </c:pt>
                <c:pt idx="7115">
                  <c:v>19.763888888888889</c:v>
                </c:pt>
                <c:pt idx="7116">
                  <c:v>19.766666666666666</c:v>
                </c:pt>
                <c:pt idx="7117">
                  <c:v>19.769444444444446</c:v>
                </c:pt>
                <c:pt idx="7118">
                  <c:v>19.772222222222222</c:v>
                </c:pt>
                <c:pt idx="7119">
                  <c:v>19.774999999999999</c:v>
                </c:pt>
                <c:pt idx="7120">
                  <c:v>19.777777777777779</c:v>
                </c:pt>
                <c:pt idx="7121">
                  <c:v>19.780555555555555</c:v>
                </c:pt>
                <c:pt idx="7122">
                  <c:v>19.783333333333335</c:v>
                </c:pt>
                <c:pt idx="7123">
                  <c:v>19.786111111111111</c:v>
                </c:pt>
                <c:pt idx="7124">
                  <c:v>19.788888888888888</c:v>
                </c:pt>
                <c:pt idx="7125">
                  <c:v>19.791666666666668</c:v>
                </c:pt>
                <c:pt idx="7126">
                  <c:v>19.794444444444444</c:v>
                </c:pt>
                <c:pt idx="7127">
                  <c:v>19.797222222222221</c:v>
                </c:pt>
                <c:pt idx="7128">
                  <c:v>19.8</c:v>
                </c:pt>
                <c:pt idx="7129">
                  <c:v>19.802777777777777</c:v>
                </c:pt>
                <c:pt idx="7130">
                  <c:v>19.805555555555557</c:v>
                </c:pt>
                <c:pt idx="7131">
                  <c:v>19.808333333333334</c:v>
                </c:pt>
                <c:pt idx="7132">
                  <c:v>19.81111111111111</c:v>
                </c:pt>
                <c:pt idx="7133">
                  <c:v>19.81388888888889</c:v>
                </c:pt>
                <c:pt idx="7134">
                  <c:v>19.816666666666666</c:v>
                </c:pt>
                <c:pt idx="7135">
                  <c:v>19.819444444444443</c:v>
                </c:pt>
                <c:pt idx="7136">
                  <c:v>19.822222222222223</c:v>
                </c:pt>
                <c:pt idx="7137">
                  <c:v>19.824999999999999</c:v>
                </c:pt>
                <c:pt idx="7138">
                  <c:v>19.827777777777779</c:v>
                </c:pt>
                <c:pt idx="7139">
                  <c:v>19.830555555555556</c:v>
                </c:pt>
                <c:pt idx="7140">
                  <c:v>19.833333333333332</c:v>
                </c:pt>
                <c:pt idx="7141">
                  <c:v>19.836111111111112</c:v>
                </c:pt>
                <c:pt idx="7142">
                  <c:v>19.838888888888889</c:v>
                </c:pt>
                <c:pt idx="7143">
                  <c:v>19.841666666666665</c:v>
                </c:pt>
                <c:pt idx="7144">
                  <c:v>19.844444444444445</c:v>
                </c:pt>
                <c:pt idx="7145">
                  <c:v>19.847222222222221</c:v>
                </c:pt>
                <c:pt idx="7146">
                  <c:v>19.850000000000001</c:v>
                </c:pt>
                <c:pt idx="7147">
                  <c:v>19.852777777777778</c:v>
                </c:pt>
                <c:pt idx="7148">
                  <c:v>19.855555555555554</c:v>
                </c:pt>
                <c:pt idx="7149">
                  <c:v>19.858333333333334</c:v>
                </c:pt>
                <c:pt idx="7150">
                  <c:v>19.861111111111111</c:v>
                </c:pt>
                <c:pt idx="7151">
                  <c:v>19.863888888888887</c:v>
                </c:pt>
                <c:pt idx="7152">
                  <c:v>19.866666666666667</c:v>
                </c:pt>
                <c:pt idx="7153">
                  <c:v>19.869444444444444</c:v>
                </c:pt>
                <c:pt idx="7154">
                  <c:v>19.872222222222224</c:v>
                </c:pt>
                <c:pt idx="7155">
                  <c:v>19.875</c:v>
                </c:pt>
                <c:pt idx="7156">
                  <c:v>19.877777777777776</c:v>
                </c:pt>
                <c:pt idx="7157">
                  <c:v>19.880555555555556</c:v>
                </c:pt>
                <c:pt idx="7158">
                  <c:v>19.883333333333333</c:v>
                </c:pt>
                <c:pt idx="7159">
                  <c:v>19.886111111111113</c:v>
                </c:pt>
                <c:pt idx="7160">
                  <c:v>19.888888888888889</c:v>
                </c:pt>
                <c:pt idx="7161">
                  <c:v>19.891666666666666</c:v>
                </c:pt>
                <c:pt idx="7162">
                  <c:v>19.894444444444446</c:v>
                </c:pt>
                <c:pt idx="7163">
                  <c:v>19.897222222222222</c:v>
                </c:pt>
                <c:pt idx="7164">
                  <c:v>19.899999999999999</c:v>
                </c:pt>
                <c:pt idx="7165">
                  <c:v>19.902777777777779</c:v>
                </c:pt>
                <c:pt idx="7166">
                  <c:v>19.905555555555555</c:v>
                </c:pt>
                <c:pt idx="7167">
                  <c:v>19.908333333333335</c:v>
                </c:pt>
                <c:pt idx="7168">
                  <c:v>19.911111111111111</c:v>
                </c:pt>
                <c:pt idx="7169">
                  <c:v>19.913888888888888</c:v>
                </c:pt>
                <c:pt idx="7170">
                  <c:v>19.916666666666668</c:v>
                </c:pt>
                <c:pt idx="7171">
                  <c:v>19.919444444444444</c:v>
                </c:pt>
                <c:pt idx="7172">
                  <c:v>19.922222222222221</c:v>
                </c:pt>
                <c:pt idx="7173">
                  <c:v>19.925000000000001</c:v>
                </c:pt>
                <c:pt idx="7174">
                  <c:v>19.927777777777777</c:v>
                </c:pt>
                <c:pt idx="7175">
                  <c:v>19.930555555555557</c:v>
                </c:pt>
                <c:pt idx="7176">
                  <c:v>19.933333333333334</c:v>
                </c:pt>
                <c:pt idx="7177">
                  <c:v>19.93611111111111</c:v>
                </c:pt>
                <c:pt idx="7178">
                  <c:v>19.93888888888889</c:v>
                </c:pt>
                <c:pt idx="7179">
                  <c:v>19.941666666666666</c:v>
                </c:pt>
                <c:pt idx="7180">
                  <c:v>19.944444444444443</c:v>
                </c:pt>
                <c:pt idx="7181">
                  <c:v>19.947222222222223</c:v>
                </c:pt>
                <c:pt idx="7182">
                  <c:v>19.95</c:v>
                </c:pt>
                <c:pt idx="7183">
                  <c:v>19.952777777777779</c:v>
                </c:pt>
                <c:pt idx="7184">
                  <c:v>19.955555555555556</c:v>
                </c:pt>
                <c:pt idx="7185">
                  <c:v>19.958333333333332</c:v>
                </c:pt>
                <c:pt idx="7186">
                  <c:v>19.961111111111112</c:v>
                </c:pt>
                <c:pt idx="7187">
                  <c:v>19.963888888888889</c:v>
                </c:pt>
                <c:pt idx="7188">
                  <c:v>19.966666666666665</c:v>
                </c:pt>
                <c:pt idx="7189">
                  <c:v>19.969444444444445</c:v>
                </c:pt>
                <c:pt idx="7190">
                  <c:v>19.972222222222221</c:v>
                </c:pt>
                <c:pt idx="7191">
                  <c:v>19.975000000000001</c:v>
                </c:pt>
                <c:pt idx="7192">
                  <c:v>19.977777777777778</c:v>
                </c:pt>
                <c:pt idx="7193">
                  <c:v>19.980555555555554</c:v>
                </c:pt>
                <c:pt idx="7194">
                  <c:v>19.983333333333334</c:v>
                </c:pt>
                <c:pt idx="7195">
                  <c:v>19.986111111111111</c:v>
                </c:pt>
                <c:pt idx="7196">
                  <c:v>19.988888888888887</c:v>
                </c:pt>
                <c:pt idx="7197">
                  <c:v>19.991666666666667</c:v>
                </c:pt>
                <c:pt idx="7198">
                  <c:v>19.994444444444444</c:v>
                </c:pt>
                <c:pt idx="7199">
                  <c:v>19.997222222222224</c:v>
                </c:pt>
                <c:pt idx="7200">
                  <c:v>20</c:v>
                </c:pt>
                <c:pt idx="7201">
                  <c:v>20.002777777777776</c:v>
                </c:pt>
                <c:pt idx="7202">
                  <c:v>20.005555555555556</c:v>
                </c:pt>
                <c:pt idx="7203">
                  <c:v>20.008333333333333</c:v>
                </c:pt>
                <c:pt idx="7204">
                  <c:v>20.011111111111113</c:v>
                </c:pt>
                <c:pt idx="7205">
                  <c:v>20.013888888888889</c:v>
                </c:pt>
                <c:pt idx="7206">
                  <c:v>20.016666666666666</c:v>
                </c:pt>
                <c:pt idx="7207">
                  <c:v>20.019444444444446</c:v>
                </c:pt>
                <c:pt idx="7208">
                  <c:v>20.022222222222222</c:v>
                </c:pt>
                <c:pt idx="7209">
                  <c:v>20.024999999999999</c:v>
                </c:pt>
                <c:pt idx="7210">
                  <c:v>20.027777777777779</c:v>
                </c:pt>
                <c:pt idx="7211">
                  <c:v>20.030555555555555</c:v>
                </c:pt>
                <c:pt idx="7212">
                  <c:v>20.033333333333335</c:v>
                </c:pt>
                <c:pt idx="7213">
                  <c:v>20.036111111111111</c:v>
                </c:pt>
                <c:pt idx="7214">
                  <c:v>20.038888888888888</c:v>
                </c:pt>
                <c:pt idx="7215">
                  <c:v>20.041666666666668</c:v>
                </c:pt>
                <c:pt idx="7216">
                  <c:v>20.044444444444444</c:v>
                </c:pt>
                <c:pt idx="7217">
                  <c:v>20.047222222222221</c:v>
                </c:pt>
                <c:pt idx="7218">
                  <c:v>20.05</c:v>
                </c:pt>
                <c:pt idx="7219">
                  <c:v>20.052777777777777</c:v>
                </c:pt>
                <c:pt idx="7220">
                  <c:v>20.055555555555557</c:v>
                </c:pt>
                <c:pt idx="7221">
                  <c:v>20.058333333333334</c:v>
                </c:pt>
                <c:pt idx="7222">
                  <c:v>20.06111111111111</c:v>
                </c:pt>
                <c:pt idx="7223">
                  <c:v>20.06388888888889</c:v>
                </c:pt>
                <c:pt idx="7224">
                  <c:v>20.066666666666666</c:v>
                </c:pt>
                <c:pt idx="7225">
                  <c:v>20.069444444444443</c:v>
                </c:pt>
                <c:pt idx="7226">
                  <c:v>20.072222222222223</c:v>
                </c:pt>
                <c:pt idx="7227">
                  <c:v>20.074999999999999</c:v>
                </c:pt>
                <c:pt idx="7228">
                  <c:v>20.077777777777779</c:v>
                </c:pt>
                <c:pt idx="7229">
                  <c:v>20.080555555555556</c:v>
                </c:pt>
                <c:pt idx="7230">
                  <c:v>20.083333333333332</c:v>
                </c:pt>
                <c:pt idx="7231">
                  <c:v>20.086111111111112</c:v>
                </c:pt>
                <c:pt idx="7232">
                  <c:v>20.088888888888889</c:v>
                </c:pt>
                <c:pt idx="7233">
                  <c:v>20.091666666666665</c:v>
                </c:pt>
                <c:pt idx="7234">
                  <c:v>20.094444444444445</c:v>
                </c:pt>
                <c:pt idx="7235">
                  <c:v>20.097222222222221</c:v>
                </c:pt>
                <c:pt idx="7236">
                  <c:v>20.100000000000001</c:v>
                </c:pt>
                <c:pt idx="7237">
                  <c:v>20.102777777777778</c:v>
                </c:pt>
                <c:pt idx="7238">
                  <c:v>20.105555555555554</c:v>
                </c:pt>
                <c:pt idx="7239">
                  <c:v>20.108333333333334</c:v>
                </c:pt>
                <c:pt idx="7240">
                  <c:v>20.111111111111111</c:v>
                </c:pt>
                <c:pt idx="7241">
                  <c:v>20.113888888888887</c:v>
                </c:pt>
                <c:pt idx="7242">
                  <c:v>20.116666666666667</c:v>
                </c:pt>
                <c:pt idx="7243">
                  <c:v>20.119444444444444</c:v>
                </c:pt>
                <c:pt idx="7244">
                  <c:v>20.122222222222224</c:v>
                </c:pt>
                <c:pt idx="7245">
                  <c:v>20.125</c:v>
                </c:pt>
                <c:pt idx="7246">
                  <c:v>20.127777777777776</c:v>
                </c:pt>
                <c:pt idx="7247">
                  <c:v>20.130555555555556</c:v>
                </c:pt>
                <c:pt idx="7248">
                  <c:v>20.133333333333333</c:v>
                </c:pt>
                <c:pt idx="7249">
                  <c:v>20.136111111111113</c:v>
                </c:pt>
                <c:pt idx="7250">
                  <c:v>20.138888888888889</c:v>
                </c:pt>
                <c:pt idx="7251">
                  <c:v>20.141666666666666</c:v>
                </c:pt>
                <c:pt idx="7252">
                  <c:v>20.144444444444446</c:v>
                </c:pt>
                <c:pt idx="7253">
                  <c:v>20.147222222222222</c:v>
                </c:pt>
                <c:pt idx="7254">
                  <c:v>20.149999999999999</c:v>
                </c:pt>
                <c:pt idx="7255">
                  <c:v>20.152777777777779</c:v>
                </c:pt>
                <c:pt idx="7256">
                  <c:v>20.155555555555555</c:v>
                </c:pt>
                <c:pt idx="7257">
                  <c:v>20.158333333333335</c:v>
                </c:pt>
                <c:pt idx="7258">
                  <c:v>20.161111111111111</c:v>
                </c:pt>
                <c:pt idx="7259">
                  <c:v>20.163888888888888</c:v>
                </c:pt>
                <c:pt idx="7260">
                  <c:v>20.166666666666668</c:v>
                </c:pt>
                <c:pt idx="7261">
                  <c:v>20.169444444444444</c:v>
                </c:pt>
                <c:pt idx="7262">
                  <c:v>20.172222222222221</c:v>
                </c:pt>
                <c:pt idx="7263">
                  <c:v>20.175000000000001</c:v>
                </c:pt>
                <c:pt idx="7264">
                  <c:v>20.177777777777777</c:v>
                </c:pt>
                <c:pt idx="7265">
                  <c:v>20.180555555555557</c:v>
                </c:pt>
                <c:pt idx="7266">
                  <c:v>20.183333333333334</c:v>
                </c:pt>
                <c:pt idx="7267">
                  <c:v>20.18611111111111</c:v>
                </c:pt>
                <c:pt idx="7268">
                  <c:v>20.18888888888889</c:v>
                </c:pt>
                <c:pt idx="7269">
                  <c:v>20.191666666666666</c:v>
                </c:pt>
                <c:pt idx="7270">
                  <c:v>20.194444444444443</c:v>
                </c:pt>
                <c:pt idx="7271">
                  <c:v>20.197222222222223</c:v>
                </c:pt>
                <c:pt idx="7272">
                  <c:v>20.2</c:v>
                </c:pt>
                <c:pt idx="7273">
                  <c:v>20.202777777777779</c:v>
                </c:pt>
                <c:pt idx="7274">
                  <c:v>20.205555555555556</c:v>
                </c:pt>
                <c:pt idx="7275">
                  <c:v>20.208333333333332</c:v>
                </c:pt>
                <c:pt idx="7276">
                  <c:v>20.211111111111112</c:v>
                </c:pt>
                <c:pt idx="7277">
                  <c:v>20.213888888888889</c:v>
                </c:pt>
                <c:pt idx="7278">
                  <c:v>20.216666666666665</c:v>
                </c:pt>
                <c:pt idx="7279">
                  <c:v>20.219444444444445</c:v>
                </c:pt>
                <c:pt idx="7280">
                  <c:v>20.222222222222221</c:v>
                </c:pt>
                <c:pt idx="7281">
                  <c:v>20.225000000000001</c:v>
                </c:pt>
                <c:pt idx="7282">
                  <c:v>20.227777777777778</c:v>
                </c:pt>
                <c:pt idx="7283">
                  <c:v>20.230555555555554</c:v>
                </c:pt>
                <c:pt idx="7284">
                  <c:v>20.233333333333334</c:v>
                </c:pt>
                <c:pt idx="7285">
                  <c:v>20.236111111111111</c:v>
                </c:pt>
                <c:pt idx="7286">
                  <c:v>20.238888888888887</c:v>
                </c:pt>
                <c:pt idx="7287">
                  <c:v>20.241666666666667</c:v>
                </c:pt>
                <c:pt idx="7288">
                  <c:v>20.244444444444444</c:v>
                </c:pt>
                <c:pt idx="7289">
                  <c:v>20.247222222222224</c:v>
                </c:pt>
                <c:pt idx="7290">
                  <c:v>20.25</c:v>
                </c:pt>
                <c:pt idx="7291">
                  <c:v>20.252777777777776</c:v>
                </c:pt>
                <c:pt idx="7292">
                  <c:v>20.255555555555556</c:v>
                </c:pt>
                <c:pt idx="7293">
                  <c:v>20.258333333333333</c:v>
                </c:pt>
                <c:pt idx="7294">
                  <c:v>20.261111111111113</c:v>
                </c:pt>
                <c:pt idx="7295">
                  <c:v>20.263888888888889</c:v>
                </c:pt>
                <c:pt idx="7296">
                  <c:v>20.266666666666666</c:v>
                </c:pt>
                <c:pt idx="7297">
                  <c:v>20.269444444444446</c:v>
                </c:pt>
                <c:pt idx="7298">
                  <c:v>20.272222222222222</c:v>
                </c:pt>
                <c:pt idx="7299">
                  <c:v>20.274999999999999</c:v>
                </c:pt>
                <c:pt idx="7300">
                  <c:v>20.277777777777779</c:v>
                </c:pt>
                <c:pt idx="7301">
                  <c:v>20.280555555555555</c:v>
                </c:pt>
                <c:pt idx="7302">
                  <c:v>20.283333333333335</c:v>
                </c:pt>
                <c:pt idx="7303">
                  <c:v>20.286111111111111</c:v>
                </c:pt>
                <c:pt idx="7304">
                  <c:v>20.288888888888888</c:v>
                </c:pt>
                <c:pt idx="7305">
                  <c:v>20.291666666666668</c:v>
                </c:pt>
                <c:pt idx="7306">
                  <c:v>20.294444444444444</c:v>
                </c:pt>
                <c:pt idx="7307">
                  <c:v>20.297222222222221</c:v>
                </c:pt>
                <c:pt idx="7308">
                  <c:v>20.3</c:v>
                </c:pt>
                <c:pt idx="7309">
                  <c:v>20.302777777777777</c:v>
                </c:pt>
                <c:pt idx="7310">
                  <c:v>20.305555555555557</c:v>
                </c:pt>
                <c:pt idx="7311">
                  <c:v>20.308333333333334</c:v>
                </c:pt>
                <c:pt idx="7312">
                  <c:v>20.31111111111111</c:v>
                </c:pt>
                <c:pt idx="7313">
                  <c:v>20.31388888888889</c:v>
                </c:pt>
                <c:pt idx="7314">
                  <c:v>20.316666666666666</c:v>
                </c:pt>
                <c:pt idx="7315">
                  <c:v>20.319444444444443</c:v>
                </c:pt>
                <c:pt idx="7316">
                  <c:v>20.322222222222223</c:v>
                </c:pt>
                <c:pt idx="7317">
                  <c:v>20.324999999999999</c:v>
                </c:pt>
                <c:pt idx="7318">
                  <c:v>20.327777777777779</c:v>
                </c:pt>
                <c:pt idx="7319">
                  <c:v>20.330555555555556</c:v>
                </c:pt>
                <c:pt idx="7320">
                  <c:v>20.333333333333332</c:v>
                </c:pt>
                <c:pt idx="7321">
                  <c:v>20.336111111111112</c:v>
                </c:pt>
                <c:pt idx="7322">
                  <c:v>20.338888888888889</c:v>
                </c:pt>
                <c:pt idx="7323">
                  <c:v>20.341666666666665</c:v>
                </c:pt>
                <c:pt idx="7324">
                  <c:v>20.344444444444445</c:v>
                </c:pt>
                <c:pt idx="7325">
                  <c:v>20.347222222222221</c:v>
                </c:pt>
                <c:pt idx="7326">
                  <c:v>20.350000000000001</c:v>
                </c:pt>
                <c:pt idx="7327">
                  <c:v>20.352777777777778</c:v>
                </c:pt>
                <c:pt idx="7328">
                  <c:v>20.355555555555554</c:v>
                </c:pt>
                <c:pt idx="7329">
                  <c:v>20.358333333333334</c:v>
                </c:pt>
                <c:pt idx="7330">
                  <c:v>20.361111111111111</c:v>
                </c:pt>
                <c:pt idx="7331">
                  <c:v>20.363888888888887</c:v>
                </c:pt>
                <c:pt idx="7332">
                  <c:v>20.366666666666667</c:v>
                </c:pt>
                <c:pt idx="7333">
                  <c:v>20.369444444444444</c:v>
                </c:pt>
                <c:pt idx="7334">
                  <c:v>20.372222222222224</c:v>
                </c:pt>
                <c:pt idx="7335">
                  <c:v>20.375</c:v>
                </c:pt>
                <c:pt idx="7336">
                  <c:v>20.377777777777776</c:v>
                </c:pt>
                <c:pt idx="7337">
                  <c:v>20.380555555555556</c:v>
                </c:pt>
                <c:pt idx="7338">
                  <c:v>20.383333333333333</c:v>
                </c:pt>
                <c:pt idx="7339">
                  <c:v>20.386111111111113</c:v>
                </c:pt>
                <c:pt idx="7340">
                  <c:v>20.388888888888889</c:v>
                </c:pt>
                <c:pt idx="7341">
                  <c:v>20.391666666666666</c:v>
                </c:pt>
                <c:pt idx="7342">
                  <c:v>20.394444444444446</c:v>
                </c:pt>
                <c:pt idx="7343">
                  <c:v>20.397222222222222</c:v>
                </c:pt>
                <c:pt idx="7344">
                  <c:v>20.399999999999999</c:v>
                </c:pt>
                <c:pt idx="7345">
                  <c:v>20.402777777777779</c:v>
                </c:pt>
                <c:pt idx="7346">
                  <c:v>20.405555555555555</c:v>
                </c:pt>
                <c:pt idx="7347">
                  <c:v>20.408333333333335</c:v>
                </c:pt>
                <c:pt idx="7348">
                  <c:v>20.411111111111111</c:v>
                </c:pt>
                <c:pt idx="7349">
                  <c:v>20.413888888888888</c:v>
                </c:pt>
                <c:pt idx="7350">
                  <c:v>20.416666666666668</c:v>
                </c:pt>
                <c:pt idx="7351">
                  <c:v>20.419444444444444</c:v>
                </c:pt>
                <c:pt idx="7352">
                  <c:v>20.422222222222221</c:v>
                </c:pt>
                <c:pt idx="7353">
                  <c:v>20.425000000000001</c:v>
                </c:pt>
                <c:pt idx="7354">
                  <c:v>20.427777777777777</c:v>
                </c:pt>
                <c:pt idx="7355">
                  <c:v>20.430555555555557</c:v>
                </c:pt>
                <c:pt idx="7356">
                  <c:v>20.433333333333334</c:v>
                </c:pt>
                <c:pt idx="7357">
                  <c:v>20.43611111111111</c:v>
                </c:pt>
                <c:pt idx="7358">
                  <c:v>20.43888888888889</c:v>
                </c:pt>
                <c:pt idx="7359">
                  <c:v>20.441666666666666</c:v>
                </c:pt>
                <c:pt idx="7360">
                  <c:v>20.444444444444443</c:v>
                </c:pt>
                <c:pt idx="7361">
                  <c:v>20.447222222222223</c:v>
                </c:pt>
                <c:pt idx="7362">
                  <c:v>20.45</c:v>
                </c:pt>
                <c:pt idx="7363">
                  <c:v>20.452777777777779</c:v>
                </c:pt>
                <c:pt idx="7364">
                  <c:v>20.455555555555556</c:v>
                </c:pt>
                <c:pt idx="7365">
                  <c:v>20.458333333333332</c:v>
                </c:pt>
                <c:pt idx="7366">
                  <c:v>20.461111111111112</c:v>
                </c:pt>
                <c:pt idx="7367">
                  <c:v>20.463888888888889</c:v>
                </c:pt>
                <c:pt idx="7368">
                  <c:v>20.466666666666665</c:v>
                </c:pt>
                <c:pt idx="7369">
                  <c:v>20.469444444444445</c:v>
                </c:pt>
                <c:pt idx="7370">
                  <c:v>20.472222222222221</c:v>
                </c:pt>
                <c:pt idx="7371">
                  <c:v>20.475000000000001</c:v>
                </c:pt>
                <c:pt idx="7372">
                  <c:v>20.477777777777778</c:v>
                </c:pt>
                <c:pt idx="7373">
                  <c:v>20.480555555555554</c:v>
                </c:pt>
                <c:pt idx="7374">
                  <c:v>20.483333333333334</c:v>
                </c:pt>
                <c:pt idx="7375">
                  <c:v>20.486111111111111</c:v>
                </c:pt>
                <c:pt idx="7376">
                  <c:v>20.488888888888887</c:v>
                </c:pt>
                <c:pt idx="7377">
                  <c:v>20.491666666666667</c:v>
                </c:pt>
                <c:pt idx="7378">
                  <c:v>20.494444444444444</c:v>
                </c:pt>
                <c:pt idx="7379">
                  <c:v>20.497222222222224</c:v>
                </c:pt>
                <c:pt idx="7380">
                  <c:v>20.5</c:v>
                </c:pt>
                <c:pt idx="7381">
                  <c:v>20.502777777777776</c:v>
                </c:pt>
                <c:pt idx="7382">
                  <c:v>20.505555555555556</c:v>
                </c:pt>
                <c:pt idx="7383">
                  <c:v>20.508333333333333</c:v>
                </c:pt>
                <c:pt idx="7384">
                  <c:v>20.511111111111113</c:v>
                </c:pt>
                <c:pt idx="7385">
                  <c:v>20.513888888888889</c:v>
                </c:pt>
                <c:pt idx="7386">
                  <c:v>20.516666666666666</c:v>
                </c:pt>
                <c:pt idx="7387">
                  <c:v>20.519444444444446</c:v>
                </c:pt>
                <c:pt idx="7388">
                  <c:v>20.522222222222222</c:v>
                </c:pt>
                <c:pt idx="7389">
                  <c:v>20.524999999999999</c:v>
                </c:pt>
                <c:pt idx="7390">
                  <c:v>20.527777777777779</c:v>
                </c:pt>
                <c:pt idx="7391">
                  <c:v>20.530555555555555</c:v>
                </c:pt>
                <c:pt idx="7392">
                  <c:v>20.533333333333335</c:v>
                </c:pt>
                <c:pt idx="7393">
                  <c:v>20.536111111111111</c:v>
                </c:pt>
                <c:pt idx="7394">
                  <c:v>20.538888888888888</c:v>
                </c:pt>
                <c:pt idx="7395">
                  <c:v>20.541666666666668</c:v>
                </c:pt>
                <c:pt idx="7396">
                  <c:v>20.544444444444444</c:v>
                </c:pt>
                <c:pt idx="7397">
                  <c:v>20.547222222222221</c:v>
                </c:pt>
                <c:pt idx="7398">
                  <c:v>20.55</c:v>
                </c:pt>
                <c:pt idx="7399">
                  <c:v>20.552777777777777</c:v>
                </c:pt>
                <c:pt idx="7400">
                  <c:v>20.555555555555557</c:v>
                </c:pt>
                <c:pt idx="7401">
                  <c:v>20.558333333333334</c:v>
                </c:pt>
                <c:pt idx="7402">
                  <c:v>20.56111111111111</c:v>
                </c:pt>
                <c:pt idx="7403">
                  <c:v>20.56388888888889</c:v>
                </c:pt>
                <c:pt idx="7404">
                  <c:v>20.566666666666666</c:v>
                </c:pt>
                <c:pt idx="7405">
                  <c:v>20.569444444444443</c:v>
                </c:pt>
                <c:pt idx="7406">
                  <c:v>20.572222222222223</c:v>
                </c:pt>
                <c:pt idx="7407">
                  <c:v>20.574999999999999</c:v>
                </c:pt>
                <c:pt idx="7408">
                  <c:v>20.577777777777779</c:v>
                </c:pt>
                <c:pt idx="7409">
                  <c:v>20.580555555555556</c:v>
                </c:pt>
                <c:pt idx="7410">
                  <c:v>20.583333333333332</c:v>
                </c:pt>
                <c:pt idx="7411">
                  <c:v>20.586111111111112</c:v>
                </c:pt>
                <c:pt idx="7412">
                  <c:v>20.588888888888889</c:v>
                </c:pt>
                <c:pt idx="7413">
                  <c:v>20.591666666666665</c:v>
                </c:pt>
                <c:pt idx="7414">
                  <c:v>20.594444444444445</c:v>
                </c:pt>
                <c:pt idx="7415">
                  <c:v>20.597222222222221</c:v>
                </c:pt>
                <c:pt idx="7416">
                  <c:v>20.6</c:v>
                </c:pt>
                <c:pt idx="7417">
                  <c:v>20.602777777777778</c:v>
                </c:pt>
                <c:pt idx="7418">
                  <c:v>20.605555555555554</c:v>
                </c:pt>
                <c:pt idx="7419">
                  <c:v>20.608333333333334</c:v>
                </c:pt>
                <c:pt idx="7420">
                  <c:v>20.611111111111111</c:v>
                </c:pt>
                <c:pt idx="7421">
                  <c:v>20.613888888888887</c:v>
                </c:pt>
                <c:pt idx="7422">
                  <c:v>20.616666666666667</c:v>
                </c:pt>
                <c:pt idx="7423">
                  <c:v>20.619444444444444</c:v>
                </c:pt>
                <c:pt idx="7424">
                  <c:v>20.622222222222224</c:v>
                </c:pt>
                <c:pt idx="7425">
                  <c:v>20.625</c:v>
                </c:pt>
                <c:pt idx="7426">
                  <c:v>20.627777777777776</c:v>
                </c:pt>
                <c:pt idx="7427">
                  <c:v>20.630555555555556</c:v>
                </c:pt>
                <c:pt idx="7428">
                  <c:v>20.633333333333333</c:v>
                </c:pt>
                <c:pt idx="7429">
                  <c:v>20.636111111111113</c:v>
                </c:pt>
                <c:pt idx="7430">
                  <c:v>20.638888888888889</c:v>
                </c:pt>
                <c:pt idx="7431">
                  <c:v>20.641666666666666</c:v>
                </c:pt>
                <c:pt idx="7432">
                  <c:v>20.644444444444446</c:v>
                </c:pt>
                <c:pt idx="7433">
                  <c:v>20.647222222222222</c:v>
                </c:pt>
                <c:pt idx="7434">
                  <c:v>20.65</c:v>
                </c:pt>
                <c:pt idx="7435">
                  <c:v>20.652777777777779</c:v>
                </c:pt>
                <c:pt idx="7436">
                  <c:v>20.655555555555555</c:v>
                </c:pt>
                <c:pt idx="7437">
                  <c:v>20.658333333333335</c:v>
                </c:pt>
                <c:pt idx="7438">
                  <c:v>20.661111111111111</c:v>
                </c:pt>
                <c:pt idx="7439">
                  <c:v>20.663888888888888</c:v>
                </c:pt>
                <c:pt idx="7440">
                  <c:v>20.666666666666668</c:v>
                </c:pt>
                <c:pt idx="7441">
                  <c:v>20.669444444444444</c:v>
                </c:pt>
                <c:pt idx="7442">
                  <c:v>20.672222222222221</c:v>
                </c:pt>
                <c:pt idx="7443">
                  <c:v>20.675000000000001</c:v>
                </c:pt>
                <c:pt idx="7444">
                  <c:v>20.677777777777777</c:v>
                </c:pt>
                <c:pt idx="7445">
                  <c:v>20.680555555555557</c:v>
                </c:pt>
                <c:pt idx="7446">
                  <c:v>20.683333333333334</c:v>
                </c:pt>
                <c:pt idx="7447">
                  <c:v>20.68611111111111</c:v>
                </c:pt>
                <c:pt idx="7448">
                  <c:v>20.68888888888889</c:v>
                </c:pt>
                <c:pt idx="7449">
                  <c:v>20.691666666666666</c:v>
                </c:pt>
                <c:pt idx="7450">
                  <c:v>20.694444444444443</c:v>
                </c:pt>
                <c:pt idx="7451">
                  <c:v>20.697222222222223</c:v>
                </c:pt>
                <c:pt idx="7452">
                  <c:v>20.7</c:v>
                </c:pt>
                <c:pt idx="7453">
                  <c:v>20.702777777777779</c:v>
                </c:pt>
                <c:pt idx="7454">
                  <c:v>20.705555555555556</c:v>
                </c:pt>
                <c:pt idx="7455">
                  <c:v>20.708333333333332</c:v>
                </c:pt>
                <c:pt idx="7456">
                  <c:v>20.711111111111112</c:v>
                </c:pt>
                <c:pt idx="7457">
                  <c:v>20.713888888888889</c:v>
                </c:pt>
                <c:pt idx="7458">
                  <c:v>20.716666666666665</c:v>
                </c:pt>
                <c:pt idx="7459">
                  <c:v>20.719444444444445</c:v>
                </c:pt>
                <c:pt idx="7460">
                  <c:v>20.722222222222221</c:v>
                </c:pt>
                <c:pt idx="7461">
                  <c:v>20.725000000000001</c:v>
                </c:pt>
                <c:pt idx="7462">
                  <c:v>20.727777777777778</c:v>
                </c:pt>
                <c:pt idx="7463">
                  <c:v>20.730555555555554</c:v>
                </c:pt>
                <c:pt idx="7464">
                  <c:v>20.733333333333334</c:v>
                </c:pt>
                <c:pt idx="7465">
                  <c:v>20.736111111111111</c:v>
                </c:pt>
                <c:pt idx="7466">
                  <c:v>20.738888888888887</c:v>
                </c:pt>
                <c:pt idx="7467">
                  <c:v>20.741666666666667</c:v>
                </c:pt>
                <c:pt idx="7468">
                  <c:v>20.744444444444444</c:v>
                </c:pt>
                <c:pt idx="7469">
                  <c:v>20.747222222222224</c:v>
                </c:pt>
                <c:pt idx="7470">
                  <c:v>20.75</c:v>
                </c:pt>
                <c:pt idx="7471">
                  <c:v>20.752777777777776</c:v>
                </c:pt>
                <c:pt idx="7472">
                  <c:v>20.755555555555556</c:v>
                </c:pt>
                <c:pt idx="7473">
                  <c:v>20.758333333333333</c:v>
                </c:pt>
                <c:pt idx="7474">
                  <c:v>20.761111111111113</c:v>
                </c:pt>
                <c:pt idx="7475">
                  <c:v>20.763888888888889</c:v>
                </c:pt>
                <c:pt idx="7476">
                  <c:v>20.766666666666666</c:v>
                </c:pt>
                <c:pt idx="7477">
                  <c:v>20.769444444444446</c:v>
                </c:pt>
                <c:pt idx="7478">
                  <c:v>20.772222222222222</c:v>
                </c:pt>
                <c:pt idx="7479">
                  <c:v>20.774999999999999</c:v>
                </c:pt>
                <c:pt idx="7480">
                  <c:v>20.777777777777779</c:v>
                </c:pt>
                <c:pt idx="7481">
                  <c:v>20.780555555555555</c:v>
                </c:pt>
                <c:pt idx="7482">
                  <c:v>20.783333333333335</c:v>
                </c:pt>
                <c:pt idx="7483">
                  <c:v>20.786111111111111</c:v>
                </c:pt>
                <c:pt idx="7484">
                  <c:v>20.788888888888888</c:v>
                </c:pt>
                <c:pt idx="7485">
                  <c:v>20.791666666666668</c:v>
                </c:pt>
                <c:pt idx="7486">
                  <c:v>20.794444444444444</c:v>
                </c:pt>
                <c:pt idx="7487">
                  <c:v>20.797222222222221</c:v>
                </c:pt>
                <c:pt idx="7488">
                  <c:v>20.8</c:v>
                </c:pt>
                <c:pt idx="7489">
                  <c:v>20.802777777777777</c:v>
                </c:pt>
                <c:pt idx="7490">
                  <c:v>20.805555555555557</c:v>
                </c:pt>
                <c:pt idx="7491">
                  <c:v>20.808333333333334</c:v>
                </c:pt>
                <c:pt idx="7492">
                  <c:v>20.81111111111111</c:v>
                </c:pt>
                <c:pt idx="7493">
                  <c:v>20.81388888888889</c:v>
                </c:pt>
                <c:pt idx="7494">
                  <c:v>20.816666666666666</c:v>
                </c:pt>
                <c:pt idx="7495">
                  <c:v>20.819444444444443</c:v>
                </c:pt>
                <c:pt idx="7496">
                  <c:v>20.822222222222223</c:v>
                </c:pt>
                <c:pt idx="7497">
                  <c:v>20.824999999999999</c:v>
                </c:pt>
                <c:pt idx="7498">
                  <c:v>20.827777777777779</c:v>
                </c:pt>
                <c:pt idx="7499">
                  <c:v>20.830555555555556</c:v>
                </c:pt>
                <c:pt idx="7500">
                  <c:v>20.833333333333332</c:v>
                </c:pt>
                <c:pt idx="7501">
                  <c:v>20.836111111111112</c:v>
                </c:pt>
                <c:pt idx="7502">
                  <c:v>20.838888888888889</c:v>
                </c:pt>
                <c:pt idx="7503">
                  <c:v>20.841666666666665</c:v>
                </c:pt>
                <c:pt idx="7504">
                  <c:v>20.844444444444445</c:v>
                </c:pt>
                <c:pt idx="7505">
                  <c:v>20.847222222222221</c:v>
                </c:pt>
                <c:pt idx="7506">
                  <c:v>20.85</c:v>
                </c:pt>
                <c:pt idx="7507">
                  <c:v>20.852777777777778</c:v>
                </c:pt>
                <c:pt idx="7508">
                  <c:v>20.855555555555554</c:v>
                </c:pt>
                <c:pt idx="7509">
                  <c:v>20.858333333333334</c:v>
                </c:pt>
                <c:pt idx="7510">
                  <c:v>20.861111111111111</c:v>
                </c:pt>
                <c:pt idx="7511">
                  <c:v>20.863888888888887</c:v>
                </c:pt>
                <c:pt idx="7512">
                  <c:v>20.866666666666667</c:v>
                </c:pt>
                <c:pt idx="7513">
                  <c:v>20.869444444444444</c:v>
                </c:pt>
                <c:pt idx="7514">
                  <c:v>20.872222222222224</c:v>
                </c:pt>
                <c:pt idx="7515">
                  <c:v>20.875</c:v>
                </c:pt>
                <c:pt idx="7516">
                  <c:v>20.877777777777776</c:v>
                </c:pt>
                <c:pt idx="7517">
                  <c:v>20.880555555555556</c:v>
                </c:pt>
                <c:pt idx="7518">
                  <c:v>20.883333333333333</c:v>
                </c:pt>
                <c:pt idx="7519">
                  <c:v>20.886111111111113</c:v>
                </c:pt>
                <c:pt idx="7520">
                  <c:v>20.888888888888889</c:v>
                </c:pt>
                <c:pt idx="7521">
                  <c:v>20.891666666666666</c:v>
                </c:pt>
                <c:pt idx="7522">
                  <c:v>20.894444444444446</c:v>
                </c:pt>
                <c:pt idx="7523">
                  <c:v>20.897222222222222</c:v>
                </c:pt>
                <c:pt idx="7524">
                  <c:v>20.9</c:v>
                </c:pt>
                <c:pt idx="7525">
                  <c:v>20.902777777777779</c:v>
                </c:pt>
                <c:pt idx="7526">
                  <c:v>20.905555555555555</c:v>
                </c:pt>
                <c:pt idx="7527">
                  <c:v>20.908333333333335</c:v>
                </c:pt>
                <c:pt idx="7528">
                  <c:v>20.911111111111111</c:v>
                </c:pt>
                <c:pt idx="7529">
                  <c:v>20.913888888888888</c:v>
                </c:pt>
                <c:pt idx="7530">
                  <c:v>20.916666666666668</c:v>
                </c:pt>
                <c:pt idx="7531">
                  <c:v>20.919444444444444</c:v>
                </c:pt>
                <c:pt idx="7532">
                  <c:v>20.922222222222221</c:v>
                </c:pt>
                <c:pt idx="7533">
                  <c:v>20.925000000000001</c:v>
                </c:pt>
                <c:pt idx="7534">
                  <c:v>20.927777777777777</c:v>
                </c:pt>
                <c:pt idx="7535">
                  <c:v>20.930555555555557</c:v>
                </c:pt>
                <c:pt idx="7536">
                  <c:v>20.933333333333334</c:v>
                </c:pt>
                <c:pt idx="7537">
                  <c:v>20.93611111111111</c:v>
                </c:pt>
                <c:pt idx="7538">
                  <c:v>20.93888888888889</c:v>
                </c:pt>
                <c:pt idx="7539">
                  <c:v>20.941666666666666</c:v>
                </c:pt>
                <c:pt idx="7540">
                  <c:v>20.944444444444443</c:v>
                </c:pt>
                <c:pt idx="7541">
                  <c:v>20.947222222222223</c:v>
                </c:pt>
                <c:pt idx="7542">
                  <c:v>20.95</c:v>
                </c:pt>
                <c:pt idx="7543">
                  <c:v>20.952777777777779</c:v>
                </c:pt>
                <c:pt idx="7544">
                  <c:v>20.955555555555556</c:v>
                </c:pt>
                <c:pt idx="7545">
                  <c:v>20.958333333333332</c:v>
                </c:pt>
                <c:pt idx="7546">
                  <c:v>20.961111111111112</c:v>
                </c:pt>
                <c:pt idx="7547">
                  <c:v>20.963888888888889</c:v>
                </c:pt>
                <c:pt idx="7548">
                  <c:v>20.966666666666665</c:v>
                </c:pt>
                <c:pt idx="7549">
                  <c:v>20.969444444444445</c:v>
                </c:pt>
                <c:pt idx="7550">
                  <c:v>20.972222222222221</c:v>
                </c:pt>
                <c:pt idx="7551">
                  <c:v>20.975000000000001</c:v>
                </c:pt>
                <c:pt idx="7552">
                  <c:v>20.977777777777778</c:v>
                </c:pt>
                <c:pt idx="7553">
                  <c:v>20.980555555555554</c:v>
                </c:pt>
                <c:pt idx="7554">
                  <c:v>20.983333333333334</c:v>
                </c:pt>
                <c:pt idx="7555">
                  <c:v>20.986111111111111</c:v>
                </c:pt>
                <c:pt idx="7556">
                  <c:v>20.988888888888887</c:v>
                </c:pt>
                <c:pt idx="7557">
                  <c:v>20.991666666666667</c:v>
                </c:pt>
                <c:pt idx="7558">
                  <c:v>20.994444444444444</c:v>
                </c:pt>
                <c:pt idx="7559">
                  <c:v>20.997222222222224</c:v>
                </c:pt>
                <c:pt idx="7560">
                  <c:v>21</c:v>
                </c:pt>
                <c:pt idx="7561">
                  <c:v>21.002777777777776</c:v>
                </c:pt>
                <c:pt idx="7562">
                  <c:v>21.005555555555556</c:v>
                </c:pt>
                <c:pt idx="7563">
                  <c:v>21.008333333333333</c:v>
                </c:pt>
                <c:pt idx="7564">
                  <c:v>21.011111111111113</c:v>
                </c:pt>
                <c:pt idx="7565">
                  <c:v>21.013888888888889</c:v>
                </c:pt>
                <c:pt idx="7566">
                  <c:v>21.016666666666666</c:v>
                </c:pt>
                <c:pt idx="7567">
                  <c:v>21.019444444444446</c:v>
                </c:pt>
                <c:pt idx="7568">
                  <c:v>21.022222222222222</c:v>
                </c:pt>
                <c:pt idx="7569">
                  <c:v>21.024999999999999</c:v>
                </c:pt>
                <c:pt idx="7570">
                  <c:v>21.027777777777779</c:v>
                </c:pt>
                <c:pt idx="7571">
                  <c:v>21.030555555555555</c:v>
                </c:pt>
                <c:pt idx="7572">
                  <c:v>21.033333333333335</c:v>
                </c:pt>
                <c:pt idx="7573">
                  <c:v>21.036111111111111</c:v>
                </c:pt>
                <c:pt idx="7574">
                  <c:v>21.038888888888888</c:v>
                </c:pt>
                <c:pt idx="7575">
                  <c:v>21.041666666666668</c:v>
                </c:pt>
                <c:pt idx="7576">
                  <c:v>21.044444444444444</c:v>
                </c:pt>
                <c:pt idx="7577">
                  <c:v>21.047222222222221</c:v>
                </c:pt>
                <c:pt idx="7578">
                  <c:v>21.05</c:v>
                </c:pt>
                <c:pt idx="7579">
                  <c:v>21.052777777777777</c:v>
                </c:pt>
                <c:pt idx="7580">
                  <c:v>21.055555555555557</c:v>
                </c:pt>
                <c:pt idx="7581">
                  <c:v>21.058333333333334</c:v>
                </c:pt>
                <c:pt idx="7582">
                  <c:v>21.06111111111111</c:v>
                </c:pt>
                <c:pt idx="7583">
                  <c:v>21.06388888888889</c:v>
                </c:pt>
                <c:pt idx="7584">
                  <c:v>21.066666666666666</c:v>
                </c:pt>
                <c:pt idx="7585">
                  <c:v>21.069444444444443</c:v>
                </c:pt>
                <c:pt idx="7586">
                  <c:v>21.072222222222223</c:v>
                </c:pt>
                <c:pt idx="7587">
                  <c:v>21.074999999999999</c:v>
                </c:pt>
                <c:pt idx="7588">
                  <c:v>21.077777777777779</c:v>
                </c:pt>
                <c:pt idx="7589">
                  <c:v>21.080555555555556</c:v>
                </c:pt>
                <c:pt idx="7590">
                  <c:v>21.083333333333332</c:v>
                </c:pt>
                <c:pt idx="7591">
                  <c:v>21.086111111111112</c:v>
                </c:pt>
                <c:pt idx="7592">
                  <c:v>21.088888888888889</c:v>
                </c:pt>
                <c:pt idx="7593">
                  <c:v>21.091666666666665</c:v>
                </c:pt>
                <c:pt idx="7594">
                  <c:v>21.094444444444445</c:v>
                </c:pt>
                <c:pt idx="7595">
                  <c:v>21.097222222222221</c:v>
                </c:pt>
                <c:pt idx="7596">
                  <c:v>21.1</c:v>
                </c:pt>
                <c:pt idx="7597">
                  <c:v>21.102777777777778</c:v>
                </c:pt>
                <c:pt idx="7598">
                  <c:v>21.105555555555554</c:v>
                </c:pt>
                <c:pt idx="7599">
                  <c:v>21.108333333333334</c:v>
                </c:pt>
                <c:pt idx="7600">
                  <c:v>21.111111111111111</c:v>
                </c:pt>
                <c:pt idx="7601">
                  <c:v>21.113888888888887</c:v>
                </c:pt>
                <c:pt idx="7602">
                  <c:v>21.116666666666667</c:v>
                </c:pt>
                <c:pt idx="7603">
                  <c:v>21.119444444444444</c:v>
                </c:pt>
                <c:pt idx="7604">
                  <c:v>21.122222222222224</c:v>
                </c:pt>
                <c:pt idx="7605">
                  <c:v>21.125</c:v>
                </c:pt>
                <c:pt idx="7606">
                  <c:v>21.127777777777776</c:v>
                </c:pt>
                <c:pt idx="7607">
                  <c:v>21.130555555555556</c:v>
                </c:pt>
                <c:pt idx="7608">
                  <c:v>21.133333333333333</c:v>
                </c:pt>
                <c:pt idx="7609">
                  <c:v>21.136111111111113</c:v>
                </c:pt>
                <c:pt idx="7610">
                  <c:v>21.138888888888889</c:v>
                </c:pt>
                <c:pt idx="7611">
                  <c:v>21.141666666666666</c:v>
                </c:pt>
                <c:pt idx="7612">
                  <c:v>21.144444444444446</c:v>
                </c:pt>
                <c:pt idx="7613">
                  <c:v>21.147222222222222</c:v>
                </c:pt>
                <c:pt idx="7614">
                  <c:v>21.15</c:v>
                </c:pt>
                <c:pt idx="7615">
                  <c:v>21.152777777777779</c:v>
                </c:pt>
                <c:pt idx="7616">
                  <c:v>21.155555555555555</c:v>
                </c:pt>
                <c:pt idx="7617">
                  <c:v>21.158333333333335</c:v>
                </c:pt>
                <c:pt idx="7618">
                  <c:v>21.161111111111111</c:v>
                </c:pt>
                <c:pt idx="7619">
                  <c:v>21.163888888888888</c:v>
                </c:pt>
                <c:pt idx="7620">
                  <c:v>21.166666666666668</c:v>
                </c:pt>
                <c:pt idx="7621">
                  <c:v>21.169444444444444</c:v>
                </c:pt>
                <c:pt idx="7622">
                  <c:v>21.172222222222221</c:v>
                </c:pt>
                <c:pt idx="7623">
                  <c:v>21.175000000000001</c:v>
                </c:pt>
                <c:pt idx="7624">
                  <c:v>21.177777777777777</c:v>
                </c:pt>
                <c:pt idx="7625">
                  <c:v>21.180555555555557</c:v>
                </c:pt>
                <c:pt idx="7626">
                  <c:v>21.183333333333334</c:v>
                </c:pt>
                <c:pt idx="7627">
                  <c:v>21.18611111111111</c:v>
                </c:pt>
                <c:pt idx="7628">
                  <c:v>21.18888888888889</c:v>
                </c:pt>
                <c:pt idx="7629">
                  <c:v>21.191666666666666</c:v>
                </c:pt>
                <c:pt idx="7630">
                  <c:v>21.194444444444443</c:v>
                </c:pt>
                <c:pt idx="7631">
                  <c:v>21.197222222222223</c:v>
                </c:pt>
                <c:pt idx="7632">
                  <c:v>21.2</c:v>
                </c:pt>
                <c:pt idx="7633">
                  <c:v>21.202777777777779</c:v>
                </c:pt>
                <c:pt idx="7634">
                  <c:v>21.205555555555556</c:v>
                </c:pt>
                <c:pt idx="7635">
                  <c:v>21.208333333333332</c:v>
                </c:pt>
                <c:pt idx="7636">
                  <c:v>21.211111111111112</c:v>
                </c:pt>
                <c:pt idx="7637">
                  <c:v>21.213888888888889</c:v>
                </c:pt>
                <c:pt idx="7638">
                  <c:v>21.216666666666665</c:v>
                </c:pt>
                <c:pt idx="7639">
                  <c:v>21.219444444444445</c:v>
                </c:pt>
                <c:pt idx="7640">
                  <c:v>21.222222222222221</c:v>
                </c:pt>
                <c:pt idx="7641">
                  <c:v>21.225000000000001</c:v>
                </c:pt>
                <c:pt idx="7642">
                  <c:v>21.227777777777778</c:v>
                </c:pt>
                <c:pt idx="7643">
                  <c:v>21.230555555555554</c:v>
                </c:pt>
                <c:pt idx="7644">
                  <c:v>21.233333333333334</c:v>
                </c:pt>
                <c:pt idx="7645">
                  <c:v>21.236111111111111</c:v>
                </c:pt>
                <c:pt idx="7646">
                  <c:v>21.238888888888887</c:v>
                </c:pt>
                <c:pt idx="7647">
                  <c:v>21.241666666666667</c:v>
                </c:pt>
                <c:pt idx="7648">
                  <c:v>21.244444444444444</c:v>
                </c:pt>
                <c:pt idx="7649">
                  <c:v>21.247222222222224</c:v>
                </c:pt>
                <c:pt idx="7650">
                  <c:v>21.25</c:v>
                </c:pt>
                <c:pt idx="7651">
                  <c:v>21.252777777777776</c:v>
                </c:pt>
                <c:pt idx="7652">
                  <c:v>21.255555555555556</c:v>
                </c:pt>
                <c:pt idx="7653">
                  <c:v>21.258333333333333</c:v>
                </c:pt>
                <c:pt idx="7654">
                  <c:v>21.261111111111113</c:v>
                </c:pt>
                <c:pt idx="7655">
                  <c:v>21.263888888888889</c:v>
                </c:pt>
                <c:pt idx="7656">
                  <c:v>21.266666666666666</c:v>
                </c:pt>
                <c:pt idx="7657">
                  <c:v>21.269444444444446</c:v>
                </c:pt>
                <c:pt idx="7658">
                  <c:v>21.272222222222222</c:v>
                </c:pt>
                <c:pt idx="7659">
                  <c:v>21.274999999999999</c:v>
                </c:pt>
                <c:pt idx="7660">
                  <c:v>21.277777777777779</c:v>
                </c:pt>
                <c:pt idx="7661">
                  <c:v>21.280555555555555</c:v>
                </c:pt>
                <c:pt idx="7662">
                  <c:v>21.283333333333335</c:v>
                </c:pt>
                <c:pt idx="7663">
                  <c:v>21.286111111111111</c:v>
                </c:pt>
                <c:pt idx="7664">
                  <c:v>21.288888888888888</c:v>
                </c:pt>
                <c:pt idx="7665">
                  <c:v>21.291666666666668</c:v>
                </c:pt>
                <c:pt idx="7666">
                  <c:v>21.294444444444444</c:v>
                </c:pt>
                <c:pt idx="7667">
                  <c:v>21.297222222222221</c:v>
                </c:pt>
                <c:pt idx="7668">
                  <c:v>21.3</c:v>
                </c:pt>
                <c:pt idx="7669">
                  <c:v>21.302777777777777</c:v>
                </c:pt>
                <c:pt idx="7670">
                  <c:v>21.305555555555557</c:v>
                </c:pt>
                <c:pt idx="7671">
                  <c:v>21.308333333333334</c:v>
                </c:pt>
                <c:pt idx="7672">
                  <c:v>21.31111111111111</c:v>
                </c:pt>
                <c:pt idx="7673">
                  <c:v>21.31388888888889</c:v>
                </c:pt>
                <c:pt idx="7674">
                  <c:v>21.316666666666666</c:v>
                </c:pt>
                <c:pt idx="7675">
                  <c:v>21.319444444444443</c:v>
                </c:pt>
                <c:pt idx="7676">
                  <c:v>21.322222222222223</c:v>
                </c:pt>
                <c:pt idx="7677">
                  <c:v>21.324999999999999</c:v>
                </c:pt>
                <c:pt idx="7678">
                  <c:v>21.327777777777779</c:v>
                </c:pt>
                <c:pt idx="7679">
                  <c:v>21.330555555555556</c:v>
                </c:pt>
                <c:pt idx="7680">
                  <c:v>21.333333333333332</c:v>
                </c:pt>
                <c:pt idx="7681">
                  <c:v>21.336111111111112</c:v>
                </c:pt>
                <c:pt idx="7682">
                  <c:v>21.338888888888889</c:v>
                </c:pt>
                <c:pt idx="7683">
                  <c:v>21.341666666666665</c:v>
                </c:pt>
                <c:pt idx="7684">
                  <c:v>21.344444444444445</c:v>
                </c:pt>
                <c:pt idx="7685">
                  <c:v>21.347222222222221</c:v>
                </c:pt>
                <c:pt idx="7686">
                  <c:v>21.35</c:v>
                </c:pt>
                <c:pt idx="7687">
                  <c:v>21.352777777777778</c:v>
                </c:pt>
                <c:pt idx="7688">
                  <c:v>21.355555555555554</c:v>
                </c:pt>
                <c:pt idx="7689">
                  <c:v>21.358333333333334</c:v>
                </c:pt>
                <c:pt idx="7690">
                  <c:v>21.361111111111111</c:v>
                </c:pt>
                <c:pt idx="7691">
                  <c:v>21.363888888888887</c:v>
                </c:pt>
                <c:pt idx="7692">
                  <c:v>21.366666666666667</c:v>
                </c:pt>
                <c:pt idx="7693">
                  <c:v>21.369444444444444</c:v>
                </c:pt>
                <c:pt idx="7694">
                  <c:v>21.372222222222224</c:v>
                </c:pt>
                <c:pt idx="7695">
                  <c:v>21.375</c:v>
                </c:pt>
                <c:pt idx="7696">
                  <c:v>21.377777777777776</c:v>
                </c:pt>
                <c:pt idx="7697">
                  <c:v>21.380555555555556</c:v>
                </c:pt>
                <c:pt idx="7698">
                  <c:v>21.383333333333333</c:v>
                </c:pt>
                <c:pt idx="7699">
                  <c:v>21.386111111111113</c:v>
                </c:pt>
                <c:pt idx="7700">
                  <c:v>21.388888888888889</c:v>
                </c:pt>
                <c:pt idx="7701">
                  <c:v>21.391666666666666</c:v>
                </c:pt>
                <c:pt idx="7702">
                  <c:v>21.394444444444446</c:v>
                </c:pt>
                <c:pt idx="7703">
                  <c:v>21.397222222222222</c:v>
                </c:pt>
                <c:pt idx="7704">
                  <c:v>21.4</c:v>
                </c:pt>
                <c:pt idx="7705">
                  <c:v>21.402777777777779</c:v>
                </c:pt>
                <c:pt idx="7706">
                  <c:v>21.405555555555555</c:v>
                </c:pt>
                <c:pt idx="7707">
                  <c:v>21.408333333333335</c:v>
                </c:pt>
                <c:pt idx="7708">
                  <c:v>21.411111111111111</c:v>
                </c:pt>
                <c:pt idx="7709">
                  <c:v>21.413888888888888</c:v>
                </c:pt>
                <c:pt idx="7710">
                  <c:v>21.416666666666668</c:v>
                </c:pt>
                <c:pt idx="7711">
                  <c:v>21.419444444444444</c:v>
                </c:pt>
                <c:pt idx="7712">
                  <c:v>21.422222222222221</c:v>
                </c:pt>
                <c:pt idx="7713">
                  <c:v>21.425000000000001</c:v>
                </c:pt>
                <c:pt idx="7714">
                  <c:v>21.427777777777777</c:v>
                </c:pt>
                <c:pt idx="7715">
                  <c:v>21.430555555555557</c:v>
                </c:pt>
                <c:pt idx="7716">
                  <c:v>21.433333333333334</c:v>
                </c:pt>
                <c:pt idx="7717">
                  <c:v>21.43611111111111</c:v>
                </c:pt>
                <c:pt idx="7718">
                  <c:v>21.43888888888889</c:v>
                </c:pt>
                <c:pt idx="7719">
                  <c:v>21.441666666666666</c:v>
                </c:pt>
                <c:pt idx="7720">
                  <c:v>21.444444444444443</c:v>
                </c:pt>
                <c:pt idx="7721">
                  <c:v>21.447222222222223</c:v>
                </c:pt>
                <c:pt idx="7722">
                  <c:v>21.45</c:v>
                </c:pt>
                <c:pt idx="7723">
                  <c:v>21.452777777777779</c:v>
                </c:pt>
                <c:pt idx="7724">
                  <c:v>21.455555555555556</c:v>
                </c:pt>
                <c:pt idx="7725">
                  <c:v>21.458333333333332</c:v>
                </c:pt>
                <c:pt idx="7726">
                  <c:v>21.461111111111112</c:v>
                </c:pt>
                <c:pt idx="7727">
                  <c:v>21.463888888888889</c:v>
                </c:pt>
                <c:pt idx="7728">
                  <c:v>21.466666666666665</c:v>
                </c:pt>
                <c:pt idx="7729">
                  <c:v>21.469444444444445</c:v>
                </c:pt>
                <c:pt idx="7730">
                  <c:v>21.472222222222221</c:v>
                </c:pt>
                <c:pt idx="7731">
                  <c:v>21.475000000000001</c:v>
                </c:pt>
                <c:pt idx="7732">
                  <c:v>21.477777777777778</c:v>
                </c:pt>
                <c:pt idx="7733">
                  <c:v>21.480555555555554</c:v>
                </c:pt>
                <c:pt idx="7734">
                  <c:v>21.483333333333334</c:v>
                </c:pt>
                <c:pt idx="7735">
                  <c:v>21.486111111111111</c:v>
                </c:pt>
                <c:pt idx="7736">
                  <c:v>21.488888888888887</c:v>
                </c:pt>
                <c:pt idx="7737">
                  <c:v>21.491666666666667</c:v>
                </c:pt>
                <c:pt idx="7738">
                  <c:v>21.494444444444444</c:v>
                </c:pt>
                <c:pt idx="7739">
                  <c:v>21.497222222222224</c:v>
                </c:pt>
                <c:pt idx="7740">
                  <c:v>21.5</c:v>
                </c:pt>
                <c:pt idx="7741">
                  <c:v>21.502777777777776</c:v>
                </c:pt>
                <c:pt idx="7742">
                  <c:v>21.505555555555556</c:v>
                </c:pt>
                <c:pt idx="7743">
                  <c:v>21.508333333333333</c:v>
                </c:pt>
                <c:pt idx="7744">
                  <c:v>21.511111111111113</c:v>
                </c:pt>
                <c:pt idx="7745">
                  <c:v>21.513888888888889</c:v>
                </c:pt>
                <c:pt idx="7746">
                  <c:v>21.516666666666666</c:v>
                </c:pt>
                <c:pt idx="7747">
                  <c:v>21.519444444444446</c:v>
                </c:pt>
                <c:pt idx="7748">
                  <c:v>21.522222222222222</c:v>
                </c:pt>
                <c:pt idx="7749">
                  <c:v>21.524999999999999</c:v>
                </c:pt>
                <c:pt idx="7750">
                  <c:v>21.527777777777779</c:v>
                </c:pt>
                <c:pt idx="7751">
                  <c:v>21.530555555555555</c:v>
                </c:pt>
                <c:pt idx="7752">
                  <c:v>21.533333333333335</c:v>
                </c:pt>
                <c:pt idx="7753">
                  <c:v>21.536111111111111</c:v>
                </c:pt>
                <c:pt idx="7754">
                  <c:v>21.538888888888888</c:v>
                </c:pt>
                <c:pt idx="7755">
                  <c:v>21.541666666666668</c:v>
                </c:pt>
                <c:pt idx="7756">
                  <c:v>21.544444444444444</c:v>
                </c:pt>
                <c:pt idx="7757">
                  <c:v>21.547222222222221</c:v>
                </c:pt>
                <c:pt idx="7758">
                  <c:v>21.55</c:v>
                </c:pt>
                <c:pt idx="7759">
                  <c:v>21.552777777777777</c:v>
                </c:pt>
                <c:pt idx="7760">
                  <c:v>21.555555555555557</c:v>
                </c:pt>
                <c:pt idx="7761">
                  <c:v>21.558333333333334</c:v>
                </c:pt>
                <c:pt idx="7762">
                  <c:v>21.56111111111111</c:v>
                </c:pt>
                <c:pt idx="7763">
                  <c:v>21.56388888888889</c:v>
                </c:pt>
                <c:pt idx="7764">
                  <c:v>21.566666666666666</c:v>
                </c:pt>
                <c:pt idx="7765">
                  <c:v>21.569444444444443</c:v>
                </c:pt>
                <c:pt idx="7766">
                  <c:v>21.572222222222223</c:v>
                </c:pt>
                <c:pt idx="7767">
                  <c:v>21.574999999999999</c:v>
                </c:pt>
                <c:pt idx="7768">
                  <c:v>21.577777777777779</c:v>
                </c:pt>
                <c:pt idx="7769">
                  <c:v>21.580555555555556</c:v>
                </c:pt>
                <c:pt idx="7770">
                  <c:v>21.583333333333332</c:v>
                </c:pt>
                <c:pt idx="7771">
                  <c:v>21.586111111111112</c:v>
                </c:pt>
                <c:pt idx="7772">
                  <c:v>21.588888888888889</c:v>
                </c:pt>
                <c:pt idx="7773">
                  <c:v>21.591666666666665</c:v>
                </c:pt>
                <c:pt idx="7774">
                  <c:v>21.594444444444445</c:v>
                </c:pt>
                <c:pt idx="7775">
                  <c:v>21.597222222222221</c:v>
                </c:pt>
                <c:pt idx="7776">
                  <c:v>21.6</c:v>
                </c:pt>
                <c:pt idx="7777">
                  <c:v>21.602777777777778</c:v>
                </c:pt>
                <c:pt idx="7778">
                  <c:v>21.605555555555554</c:v>
                </c:pt>
                <c:pt idx="7779">
                  <c:v>21.608333333333334</c:v>
                </c:pt>
                <c:pt idx="7780">
                  <c:v>21.611111111111111</c:v>
                </c:pt>
                <c:pt idx="7781">
                  <c:v>21.613888888888887</c:v>
                </c:pt>
                <c:pt idx="7782">
                  <c:v>21.616666666666667</c:v>
                </c:pt>
                <c:pt idx="7783">
                  <c:v>21.619444444444444</c:v>
                </c:pt>
                <c:pt idx="7784">
                  <c:v>21.622222222222224</c:v>
                </c:pt>
                <c:pt idx="7785">
                  <c:v>21.625</c:v>
                </c:pt>
                <c:pt idx="7786">
                  <c:v>21.627777777777776</c:v>
                </c:pt>
                <c:pt idx="7787">
                  <c:v>21.630555555555556</c:v>
                </c:pt>
                <c:pt idx="7788">
                  <c:v>21.633333333333333</c:v>
                </c:pt>
                <c:pt idx="7789">
                  <c:v>21.636111111111113</c:v>
                </c:pt>
                <c:pt idx="7790">
                  <c:v>21.638888888888889</c:v>
                </c:pt>
                <c:pt idx="7791">
                  <c:v>21.641666666666666</c:v>
                </c:pt>
                <c:pt idx="7792">
                  <c:v>21.644444444444446</c:v>
                </c:pt>
                <c:pt idx="7793">
                  <c:v>21.647222222222222</c:v>
                </c:pt>
                <c:pt idx="7794">
                  <c:v>21.65</c:v>
                </c:pt>
                <c:pt idx="7795">
                  <c:v>21.652777777777779</c:v>
                </c:pt>
                <c:pt idx="7796">
                  <c:v>21.655555555555555</c:v>
                </c:pt>
                <c:pt idx="7797">
                  <c:v>21.658333333333335</c:v>
                </c:pt>
                <c:pt idx="7798">
                  <c:v>21.661111111111111</c:v>
                </c:pt>
                <c:pt idx="7799">
                  <c:v>21.663888888888888</c:v>
                </c:pt>
                <c:pt idx="7800">
                  <c:v>21.666666666666668</c:v>
                </c:pt>
                <c:pt idx="7801">
                  <c:v>21.669444444444444</c:v>
                </c:pt>
                <c:pt idx="7802">
                  <c:v>21.672222222222221</c:v>
                </c:pt>
                <c:pt idx="7803">
                  <c:v>21.675000000000001</c:v>
                </c:pt>
                <c:pt idx="7804">
                  <c:v>21.677777777777777</c:v>
                </c:pt>
                <c:pt idx="7805">
                  <c:v>21.680555555555557</c:v>
                </c:pt>
                <c:pt idx="7806">
                  <c:v>21.683333333333334</c:v>
                </c:pt>
                <c:pt idx="7807">
                  <c:v>21.68611111111111</c:v>
                </c:pt>
                <c:pt idx="7808">
                  <c:v>21.68888888888889</c:v>
                </c:pt>
                <c:pt idx="7809">
                  <c:v>21.691666666666666</c:v>
                </c:pt>
                <c:pt idx="7810">
                  <c:v>21.694444444444443</c:v>
                </c:pt>
                <c:pt idx="7811">
                  <c:v>21.697222222222223</c:v>
                </c:pt>
                <c:pt idx="7812">
                  <c:v>21.7</c:v>
                </c:pt>
                <c:pt idx="7813">
                  <c:v>21.702777777777779</c:v>
                </c:pt>
                <c:pt idx="7814">
                  <c:v>21.705555555555556</c:v>
                </c:pt>
                <c:pt idx="7815">
                  <c:v>21.708333333333332</c:v>
                </c:pt>
                <c:pt idx="7816">
                  <c:v>21.711111111111112</c:v>
                </c:pt>
                <c:pt idx="7817">
                  <c:v>21.713888888888889</c:v>
                </c:pt>
                <c:pt idx="7818">
                  <c:v>21.716666666666665</c:v>
                </c:pt>
                <c:pt idx="7819">
                  <c:v>21.719444444444445</c:v>
                </c:pt>
                <c:pt idx="7820">
                  <c:v>21.722222222222221</c:v>
                </c:pt>
                <c:pt idx="7821">
                  <c:v>21.725000000000001</c:v>
                </c:pt>
                <c:pt idx="7822">
                  <c:v>21.727777777777778</c:v>
                </c:pt>
                <c:pt idx="7823">
                  <c:v>21.730555555555554</c:v>
                </c:pt>
                <c:pt idx="7824">
                  <c:v>21.733333333333334</c:v>
                </c:pt>
                <c:pt idx="7825">
                  <c:v>21.736111111111111</c:v>
                </c:pt>
                <c:pt idx="7826">
                  <c:v>21.738888888888887</c:v>
                </c:pt>
                <c:pt idx="7827">
                  <c:v>21.741666666666667</c:v>
                </c:pt>
                <c:pt idx="7828">
                  <c:v>21.744444444444444</c:v>
                </c:pt>
                <c:pt idx="7829">
                  <c:v>21.747222222222224</c:v>
                </c:pt>
                <c:pt idx="7830">
                  <c:v>21.75</c:v>
                </c:pt>
                <c:pt idx="7831">
                  <c:v>21.752777777777776</c:v>
                </c:pt>
                <c:pt idx="7832">
                  <c:v>21.755555555555556</c:v>
                </c:pt>
                <c:pt idx="7833">
                  <c:v>21.758333333333333</c:v>
                </c:pt>
                <c:pt idx="7834">
                  <c:v>21.761111111111113</c:v>
                </c:pt>
                <c:pt idx="7835">
                  <c:v>21.763888888888889</c:v>
                </c:pt>
                <c:pt idx="7836">
                  <c:v>21.766666666666666</c:v>
                </c:pt>
                <c:pt idx="7837">
                  <c:v>21.769444444444446</c:v>
                </c:pt>
                <c:pt idx="7838">
                  <c:v>21.772222222222222</c:v>
                </c:pt>
                <c:pt idx="7839">
                  <c:v>21.774999999999999</c:v>
                </c:pt>
                <c:pt idx="7840">
                  <c:v>21.777777777777779</c:v>
                </c:pt>
                <c:pt idx="7841">
                  <c:v>21.780555555555555</c:v>
                </c:pt>
                <c:pt idx="7842">
                  <c:v>21.783333333333335</c:v>
                </c:pt>
                <c:pt idx="7843">
                  <c:v>21.786111111111111</c:v>
                </c:pt>
                <c:pt idx="7844">
                  <c:v>21.788888888888888</c:v>
                </c:pt>
                <c:pt idx="7845">
                  <c:v>21.791666666666668</c:v>
                </c:pt>
                <c:pt idx="7846">
                  <c:v>21.794444444444444</c:v>
                </c:pt>
                <c:pt idx="7847">
                  <c:v>21.797222222222221</c:v>
                </c:pt>
                <c:pt idx="7848">
                  <c:v>21.8</c:v>
                </c:pt>
                <c:pt idx="7849">
                  <c:v>21.802777777777777</c:v>
                </c:pt>
                <c:pt idx="7850">
                  <c:v>21.805555555555557</c:v>
                </c:pt>
                <c:pt idx="7851">
                  <c:v>21.808333333333334</c:v>
                </c:pt>
                <c:pt idx="7852">
                  <c:v>21.81111111111111</c:v>
                </c:pt>
                <c:pt idx="7853">
                  <c:v>21.81388888888889</c:v>
                </c:pt>
                <c:pt idx="7854">
                  <c:v>21.816666666666666</c:v>
                </c:pt>
                <c:pt idx="7855">
                  <c:v>21.819444444444443</c:v>
                </c:pt>
                <c:pt idx="7856">
                  <c:v>21.822222222222223</c:v>
                </c:pt>
                <c:pt idx="7857">
                  <c:v>21.824999999999999</c:v>
                </c:pt>
                <c:pt idx="7858">
                  <c:v>21.827777777777779</c:v>
                </c:pt>
                <c:pt idx="7859">
                  <c:v>21.830555555555556</c:v>
                </c:pt>
                <c:pt idx="7860">
                  <c:v>21.833333333333332</c:v>
                </c:pt>
                <c:pt idx="7861">
                  <c:v>21.836111111111112</c:v>
                </c:pt>
                <c:pt idx="7862">
                  <c:v>21.838888888888889</c:v>
                </c:pt>
                <c:pt idx="7863">
                  <c:v>21.841666666666665</c:v>
                </c:pt>
                <c:pt idx="7864">
                  <c:v>21.844444444444445</c:v>
                </c:pt>
                <c:pt idx="7865">
                  <c:v>21.847222222222221</c:v>
                </c:pt>
                <c:pt idx="7866">
                  <c:v>21.85</c:v>
                </c:pt>
                <c:pt idx="7867">
                  <c:v>21.852777777777778</c:v>
                </c:pt>
                <c:pt idx="7868">
                  <c:v>21.855555555555554</c:v>
                </c:pt>
                <c:pt idx="7869">
                  <c:v>21.858333333333334</c:v>
                </c:pt>
                <c:pt idx="7870">
                  <c:v>21.861111111111111</c:v>
                </c:pt>
                <c:pt idx="7871">
                  <c:v>21.863888888888887</c:v>
                </c:pt>
                <c:pt idx="7872">
                  <c:v>21.866666666666667</c:v>
                </c:pt>
                <c:pt idx="7873">
                  <c:v>21.869444444444444</c:v>
                </c:pt>
                <c:pt idx="7874">
                  <c:v>21.872222222222224</c:v>
                </c:pt>
                <c:pt idx="7875">
                  <c:v>21.875</c:v>
                </c:pt>
                <c:pt idx="7876">
                  <c:v>21.877777777777776</c:v>
                </c:pt>
                <c:pt idx="7877">
                  <c:v>21.880555555555556</c:v>
                </c:pt>
                <c:pt idx="7878">
                  <c:v>21.883333333333333</c:v>
                </c:pt>
                <c:pt idx="7879">
                  <c:v>21.886111111111113</c:v>
                </c:pt>
                <c:pt idx="7880">
                  <c:v>21.888888888888889</c:v>
                </c:pt>
                <c:pt idx="7881">
                  <c:v>21.891666666666666</c:v>
                </c:pt>
                <c:pt idx="7882">
                  <c:v>21.894444444444446</c:v>
                </c:pt>
                <c:pt idx="7883">
                  <c:v>21.897222222222222</c:v>
                </c:pt>
                <c:pt idx="7884">
                  <c:v>21.9</c:v>
                </c:pt>
                <c:pt idx="7885">
                  <c:v>21.902777777777779</c:v>
                </c:pt>
                <c:pt idx="7886">
                  <c:v>21.905555555555555</c:v>
                </c:pt>
                <c:pt idx="7887">
                  <c:v>21.908333333333335</c:v>
                </c:pt>
                <c:pt idx="7888">
                  <c:v>21.911111111111111</c:v>
                </c:pt>
                <c:pt idx="7889">
                  <c:v>21.913888888888888</c:v>
                </c:pt>
                <c:pt idx="7890">
                  <c:v>21.916666666666668</c:v>
                </c:pt>
                <c:pt idx="7891">
                  <c:v>21.919444444444444</c:v>
                </c:pt>
                <c:pt idx="7892">
                  <c:v>21.922222222222221</c:v>
                </c:pt>
                <c:pt idx="7893">
                  <c:v>21.925000000000001</c:v>
                </c:pt>
                <c:pt idx="7894">
                  <c:v>21.927777777777777</c:v>
                </c:pt>
                <c:pt idx="7895">
                  <c:v>21.930555555555557</c:v>
                </c:pt>
                <c:pt idx="7896">
                  <c:v>21.933333333333334</c:v>
                </c:pt>
                <c:pt idx="7897">
                  <c:v>21.93611111111111</c:v>
                </c:pt>
                <c:pt idx="7898">
                  <c:v>21.93888888888889</c:v>
                </c:pt>
                <c:pt idx="7899">
                  <c:v>21.941666666666666</c:v>
                </c:pt>
                <c:pt idx="7900">
                  <c:v>21.944444444444443</c:v>
                </c:pt>
                <c:pt idx="7901">
                  <c:v>21.947222222222223</c:v>
                </c:pt>
                <c:pt idx="7902">
                  <c:v>21.95</c:v>
                </c:pt>
                <c:pt idx="7903">
                  <c:v>21.952777777777779</c:v>
                </c:pt>
                <c:pt idx="7904">
                  <c:v>21.955555555555556</c:v>
                </c:pt>
                <c:pt idx="7905">
                  <c:v>21.958333333333332</c:v>
                </c:pt>
                <c:pt idx="7906">
                  <c:v>21.961111111111112</c:v>
                </c:pt>
                <c:pt idx="7907">
                  <c:v>21.963888888888889</c:v>
                </c:pt>
                <c:pt idx="7908">
                  <c:v>21.966666666666665</c:v>
                </c:pt>
                <c:pt idx="7909">
                  <c:v>21.969444444444445</c:v>
                </c:pt>
                <c:pt idx="7910">
                  <c:v>21.972222222222221</c:v>
                </c:pt>
                <c:pt idx="7911">
                  <c:v>21.975000000000001</c:v>
                </c:pt>
                <c:pt idx="7912">
                  <c:v>21.977777777777778</c:v>
                </c:pt>
                <c:pt idx="7913">
                  <c:v>21.980555555555554</c:v>
                </c:pt>
                <c:pt idx="7914">
                  <c:v>21.983333333333334</c:v>
                </c:pt>
                <c:pt idx="7915">
                  <c:v>21.986111111111111</c:v>
                </c:pt>
                <c:pt idx="7916">
                  <c:v>21.988888888888887</c:v>
                </c:pt>
                <c:pt idx="7917">
                  <c:v>21.991666666666667</c:v>
                </c:pt>
                <c:pt idx="7918">
                  <c:v>21.994444444444444</c:v>
                </c:pt>
                <c:pt idx="7919">
                  <c:v>21.997222222222224</c:v>
                </c:pt>
                <c:pt idx="7920">
                  <c:v>22</c:v>
                </c:pt>
                <c:pt idx="7921">
                  <c:v>22.002777777777776</c:v>
                </c:pt>
                <c:pt idx="7922">
                  <c:v>22.005555555555556</c:v>
                </c:pt>
                <c:pt idx="7923">
                  <c:v>22.008333333333333</c:v>
                </c:pt>
                <c:pt idx="7924">
                  <c:v>22.011111111111113</c:v>
                </c:pt>
                <c:pt idx="7925">
                  <c:v>22.013888888888889</c:v>
                </c:pt>
                <c:pt idx="7926">
                  <c:v>22.016666666666666</c:v>
                </c:pt>
                <c:pt idx="7927">
                  <c:v>22.019444444444446</c:v>
                </c:pt>
                <c:pt idx="7928">
                  <c:v>22.022222222222222</c:v>
                </c:pt>
                <c:pt idx="7929">
                  <c:v>22.024999999999999</c:v>
                </c:pt>
                <c:pt idx="7930">
                  <c:v>22.027777777777779</c:v>
                </c:pt>
                <c:pt idx="7931">
                  <c:v>22.030555555555555</c:v>
                </c:pt>
                <c:pt idx="7932">
                  <c:v>22.033333333333335</c:v>
                </c:pt>
                <c:pt idx="7933">
                  <c:v>22.036111111111111</c:v>
                </c:pt>
                <c:pt idx="7934">
                  <c:v>22.038888888888888</c:v>
                </c:pt>
                <c:pt idx="7935">
                  <c:v>22.041666666666668</c:v>
                </c:pt>
                <c:pt idx="7936">
                  <c:v>22.044444444444444</c:v>
                </c:pt>
                <c:pt idx="7937">
                  <c:v>22.047222222222221</c:v>
                </c:pt>
                <c:pt idx="7938">
                  <c:v>22.05</c:v>
                </c:pt>
                <c:pt idx="7939">
                  <c:v>22.052777777777777</c:v>
                </c:pt>
                <c:pt idx="7940">
                  <c:v>22.055555555555557</c:v>
                </c:pt>
                <c:pt idx="7941">
                  <c:v>22.058333333333334</c:v>
                </c:pt>
                <c:pt idx="7942">
                  <c:v>22.06111111111111</c:v>
                </c:pt>
                <c:pt idx="7943">
                  <c:v>22.06388888888889</c:v>
                </c:pt>
                <c:pt idx="7944">
                  <c:v>22.066666666666666</c:v>
                </c:pt>
                <c:pt idx="7945">
                  <c:v>22.069444444444443</c:v>
                </c:pt>
                <c:pt idx="7946">
                  <c:v>22.072222222222223</c:v>
                </c:pt>
                <c:pt idx="7947">
                  <c:v>22.074999999999999</c:v>
                </c:pt>
                <c:pt idx="7948">
                  <c:v>22.077777777777779</c:v>
                </c:pt>
                <c:pt idx="7949">
                  <c:v>22.080555555555556</c:v>
                </c:pt>
                <c:pt idx="7950">
                  <c:v>22.083333333333332</c:v>
                </c:pt>
                <c:pt idx="7951">
                  <c:v>22.086111111111112</c:v>
                </c:pt>
                <c:pt idx="7952">
                  <c:v>22.088888888888889</c:v>
                </c:pt>
                <c:pt idx="7953">
                  <c:v>22.091666666666665</c:v>
                </c:pt>
                <c:pt idx="7954">
                  <c:v>22.094444444444445</c:v>
                </c:pt>
                <c:pt idx="7955">
                  <c:v>22.097222222222221</c:v>
                </c:pt>
                <c:pt idx="7956">
                  <c:v>22.1</c:v>
                </c:pt>
                <c:pt idx="7957">
                  <c:v>22.102777777777778</c:v>
                </c:pt>
                <c:pt idx="7958">
                  <c:v>22.105555555555554</c:v>
                </c:pt>
                <c:pt idx="7959">
                  <c:v>22.108333333333334</c:v>
                </c:pt>
                <c:pt idx="7960">
                  <c:v>22.111111111111111</c:v>
                </c:pt>
                <c:pt idx="7961">
                  <c:v>22.113888888888887</c:v>
                </c:pt>
                <c:pt idx="7962">
                  <c:v>22.116666666666667</c:v>
                </c:pt>
                <c:pt idx="7963">
                  <c:v>22.119444444444444</c:v>
                </c:pt>
                <c:pt idx="7964">
                  <c:v>22.122222222222224</c:v>
                </c:pt>
                <c:pt idx="7965">
                  <c:v>22.125</c:v>
                </c:pt>
                <c:pt idx="7966">
                  <c:v>22.127777777777776</c:v>
                </c:pt>
                <c:pt idx="7967">
                  <c:v>22.130555555555556</c:v>
                </c:pt>
                <c:pt idx="7968">
                  <c:v>22.133333333333333</c:v>
                </c:pt>
                <c:pt idx="7969">
                  <c:v>22.136111111111113</c:v>
                </c:pt>
                <c:pt idx="7970">
                  <c:v>22.138888888888889</c:v>
                </c:pt>
                <c:pt idx="7971">
                  <c:v>22.141666666666666</c:v>
                </c:pt>
                <c:pt idx="7972">
                  <c:v>22.144444444444446</c:v>
                </c:pt>
                <c:pt idx="7973">
                  <c:v>22.147222222222222</c:v>
                </c:pt>
                <c:pt idx="7974">
                  <c:v>22.15</c:v>
                </c:pt>
                <c:pt idx="7975">
                  <c:v>22.152777777777779</c:v>
                </c:pt>
                <c:pt idx="7976">
                  <c:v>22.155555555555555</c:v>
                </c:pt>
                <c:pt idx="7977">
                  <c:v>22.158333333333335</c:v>
                </c:pt>
                <c:pt idx="7978">
                  <c:v>22.161111111111111</c:v>
                </c:pt>
                <c:pt idx="7979">
                  <c:v>22.163888888888888</c:v>
                </c:pt>
                <c:pt idx="7980">
                  <c:v>22.166666666666668</c:v>
                </c:pt>
                <c:pt idx="7981">
                  <c:v>22.169444444444444</c:v>
                </c:pt>
                <c:pt idx="7982">
                  <c:v>22.172222222222221</c:v>
                </c:pt>
                <c:pt idx="7983">
                  <c:v>22.175000000000001</c:v>
                </c:pt>
                <c:pt idx="7984">
                  <c:v>22.177777777777777</c:v>
                </c:pt>
                <c:pt idx="7985">
                  <c:v>22.180555555555557</c:v>
                </c:pt>
                <c:pt idx="7986">
                  <c:v>22.183333333333334</c:v>
                </c:pt>
                <c:pt idx="7987">
                  <c:v>22.18611111111111</c:v>
                </c:pt>
                <c:pt idx="7988">
                  <c:v>22.18888888888889</c:v>
                </c:pt>
                <c:pt idx="7989">
                  <c:v>22.191666666666666</c:v>
                </c:pt>
                <c:pt idx="7990">
                  <c:v>22.194444444444443</c:v>
                </c:pt>
                <c:pt idx="7991">
                  <c:v>22.197222222222223</c:v>
                </c:pt>
                <c:pt idx="7992">
                  <c:v>22.2</c:v>
                </c:pt>
                <c:pt idx="7993">
                  <c:v>22.202777777777779</c:v>
                </c:pt>
                <c:pt idx="7994">
                  <c:v>22.205555555555556</c:v>
                </c:pt>
                <c:pt idx="7995">
                  <c:v>22.208333333333332</c:v>
                </c:pt>
                <c:pt idx="7996">
                  <c:v>22.211111111111112</c:v>
                </c:pt>
                <c:pt idx="7997">
                  <c:v>22.213888888888889</c:v>
                </c:pt>
                <c:pt idx="7998">
                  <c:v>22.216666666666665</c:v>
                </c:pt>
                <c:pt idx="7999">
                  <c:v>22.219444444444445</c:v>
                </c:pt>
                <c:pt idx="8000">
                  <c:v>22.222222222222221</c:v>
                </c:pt>
                <c:pt idx="8001">
                  <c:v>22.225000000000001</c:v>
                </c:pt>
                <c:pt idx="8002">
                  <c:v>22.227777777777778</c:v>
                </c:pt>
                <c:pt idx="8003">
                  <c:v>22.230555555555554</c:v>
                </c:pt>
                <c:pt idx="8004">
                  <c:v>22.233333333333334</c:v>
                </c:pt>
                <c:pt idx="8005">
                  <c:v>22.236111111111111</c:v>
                </c:pt>
                <c:pt idx="8006">
                  <c:v>22.238888888888887</c:v>
                </c:pt>
                <c:pt idx="8007">
                  <c:v>22.241666666666667</c:v>
                </c:pt>
                <c:pt idx="8008">
                  <c:v>22.244444444444444</c:v>
                </c:pt>
                <c:pt idx="8009">
                  <c:v>22.247222222222224</c:v>
                </c:pt>
                <c:pt idx="8010">
                  <c:v>22.25</c:v>
                </c:pt>
                <c:pt idx="8011">
                  <c:v>22.252777777777776</c:v>
                </c:pt>
                <c:pt idx="8012">
                  <c:v>22.255555555555556</c:v>
                </c:pt>
                <c:pt idx="8013">
                  <c:v>22.258333333333333</c:v>
                </c:pt>
                <c:pt idx="8014">
                  <c:v>22.261111111111113</c:v>
                </c:pt>
                <c:pt idx="8015">
                  <c:v>22.263888888888889</c:v>
                </c:pt>
                <c:pt idx="8016">
                  <c:v>22.266666666666666</c:v>
                </c:pt>
                <c:pt idx="8017">
                  <c:v>22.269444444444446</c:v>
                </c:pt>
                <c:pt idx="8018">
                  <c:v>22.272222222222222</c:v>
                </c:pt>
                <c:pt idx="8019">
                  <c:v>22.274999999999999</c:v>
                </c:pt>
                <c:pt idx="8020">
                  <c:v>22.277777777777779</c:v>
                </c:pt>
                <c:pt idx="8021">
                  <c:v>22.280555555555555</c:v>
                </c:pt>
                <c:pt idx="8022">
                  <c:v>22.283333333333335</c:v>
                </c:pt>
                <c:pt idx="8023">
                  <c:v>22.286111111111111</c:v>
                </c:pt>
                <c:pt idx="8024">
                  <c:v>22.288888888888888</c:v>
                </c:pt>
                <c:pt idx="8025">
                  <c:v>22.291666666666668</c:v>
                </c:pt>
                <c:pt idx="8026">
                  <c:v>22.294444444444444</c:v>
                </c:pt>
                <c:pt idx="8027">
                  <c:v>22.297222222222221</c:v>
                </c:pt>
                <c:pt idx="8028">
                  <c:v>22.3</c:v>
                </c:pt>
                <c:pt idx="8029">
                  <c:v>22.302777777777777</c:v>
                </c:pt>
                <c:pt idx="8030">
                  <c:v>22.305555555555557</c:v>
                </c:pt>
                <c:pt idx="8031">
                  <c:v>22.308333333333334</c:v>
                </c:pt>
                <c:pt idx="8032">
                  <c:v>22.31111111111111</c:v>
                </c:pt>
                <c:pt idx="8033">
                  <c:v>22.31388888888889</c:v>
                </c:pt>
                <c:pt idx="8034">
                  <c:v>22.316666666666666</c:v>
                </c:pt>
                <c:pt idx="8035">
                  <c:v>22.319444444444443</c:v>
                </c:pt>
                <c:pt idx="8036">
                  <c:v>22.322222222222223</c:v>
                </c:pt>
                <c:pt idx="8037">
                  <c:v>22.324999999999999</c:v>
                </c:pt>
                <c:pt idx="8038">
                  <c:v>22.327777777777779</c:v>
                </c:pt>
                <c:pt idx="8039">
                  <c:v>22.330555555555556</c:v>
                </c:pt>
                <c:pt idx="8040">
                  <c:v>22.333333333333332</c:v>
                </c:pt>
                <c:pt idx="8041">
                  <c:v>22.336111111111112</c:v>
                </c:pt>
                <c:pt idx="8042">
                  <c:v>22.338888888888889</c:v>
                </c:pt>
                <c:pt idx="8043">
                  <c:v>22.341666666666665</c:v>
                </c:pt>
                <c:pt idx="8044">
                  <c:v>22.344444444444445</c:v>
                </c:pt>
                <c:pt idx="8045">
                  <c:v>22.347222222222221</c:v>
                </c:pt>
                <c:pt idx="8046">
                  <c:v>22.35</c:v>
                </c:pt>
                <c:pt idx="8047">
                  <c:v>22.352777777777778</c:v>
                </c:pt>
                <c:pt idx="8048">
                  <c:v>22.355555555555554</c:v>
                </c:pt>
                <c:pt idx="8049">
                  <c:v>22.358333333333334</c:v>
                </c:pt>
                <c:pt idx="8050">
                  <c:v>22.361111111111111</c:v>
                </c:pt>
                <c:pt idx="8051">
                  <c:v>22.363888888888887</c:v>
                </c:pt>
                <c:pt idx="8052">
                  <c:v>22.366666666666667</c:v>
                </c:pt>
                <c:pt idx="8053">
                  <c:v>22.369444444444444</c:v>
                </c:pt>
                <c:pt idx="8054">
                  <c:v>22.372222222222224</c:v>
                </c:pt>
                <c:pt idx="8055">
                  <c:v>22.375</c:v>
                </c:pt>
                <c:pt idx="8056">
                  <c:v>22.377777777777776</c:v>
                </c:pt>
                <c:pt idx="8057">
                  <c:v>22.380555555555556</c:v>
                </c:pt>
                <c:pt idx="8058">
                  <c:v>22.383333333333333</c:v>
                </c:pt>
                <c:pt idx="8059">
                  <c:v>22.386111111111113</c:v>
                </c:pt>
                <c:pt idx="8060">
                  <c:v>22.388888888888889</c:v>
                </c:pt>
                <c:pt idx="8061">
                  <c:v>22.391666666666666</c:v>
                </c:pt>
                <c:pt idx="8062">
                  <c:v>22.394444444444446</c:v>
                </c:pt>
                <c:pt idx="8063">
                  <c:v>22.397222222222222</c:v>
                </c:pt>
                <c:pt idx="8064">
                  <c:v>22.4</c:v>
                </c:pt>
                <c:pt idx="8065">
                  <c:v>22.402777777777779</c:v>
                </c:pt>
                <c:pt idx="8066">
                  <c:v>22.405555555555555</c:v>
                </c:pt>
                <c:pt idx="8067">
                  <c:v>22.408333333333335</c:v>
                </c:pt>
                <c:pt idx="8068">
                  <c:v>22.411111111111111</c:v>
                </c:pt>
                <c:pt idx="8069">
                  <c:v>22.413888888888888</c:v>
                </c:pt>
                <c:pt idx="8070">
                  <c:v>22.416666666666668</c:v>
                </c:pt>
                <c:pt idx="8071">
                  <c:v>22.419444444444444</c:v>
                </c:pt>
                <c:pt idx="8072">
                  <c:v>22.422222222222221</c:v>
                </c:pt>
                <c:pt idx="8073">
                  <c:v>22.425000000000001</c:v>
                </c:pt>
                <c:pt idx="8074">
                  <c:v>22.427777777777777</c:v>
                </c:pt>
                <c:pt idx="8075">
                  <c:v>22.430555555555557</c:v>
                </c:pt>
                <c:pt idx="8076">
                  <c:v>22.433333333333334</c:v>
                </c:pt>
                <c:pt idx="8077">
                  <c:v>22.43611111111111</c:v>
                </c:pt>
                <c:pt idx="8078">
                  <c:v>22.43888888888889</c:v>
                </c:pt>
                <c:pt idx="8079">
                  <c:v>22.441666666666666</c:v>
                </c:pt>
                <c:pt idx="8080">
                  <c:v>22.444444444444443</c:v>
                </c:pt>
                <c:pt idx="8081">
                  <c:v>22.447222222222223</c:v>
                </c:pt>
                <c:pt idx="8082">
                  <c:v>22.45</c:v>
                </c:pt>
                <c:pt idx="8083">
                  <c:v>22.452777777777779</c:v>
                </c:pt>
                <c:pt idx="8084">
                  <c:v>22.455555555555556</c:v>
                </c:pt>
                <c:pt idx="8085">
                  <c:v>22.458333333333332</c:v>
                </c:pt>
                <c:pt idx="8086">
                  <c:v>22.461111111111112</c:v>
                </c:pt>
                <c:pt idx="8087">
                  <c:v>22.463888888888889</c:v>
                </c:pt>
                <c:pt idx="8088">
                  <c:v>22.466666666666665</c:v>
                </c:pt>
                <c:pt idx="8089">
                  <c:v>22.469444444444445</c:v>
                </c:pt>
                <c:pt idx="8090">
                  <c:v>22.472222222222221</c:v>
                </c:pt>
                <c:pt idx="8091">
                  <c:v>22.475000000000001</c:v>
                </c:pt>
                <c:pt idx="8092">
                  <c:v>22.477777777777778</c:v>
                </c:pt>
                <c:pt idx="8093">
                  <c:v>22.480555555555554</c:v>
                </c:pt>
                <c:pt idx="8094">
                  <c:v>22.483333333333334</c:v>
                </c:pt>
                <c:pt idx="8095">
                  <c:v>22.486111111111111</c:v>
                </c:pt>
                <c:pt idx="8096">
                  <c:v>22.488888888888887</c:v>
                </c:pt>
                <c:pt idx="8097">
                  <c:v>22.491666666666667</c:v>
                </c:pt>
                <c:pt idx="8098">
                  <c:v>22.494444444444444</c:v>
                </c:pt>
                <c:pt idx="8099">
                  <c:v>22.497222222222224</c:v>
                </c:pt>
                <c:pt idx="8100">
                  <c:v>22.5</c:v>
                </c:pt>
                <c:pt idx="8101">
                  <c:v>22.502777777777776</c:v>
                </c:pt>
                <c:pt idx="8102">
                  <c:v>22.505555555555556</c:v>
                </c:pt>
                <c:pt idx="8103">
                  <c:v>22.508333333333333</c:v>
                </c:pt>
                <c:pt idx="8104">
                  <c:v>22.511111111111113</c:v>
                </c:pt>
                <c:pt idx="8105">
                  <c:v>22.513888888888889</c:v>
                </c:pt>
                <c:pt idx="8106">
                  <c:v>22.516666666666666</c:v>
                </c:pt>
                <c:pt idx="8107">
                  <c:v>22.519444444444446</c:v>
                </c:pt>
                <c:pt idx="8108">
                  <c:v>22.522222222222222</c:v>
                </c:pt>
                <c:pt idx="8109">
                  <c:v>22.524999999999999</c:v>
                </c:pt>
                <c:pt idx="8110">
                  <c:v>22.527777777777779</c:v>
                </c:pt>
                <c:pt idx="8111">
                  <c:v>22.530555555555555</c:v>
                </c:pt>
                <c:pt idx="8112">
                  <c:v>22.533333333333335</c:v>
                </c:pt>
                <c:pt idx="8113">
                  <c:v>22.536111111111111</c:v>
                </c:pt>
                <c:pt idx="8114">
                  <c:v>22.538888888888888</c:v>
                </c:pt>
                <c:pt idx="8115">
                  <c:v>22.541666666666668</c:v>
                </c:pt>
                <c:pt idx="8116">
                  <c:v>22.544444444444444</c:v>
                </c:pt>
                <c:pt idx="8117">
                  <c:v>22.547222222222221</c:v>
                </c:pt>
                <c:pt idx="8118">
                  <c:v>22.55</c:v>
                </c:pt>
                <c:pt idx="8119">
                  <c:v>22.552777777777777</c:v>
                </c:pt>
                <c:pt idx="8120">
                  <c:v>22.555555555555557</c:v>
                </c:pt>
                <c:pt idx="8121">
                  <c:v>22.558333333333334</c:v>
                </c:pt>
                <c:pt idx="8122">
                  <c:v>22.56111111111111</c:v>
                </c:pt>
                <c:pt idx="8123">
                  <c:v>22.56388888888889</c:v>
                </c:pt>
                <c:pt idx="8124">
                  <c:v>22.566666666666666</c:v>
                </c:pt>
                <c:pt idx="8125">
                  <c:v>22.569444444444443</c:v>
                </c:pt>
                <c:pt idx="8126">
                  <c:v>22.572222222222223</c:v>
                </c:pt>
                <c:pt idx="8127">
                  <c:v>22.574999999999999</c:v>
                </c:pt>
                <c:pt idx="8128">
                  <c:v>22.577777777777779</c:v>
                </c:pt>
                <c:pt idx="8129">
                  <c:v>22.580555555555556</c:v>
                </c:pt>
                <c:pt idx="8130">
                  <c:v>22.583333333333332</c:v>
                </c:pt>
                <c:pt idx="8131">
                  <c:v>22.586111111111112</c:v>
                </c:pt>
                <c:pt idx="8132">
                  <c:v>22.588888888888889</c:v>
                </c:pt>
                <c:pt idx="8133">
                  <c:v>22.591666666666665</c:v>
                </c:pt>
                <c:pt idx="8134">
                  <c:v>22.594444444444445</c:v>
                </c:pt>
                <c:pt idx="8135">
                  <c:v>22.597222222222221</c:v>
                </c:pt>
                <c:pt idx="8136">
                  <c:v>22.6</c:v>
                </c:pt>
                <c:pt idx="8137">
                  <c:v>22.602777777777778</c:v>
                </c:pt>
                <c:pt idx="8138">
                  <c:v>22.605555555555554</c:v>
                </c:pt>
                <c:pt idx="8139">
                  <c:v>22.608333333333334</c:v>
                </c:pt>
                <c:pt idx="8140">
                  <c:v>22.611111111111111</c:v>
                </c:pt>
                <c:pt idx="8141">
                  <c:v>22.613888888888887</c:v>
                </c:pt>
                <c:pt idx="8142">
                  <c:v>22.616666666666667</c:v>
                </c:pt>
                <c:pt idx="8143">
                  <c:v>22.619444444444444</c:v>
                </c:pt>
                <c:pt idx="8144">
                  <c:v>22.622222222222224</c:v>
                </c:pt>
                <c:pt idx="8145">
                  <c:v>22.625</c:v>
                </c:pt>
                <c:pt idx="8146">
                  <c:v>22.627777777777776</c:v>
                </c:pt>
                <c:pt idx="8147">
                  <c:v>22.630555555555556</c:v>
                </c:pt>
                <c:pt idx="8148">
                  <c:v>22.633333333333333</c:v>
                </c:pt>
                <c:pt idx="8149">
                  <c:v>22.636111111111113</c:v>
                </c:pt>
                <c:pt idx="8150">
                  <c:v>22.638888888888889</c:v>
                </c:pt>
                <c:pt idx="8151">
                  <c:v>22.641666666666666</c:v>
                </c:pt>
                <c:pt idx="8152">
                  <c:v>22.644444444444446</c:v>
                </c:pt>
                <c:pt idx="8153">
                  <c:v>22.647222222222222</c:v>
                </c:pt>
                <c:pt idx="8154">
                  <c:v>22.65</c:v>
                </c:pt>
                <c:pt idx="8155">
                  <c:v>22.652777777777779</c:v>
                </c:pt>
                <c:pt idx="8156">
                  <c:v>22.655555555555555</c:v>
                </c:pt>
                <c:pt idx="8157">
                  <c:v>22.658333333333335</c:v>
                </c:pt>
                <c:pt idx="8158">
                  <c:v>22.661111111111111</c:v>
                </c:pt>
                <c:pt idx="8159">
                  <c:v>22.663888888888888</c:v>
                </c:pt>
                <c:pt idx="8160">
                  <c:v>22.666666666666668</c:v>
                </c:pt>
                <c:pt idx="8161">
                  <c:v>22.669444444444444</c:v>
                </c:pt>
                <c:pt idx="8162">
                  <c:v>22.672222222222221</c:v>
                </c:pt>
                <c:pt idx="8163">
                  <c:v>22.675000000000001</c:v>
                </c:pt>
                <c:pt idx="8164">
                  <c:v>22.677777777777777</c:v>
                </c:pt>
                <c:pt idx="8165">
                  <c:v>22.680555555555557</c:v>
                </c:pt>
                <c:pt idx="8166">
                  <c:v>22.683333333333334</c:v>
                </c:pt>
                <c:pt idx="8167">
                  <c:v>22.68611111111111</c:v>
                </c:pt>
                <c:pt idx="8168">
                  <c:v>22.68888888888889</c:v>
                </c:pt>
                <c:pt idx="8169">
                  <c:v>22.691666666666666</c:v>
                </c:pt>
                <c:pt idx="8170">
                  <c:v>22.694444444444443</c:v>
                </c:pt>
                <c:pt idx="8171">
                  <c:v>22.697222222222223</c:v>
                </c:pt>
                <c:pt idx="8172">
                  <c:v>22.7</c:v>
                </c:pt>
                <c:pt idx="8173">
                  <c:v>22.702777777777779</c:v>
                </c:pt>
                <c:pt idx="8174">
                  <c:v>22.705555555555556</c:v>
                </c:pt>
                <c:pt idx="8175">
                  <c:v>22.708333333333332</c:v>
                </c:pt>
                <c:pt idx="8176">
                  <c:v>22.711111111111112</c:v>
                </c:pt>
                <c:pt idx="8177">
                  <c:v>22.713888888888889</c:v>
                </c:pt>
                <c:pt idx="8178">
                  <c:v>22.716666666666665</c:v>
                </c:pt>
                <c:pt idx="8179">
                  <c:v>22.719444444444445</c:v>
                </c:pt>
                <c:pt idx="8180">
                  <c:v>22.722222222222221</c:v>
                </c:pt>
                <c:pt idx="8181">
                  <c:v>22.725000000000001</c:v>
                </c:pt>
                <c:pt idx="8182">
                  <c:v>22.727777777777778</c:v>
                </c:pt>
                <c:pt idx="8183">
                  <c:v>22.730555555555554</c:v>
                </c:pt>
                <c:pt idx="8184">
                  <c:v>22.733333333333334</c:v>
                </c:pt>
                <c:pt idx="8185">
                  <c:v>22.736111111111111</c:v>
                </c:pt>
                <c:pt idx="8186">
                  <c:v>22.738888888888887</c:v>
                </c:pt>
                <c:pt idx="8187">
                  <c:v>22.741666666666667</c:v>
                </c:pt>
                <c:pt idx="8188">
                  <c:v>22.744444444444444</c:v>
                </c:pt>
                <c:pt idx="8189">
                  <c:v>22.747222222222224</c:v>
                </c:pt>
                <c:pt idx="8190">
                  <c:v>22.75</c:v>
                </c:pt>
                <c:pt idx="8191">
                  <c:v>22.752777777777776</c:v>
                </c:pt>
                <c:pt idx="8192">
                  <c:v>22.755555555555556</c:v>
                </c:pt>
                <c:pt idx="8193">
                  <c:v>22.758333333333333</c:v>
                </c:pt>
                <c:pt idx="8194">
                  <c:v>22.761111111111113</c:v>
                </c:pt>
                <c:pt idx="8195">
                  <c:v>22.763888888888889</c:v>
                </c:pt>
                <c:pt idx="8196">
                  <c:v>22.766666666666666</c:v>
                </c:pt>
                <c:pt idx="8197">
                  <c:v>22.769444444444446</c:v>
                </c:pt>
                <c:pt idx="8198">
                  <c:v>22.772222222222222</c:v>
                </c:pt>
                <c:pt idx="8199">
                  <c:v>22.774999999999999</c:v>
                </c:pt>
                <c:pt idx="8200">
                  <c:v>22.777777777777779</c:v>
                </c:pt>
                <c:pt idx="8201">
                  <c:v>22.780555555555555</c:v>
                </c:pt>
                <c:pt idx="8202">
                  <c:v>22.783333333333335</c:v>
                </c:pt>
                <c:pt idx="8203">
                  <c:v>22.786111111111111</c:v>
                </c:pt>
                <c:pt idx="8204">
                  <c:v>22.788888888888888</c:v>
                </c:pt>
                <c:pt idx="8205">
                  <c:v>22.791666666666668</c:v>
                </c:pt>
                <c:pt idx="8206">
                  <c:v>22.794444444444444</c:v>
                </c:pt>
                <c:pt idx="8207">
                  <c:v>22.797222222222221</c:v>
                </c:pt>
                <c:pt idx="8208">
                  <c:v>22.8</c:v>
                </c:pt>
                <c:pt idx="8209">
                  <c:v>22.802777777777777</c:v>
                </c:pt>
                <c:pt idx="8210">
                  <c:v>22.805555555555557</c:v>
                </c:pt>
                <c:pt idx="8211">
                  <c:v>22.808333333333334</c:v>
                </c:pt>
                <c:pt idx="8212">
                  <c:v>22.81111111111111</c:v>
                </c:pt>
                <c:pt idx="8213">
                  <c:v>22.81388888888889</c:v>
                </c:pt>
                <c:pt idx="8214">
                  <c:v>22.816666666666666</c:v>
                </c:pt>
                <c:pt idx="8215">
                  <c:v>22.819444444444443</c:v>
                </c:pt>
                <c:pt idx="8216">
                  <c:v>22.822222222222223</c:v>
                </c:pt>
                <c:pt idx="8217">
                  <c:v>22.824999999999999</c:v>
                </c:pt>
                <c:pt idx="8218">
                  <c:v>22.827777777777779</c:v>
                </c:pt>
                <c:pt idx="8219">
                  <c:v>22.830555555555556</c:v>
                </c:pt>
                <c:pt idx="8220">
                  <c:v>22.833333333333332</c:v>
                </c:pt>
                <c:pt idx="8221">
                  <c:v>22.836111111111112</c:v>
                </c:pt>
                <c:pt idx="8222">
                  <c:v>22.838888888888889</c:v>
                </c:pt>
                <c:pt idx="8223">
                  <c:v>22.841666666666665</c:v>
                </c:pt>
                <c:pt idx="8224">
                  <c:v>22.844444444444445</c:v>
                </c:pt>
                <c:pt idx="8225">
                  <c:v>22.847222222222221</c:v>
                </c:pt>
                <c:pt idx="8226">
                  <c:v>22.85</c:v>
                </c:pt>
                <c:pt idx="8227">
                  <c:v>22.852777777777778</c:v>
                </c:pt>
                <c:pt idx="8228">
                  <c:v>22.855555555555554</c:v>
                </c:pt>
                <c:pt idx="8229">
                  <c:v>22.858333333333334</c:v>
                </c:pt>
                <c:pt idx="8230">
                  <c:v>22.861111111111111</c:v>
                </c:pt>
                <c:pt idx="8231">
                  <c:v>22.863888888888887</c:v>
                </c:pt>
                <c:pt idx="8232">
                  <c:v>22.866666666666667</c:v>
                </c:pt>
                <c:pt idx="8233">
                  <c:v>22.869444444444444</c:v>
                </c:pt>
                <c:pt idx="8234">
                  <c:v>22.872222222222224</c:v>
                </c:pt>
                <c:pt idx="8235">
                  <c:v>22.875</c:v>
                </c:pt>
                <c:pt idx="8236">
                  <c:v>22.877777777777776</c:v>
                </c:pt>
                <c:pt idx="8237">
                  <c:v>22.880555555555556</c:v>
                </c:pt>
                <c:pt idx="8238">
                  <c:v>22.883333333333333</c:v>
                </c:pt>
                <c:pt idx="8239">
                  <c:v>22.886111111111113</c:v>
                </c:pt>
                <c:pt idx="8240">
                  <c:v>22.888888888888889</c:v>
                </c:pt>
                <c:pt idx="8241">
                  <c:v>22.891666666666666</c:v>
                </c:pt>
                <c:pt idx="8242">
                  <c:v>22.894444444444446</c:v>
                </c:pt>
                <c:pt idx="8243">
                  <c:v>22.897222222222222</c:v>
                </c:pt>
                <c:pt idx="8244">
                  <c:v>22.9</c:v>
                </c:pt>
                <c:pt idx="8245">
                  <c:v>22.902777777777779</c:v>
                </c:pt>
                <c:pt idx="8246">
                  <c:v>22.905555555555555</c:v>
                </c:pt>
                <c:pt idx="8247">
                  <c:v>22.908333333333335</c:v>
                </c:pt>
                <c:pt idx="8248">
                  <c:v>22.911111111111111</c:v>
                </c:pt>
                <c:pt idx="8249">
                  <c:v>22.913888888888888</c:v>
                </c:pt>
                <c:pt idx="8250">
                  <c:v>22.916666666666668</c:v>
                </c:pt>
                <c:pt idx="8251">
                  <c:v>22.919444444444444</c:v>
                </c:pt>
                <c:pt idx="8252">
                  <c:v>22.922222222222221</c:v>
                </c:pt>
                <c:pt idx="8253">
                  <c:v>22.925000000000001</c:v>
                </c:pt>
                <c:pt idx="8254">
                  <c:v>22.927777777777777</c:v>
                </c:pt>
                <c:pt idx="8255">
                  <c:v>22.930555555555557</c:v>
                </c:pt>
                <c:pt idx="8256">
                  <c:v>22.933333333333334</c:v>
                </c:pt>
                <c:pt idx="8257">
                  <c:v>22.93611111111111</c:v>
                </c:pt>
                <c:pt idx="8258">
                  <c:v>22.93888888888889</c:v>
                </c:pt>
                <c:pt idx="8259">
                  <c:v>22.941666666666666</c:v>
                </c:pt>
                <c:pt idx="8260">
                  <c:v>22.944444444444443</c:v>
                </c:pt>
                <c:pt idx="8261">
                  <c:v>22.947222222222223</c:v>
                </c:pt>
                <c:pt idx="8262">
                  <c:v>22.95</c:v>
                </c:pt>
                <c:pt idx="8263">
                  <c:v>22.952777777777779</c:v>
                </c:pt>
                <c:pt idx="8264">
                  <c:v>22.955555555555556</c:v>
                </c:pt>
                <c:pt idx="8265">
                  <c:v>22.958333333333332</c:v>
                </c:pt>
                <c:pt idx="8266">
                  <c:v>22.961111111111112</c:v>
                </c:pt>
                <c:pt idx="8267">
                  <c:v>22.963888888888889</c:v>
                </c:pt>
                <c:pt idx="8268">
                  <c:v>22.966666666666665</c:v>
                </c:pt>
                <c:pt idx="8269">
                  <c:v>22.969444444444445</c:v>
                </c:pt>
                <c:pt idx="8270">
                  <c:v>22.972222222222221</c:v>
                </c:pt>
                <c:pt idx="8271">
                  <c:v>22.975000000000001</c:v>
                </c:pt>
                <c:pt idx="8272">
                  <c:v>22.977777777777778</c:v>
                </c:pt>
                <c:pt idx="8273">
                  <c:v>22.980555555555554</c:v>
                </c:pt>
                <c:pt idx="8274">
                  <c:v>22.983333333333334</c:v>
                </c:pt>
                <c:pt idx="8275">
                  <c:v>22.986111111111111</c:v>
                </c:pt>
                <c:pt idx="8276">
                  <c:v>22.988888888888887</c:v>
                </c:pt>
                <c:pt idx="8277">
                  <c:v>22.991666666666667</c:v>
                </c:pt>
                <c:pt idx="8278">
                  <c:v>22.994444444444444</c:v>
                </c:pt>
                <c:pt idx="8279">
                  <c:v>22.997222222222224</c:v>
                </c:pt>
                <c:pt idx="8280">
                  <c:v>23</c:v>
                </c:pt>
                <c:pt idx="8281">
                  <c:v>23.002777777777776</c:v>
                </c:pt>
                <c:pt idx="8282">
                  <c:v>23.005555555555556</c:v>
                </c:pt>
                <c:pt idx="8283">
                  <c:v>23.008333333333333</c:v>
                </c:pt>
                <c:pt idx="8284">
                  <c:v>23.011111111111113</c:v>
                </c:pt>
                <c:pt idx="8285">
                  <c:v>23.013888888888889</c:v>
                </c:pt>
                <c:pt idx="8286">
                  <c:v>23.016666666666666</c:v>
                </c:pt>
                <c:pt idx="8287">
                  <c:v>23.019444444444446</c:v>
                </c:pt>
                <c:pt idx="8288">
                  <c:v>23.022222222222222</c:v>
                </c:pt>
                <c:pt idx="8289">
                  <c:v>23.024999999999999</c:v>
                </c:pt>
                <c:pt idx="8290">
                  <c:v>23.027777777777779</c:v>
                </c:pt>
                <c:pt idx="8291">
                  <c:v>23.030555555555555</c:v>
                </c:pt>
                <c:pt idx="8292">
                  <c:v>23.033333333333335</c:v>
                </c:pt>
                <c:pt idx="8293">
                  <c:v>23.036111111111111</c:v>
                </c:pt>
                <c:pt idx="8294">
                  <c:v>23.038888888888888</c:v>
                </c:pt>
                <c:pt idx="8295">
                  <c:v>23.041666666666668</c:v>
                </c:pt>
                <c:pt idx="8296">
                  <c:v>23.044444444444444</c:v>
                </c:pt>
                <c:pt idx="8297">
                  <c:v>23.047222222222221</c:v>
                </c:pt>
                <c:pt idx="8298">
                  <c:v>23.05</c:v>
                </c:pt>
                <c:pt idx="8299">
                  <c:v>23.052777777777777</c:v>
                </c:pt>
                <c:pt idx="8300">
                  <c:v>23.055555555555557</c:v>
                </c:pt>
                <c:pt idx="8301">
                  <c:v>23.058333333333334</c:v>
                </c:pt>
                <c:pt idx="8302">
                  <c:v>23.06111111111111</c:v>
                </c:pt>
                <c:pt idx="8303">
                  <c:v>23.06388888888889</c:v>
                </c:pt>
                <c:pt idx="8304">
                  <c:v>23.066666666666666</c:v>
                </c:pt>
                <c:pt idx="8305">
                  <c:v>23.069444444444443</c:v>
                </c:pt>
                <c:pt idx="8306">
                  <c:v>23.072222222222223</c:v>
                </c:pt>
                <c:pt idx="8307">
                  <c:v>23.074999999999999</c:v>
                </c:pt>
                <c:pt idx="8308">
                  <c:v>23.077777777777779</c:v>
                </c:pt>
                <c:pt idx="8309">
                  <c:v>23.080555555555556</c:v>
                </c:pt>
                <c:pt idx="8310">
                  <c:v>23.083333333333332</c:v>
                </c:pt>
                <c:pt idx="8311">
                  <c:v>23.086111111111112</c:v>
                </c:pt>
                <c:pt idx="8312">
                  <c:v>23.088888888888889</c:v>
                </c:pt>
                <c:pt idx="8313">
                  <c:v>23.091666666666665</c:v>
                </c:pt>
                <c:pt idx="8314">
                  <c:v>23.094444444444445</c:v>
                </c:pt>
                <c:pt idx="8315">
                  <c:v>23.097222222222221</c:v>
                </c:pt>
                <c:pt idx="8316">
                  <c:v>23.1</c:v>
                </c:pt>
                <c:pt idx="8317">
                  <c:v>23.102777777777778</c:v>
                </c:pt>
                <c:pt idx="8318">
                  <c:v>23.105555555555554</c:v>
                </c:pt>
                <c:pt idx="8319">
                  <c:v>23.108333333333334</c:v>
                </c:pt>
                <c:pt idx="8320">
                  <c:v>23.111111111111111</c:v>
                </c:pt>
                <c:pt idx="8321">
                  <c:v>23.113888888888887</c:v>
                </c:pt>
                <c:pt idx="8322">
                  <c:v>23.116666666666667</c:v>
                </c:pt>
                <c:pt idx="8323">
                  <c:v>23.119444444444444</c:v>
                </c:pt>
                <c:pt idx="8324">
                  <c:v>23.122222222222224</c:v>
                </c:pt>
                <c:pt idx="8325">
                  <c:v>23.125</c:v>
                </c:pt>
                <c:pt idx="8326">
                  <c:v>23.127777777777776</c:v>
                </c:pt>
                <c:pt idx="8327">
                  <c:v>23.130555555555556</c:v>
                </c:pt>
                <c:pt idx="8328">
                  <c:v>23.133333333333333</c:v>
                </c:pt>
                <c:pt idx="8329">
                  <c:v>23.136111111111113</c:v>
                </c:pt>
                <c:pt idx="8330">
                  <c:v>23.138888888888889</c:v>
                </c:pt>
                <c:pt idx="8331">
                  <c:v>23.141666666666666</c:v>
                </c:pt>
                <c:pt idx="8332">
                  <c:v>23.144444444444446</c:v>
                </c:pt>
                <c:pt idx="8333">
                  <c:v>23.147222222222222</c:v>
                </c:pt>
                <c:pt idx="8334">
                  <c:v>23.15</c:v>
                </c:pt>
                <c:pt idx="8335">
                  <c:v>23.152777777777779</c:v>
                </c:pt>
                <c:pt idx="8336">
                  <c:v>23.155555555555555</c:v>
                </c:pt>
                <c:pt idx="8337">
                  <c:v>23.158333333333335</c:v>
                </c:pt>
                <c:pt idx="8338">
                  <c:v>23.161111111111111</c:v>
                </c:pt>
                <c:pt idx="8339">
                  <c:v>23.163888888888888</c:v>
                </c:pt>
                <c:pt idx="8340">
                  <c:v>23.166666666666668</c:v>
                </c:pt>
                <c:pt idx="8341">
                  <c:v>23.169444444444444</c:v>
                </c:pt>
                <c:pt idx="8342">
                  <c:v>23.172222222222221</c:v>
                </c:pt>
                <c:pt idx="8343">
                  <c:v>23.175000000000001</c:v>
                </c:pt>
                <c:pt idx="8344">
                  <c:v>23.177777777777777</c:v>
                </c:pt>
                <c:pt idx="8345">
                  <c:v>23.180555555555557</c:v>
                </c:pt>
                <c:pt idx="8346">
                  <c:v>23.183333333333334</c:v>
                </c:pt>
                <c:pt idx="8347">
                  <c:v>23.18611111111111</c:v>
                </c:pt>
                <c:pt idx="8348">
                  <c:v>23.18888888888889</c:v>
                </c:pt>
                <c:pt idx="8349">
                  <c:v>23.191666666666666</c:v>
                </c:pt>
                <c:pt idx="8350">
                  <c:v>23.194444444444443</c:v>
                </c:pt>
                <c:pt idx="8351">
                  <c:v>23.197222222222223</c:v>
                </c:pt>
                <c:pt idx="8352">
                  <c:v>23.2</c:v>
                </c:pt>
                <c:pt idx="8353">
                  <c:v>23.202777777777779</c:v>
                </c:pt>
                <c:pt idx="8354">
                  <c:v>23.205555555555556</c:v>
                </c:pt>
                <c:pt idx="8355">
                  <c:v>23.208333333333332</c:v>
                </c:pt>
                <c:pt idx="8356">
                  <c:v>23.211111111111112</c:v>
                </c:pt>
                <c:pt idx="8357">
                  <c:v>23.213888888888889</c:v>
                </c:pt>
                <c:pt idx="8358">
                  <c:v>23.216666666666665</c:v>
                </c:pt>
                <c:pt idx="8359">
                  <c:v>23.219444444444445</c:v>
                </c:pt>
                <c:pt idx="8360">
                  <c:v>23.222222222222221</c:v>
                </c:pt>
                <c:pt idx="8361">
                  <c:v>23.225000000000001</c:v>
                </c:pt>
                <c:pt idx="8362">
                  <c:v>23.227777777777778</c:v>
                </c:pt>
                <c:pt idx="8363">
                  <c:v>23.230555555555554</c:v>
                </c:pt>
                <c:pt idx="8364">
                  <c:v>23.233333333333334</c:v>
                </c:pt>
                <c:pt idx="8365">
                  <c:v>23.236111111111111</c:v>
                </c:pt>
                <c:pt idx="8366">
                  <c:v>23.238888888888887</c:v>
                </c:pt>
                <c:pt idx="8367">
                  <c:v>23.241666666666667</c:v>
                </c:pt>
                <c:pt idx="8368">
                  <c:v>23.244444444444444</c:v>
                </c:pt>
                <c:pt idx="8369">
                  <c:v>23.247222222222224</c:v>
                </c:pt>
                <c:pt idx="8370">
                  <c:v>23.25</c:v>
                </c:pt>
                <c:pt idx="8371">
                  <c:v>23.252777777777776</c:v>
                </c:pt>
                <c:pt idx="8372">
                  <c:v>23.255555555555556</c:v>
                </c:pt>
                <c:pt idx="8373">
                  <c:v>23.258333333333333</c:v>
                </c:pt>
                <c:pt idx="8374">
                  <c:v>23.261111111111113</c:v>
                </c:pt>
                <c:pt idx="8375">
                  <c:v>23.263888888888889</c:v>
                </c:pt>
                <c:pt idx="8376">
                  <c:v>23.266666666666666</c:v>
                </c:pt>
                <c:pt idx="8377">
                  <c:v>23.269444444444446</c:v>
                </c:pt>
                <c:pt idx="8378">
                  <c:v>23.272222222222222</c:v>
                </c:pt>
                <c:pt idx="8379">
                  <c:v>23.274999999999999</c:v>
                </c:pt>
                <c:pt idx="8380">
                  <c:v>23.277777777777779</c:v>
                </c:pt>
                <c:pt idx="8381">
                  <c:v>23.280555555555555</c:v>
                </c:pt>
                <c:pt idx="8382">
                  <c:v>23.283333333333335</c:v>
                </c:pt>
                <c:pt idx="8383">
                  <c:v>23.286111111111111</c:v>
                </c:pt>
                <c:pt idx="8384">
                  <c:v>23.288888888888888</c:v>
                </c:pt>
                <c:pt idx="8385">
                  <c:v>23.291666666666668</c:v>
                </c:pt>
                <c:pt idx="8386">
                  <c:v>23.294444444444444</c:v>
                </c:pt>
                <c:pt idx="8387">
                  <c:v>23.297222222222221</c:v>
                </c:pt>
                <c:pt idx="8388">
                  <c:v>23.3</c:v>
                </c:pt>
                <c:pt idx="8389">
                  <c:v>23.302777777777777</c:v>
                </c:pt>
                <c:pt idx="8390">
                  <c:v>23.305555555555557</c:v>
                </c:pt>
                <c:pt idx="8391">
                  <c:v>23.308333333333334</c:v>
                </c:pt>
                <c:pt idx="8392">
                  <c:v>23.31111111111111</c:v>
                </c:pt>
                <c:pt idx="8393">
                  <c:v>23.31388888888889</c:v>
                </c:pt>
                <c:pt idx="8394">
                  <c:v>23.316666666666666</c:v>
                </c:pt>
                <c:pt idx="8395">
                  <c:v>23.319444444444443</c:v>
                </c:pt>
                <c:pt idx="8396">
                  <c:v>23.322222222222223</c:v>
                </c:pt>
                <c:pt idx="8397">
                  <c:v>23.324999999999999</c:v>
                </c:pt>
                <c:pt idx="8398">
                  <c:v>23.327777777777779</c:v>
                </c:pt>
                <c:pt idx="8399">
                  <c:v>23.330555555555556</c:v>
                </c:pt>
                <c:pt idx="8400">
                  <c:v>23.333333333333332</c:v>
                </c:pt>
                <c:pt idx="8401">
                  <c:v>23.336111111111112</c:v>
                </c:pt>
                <c:pt idx="8402">
                  <c:v>23.338888888888889</c:v>
                </c:pt>
                <c:pt idx="8403">
                  <c:v>23.341666666666665</c:v>
                </c:pt>
                <c:pt idx="8404">
                  <c:v>23.344444444444445</c:v>
                </c:pt>
                <c:pt idx="8405">
                  <c:v>23.347222222222221</c:v>
                </c:pt>
                <c:pt idx="8406">
                  <c:v>23.35</c:v>
                </c:pt>
                <c:pt idx="8407">
                  <c:v>23.352777777777778</c:v>
                </c:pt>
                <c:pt idx="8408">
                  <c:v>23.355555555555554</c:v>
                </c:pt>
                <c:pt idx="8409">
                  <c:v>23.358333333333334</c:v>
                </c:pt>
                <c:pt idx="8410">
                  <c:v>23.361111111111111</c:v>
                </c:pt>
                <c:pt idx="8411">
                  <c:v>23.363888888888887</c:v>
                </c:pt>
                <c:pt idx="8412">
                  <c:v>23.366666666666667</c:v>
                </c:pt>
                <c:pt idx="8413">
                  <c:v>23.369444444444444</c:v>
                </c:pt>
                <c:pt idx="8414">
                  <c:v>23.372222222222224</c:v>
                </c:pt>
                <c:pt idx="8415">
                  <c:v>23.375</c:v>
                </c:pt>
                <c:pt idx="8416">
                  <c:v>23.377777777777776</c:v>
                </c:pt>
                <c:pt idx="8417">
                  <c:v>23.380555555555556</c:v>
                </c:pt>
                <c:pt idx="8418">
                  <c:v>23.383333333333333</c:v>
                </c:pt>
                <c:pt idx="8419">
                  <c:v>23.386111111111113</c:v>
                </c:pt>
                <c:pt idx="8420">
                  <c:v>23.388888888888889</c:v>
                </c:pt>
                <c:pt idx="8421">
                  <c:v>23.391666666666666</c:v>
                </c:pt>
                <c:pt idx="8422">
                  <c:v>23.394444444444446</c:v>
                </c:pt>
                <c:pt idx="8423">
                  <c:v>23.397222222222222</c:v>
                </c:pt>
                <c:pt idx="8424">
                  <c:v>23.4</c:v>
                </c:pt>
                <c:pt idx="8425">
                  <c:v>23.402777777777779</c:v>
                </c:pt>
                <c:pt idx="8426">
                  <c:v>23.405555555555555</c:v>
                </c:pt>
                <c:pt idx="8427">
                  <c:v>23.408333333333335</c:v>
                </c:pt>
                <c:pt idx="8428">
                  <c:v>23.411111111111111</c:v>
                </c:pt>
                <c:pt idx="8429">
                  <c:v>23.413888888888888</c:v>
                </c:pt>
                <c:pt idx="8430">
                  <c:v>23.416666666666668</c:v>
                </c:pt>
                <c:pt idx="8431">
                  <c:v>23.419444444444444</c:v>
                </c:pt>
                <c:pt idx="8432">
                  <c:v>23.422222222222221</c:v>
                </c:pt>
                <c:pt idx="8433">
                  <c:v>23.425000000000001</c:v>
                </c:pt>
                <c:pt idx="8434">
                  <c:v>23.427777777777777</c:v>
                </c:pt>
                <c:pt idx="8435">
                  <c:v>23.430555555555557</c:v>
                </c:pt>
                <c:pt idx="8436">
                  <c:v>23.433333333333334</c:v>
                </c:pt>
                <c:pt idx="8437">
                  <c:v>23.43611111111111</c:v>
                </c:pt>
                <c:pt idx="8438">
                  <c:v>23.43888888888889</c:v>
                </c:pt>
                <c:pt idx="8439">
                  <c:v>23.441666666666666</c:v>
                </c:pt>
                <c:pt idx="8440">
                  <c:v>23.444444444444443</c:v>
                </c:pt>
                <c:pt idx="8441">
                  <c:v>23.447222222222223</c:v>
                </c:pt>
                <c:pt idx="8442">
                  <c:v>23.45</c:v>
                </c:pt>
                <c:pt idx="8443">
                  <c:v>23.452777777777779</c:v>
                </c:pt>
                <c:pt idx="8444">
                  <c:v>23.455555555555556</c:v>
                </c:pt>
                <c:pt idx="8445">
                  <c:v>23.458333333333332</c:v>
                </c:pt>
                <c:pt idx="8446">
                  <c:v>23.461111111111112</c:v>
                </c:pt>
                <c:pt idx="8447">
                  <c:v>23.463888888888889</c:v>
                </c:pt>
                <c:pt idx="8448">
                  <c:v>23.466666666666665</c:v>
                </c:pt>
                <c:pt idx="8449">
                  <c:v>23.469444444444445</c:v>
                </c:pt>
                <c:pt idx="8450">
                  <c:v>23.472222222222221</c:v>
                </c:pt>
                <c:pt idx="8451">
                  <c:v>23.475000000000001</c:v>
                </c:pt>
                <c:pt idx="8452">
                  <c:v>23.477777777777778</c:v>
                </c:pt>
                <c:pt idx="8453">
                  <c:v>23.480555555555554</c:v>
                </c:pt>
                <c:pt idx="8454">
                  <c:v>23.483333333333334</c:v>
                </c:pt>
                <c:pt idx="8455">
                  <c:v>23.486111111111111</c:v>
                </c:pt>
                <c:pt idx="8456">
                  <c:v>23.488888888888887</c:v>
                </c:pt>
                <c:pt idx="8457">
                  <c:v>23.491666666666667</c:v>
                </c:pt>
                <c:pt idx="8458">
                  <c:v>23.494444444444444</c:v>
                </c:pt>
                <c:pt idx="8459">
                  <c:v>23.497222222222224</c:v>
                </c:pt>
                <c:pt idx="8460">
                  <c:v>23.5</c:v>
                </c:pt>
                <c:pt idx="8461">
                  <c:v>23.502777777777776</c:v>
                </c:pt>
                <c:pt idx="8462">
                  <c:v>23.505555555555556</c:v>
                </c:pt>
                <c:pt idx="8463">
                  <c:v>23.508333333333333</c:v>
                </c:pt>
                <c:pt idx="8464">
                  <c:v>23.511111111111113</c:v>
                </c:pt>
                <c:pt idx="8465">
                  <c:v>23.513888888888889</c:v>
                </c:pt>
                <c:pt idx="8466">
                  <c:v>23.516666666666666</c:v>
                </c:pt>
                <c:pt idx="8467">
                  <c:v>23.519444444444446</c:v>
                </c:pt>
                <c:pt idx="8468">
                  <c:v>23.522222222222222</c:v>
                </c:pt>
                <c:pt idx="8469">
                  <c:v>23.524999999999999</c:v>
                </c:pt>
                <c:pt idx="8470">
                  <c:v>23.527777777777779</c:v>
                </c:pt>
                <c:pt idx="8471">
                  <c:v>23.530555555555555</c:v>
                </c:pt>
                <c:pt idx="8472">
                  <c:v>23.533333333333335</c:v>
                </c:pt>
                <c:pt idx="8473">
                  <c:v>23.536111111111111</c:v>
                </c:pt>
                <c:pt idx="8474">
                  <c:v>23.538888888888888</c:v>
                </c:pt>
                <c:pt idx="8475">
                  <c:v>23.541666666666668</c:v>
                </c:pt>
                <c:pt idx="8476">
                  <c:v>23.544444444444444</c:v>
                </c:pt>
                <c:pt idx="8477">
                  <c:v>23.547222222222221</c:v>
                </c:pt>
                <c:pt idx="8478">
                  <c:v>23.55</c:v>
                </c:pt>
                <c:pt idx="8479">
                  <c:v>23.552777777777777</c:v>
                </c:pt>
                <c:pt idx="8480">
                  <c:v>23.555555555555557</c:v>
                </c:pt>
                <c:pt idx="8481">
                  <c:v>23.558333333333334</c:v>
                </c:pt>
                <c:pt idx="8482">
                  <c:v>23.56111111111111</c:v>
                </c:pt>
                <c:pt idx="8483">
                  <c:v>23.56388888888889</c:v>
                </c:pt>
                <c:pt idx="8484">
                  <c:v>23.566666666666666</c:v>
                </c:pt>
                <c:pt idx="8485">
                  <c:v>23.569444444444443</c:v>
                </c:pt>
                <c:pt idx="8486">
                  <c:v>23.572222222222223</c:v>
                </c:pt>
                <c:pt idx="8487">
                  <c:v>23.574999999999999</c:v>
                </c:pt>
                <c:pt idx="8488">
                  <c:v>23.577777777777779</c:v>
                </c:pt>
                <c:pt idx="8489">
                  <c:v>23.580555555555556</c:v>
                </c:pt>
                <c:pt idx="8490">
                  <c:v>23.583333333333332</c:v>
                </c:pt>
                <c:pt idx="8491">
                  <c:v>23.586111111111112</c:v>
                </c:pt>
                <c:pt idx="8492">
                  <c:v>23.588888888888889</c:v>
                </c:pt>
                <c:pt idx="8493">
                  <c:v>23.591666666666665</c:v>
                </c:pt>
                <c:pt idx="8494">
                  <c:v>23.594444444444445</c:v>
                </c:pt>
                <c:pt idx="8495">
                  <c:v>23.597222222222221</c:v>
                </c:pt>
                <c:pt idx="8496">
                  <c:v>23.6</c:v>
                </c:pt>
                <c:pt idx="8497">
                  <c:v>23.602777777777778</c:v>
                </c:pt>
                <c:pt idx="8498">
                  <c:v>23.605555555555554</c:v>
                </c:pt>
                <c:pt idx="8499">
                  <c:v>23.608333333333334</c:v>
                </c:pt>
                <c:pt idx="8500">
                  <c:v>23.611111111111111</c:v>
                </c:pt>
                <c:pt idx="8501">
                  <c:v>23.613888888888887</c:v>
                </c:pt>
                <c:pt idx="8502">
                  <c:v>23.616666666666667</c:v>
                </c:pt>
                <c:pt idx="8503">
                  <c:v>23.619444444444444</c:v>
                </c:pt>
                <c:pt idx="8504">
                  <c:v>23.622222222222224</c:v>
                </c:pt>
                <c:pt idx="8505">
                  <c:v>23.625</c:v>
                </c:pt>
                <c:pt idx="8506">
                  <c:v>23.627777777777776</c:v>
                </c:pt>
                <c:pt idx="8507">
                  <c:v>23.630555555555556</c:v>
                </c:pt>
                <c:pt idx="8508">
                  <c:v>23.633333333333333</c:v>
                </c:pt>
                <c:pt idx="8509">
                  <c:v>23.636111111111113</c:v>
                </c:pt>
                <c:pt idx="8510">
                  <c:v>23.638888888888889</c:v>
                </c:pt>
                <c:pt idx="8511">
                  <c:v>23.641666666666666</c:v>
                </c:pt>
                <c:pt idx="8512">
                  <c:v>23.644444444444446</c:v>
                </c:pt>
                <c:pt idx="8513">
                  <c:v>23.647222222222222</c:v>
                </c:pt>
                <c:pt idx="8514">
                  <c:v>23.65</c:v>
                </c:pt>
                <c:pt idx="8515">
                  <c:v>23.652777777777779</c:v>
                </c:pt>
                <c:pt idx="8516">
                  <c:v>23.655555555555555</c:v>
                </c:pt>
                <c:pt idx="8517">
                  <c:v>23.658333333333335</c:v>
                </c:pt>
                <c:pt idx="8518">
                  <c:v>23.661111111111111</c:v>
                </c:pt>
                <c:pt idx="8519">
                  <c:v>23.663888888888888</c:v>
                </c:pt>
                <c:pt idx="8520">
                  <c:v>23.666666666666668</c:v>
                </c:pt>
                <c:pt idx="8521">
                  <c:v>23.669444444444444</c:v>
                </c:pt>
                <c:pt idx="8522">
                  <c:v>23.672222222222221</c:v>
                </c:pt>
                <c:pt idx="8523">
                  <c:v>23.675000000000001</c:v>
                </c:pt>
                <c:pt idx="8524">
                  <c:v>23.677777777777777</c:v>
                </c:pt>
                <c:pt idx="8525">
                  <c:v>23.680555555555557</c:v>
                </c:pt>
                <c:pt idx="8526">
                  <c:v>23.683333333333334</c:v>
                </c:pt>
                <c:pt idx="8527">
                  <c:v>23.68611111111111</c:v>
                </c:pt>
                <c:pt idx="8528">
                  <c:v>23.68888888888889</c:v>
                </c:pt>
                <c:pt idx="8529">
                  <c:v>23.691666666666666</c:v>
                </c:pt>
                <c:pt idx="8530">
                  <c:v>23.694444444444443</c:v>
                </c:pt>
                <c:pt idx="8531">
                  <c:v>23.697222222222223</c:v>
                </c:pt>
                <c:pt idx="8532">
                  <c:v>23.7</c:v>
                </c:pt>
                <c:pt idx="8533">
                  <c:v>23.702777777777779</c:v>
                </c:pt>
                <c:pt idx="8534">
                  <c:v>23.705555555555556</c:v>
                </c:pt>
                <c:pt idx="8535">
                  <c:v>23.708333333333332</c:v>
                </c:pt>
                <c:pt idx="8536">
                  <c:v>23.711111111111112</c:v>
                </c:pt>
                <c:pt idx="8537">
                  <c:v>23.713888888888889</c:v>
                </c:pt>
                <c:pt idx="8538">
                  <c:v>23.716666666666665</c:v>
                </c:pt>
                <c:pt idx="8539">
                  <c:v>23.719444444444445</c:v>
                </c:pt>
                <c:pt idx="8540">
                  <c:v>23.722222222222221</c:v>
                </c:pt>
                <c:pt idx="8541">
                  <c:v>23.725000000000001</c:v>
                </c:pt>
                <c:pt idx="8542">
                  <c:v>23.727777777777778</c:v>
                </c:pt>
                <c:pt idx="8543">
                  <c:v>23.730555555555554</c:v>
                </c:pt>
                <c:pt idx="8544">
                  <c:v>23.733333333333334</c:v>
                </c:pt>
                <c:pt idx="8545">
                  <c:v>23.736111111111111</c:v>
                </c:pt>
                <c:pt idx="8546">
                  <c:v>23.738888888888887</c:v>
                </c:pt>
                <c:pt idx="8547">
                  <c:v>23.741666666666667</c:v>
                </c:pt>
                <c:pt idx="8548">
                  <c:v>23.744444444444444</c:v>
                </c:pt>
                <c:pt idx="8549">
                  <c:v>23.747222222222224</c:v>
                </c:pt>
                <c:pt idx="8550">
                  <c:v>23.75</c:v>
                </c:pt>
                <c:pt idx="8551">
                  <c:v>23.752777777777776</c:v>
                </c:pt>
                <c:pt idx="8552">
                  <c:v>23.755555555555556</c:v>
                </c:pt>
                <c:pt idx="8553">
                  <c:v>23.758333333333333</c:v>
                </c:pt>
                <c:pt idx="8554">
                  <c:v>23.761111111111113</c:v>
                </c:pt>
                <c:pt idx="8555">
                  <c:v>23.763888888888889</c:v>
                </c:pt>
                <c:pt idx="8556">
                  <c:v>23.766666666666666</c:v>
                </c:pt>
                <c:pt idx="8557">
                  <c:v>23.769444444444446</c:v>
                </c:pt>
                <c:pt idx="8558">
                  <c:v>23.772222222222222</c:v>
                </c:pt>
                <c:pt idx="8559">
                  <c:v>23.774999999999999</c:v>
                </c:pt>
                <c:pt idx="8560">
                  <c:v>23.777777777777779</c:v>
                </c:pt>
                <c:pt idx="8561">
                  <c:v>23.780555555555555</c:v>
                </c:pt>
                <c:pt idx="8562">
                  <c:v>23.783333333333335</c:v>
                </c:pt>
                <c:pt idx="8563">
                  <c:v>23.786111111111111</c:v>
                </c:pt>
                <c:pt idx="8564">
                  <c:v>23.788888888888888</c:v>
                </c:pt>
                <c:pt idx="8565">
                  <c:v>23.791666666666668</c:v>
                </c:pt>
                <c:pt idx="8566">
                  <c:v>23.794444444444444</c:v>
                </c:pt>
                <c:pt idx="8567">
                  <c:v>23.797222222222221</c:v>
                </c:pt>
                <c:pt idx="8568">
                  <c:v>23.8</c:v>
                </c:pt>
                <c:pt idx="8569">
                  <c:v>23.802777777777777</c:v>
                </c:pt>
                <c:pt idx="8570">
                  <c:v>23.805555555555557</c:v>
                </c:pt>
                <c:pt idx="8571">
                  <c:v>23.808333333333334</c:v>
                </c:pt>
                <c:pt idx="8572">
                  <c:v>23.81111111111111</c:v>
                </c:pt>
                <c:pt idx="8573">
                  <c:v>23.81388888888889</c:v>
                </c:pt>
                <c:pt idx="8574">
                  <c:v>23.816666666666666</c:v>
                </c:pt>
                <c:pt idx="8575">
                  <c:v>23.819444444444443</c:v>
                </c:pt>
                <c:pt idx="8576">
                  <c:v>23.822222222222223</c:v>
                </c:pt>
                <c:pt idx="8577">
                  <c:v>23.824999999999999</c:v>
                </c:pt>
                <c:pt idx="8578">
                  <c:v>23.827777777777779</c:v>
                </c:pt>
                <c:pt idx="8579">
                  <c:v>23.830555555555556</c:v>
                </c:pt>
                <c:pt idx="8580">
                  <c:v>23.833333333333332</c:v>
                </c:pt>
                <c:pt idx="8581">
                  <c:v>23.836111111111112</c:v>
                </c:pt>
                <c:pt idx="8582">
                  <c:v>23.838888888888889</c:v>
                </c:pt>
                <c:pt idx="8583">
                  <c:v>23.841666666666665</c:v>
                </c:pt>
                <c:pt idx="8584">
                  <c:v>23.844444444444445</c:v>
                </c:pt>
                <c:pt idx="8585">
                  <c:v>23.847222222222221</c:v>
                </c:pt>
                <c:pt idx="8586">
                  <c:v>23.85</c:v>
                </c:pt>
                <c:pt idx="8587">
                  <c:v>23.852777777777778</c:v>
                </c:pt>
                <c:pt idx="8588">
                  <c:v>23.855555555555554</c:v>
                </c:pt>
                <c:pt idx="8589">
                  <c:v>23.858333333333334</c:v>
                </c:pt>
                <c:pt idx="8590">
                  <c:v>23.861111111111111</c:v>
                </c:pt>
                <c:pt idx="8591">
                  <c:v>23.863888888888887</c:v>
                </c:pt>
                <c:pt idx="8592">
                  <c:v>23.866666666666667</c:v>
                </c:pt>
                <c:pt idx="8593">
                  <c:v>23.869444444444444</c:v>
                </c:pt>
                <c:pt idx="8594">
                  <c:v>23.872222222222224</c:v>
                </c:pt>
                <c:pt idx="8595">
                  <c:v>23.875</c:v>
                </c:pt>
                <c:pt idx="8596">
                  <c:v>23.877777777777776</c:v>
                </c:pt>
                <c:pt idx="8597">
                  <c:v>23.880555555555556</c:v>
                </c:pt>
                <c:pt idx="8598">
                  <c:v>23.883333333333333</c:v>
                </c:pt>
                <c:pt idx="8599">
                  <c:v>23.886111111111113</c:v>
                </c:pt>
                <c:pt idx="8600">
                  <c:v>23.888888888888889</c:v>
                </c:pt>
                <c:pt idx="8601">
                  <c:v>23.891666666666666</c:v>
                </c:pt>
                <c:pt idx="8602">
                  <c:v>23.894444444444446</c:v>
                </c:pt>
                <c:pt idx="8603">
                  <c:v>23.897222222222222</c:v>
                </c:pt>
                <c:pt idx="8604">
                  <c:v>23.9</c:v>
                </c:pt>
                <c:pt idx="8605">
                  <c:v>23.902777777777779</c:v>
                </c:pt>
                <c:pt idx="8606">
                  <c:v>23.905555555555555</c:v>
                </c:pt>
                <c:pt idx="8607">
                  <c:v>23.908333333333335</c:v>
                </c:pt>
                <c:pt idx="8608">
                  <c:v>23.911111111111111</c:v>
                </c:pt>
                <c:pt idx="8609">
                  <c:v>23.913888888888888</c:v>
                </c:pt>
                <c:pt idx="8610">
                  <c:v>23.916666666666668</c:v>
                </c:pt>
                <c:pt idx="8611">
                  <c:v>23.919444444444444</c:v>
                </c:pt>
                <c:pt idx="8612">
                  <c:v>23.922222222222221</c:v>
                </c:pt>
                <c:pt idx="8613">
                  <c:v>23.925000000000001</c:v>
                </c:pt>
                <c:pt idx="8614">
                  <c:v>23.927777777777777</c:v>
                </c:pt>
                <c:pt idx="8615">
                  <c:v>23.930555555555557</c:v>
                </c:pt>
                <c:pt idx="8616">
                  <c:v>23.933333333333334</c:v>
                </c:pt>
                <c:pt idx="8617">
                  <c:v>23.93611111111111</c:v>
                </c:pt>
                <c:pt idx="8618">
                  <c:v>23.93888888888889</c:v>
                </c:pt>
                <c:pt idx="8619">
                  <c:v>23.941666666666666</c:v>
                </c:pt>
                <c:pt idx="8620">
                  <c:v>23.944444444444443</c:v>
                </c:pt>
                <c:pt idx="8621">
                  <c:v>23.947222222222223</c:v>
                </c:pt>
                <c:pt idx="8622">
                  <c:v>23.95</c:v>
                </c:pt>
                <c:pt idx="8623">
                  <c:v>23.952777777777779</c:v>
                </c:pt>
                <c:pt idx="8624">
                  <c:v>23.955555555555556</c:v>
                </c:pt>
                <c:pt idx="8625">
                  <c:v>23.958333333333332</c:v>
                </c:pt>
                <c:pt idx="8626">
                  <c:v>23.961111111111112</c:v>
                </c:pt>
                <c:pt idx="8627">
                  <c:v>23.963888888888889</c:v>
                </c:pt>
                <c:pt idx="8628">
                  <c:v>23.966666666666665</c:v>
                </c:pt>
                <c:pt idx="8629">
                  <c:v>23.969444444444445</c:v>
                </c:pt>
                <c:pt idx="8630">
                  <c:v>23.972222222222221</c:v>
                </c:pt>
                <c:pt idx="8631">
                  <c:v>23.975000000000001</c:v>
                </c:pt>
                <c:pt idx="8632">
                  <c:v>23.977777777777778</c:v>
                </c:pt>
                <c:pt idx="8633">
                  <c:v>23.980555555555554</c:v>
                </c:pt>
                <c:pt idx="8634">
                  <c:v>23.983333333333334</c:v>
                </c:pt>
                <c:pt idx="8635">
                  <c:v>23.986111111111111</c:v>
                </c:pt>
                <c:pt idx="8636">
                  <c:v>23.988888888888887</c:v>
                </c:pt>
                <c:pt idx="8637">
                  <c:v>23.991666666666667</c:v>
                </c:pt>
                <c:pt idx="8638">
                  <c:v>23.994444444444444</c:v>
                </c:pt>
                <c:pt idx="8639">
                  <c:v>23.997222222222224</c:v>
                </c:pt>
                <c:pt idx="8640">
                  <c:v>24</c:v>
                </c:pt>
                <c:pt idx="8641">
                  <c:v>24.002777777777776</c:v>
                </c:pt>
                <c:pt idx="8642">
                  <c:v>24.005555555555556</c:v>
                </c:pt>
                <c:pt idx="8643">
                  <c:v>24.008333333333333</c:v>
                </c:pt>
                <c:pt idx="8644">
                  <c:v>24.011111111111113</c:v>
                </c:pt>
                <c:pt idx="8645">
                  <c:v>24.013888888888889</c:v>
                </c:pt>
                <c:pt idx="8646">
                  <c:v>24.016666666666666</c:v>
                </c:pt>
                <c:pt idx="8647">
                  <c:v>24.019444444444446</c:v>
                </c:pt>
                <c:pt idx="8648">
                  <c:v>24.022222222222222</c:v>
                </c:pt>
                <c:pt idx="8649">
                  <c:v>24.024999999999999</c:v>
                </c:pt>
                <c:pt idx="8650">
                  <c:v>24.027777777777779</c:v>
                </c:pt>
                <c:pt idx="8651">
                  <c:v>24.030555555555555</c:v>
                </c:pt>
                <c:pt idx="8652">
                  <c:v>24.033333333333335</c:v>
                </c:pt>
                <c:pt idx="8653">
                  <c:v>24.036111111111111</c:v>
                </c:pt>
                <c:pt idx="8654">
                  <c:v>24.038888888888888</c:v>
                </c:pt>
                <c:pt idx="8655">
                  <c:v>24.041666666666668</c:v>
                </c:pt>
                <c:pt idx="8656">
                  <c:v>24.044444444444444</c:v>
                </c:pt>
                <c:pt idx="8657">
                  <c:v>24.047222222222221</c:v>
                </c:pt>
                <c:pt idx="8658">
                  <c:v>24.05</c:v>
                </c:pt>
                <c:pt idx="8659">
                  <c:v>24.052777777777777</c:v>
                </c:pt>
                <c:pt idx="8660">
                  <c:v>24.055555555555557</c:v>
                </c:pt>
                <c:pt idx="8661">
                  <c:v>24.058333333333334</c:v>
                </c:pt>
                <c:pt idx="8662">
                  <c:v>24.06111111111111</c:v>
                </c:pt>
                <c:pt idx="8663">
                  <c:v>24.06388888888889</c:v>
                </c:pt>
                <c:pt idx="8664">
                  <c:v>24.066666666666666</c:v>
                </c:pt>
                <c:pt idx="8665">
                  <c:v>24.069444444444443</c:v>
                </c:pt>
                <c:pt idx="8666">
                  <c:v>24.072222222222223</c:v>
                </c:pt>
                <c:pt idx="8667">
                  <c:v>24.074999999999999</c:v>
                </c:pt>
                <c:pt idx="8668">
                  <c:v>24.077777777777779</c:v>
                </c:pt>
                <c:pt idx="8669">
                  <c:v>24.080555555555556</c:v>
                </c:pt>
                <c:pt idx="8670">
                  <c:v>24.083333333333332</c:v>
                </c:pt>
                <c:pt idx="8671">
                  <c:v>24.086111111111112</c:v>
                </c:pt>
                <c:pt idx="8672">
                  <c:v>24.088888888888889</c:v>
                </c:pt>
                <c:pt idx="8673">
                  <c:v>24.091666666666665</c:v>
                </c:pt>
                <c:pt idx="8674">
                  <c:v>24.094444444444445</c:v>
                </c:pt>
                <c:pt idx="8675">
                  <c:v>24.097222222222221</c:v>
                </c:pt>
                <c:pt idx="8676">
                  <c:v>24.1</c:v>
                </c:pt>
                <c:pt idx="8677">
                  <c:v>24.102777777777778</c:v>
                </c:pt>
                <c:pt idx="8678">
                  <c:v>24.105555555555554</c:v>
                </c:pt>
                <c:pt idx="8679">
                  <c:v>24.108333333333334</c:v>
                </c:pt>
                <c:pt idx="8680">
                  <c:v>24.111111111111111</c:v>
                </c:pt>
                <c:pt idx="8681">
                  <c:v>24.113888888888887</c:v>
                </c:pt>
                <c:pt idx="8682">
                  <c:v>24.116666666666667</c:v>
                </c:pt>
                <c:pt idx="8683">
                  <c:v>24.119444444444444</c:v>
                </c:pt>
                <c:pt idx="8684">
                  <c:v>24.122222222222224</c:v>
                </c:pt>
                <c:pt idx="8685">
                  <c:v>24.125</c:v>
                </c:pt>
                <c:pt idx="8686">
                  <c:v>24.127777777777776</c:v>
                </c:pt>
                <c:pt idx="8687">
                  <c:v>24.130555555555556</c:v>
                </c:pt>
                <c:pt idx="8688">
                  <c:v>24.133333333333333</c:v>
                </c:pt>
                <c:pt idx="8689">
                  <c:v>24.136111111111113</c:v>
                </c:pt>
                <c:pt idx="8690">
                  <c:v>24.138888888888889</c:v>
                </c:pt>
                <c:pt idx="8691">
                  <c:v>24.141666666666666</c:v>
                </c:pt>
                <c:pt idx="8692">
                  <c:v>24.144444444444446</c:v>
                </c:pt>
                <c:pt idx="8693">
                  <c:v>24.147222222222222</c:v>
                </c:pt>
                <c:pt idx="8694">
                  <c:v>24.15</c:v>
                </c:pt>
                <c:pt idx="8695">
                  <c:v>24.152777777777779</c:v>
                </c:pt>
                <c:pt idx="8696">
                  <c:v>24.155555555555555</c:v>
                </c:pt>
                <c:pt idx="8697">
                  <c:v>24.158333333333335</c:v>
                </c:pt>
                <c:pt idx="8698">
                  <c:v>24.161111111111111</c:v>
                </c:pt>
                <c:pt idx="8699">
                  <c:v>24.163888888888888</c:v>
                </c:pt>
                <c:pt idx="8700">
                  <c:v>24.166666666666668</c:v>
                </c:pt>
                <c:pt idx="8701">
                  <c:v>24.169444444444444</c:v>
                </c:pt>
                <c:pt idx="8702">
                  <c:v>24.172222222222221</c:v>
                </c:pt>
                <c:pt idx="8703">
                  <c:v>24.175000000000001</c:v>
                </c:pt>
                <c:pt idx="8704">
                  <c:v>24.177777777777777</c:v>
                </c:pt>
                <c:pt idx="8705">
                  <c:v>24.180555555555557</c:v>
                </c:pt>
                <c:pt idx="8706">
                  <c:v>24.183333333333334</c:v>
                </c:pt>
                <c:pt idx="8707">
                  <c:v>24.18611111111111</c:v>
                </c:pt>
                <c:pt idx="8708">
                  <c:v>24.18888888888889</c:v>
                </c:pt>
                <c:pt idx="8709">
                  <c:v>24.191666666666666</c:v>
                </c:pt>
                <c:pt idx="8710">
                  <c:v>24.194444444444443</c:v>
                </c:pt>
                <c:pt idx="8711">
                  <c:v>24.197222222222223</c:v>
                </c:pt>
                <c:pt idx="8712">
                  <c:v>24.2</c:v>
                </c:pt>
                <c:pt idx="8713">
                  <c:v>24.202777777777779</c:v>
                </c:pt>
                <c:pt idx="8714">
                  <c:v>24.205555555555556</c:v>
                </c:pt>
                <c:pt idx="8715">
                  <c:v>24.208333333333332</c:v>
                </c:pt>
                <c:pt idx="8716">
                  <c:v>24.211111111111112</c:v>
                </c:pt>
                <c:pt idx="8717">
                  <c:v>24.213888888888889</c:v>
                </c:pt>
                <c:pt idx="8718">
                  <c:v>24.216666666666665</c:v>
                </c:pt>
                <c:pt idx="8719">
                  <c:v>24.219444444444445</c:v>
                </c:pt>
                <c:pt idx="8720">
                  <c:v>24.222222222222221</c:v>
                </c:pt>
                <c:pt idx="8721">
                  <c:v>24.225000000000001</c:v>
                </c:pt>
                <c:pt idx="8722">
                  <c:v>24.227777777777778</c:v>
                </c:pt>
                <c:pt idx="8723">
                  <c:v>24.230555555555554</c:v>
                </c:pt>
                <c:pt idx="8724">
                  <c:v>24.233333333333334</c:v>
                </c:pt>
                <c:pt idx="8725">
                  <c:v>24.236111111111111</c:v>
                </c:pt>
                <c:pt idx="8726">
                  <c:v>24.238888888888887</c:v>
                </c:pt>
                <c:pt idx="8727">
                  <c:v>24.241666666666667</c:v>
                </c:pt>
                <c:pt idx="8728">
                  <c:v>24.244444444444444</c:v>
                </c:pt>
                <c:pt idx="8729">
                  <c:v>24.247222222222224</c:v>
                </c:pt>
                <c:pt idx="8730">
                  <c:v>24.25</c:v>
                </c:pt>
                <c:pt idx="8731">
                  <c:v>24.252777777777776</c:v>
                </c:pt>
                <c:pt idx="8732">
                  <c:v>24.255555555555556</c:v>
                </c:pt>
                <c:pt idx="8733">
                  <c:v>24.258333333333333</c:v>
                </c:pt>
                <c:pt idx="8734">
                  <c:v>24.261111111111113</c:v>
                </c:pt>
                <c:pt idx="8735">
                  <c:v>24.263888888888889</c:v>
                </c:pt>
                <c:pt idx="8736">
                  <c:v>24.266666666666666</c:v>
                </c:pt>
                <c:pt idx="8737">
                  <c:v>24.269444444444446</c:v>
                </c:pt>
                <c:pt idx="8738">
                  <c:v>24.272222222222222</c:v>
                </c:pt>
                <c:pt idx="8739">
                  <c:v>24.274999999999999</c:v>
                </c:pt>
                <c:pt idx="8740">
                  <c:v>24.277777777777779</c:v>
                </c:pt>
                <c:pt idx="8741">
                  <c:v>24.280555555555555</c:v>
                </c:pt>
                <c:pt idx="8742">
                  <c:v>24.283333333333335</c:v>
                </c:pt>
                <c:pt idx="8743">
                  <c:v>24.286111111111111</c:v>
                </c:pt>
                <c:pt idx="8744">
                  <c:v>24.288888888888888</c:v>
                </c:pt>
                <c:pt idx="8745">
                  <c:v>24.291666666666668</c:v>
                </c:pt>
                <c:pt idx="8746">
                  <c:v>24.294444444444444</c:v>
                </c:pt>
                <c:pt idx="8747">
                  <c:v>24.297222222222221</c:v>
                </c:pt>
                <c:pt idx="8748">
                  <c:v>24.3</c:v>
                </c:pt>
                <c:pt idx="8749">
                  <c:v>24.302777777777777</c:v>
                </c:pt>
                <c:pt idx="8750">
                  <c:v>24.305555555555557</c:v>
                </c:pt>
                <c:pt idx="8751">
                  <c:v>24.308333333333334</c:v>
                </c:pt>
                <c:pt idx="8752">
                  <c:v>24.31111111111111</c:v>
                </c:pt>
                <c:pt idx="8753">
                  <c:v>24.31388888888889</c:v>
                </c:pt>
                <c:pt idx="8754">
                  <c:v>24.316666666666666</c:v>
                </c:pt>
                <c:pt idx="8755">
                  <c:v>24.319444444444443</c:v>
                </c:pt>
                <c:pt idx="8756">
                  <c:v>24.322222222222223</c:v>
                </c:pt>
                <c:pt idx="8757">
                  <c:v>24.324999999999999</c:v>
                </c:pt>
                <c:pt idx="8758">
                  <c:v>24.327777777777779</c:v>
                </c:pt>
                <c:pt idx="8759">
                  <c:v>24.330555555555556</c:v>
                </c:pt>
                <c:pt idx="8760">
                  <c:v>24.333333333333332</c:v>
                </c:pt>
                <c:pt idx="8761">
                  <c:v>24.336111111111112</c:v>
                </c:pt>
                <c:pt idx="8762">
                  <c:v>24.338888888888889</c:v>
                </c:pt>
                <c:pt idx="8763">
                  <c:v>24.341666666666665</c:v>
                </c:pt>
                <c:pt idx="8764">
                  <c:v>24.344444444444445</c:v>
                </c:pt>
                <c:pt idx="8765">
                  <c:v>24.347222222222221</c:v>
                </c:pt>
                <c:pt idx="8766">
                  <c:v>24.35</c:v>
                </c:pt>
                <c:pt idx="8767">
                  <c:v>24.352777777777778</c:v>
                </c:pt>
                <c:pt idx="8768">
                  <c:v>24.355555555555554</c:v>
                </c:pt>
                <c:pt idx="8769">
                  <c:v>24.358333333333334</c:v>
                </c:pt>
                <c:pt idx="8770">
                  <c:v>24.361111111111111</c:v>
                </c:pt>
                <c:pt idx="8771">
                  <c:v>24.363888888888887</c:v>
                </c:pt>
                <c:pt idx="8772">
                  <c:v>24.366666666666667</c:v>
                </c:pt>
                <c:pt idx="8773">
                  <c:v>24.369444444444444</c:v>
                </c:pt>
                <c:pt idx="8774">
                  <c:v>24.372222222222224</c:v>
                </c:pt>
                <c:pt idx="8775">
                  <c:v>24.375</c:v>
                </c:pt>
                <c:pt idx="8776">
                  <c:v>24.377777777777776</c:v>
                </c:pt>
                <c:pt idx="8777">
                  <c:v>24.380555555555556</c:v>
                </c:pt>
                <c:pt idx="8778">
                  <c:v>24.383333333333333</c:v>
                </c:pt>
                <c:pt idx="8779">
                  <c:v>24.386111111111113</c:v>
                </c:pt>
                <c:pt idx="8780">
                  <c:v>24.388888888888889</c:v>
                </c:pt>
                <c:pt idx="8781">
                  <c:v>24.391666666666666</c:v>
                </c:pt>
                <c:pt idx="8782">
                  <c:v>24.394444444444446</c:v>
                </c:pt>
                <c:pt idx="8783">
                  <c:v>24.397222222222222</c:v>
                </c:pt>
                <c:pt idx="8784">
                  <c:v>24.4</c:v>
                </c:pt>
                <c:pt idx="8785">
                  <c:v>24.402777777777779</c:v>
                </c:pt>
                <c:pt idx="8786">
                  <c:v>24.405555555555555</c:v>
                </c:pt>
                <c:pt idx="8787">
                  <c:v>24.408333333333335</c:v>
                </c:pt>
                <c:pt idx="8788">
                  <c:v>24.411111111111111</c:v>
                </c:pt>
                <c:pt idx="8789">
                  <c:v>24.413888888888888</c:v>
                </c:pt>
                <c:pt idx="8790">
                  <c:v>24.416666666666668</c:v>
                </c:pt>
                <c:pt idx="8791">
                  <c:v>24.419444444444444</c:v>
                </c:pt>
                <c:pt idx="8792">
                  <c:v>24.422222222222221</c:v>
                </c:pt>
                <c:pt idx="8793">
                  <c:v>24.425000000000001</c:v>
                </c:pt>
                <c:pt idx="8794">
                  <c:v>24.427777777777777</c:v>
                </c:pt>
                <c:pt idx="8795">
                  <c:v>24.430555555555557</c:v>
                </c:pt>
                <c:pt idx="8796">
                  <c:v>24.433333333333334</c:v>
                </c:pt>
                <c:pt idx="8797">
                  <c:v>24.43611111111111</c:v>
                </c:pt>
                <c:pt idx="8798">
                  <c:v>24.43888888888889</c:v>
                </c:pt>
                <c:pt idx="8799">
                  <c:v>24.441666666666666</c:v>
                </c:pt>
                <c:pt idx="8800">
                  <c:v>24.444444444444443</c:v>
                </c:pt>
                <c:pt idx="8801">
                  <c:v>24.447222222222223</c:v>
                </c:pt>
                <c:pt idx="8802">
                  <c:v>24.45</c:v>
                </c:pt>
                <c:pt idx="8803">
                  <c:v>24.452777777777779</c:v>
                </c:pt>
                <c:pt idx="8804">
                  <c:v>24.455555555555556</c:v>
                </c:pt>
                <c:pt idx="8805">
                  <c:v>24.458333333333332</c:v>
                </c:pt>
                <c:pt idx="8806">
                  <c:v>24.461111111111112</c:v>
                </c:pt>
                <c:pt idx="8807">
                  <c:v>24.463888888888889</c:v>
                </c:pt>
                <c:pt idx="8808">
                  <c:v>24.466666666666665</c:v>
                </c:pt>
                <c:pt idx="8809">
                  <c:v>24.469444444444445</c:v>
                </c:pt>
                <c:pt idx="8810">
                  <c:v>24.472222222222221</c:v>
                </c:pt>
                <c:pt idx="8811">
                  <c:v>24.475000000000001</c:v>
                </c:pt>
                <c:pt idx="8812">
                  <c:v>24.477777777777778</c:v>
                </c:pt>
                <c:pt idx="8813">
                  <c:v>24.480555555555554</c:v>
                </c:pt>
                <c:pt idx="8814">
                  <c:v>24.483333333333334</c:v>
                </c:pt>
                <c:pt idx="8815">
                  <c:v>24.486111111111111</c:v>
                </c:pt>
                <c:pt idx="8816">
                  <c:v>24.488888888888887</c:v>
                </c:pt>
                <c:pt idx="8817">
                  <c:v>24.491666666666667</c:v>
                </c:pt>
                <c:pt idx="8818">
                  <c:v>24.494444444444444</c:v>
                </c:pt>
                <c:pt idx="8819">
                  <c:v>24.497222222222224</c:v>
                </c:pt>
                <c:pt idx="8820">
                  <c:v>24.5</c:v>
                </c:pt>
                <c:pt idx="8821">
                  <c:v>24.502777777777776</c:v>
                </c:pt>
                <c:pt idx="8822">
                  <c:v>24.505555555555556</c:v>
                </c:pt>
                <c:pt idx="8823">
                  <c:v>24.508333333333333</c:v>
                </c:pt>
                <c:pt idx="8824">
                  <c:v>24.511111111111113</c:v>
                </c:pt>
                <c:pt idx="8825">
                  <c:v>24.513888888888889</c:v>
                </c:pt>
                <c:pt idx="8826">
                  <c:v>24.516666666666666</c:v>
                </c:pt>
                <c:pt idx="8827">
                  <c:v>24.519444444444446</c:v>
                </c:pt>
                <c:pt idx="8828">
                  <c:v>24.522222222222222</c:v>
                </c:pt>
                <c:pt idx="8829">
                  <c:v>24.524999999999999</c:v>
                </c:pt>
                <c:pt idx="8830">
                  <c:v>24.527777777777779</c:v>
                </c:pt>
                <c:pt idx="8831">
                  <c:v>24.530555555555555</c:v>
                </c:pt>
                <c:pt idx="8832">
                  <c:v>24.533333333333335</c:v>
                </c:pt>
                <c:pt idx="8833">
                  <c:v>24.536111111111111</c:v>
                </c:pt>
                <c:pt idx="8834">
                  <c:v>24.538888888888888</c:v>
                </c:pt>
                <c:pt idx="8835">
                  <c:v>24.541666666666668</c:v>
                </c:pt>
                <c:pt idx="8836">
                  <c:v>24.544444444444444</c:v>
                </c:pt>
                <c:pt idx="8837">
                  <c:v>24.547222222222221</c:v>
                </c:pt>
                <c:pt idx="8838">
                  <c:v>24.55</c:v>
                </c:pt>
                <c:pt idx="8839">
                  <c:v>24.552777777777777</c:v>
                </c:pt>
                <c:pt idx="8840">
                  <c:v>24.555555555555557</c:v>
                </c:pt>
                <c:pt idx="8841">
                  <c:v>24.558333333333334</c:v>
                </c:pt>
                <c:pt idx="8842">
                  <c:v>24.56111111111111</c:v>
                </c:pt>
                <c:pt idx="8843">
                  <c:v>24.56388888888889</c:v>
                </c:pt>
                <c:pt idx="8844">
                  <c:v>24.566666666666666</c:v>
                </c:pt>
                <c:pt idx="8845">
                  <c:v>24.569444444444443</c:v>
                </c:pt>
                <c:pt idx="8846">
                  <c:v>24.572222222222223</c:v>
                </c:pt>
                <c:pt idx="8847">
                  <c:v>24.574999999999999</c:v>
                </c:pt>
                <c:pt idx="8848">
                  <c:v>24.577777777777779</c:v>
                </c:pt>
                <c:pt idx="8849">
                  <c:v>24.580555555555556</c:v>
                </c:pt>
                <c:pt idx="8850">
                  <c:v>24.583333333333332</c:v>
                </c:pt>
                <c:pt idx="8851">
                  <c:v>24.586111111111112</c:v>
                </c:pt>
                <c:pt idx="8852">
                  <c:v>24.588888888888889</c:v>
                </c:pt>
                <c:pt idx="8853">
                  <c:v>24.591666666666665</c:v>
                </c:pt>
                <c:pt idx="8854">
                  <c:v>24.594444444444445</c:v>
                </c:pt>
                <c:pt idx="8855">
                  <c:v>24.597222222222221</c:v>
                </c:pt>
                <c:pt idx="8856">
                  <c:v>24.6</c:v>
                </c:pt>
                <c:pt idx="8857">
                  <c:v>24.602777777777778</c:v>
                </c:pt>
                <c:pt idx="8858">
                  <c:v>24.605555555555554</c:v>
                </c:pt>
                <c:pt idx="8859">
                  <c:v>24.608333333333334</c:v>
                </c:pt>
                <c:pt idx="8860">
                  <c:v>24.611111111111111</c:v>
                </c:pt>
                <c:pt idx="8861">
                  <c:v>24.613888888888887</c:v>
                </c:pt>
                <c:pt idx="8862">
                  <c:v>24.616666666666667</c:v>
                </c:pt>
                <c:pt idx="8863">
                  <c:v>24.619444444444444</c:v>
                </c:pt>
                <c:pt idx="8864">
                  <c:v>24.622222222222224</c:v>
                </c:pt>
                <c:pt idx="8865">
                  <c:v>24.625</c:v>
                </c:pt>
                <c:pt idx="8866">
                  <c:v>24.627777777777776</c:v>
                </c:pt>
                <c:pt idx="8867">
                  <c:v>24.630555555555556</c:v>
                </c:pt>
                <c:pt idx="8868">
                  <c:v>24.633333333333333</c:v>
                </c:pt>
                <c:pt idx="8869">
                  <c:v>24.636111111111113</c:v>
                </c:pt>
                <c:pt idx="8870">
                  <c:v>24.638888888888889</c:v>
                </c:pt>
                <c:pt idx="8871">
                  <c:v>24.641666666666666</c:v>
                </c:pt>
                <c:pt idx="8872">
                  <c:v>24.644444444444446</c:v>
                </c:pt>
                <c:pt idx="8873">
                  <c:v>24.647222222222222</c:v>
                </c:pt>
                <c:pt idx="8874">
                  <c:v>24.65</c:v>
                </c:pt>
                <c:pt idx="8875">
                  <c:v>24.652777777777779</c:v>
                </c:pt>
                <c:pt idx="8876">
                  <c:v>24.655555555555555</c:v>
                </c:pt>
                <c:pt idx="8877">
                  <c:v>24.658333333333335</c:v>
                </c:pt>
                <c:pt idx="8878">
                  <c:v>24.661111111111111</c:v>
                </c:pt>
                <c:pt idx="8879">
                  <c:v>24.663888888888888</c:v>
                </c:pt>
                <c:pt idx="8880">
                  <c:v>24.666666666666668</c:v>
                </c:pt>
                <c:pt idx="8881">
                  <c:v>24.669444444444444</c:v>
                </c:pt>
                <c:pt idx="8882">
                  <c:v>24.672222222222221</c:v>
                </c:pt>
                <c:pt idx="8883">
                  <c:v>24.675000000000001</c:v>
                </c:pt>
                <c:pt idx="8884">
                  <c:v>24.677777777777777</c:v>
                </c:pt>
                <c:pt idx="8885">
                  <c:v>24.680555555555557</c:v>
                </c:pt>
                <c:pt idx="8886">
                  <c:v>24.683333333333334</c:v>
                </c:pt>
                <c:pt idx="8887">
                  <c:v>24.68611111111111</c:v>
                </c:pt>
                <c:pt idx="8888">
                  <c:v>24.68888888888889</c:v>
                </c:pt>
                <c:pt idx="8889">
                  <c:v>24.691666666666666</c:v>
                </c:pt>
                <c:pt idx="8890">
                  <c:v>24.694444444444443</c:v>
                </c:pt>
                <c:pt idx="8891">
                  <c:v>24.697222222222223</c:v>
                </c:pt>
                <c:pt idx="8892">
                  <c:v>24.7</c:v>
                </c:pt>
                <c:pt idx="8893">
                  <c:v>24.702777777777779</c:v>
                </c:pt>
                <c:pt idx="8894">
                  <c:v>24.705555555555556</c:v>
                </c:pt>
                <c:pt idx="8895">
                  <c:v>24.708333333333332</c:v>
                </c:pt>
                <c:pt idx="8896">
                  <c:v>24.711111111111112</c:v>
                </c:pt>
                <c:pt idx="8897">
                  <c:v>24.713888888888889</c:v>
                </c:pt>
                <c:pt idx="8898">
                  <c:v>24.716666666666665</c:v>
                </c:pt>
                <c:pt idx="8899">
                  <c:v>24.719444444444445</c:v>
                </c:pt>
                <c:pt idx="8900">
                  <c:v>24.722222222222221</c:v>
                </c:pt>
                <c:pt idx="8901">
                  <c:v>24.725000000000001</c:v>
                </c:pt>
                <c:pt idx="8902">
                  <c:v>24.727777777777778</c:v>
                </c:pt>
                <c:pt idx="8903">
                  <c:v>24.730555555555554</c:v>
                </c:pt>
                <c:pt idx="8904">
                  <c:v>24.733333333333334</c:v>
                </c:pt>
                <c:pt idx="8905">
                  <c:v>24.736111111111111</c:v>
                </c:pt>
                <c:pt idx="8906">
                  <c:v>24.738888888888887</c:v>
                </c:pt>
                <c:pt idx="8907">
                  <c:v>24.741666666666667</c:v>
                </c:pt>
                <c:pt idx="8908">
                  <c:v>24.744444444444444</c:v>
                </c:pt>
                <c:pt idx="8909">
                  <c:v>24.747222222222224</c:v>
                </c:pt>
                <c:pt idx="8910">
                  <c:v>24.75</c:v>
                </c:pt>
                <c:pt idx="8911">
                  <c:v>24.752777777777776</c:v>
                </c:pt>
                <c:pt idx="8912">
                  <c:v>24.755555555555556</c:v>
                </c:pt>
                <c:pt idx="8913">
                  <c:v>24.758333333333333</c:v>
                </c:pt>
                <c:pt idx="8914">
                  <c:v>24.761111111111113</c:v>
                </c:pt>
                <c:pt idx="8915">
                  <c:v>24.763888888888889</c:v>
                </c:pt>
                <c:pt idx="8916">
                  <c:v>24.766666666666666</c:v>
                </c:pt>
                <c:pt idx="8917">
                  <c:v>24.769444444444446</c:v>
                </c:pt>
                <c:pt idx="8918">
                  <c:v>24.772222222222222</c:v>
                </c:pt>
                <c:pt idx="8919">
                  <c:v>24.774999999999999</c:v>
                </c:pt>
                <c:pt idx="8920">
                  <c:v>24.777777777777779</c:v>
                </c:pt>
                <c:pt idx="8921">
                  <c:v>24.780555555555555</c:v>
                </c:pt>
                <c:pt idx="8922">
                  <c:v>24.783333333333335</c:v>
                </c:pt>
                <c:pt idx="8923">
                  <c:v>24.786111111111111</c:v>
                </c:pt>
                <c:pt idx="8924">
                  <c:v>24.788888888888888</c:v>
                </c:pt>
                <c:pt idx="8925">
                  <c:v>24.791666666666668</c:v>
                </c:pt>
                <c:pt idx="8926">
                  <c:v>24.794444444444444</c:v>
                </c:pt>
                <c:pt idx="8927">
                  <c:v>24.797222222222221</c:v>
                </c:pt>
                <c:pt idx="8928">
                  <c:v>24.8</c:v>
                </c:pt>
                <c:pt idx="8929">
                  <c:v>24.802777777777777</c:v>
                </c:pt>
                <c:pt idx="8930">
                  <c:v>24.805555555555557</c:v>
                </c:pt>
                <c:pt idx="8931">
                  <c:v>24.808333333333334</c:v>
                </c:pt>
                <c:pt idx="8932">
                  <c:v>24.81111111111111</c:v>
                </c:pt>
                <c:pt idx="8933">
                  <c:v>24.81388888888889</c:v>
                </c:pt>
                <c:pt idx="8934">
                  <c:v>24.816666666666666</c:v>
                </c:pt>
                <c:pt idx="8935">
                  <c:v>24.819444444444443</c:v>
                </c:pt>
                <c:pt idx="8936">
                  <c:v>24.822222222222223</c:v>
                </c:pt>
                <c:pt idx="8937">
                  <c:v>24.824999999999999</c:v>
                </c:pt>
                <c:pt idx="8938">
                  <c:v>24.827777777777779</c:v>
                </c:pt>
                <c:pt idx="8939">
                  <c:v>24.830555555555556</c:v>
                </c:pt>
                <c:pt idx="8940">
                  <c:v>24.833333333333332</c:v>
                </c:pt>
                <c:pt idx="8941">
                  <c:v>24.836111111111112</c:v>
                </c:pt>
                <c:pt idx="8942">
                  <c:v>24.838888888888889</c:v>
                </c:pt>
                <c:pt idx="8943">
                  <c:v>24.841666666666665</c:v>
                </c:pt>
                <c:pt idx="8944">
                  <c:v>24.844444444444445</c:v>
                </c:pt>
                <c:pt idx="8945">
                  <c:v>24.847222222222221</c:v>
                </c:pt>
                <c:pt idx="8946">
                  <c:v>24.85</c:v>
                </c:pt>
                <c:pt idx="8947">
                  <c:v>24.852777777777778</c:v>
                </c:pt>
                <c:pt idx="8948">
                  <c:v>24.855555555555554</c:v>
                </c:pt>
                <c:pt idx="8949">
                  <c:v>24.858333333333334</c:v>
                </c:pt>
                <c:pt idx="8950">
                  <c:v>24.861111111111111</c:v>
                </c:pt>
                <c:pt idx="8951">
                  <c:v>24.863888888888887</c:v>
                </c:pt>
                <c:pt idx="8952">
                  <c:v>24.866666666666667</c:v>
                </c:pt>
                <c:pt idx="8953">
                  <c:v>24.869444444444444</c:v>
                </c:pt>
                <c:pt idx="8954">
                  <c:v>24.872222222222224</c:v>
                </c:pt>
                <c:pt idx="8955">
                  <c:v>24.875</c:v>
                </c:pt>
                <c:pt idx="8956">
                  <c:v>24.877777777777776</c:v>
                </c:pt>
                <c:pt idx="8957">
                  <c:v>24.880555555555556</c:v>
                </c:pt>
                <c:pt idx="8958">
                  <c:v>24.883333333333333</c:v>
                </c:pt>
                <c:pt idx="8959">
                  <c:v>24.886111111111113</c:v>
                </c:pt>
                <c:pt idx="8960">
                  <c:v>24.888888888888889</c:v>
                </c:pt>
                <c:pt idx="8961">
                  <c:v>24.891666666666666</c:v>
                </c:pt>
                <c:pt idx="8962">
                  <c:v>24.894444444444446</c:v>
                </c:pt>
                <c:pt idx="8963">
                  <c:v>24.897222222222222</c:v>
                </c:pt>
                <c:pt idx="8964">
                  <c:v>24.9</c:v>
                </c:pt>
                <c:pt idx="8965">
                  <c:v>24.902777777777779</c:v>
                </c:pt>
                <c:pt idx="8966">
                  <c:v>24.905555555555555</c:v>
                </c:pt>
                <c:pt idx="8967">
                  <c:v>24.908333333333335</c:v>
                </c:pt>
                <c:pt idx="8968">
                  <c:v>24.911111111111111</c:v>
                </c:pt>
                <c:pt idx="8969">
                  <c:v>24.913888888888888</c:v>
                </c:pt>
                <c:pt idx="8970">
                  <c:v>24.916666666666668</c:v>
                </c:pt>
                <c:pt idx="8971">
                  <c:v>24.919444444444444</c:v>
                </c:pt>
                <c:pt idx="8972">
                  <c:v>24.922222222222221</c:v>
                </c:pt>
                <c:pt idx="8973">
                  <c:v>24.925000000000001</c:v>
                </c:pt>
                <c:pt idx="8974">
                  <c:v>24.927777777777777</c:v>
                </c:pt>
                <c:pt idx="8975">
                  <c:v>24.930555555555557</c:v>
                </c:pt>
                <c:pt idx="8976">
                  <c:v>24.933333333333334</c:v>
                </c:pt>
                <c:pt idx="8977">
                  <c:v>24.93611111111111</c:v>
                </c:pt>
                <c:pt idx="8978">
                  <c:v>24.93888888888889</c:v>
                </c:pt>
                <c:pt idx="8979">
                  <c:v>24.941666666666666</c:v>
                </c:pt>
                <c:pt idx="8980">
                  <c:v>24.944444444444443</c:v>
                </c:pt>
                <c:pt idx="8981">
                  <c:v>24.947222222222223</c:v>
                </c:pt>
                <c:pt idx="8982">
                  <c:v>24.95</c:v>
                </c:pt>
                <c:pt idx="8983">
                  <c:v>24.952777777777779</c:v>
                </c:pt>
                <c:pt idx="8984">
                  <c:v>24.955555555555556</c:v>
                </c:pt>
                <c:pt idx="8985">
                  <c:v>24.958333333333332</c:v>
                </c:pt>
                <c:pt idx="8986">
                  <c:v>24.961111111111112</c:v>
                </c:pt>
                <c:pt idx="8987">
                  <c:v>24.963888888888889</c:v>
                </c:pt>
                <c:pt idx="8988">
                  <c:v>24.966666666666665</c:v>
                </c:pt>
                <c:pt idx="8989">
                  <c:v>24.969444444444445</c:v>
                </c:pt>
                <c:pt idx="8990">
                  <c:v>24.972222222222221</c:v>
                </c:pt>
                <c:pt idx="8991">
                  <c:v>24.975000000000001</c:v>
                </c:pt>
                <c:pt idx="8992">
                  <c:v>24.977777777777778</c:v>
                </c:pt>
                <c:pt idx="8993">
                  <c:v>24.980555555555554</c:v>
                </c:pt>
                <c:pt idx="8994">
                  <c:v>24.983333333333334</c:v>
                </c:pt>
                <c:pt idx="8995">
                  <c:v>24.986111111111111</c:v>
                </c:pt>
                <c:pt idx="8996">
                  <c:v>24.988888888888887</c:v>
                </c:pt>
                <c:pt idx="8997">
                  <c:v>24.991666666666667</c:v>
                </c:pt>
                <c:pt idx="8998">
                  <c:v>24.994444444444444</c:v>
                </c:pt>
                <c:pt idx="8999">
                  <c:v>24.997222222222224</c:v>
                </c:pt>
                <c:pt idx="9000">
                  <c:v>25</c:v>
                </c:pt>
                <c:pt idx="9001">
                  <c:v>25.002777777777776</c:v>
                </c:pt>
                <c:pt idx="9002">
                  <c:v>25.005555555555556</c:v>
                </c:pt>
                <c:pt idx="9003">
                  <c:v>25.008333333333333</c:v>
                </c:pt>
                <c:pt idx="9004">
                  <c:v>25.011111111111113</c:v>
                </c:pt>
                <c:pt idx="9005">
                  <c:v>25.013888888888889</c:v>
                </c:pt>
                <c:pt idx="9006">
                  <c:v>25.016666666666666</c:v>
                </c:pt>
                <c:pt idx="9007">
                  <c:v>25.019444444444446</c:v>
                </c:pt>
                <c:pt idx="9008">
                  <c:v>25.022222222222222</c:v>
                </c:pt>
                <c:pt idx="9009">
                  <c:v>25.024999999999999</c:v>
                </c:pt>
                <c:pt idx="9010">
                  <c:v>25.027777777777779</c:v>
                </c:pt>
                <c:pt idx="9011">
                  <c:v>25.030555555555555</c:v>
                </c:pt>
                <c:pt idx="9012">
                  <c:v>25.033333333333335</c:v>
                </c:pt>
                <c:pt idx="9013">
                  <c:v>25.036111111111111</c:v>
                </c:pt>
                <c:pt idx="9014">
                  <c:v>25.038888888888888</c:v>
                </c:pt>
                <c:pt idx="9015">
                  <c:v>25.041666666666668</c:v>
                </c:pt>
                <c:pt idx="9016">
                  <c:v>25.044444444444444</c:v>
                </c:pt>
                <c:pt idx="9017">
                  <c:v>25.047222222222221</c:v>
                </c:pt>
                <c:pt idx="9018">
                  <c:v>25.05</c:v>
                </c:pt>
                <c:pt idx="9019">
                  <c:v>25.052777777777777</c:v>
                </c:pt>
                <c:pt idx="9020">
                  <c:v>25.055555555555557</c:v>
                </c:pt>
                <c:pt idx="9021">
                  <c:v>25.058333333333334</c:v>
                </c:pt>
                <c:pt idx="9022">
                  <c:v>25.06111111111111</c:v>
                </c:pt>
                <c:pt idx="9023">
                  <c:v>25.06388888888889</c:v>
                </c:pt>
                <c:pt idx="9024">
                  <c:v>25.066666666666666</c:v>
                </c:pt>
                <c:pt idx="9025">
                  <c:v>25.069444444444443</c:v>
                </c:pt>
                <c:pt idx="9026">
                  <c:v>25.072222222222223</c:v>
                </c:pt>
                <c:pt idx="9027">
                  <c:v>25.074999999999999</c:v>
                </c:pt>
                <c:pt idx="9028">
                  <c:v>25.077777777777779</c:v>
                </c:pt>
                <c:pt idx="9029">
                  <c:v>25.080555555555556</c:v>
                </c:pt>
                <c:pt idx="9030">
                  <c:v>25.083333333333332</c:v>
                </c:pt>
                <c:pt idx="9031">
                  <c:v>25.086111111111112</c:v>
                </c:pt>
                <c:pt idx="9032">
                  <c:v>25.088888888888889</c:v>
                </c:pt>
                <c:pt idx="9033">
                  <c:v>25.091666666666665</c:v>
                </c:pt>
                <c:pt idx="9034">
                  <c:v>25.094444444444445</c:v>
                </c:pt>
                <c:pt idx="9035">
                  <c:v>25.097222222222221</c:v>
                </c:pt>
                <c:pt idx="9036">
                  <c:v>25.1</c:v>
                </c:pt>
                <c:pt idx="9037">
                  <c:v>25.102777777777778</c:v>
                </c:pt>
                <c:pt idx="9038">
                  <c:v>25.105555555555554</c:v>
                </c:pt>
                <c:pt idx="9039">
                  <c:v>25.108333333333334</c:v>
                </c:pt>
                <c:pt idx="9040">
                  <c:v>25.111111111111111</c:v>
                </c:pt>
                <c:pt idx="9041">
                  <c:v>25.113888888888887</c:v>
                </c:pt>
                <c:pt idx="9042">
                  <c:v>25.116666666666667</c:v>
                </c:pt>
                <c:pt idx="9043">
                  <c:v>25.119444444444444</c:v>
                </c:pt>
                <c:pt idx="9044">
                  <c:v>25.122222222222224</c:v>
                </c:pt>
                <c:pt idx="9045">
                  <c:v>25.125</c:v>
                </c:pt>
                <c:pt idx="9046">
                  <c:v>25.127777777777776</c:v>
                </c:pt>
                <c:pt idx="9047">
                  <c:v>25.130555555555556</c:v>
                </c:pt>
                <c:pt idx="9048">
                  <c:v>25.133333333333333</c:v>
                </c:pt>
                <c:pt idx="9049">
                  <c:v>25.136111111111113</c:v>
                </c:pt>
                <c:pt idx="9050">
                  <c:v>25.138888888888889</c:v>
                </c:pt>
                <c:pt idx="9051">
                  <c:v>25.141666666666666</c:v>
                </c:pt>
                <c:pt idx="9052">
                  <c:v>25.144444444444446</c:v>
                </c:pt>
                <c:pt idx="9053">
                  <c:v>25.147222222222222</c:v>
                </c:pt>
                <c:pt idx="9054">
                  <c:v>25.15</c:v>
                </c:pt>
                <c:pt idx="9055">
                  <c:v>25.152777777777779</c:v>
                </c:pt>
                <c:pt idx="9056">
                  <c:v>25.155555555555555</c:v>
                </c:pt>
                <c:pt idx="9057">
                  <c:v>25.158333333333335</c:v>
                </c:pt>
                <c:pt idx="9058">
                  <c:v>25.161111111111111</c:v>
                </c:pt>
                <c:pt idx="9059">
                  <c:v>25.163888888888888</c:v>
                </c:pt>
                <c:pt idx="9060">
                  <c:v>25.166666666666668</c:v>
                </c:pt>
                <c:pt idx="9061">
                  <c:v>25.169444444444444</c:v>
                </c:pt>
                <c:pt idx="9062">
                  <c:v>25.172222222222221</c:v>
                </c:pt>
                <c:pt idx="9063">
                  <c:v>25.175000000000001</c:v>
                </c:pt>
                <c:pt idx="9064">
                  <c:v>25.177777777777777</c:v>
                </c:pt>
                <c:pt idx="9065">
                  <c:v>25.180555555555557</c:v>
                </c:pt>
                <c:pt idx="9066">
                  <c:v>25.183333333333334</c:v>
                </c:pt>
                <c:pt idx="9067">
                  <c:v>25.18611111111111</c:v>
                </c:pt>
                <c:pt idx="9068">
                  <c:v>25.18888888888889</c:v>
                </c:pt>
                <c:pt idx="9069">
                  <c:v>25.191666666666666</c:v>
                </c:pt>
                <c:pt idx="9070">
                  <c:v>25.194444444444443</c:v>
                </c:pt>
                <c:pt idx="9071">
                  <c:v>25.197222222222223</c:v>
                </c:pt>
                <c:pt idx="9072">
                  <c:v>25.2</c:v>
                </c:pt>
                <c:pt idx="9073">
                  <c:v>25.202777777777779</c:v>
                </c:pt>
                <c:pt idx="9074">
                  <c:v>25.205555555555556</c:v>
                </c:pt>
                <c:pt idx="9075">
                  <c:v>25.208333333333332</c:v>
                </c:pt>
                <c:pt idx="9076">
                  <c:v>25.211111111111112</c:v>
                </c:pt>
                <c:pt idx="9077">
                  <c:v>25.213888888888889</c:v>
                </c:pt>
                <c:pt idx="9078">
                  <c:v>25.216666666666665</c:v>
                </c:pt>
                <c:pt idx="9079">
                  <c:v>25.219444444444445</c:v>
                </c:pt>
                <c:pt idx="9080">
                  <c:v>25.222222222222221</c:v>
                </c:pt>
                <c:pt idx="9081">
                  <c:v>25.225000000000001</c:v>
                </c:pt>
                <c:pt idx="9082">
                  <c:v>25.227777777777778</c:v>
                </c:pt>
                <c:pt idx="9083">
                  <c:v>25.230555555555554</c:v>
                </c:pt>
                <c:pt idx="9084">
                  <c:v>25.233333333333334</c:v>
                </c:pt>
                <c:pt idx="9085">
                  <c:v>25.236111111111111</c:v>
                </c:pt>
                <c:pt idx="9086">
                  <c:v>25.238888888888887</c:v>
                </c:pt>
                <c:pt idx="9087">
                  <c:v>25.241666666666667</c:v>
                </c:pt>
                <c:pt idx="9088">
                  <c:v>25.244444444444444</c:v>
                </c:pt>
                <c:pt idx="9089">
                  <c:v>25.247222222222224</c:v>
                </c:pt>
                <c:pt idx="9090">
                  <c:v>25.25</c:v>
                </c:pt>
                <c:pt idx="9091">
                  <c:v>25.252777777777776</c:v>
                </c:pt>
                <c:pt idx="9092">
                  <c:v>25.255555555555556</c:v>
                </c:pt>
                <c:pt idx="9093">
                  <c:v>25.258333333333333</c:v>
                </c:pt>
                <c:pt idx="9094">
                  <c:v>25.261111111111113</c:v>
                </c:pt>
                <c:pt idx="9095">
                  <c:v>25.263888888888889</c:v>
                </c:pt>
                <c:pt idx="9096">
                  <c:v>25.266666666666666</c:v>
                </c:pt>
                <c:pt idx="9097">
                  <c:v>25.269444444444446</c:v>
                </c:pt>
                <c:pt idx="9098">
                  <c:v>25.272222222222222</c:v>
                </c:pt>
                <c:pt idx="9099">
                  <c:v>25.274999999999999</c:v>
                </c:pt>
                <c:pt idx="9100">
                  <c:v>25.277777777777779</c:v>
                </c:pt>
                <c:pt idx="9101">
                  <c:v>25.280555555555555</c:v>
                </c:pt>
                <c:pt idx="9102">
                  <c:v>25.283333333333335</c:v>
                </c:pt>
                <c:pt idx="9103">
                  <c:v>25.286111111111111</c:v>
                </c:pt>
                <c:pt idx="9104">
                  <c:v>25.288888888888888</c:v>
                </c:pt>
                <c:pt idx="9105">
                  <c:v>25.291666666666668</c:v>
                </c:pt>
                <c:pt idx="9106">
                  <c:v>25.294444444444444</c:v>
                </c:pt>
                <c:pt idx="9107">
                  <c:v>25.297222222222221</c:v>
                </c:pt>
                <c:pt idx="9108">
                  <c:v>25.3</c:v>
                </c:pt>
                <c:pt idx="9109">
                  <c:v>25.302777777777777</c:v>
                </c:pt>
                <c:pt idx="9110">
                  <c:v>25.305555555555557</c:v>
                </c:pt>
                <c:pt idx="9111">
                  <c:v>25.308333333333334</c:v>
                </c:pt>
                <c:pt idx="9112">
                  <c:v>25.31111111111111</c:v>
                </c:pt>
                <c:pt idx="9113">
                  <c:v>25.31388888888889</c:v>
                </c:pt>
                <c:pt idx="9114">
                  <c:v>25.316666666666666</c:v>
                </c:pt>
                <c:pt idx="9115">
                  <c:v>25.319444444444443</c:v>
                </c:pt>
                <c:pt idx="9116">
                  <c:v>25.322222222222223</c:v>
                </c:pt>
                <c:pt idx="9117">
                  <c:v>25.324999999999999</c:v>
                </c:pt>
                <c:pt idx="9118">
                  <c:v>25.327777777777779</c:v>
                </c:pt>
                <c:pt idx="9119">
                  <c:v>25.330555555555556</c:v>
                </c:pt>
                <c:pt idx="9120">
                  <c:v>25.333333333333332</c:v>
                </c:pt>
                <c:pt idx="9121">
                  <c:v>25.336111111111112</c:v>
                </c:pt>
                <c:pt idx="9122">
                  <c:v>25.338888888888889</c:v>
                </c:pt>
                <c:pt idx="9123">
                  <c:v>25.341666666666665</c:v>
                </c:pt>
                <c:pt idx="9124">
                  <c:v>25.344444444444445</c:v>
                </c:pt>
                <c:pt idx="9125">
                  <c:v>25.347222222222221</c:v>
                </c:pt>
                <c:pt idx="9126">
                  <c:v>25.35</c:v>
                </c:pt>
                <c:pt idx="9127">
                  <c:v>25.352777777777778</c:v>
                </c:pt>
                <c:pt idx="9128">
                  <c:v>25.355555555555554</c:v>
                </c:pt>
                <c:pt idx="9129">
                  <c:v>25.358333333333334</c:v>
                </c:pt>
                <c:pt idx="9130">
                  <c:v>25.361111111111111</c:v>
                </c:pt>
                <c:pt idx="9131">
                  <c:v>25.363888888888887</c:v>
                </c:pt>
                <c:pt idx="9132">
                  <c:v>25.366666666666667</c:v>
                </c:pt>
                <c:pt idx="9133">
                  <c:v>25.369444444444444</c:v>
                </c:pt>
                <c:pt idx="9134">
                  <c:v>25.372222222222224</c:v>
                </c:pt>
                <c:pt idx="9135">
                  <c:v>25.375</c:v>
                </c:pt>
                <c:pt idx="9136">
                  <c:v>25.377777777777776</c:v>
                </c:pt>
                <c:pt idx="9137">
                  <c:v>25.380555555555556</c:v>
                </c:pt>
                <c:pt idx="9138">
                  <c:v>25.383333333333333</c:v>
                </c:pt>
                <c:pt idx="9139">
                  <c:v>25.386111111111113</c:v>
                </c:pt>
                <c:pt idx="9140">
                  <c:v>25.388888888888889</c:v>
                </c:pt>
                <c:pt idx="9141">
                  <c:v>25.391666666666666</c:v>
                </c:pt>
                <c:pt idx="9142">
                  <c:v>25.394444444444446</c:v>
                </c:pt>
                <c:pt idx="9143">
                  <c:v>25.397222222222222</c:v>
                </c:pt>
                <c:pt idx="9144">
                  <c:v>25.4</c:v>
                </c:pt>
                <c:pt idx="9145">
                  <c:v>25.402777777777779</c:v>
                </c:pt>
                <c:pt idx="9146">
                  <c:v>25.405555555555555</c:v>
                </c:pt>
                <c:pt idx="9147">
                  <c:v>25.408333333333335</c:v>
                </c:pt>
                <c:pt idx="9148">
                  <c:v>25.411111111111111</c:v>
                </c:pt>
                <c:pt idx="9149">
                  <c:v>25.413888888888888</c:v>
                </c:pt>
                <c:pt idx="9150">
                  <c:v>25.416666666666668</c:v>
                </c:pt>
                <c:pt idx="9151">
                  <c:v>25.419444444444444</c:v>
                </c:pt>
                <c:pt idx="9152">
                  <c:v>25.422222222222221</c:v>
                </c:pt>
                <c:pt idx="9153">
                  <c:v>25.425000000000001</c:v>
                </c:pt>
                <c:pt idx="9154">
                  <c:v>25.427777777777777</c:v>
                </c:pt>
                <c:pt idx="9155">
                  <c:v>25.430555555555557</c:v>
                </c:pt>
                <c:pt idx="9156">
                  <c:v>25.433333333333334</c:v>
                </c:pt>
                <c:pt idx="9157">
                  <c:v>25.43611111111111</c:v>
                </c:pt>
                <c:pt idx="9158">
                  <c:v>25.43888888888889</c:v>
                </c:pt>
                <c:pt idx="9159">
                  <c:v>25.441666666666666</c:v>
                </c:pt>
                <c:pt idx="9160">
                  <c:v>25.444444444444443</c:v>
                </c:pt>
                <c:pt idx="9161">
                  <c:v>25.447222222222223</c:v>
                </c:pt>
                <c:pt idx="9162">
                  <c:v>25.45</c:v>
                </c:pt>
                <c:pt idx="9163">
                  <c:v>25.452777777777779</c:v>
                </c:pt>
                <c:pt idx="9164">
                  <c:v>25.455555555555556</c:v>
                </c:pt>
                <c:pt idx="9165">
                  <c:v>25.458333333333332</c:v>
                </c:pt>
                <c:pt idx="9166">
                  <c:v>25.461111111111112</c:v>
                </c:pt>
                <c:pt idx="9167">
                  <c:v>25.463888888888889</c:v>
                </c:pt>
                <c:pt idx="9168">
                  <c:v>25.466666666666665</c:v>
                </c:pt>
                <c:pt idx="9169">
                  <c:v>25.469444444444445</c:v>
                </c:pt>
                <c:pt idx="9170">
                  <c:v>25.472222222222221</c:v>
                </c:pt>
                <c:pt idx="9171">
                  <c:v>25.475000000000001</c:v>
                </c:pt>
                <c:pt idx="9172">
                  <c:v>25.477777777777778</c:v>
                </c:pt>
                <c:pt idx="9173">
                  <c:v>25.480555555555554</c:v>
                </c:pt>
                <c:pt idx="9174">
                  <c:v>25.483333333333334</c:v>
                </c:pt>
                <c:pt idx="9175">
                  <c:v>25.486111111111111</c:v>
                </c:pt>
                <c:pt idx="9176">
                  <c:v>25.488888888888887</c:v>
                </c:pt>
                <c:pt idx="9177">
                  <c:v>25.491666666666667</c:v>
                </c:pt>
                <c:pt idx="9178">
                  <c:v>25.494444444444444</c:v>
                </c:pt>
                <c:pt idx="9179">
                  <c:v>25.497222222222224</c:v>
                </c:pt>
                <c:pt idx="9180">
                  <c:v>25.5</c:v>
                </c:pt>
                <c:pt idx="9181">
                  <c:v>25.502777777777776</c:v>
                </c:pt>
                <c:pt idx="9182">
                  <c:v>25.505555555555556</c:v>
                </c:pt>
                <c:pt idx="9183">
                  <c:v>25.508333333333333</c:v>
                </c:pt>
                <c:pt idx="9184">
                  <c:v>25.511111111111113</c:v>
                </c:pt>
                <c:pt idx="9185">
                  <c:v>25.513888888888889</c:v>
                </c:pt>
                <c:pt idx="9186">
                  <c:v>25.516666666666666</c:v>
                </c:pt>
                <c:pt idx="9187">
                  <c:v>25.519444444444446</c:v>
                </c:pt>
                <c:pt idx="9188">
                  <c:v>25.522222222222222</c:v>
                </c:pt>
                <c:pt idx="9189">
                  <c:v>25.524999999999999</c:v>
                </c:pt>
                <c:pt idx="9190">
                  <c:v>25.527777777777779</c:v>
                </c:pt>
                <c:pt idx="9191">
                  <c:v>25.530555555555555</c:v>
                </c:pt>
                <c:pt idx="9192">
                  <c:v>25.533333333333335</c:v>
                </c:pt>
                <c:pt idx="9193">
                  <c:v>25.536111111111111</c:v>
                </c:pt>
                <c:pt idx="9194">
                  <c:v>25.538888888888888</c:v>
                </c:pt>
                <c:pt idx="9195">
                  <c:v>25.541666666666668</c:v>
                </c:pt>
                <c:pt idx="9196">
                  <c:v>25.544444444444444</c:v>
                </c:pt>
                <c:pt idx="9197">
                  <c:v>25.547222222222221</c:v>
                </c:pt>
                <c:pt idx="9198">
                  <c:v>25.55</c:v>
                </c:pt>
                <c:pt idx="9199">
                  <c:v>25.552777777777777</c:v>
                </c:pt>
                <c:pt idx="9200">
                  <c:v>25.555555555555557</c:v>
                </c:pt>
                <c:pt idx="9201">
                  <c:v>25.558333333333334</c:v>
                </c:pt>
                <c:pt idx="9202">
                  <c:v>25.56111111111111</c:v>
                </c:pt>
                <c:pt idx="9203">
                  <c:v>25.56388888888889</c:v>
                </c:pt>
                <c:pt idx="9204">
                  <c:v>25.566666666666666</c:v>
                </c:pt>
                <c:pt idx="9205">
                  <c:v>25.569444444444443</c:v>
                </c:pt>
                <c:pt idx="9206">
                  <c:v>25.572222222222223</c:v>
                </c:pt>
                <c:pt idx="9207">
                  <c:v>25.574999999999999</c:v>
                </c:pt>
                <c:pt idx="9208">
                  <c:v>25.577777777777779</c:v>
                </c:pt>
                <c:pt idx="9209">
                  <c:v>25.580555555555556</c:v>
                </c:pt>
                <c:pt idx="9210">
                  <c:v>25.583333333333332</c:v>
                </c:pt>
                <c:pt idx="9211">
                  <c:v>25.586111111111112</c:v>
                </c:pt>
                <c:pt idx="9212">
                  <c:v>25.588888888888889</c:v>
                </c:pt>
                <c:pt idx="9213">
                  <c:v>25.591666666666665</c:v>
                </c:pt>
                <c:pt idx="9214">
                  <c:v>25.594444444444445</c:v>
                </c:pt>
                <c:pt idx="9215">
                  <c:v>25.597222222222221</c:v>
                </c:pt>
                <c:pt idx="9216">
                  <c:v>25.6</c:v>
                </c:pt>
                <c:pt idx="9217">
                  <c:v>25.602777777777778</c:v>
                </c:pt>
                <c:pt idx="9218">
                  <c:v>25.605555555555554</c:v>
                </c:pt>
                <c:pt idx="9219">
                  <c:v>25.608333333333334</c:v>
                </c:pt>
                <c:pt idx="9220">
                  <c:v>25.611111111111111</c:v>
                </c:pt>
                <c:pt idx="9221">
                  <c:v>25.613888888888887</c:v>
                </c:pt>
                <c:pt idx="9222">
                  <c:v>25.616666666666667</c:v>
                </c:pt>
                <c:pt idx="9223">
                  <c:v>25.619444444444444</c:v>
                </c:pt>
                <c:pt idx="9224">
                  <c:v>25.622222222222224</c:v>
                </c:pt>
                <c:pt idx="9225">
                  <c:v>25.625</c:v>
                </c:pt>
                <c:pt idx="9226">
                  <c:v>25.627777777777776</c:v>
                </c:pt>
                <c:pt idx="9227">
                  <c:v>25.630555555555556</c:v>
                </c:pt>
                <c:pt idx="9228">
                  <c:v>25.633333333333333</c:v>
                </c:pt>
                <c:pt idx="9229">
                  <c:v>25.636111111111113</c:v>
                </c:pt>
                <c:pt idx="9230">
                  <c:v>25.638888888888889</c:v>
                </c:pt>
                <c:pt idx="9231">
                  <c:v>25.641666666666666</c:v>
                </c:pt>
                <c:pt idx="9232">
                  <c:v>25.644444444444446</c:v>
                </c:pt>
                <c:pt idx="9233">
                  <c:v>25.647222222222222</c:v>
                </c:pt>
                <c:pt idx="9234">
                  <c:v>25.65</c:v>
                </c:pt>
                <c:pt idx="9235">
                  <c:v>25.652777777777779</c:v>
                </c:pt>
                <c:pt idx="9236">
                  <c:v>25.655555555555555</c:v>
                </c:pt>
                <c:pt idx="9237">
                  <c:v>25.658333333333335</c:v>
                </c:pt>
                <c:pt idx="9238">
                  <c:v>25.661111111111111</c:v>
                </c:pt>
                <c:pt idx="9239">
                  <c:v>25.663888888888888</c:v>
                </c:pt>
                <c:pt idx="9240">
                  <c:v>25.666666666666668</c:v>
                </c:pt>
                <c:pt idx="9241">
                  <c:v>25.669444444444444</c:v>
                </c:pt>
                <c:pt idx="9242">
                  <c:v>25.672222222222221</c:v>
                </c:pt>
                <c:pt idx="9243">
                  <c:v>25.675000000000001</c:v>
                </c:pt>
                <c:pt idx="9244">
                  <c:v>25.677777777777777</c:v>
                </c:pt>
                <c:pt idx="9245">
                  <c:v>25.680555555555557</c:v>
                </c:pt>
                <c:pt idx="9246">
                  <c:v>25.683333333333334</c:v>
                </c:pt>
                <c:pt idx="9247">
                  <c:v>25.68611111111111</c:v>
                </c:pt>
                <c:pt idx="9248">
                  <c:v>25.68888888888889</c:v>
                </c:pt>
                <c:pt idx="9249">
                  <c:v>25.691666666666666</c:v>
                </c:pt>
                <c:pt idx="9250">
                  <c:v>25.694444444444443</c:v>
                </c:pt>
                <c:pt idx="9251">
                  <c:v>25.697222222222223</c:v>
                </c:pt>
                <c:pt idx="9252">
                  <c:v>25.7</c:v>
                </c:pt>
                <c:pt idx="9253">
                  <c:v>25.702777777777779</c:v>
                </c:pt>
                <c:pt idx="9254">
                  <c:v>25.705555555555556</c:v>
                </c:pt>
                <c:pt idx="9255">
                  <c:v>25.708333333333332</c:v>
                </c:pt>
                <c:pt idx="9256">
                  <c:v>25.711111111111112</c:v>
                </c:pt>
                <c:pt idx="9257">
                  <c:v>25.713888888888889</c:v>
                </c:pt>
                <c:pt idx="9258">
                  <c:v>25.716666666666665</c:v>
                </c:pt>
                <c:pt idx="9259">
                  <c:v>25.719444444444445</c:v>
                </c:pt>
                <c:pt idx="9260">
                  <c:v>25.722222222222221</c:v>
                </c:pt>
                <c:pt idx="9261">
                  <c:v>25.725000000000001</c:v>
                </c:pt>
                <c:pt idx="9262">
                  <c:v>25.727777777777778</c:v>
                </c:pt>
                <c:pt idx="9263">
                  <c:v>25.730555555555554</c:v>
                </c:pt>
                <c:pt idx="9264">
                  <c:v>25.733333333333334</c:v>
                </c:pt>
                <c:pt idx="9265">
                  <c:v>25.736111111111111</c:v>
                </c:pt>
                <c:pt idx="9266">
                  <c:v>25.738888888888887</c:v>
                </c:pt>
                <c:pt idx="9267">
                  <c:v>25.741666666666667</c:v>
                </c:pt>
                <c:pt idx="9268">
                  <c:v>25.744444444444444</c:v>
                </c:pt>
                <c:pt idx="9269">
                  <c:v>25.747222222222224</c:v>
                </c:pt>
                <c:pt idx="9270">
                  <c:v>25.75</c:v>
                </c:pt>
                <c:pt idx="9271">
                  <c:v>25.752777777777776</c:v>
                </c:pt>
                <c:pt idx="9272">
                  <c:v>25.755555555555556</c:v>
                </c:pt>
                <c:pt idx="9273">
                  <c:v>25.758333333333333</c:v>
                </c:pt>
                <c:pt idx="9274">
                  <c:v>25.761111111111113</c:v>
                </c:pt>
                <c:pt idx="9275">
                  <c:v>25.763888888888889</c:v>
                </c:pt>
                <c:pt idx="9276">
                  <c:v>25.766666666666666</c:v>
                </c:pt>
                <c:pt idx="9277">
                  <c:v>25.769444444444446</c:v>
                </c:pt>
                <c:pt idx="9278">
                  <c:v>25.772222222222222</c:v>
                </c:pt>
                <c:pt idx="9279">
                  <c:v>25.774999999999999</c:v>
                </c:pt>
                <c:pt idx="9280">
                  <c:v>25.777777777777779</c:v>
                </c:pt>
                <c:pt idx="9281">
                  <c:v>25.780555555555555</c:v>
                </c:pt>
                <c:pt idx="9282">
                  <c:v>25.783333333333335</c:v>
                </c:pt>
                <c:pt idx="9283">
                  <c:v>25.786111111111111</c:v>
                </c:pt>
                <c:pt idx="9284">
                  <c:v>25.788888888888888</c:v>
                </c:pt>
                <c:pt idx="9285">
                  <c:v>25.791666666666668</c:v>
                </c:pt>
                <c:pt idx="9286">
                  <c:v>25.794444444444444</c:v>
                </c:pt>
                <c:pt idx="9287">
                  <c:v>25.797222222222221</c:v>
                </c:pt>
                <c:pt idx="9288">
                  <c:v>25.8</c:v>
                </c:pt>
                <c:pt idx="9289">
                  <c:v>25.802777777777777</c:v>
                </c:pt>
                <c:pt idx="9290">
                  <c:v>25.805555555555557</c:v>
                </c:pt>
                <c:pt idx="9291">
                  <c:v>25.808333333333334</c:v>
                </c:pt>
                <c:pt idx="9292">
                  <c:v>25.81111111111111</c:v>
                </c:pt>
                <c:pt idx="9293">
                  <c:v>25.81388888888889</c:v>
                </c:pt>
                <c:pt idx="9294">
                  <c:v>25.816666666666666</c:v>
                </c:pt>
                <c:pt idx="9295">
                  <c:v>25.819444444444443</c:v>
                </c:pt>
                <c:pt idx="9296">
                  <c:v>25.822222222222223</c:v>
                </c:pt>
                <c:pt idx="9297">
                  <c:v>25.824999999999999</c:v>
                </c:pt>
                <c:pt idx="9298">
                  <c:v>25.827777777777779</c:v>
                </c:pt>
                <c:pt idx="9299">
                  <c:v>25.830555555555556</c:v>
                </c:pt>
                <c:pt idx="9300">
                  <c:v>25.833333333333332</c:v>
                </c:pt>
                <c:pt idx="9301">
                  <c:v>25.836111111111112</c:v>
                </c:pt>
                <c:pt idx="9302">
                  <c:v>25.838888888888889</c:v>
                </c:pt>
                <c:pt idx="9303">
                  <c:v>25.841666666666665</c:v>
                </c:pt>
                <c:pt idx="9304">
                  <c:v>25.844444444444445</c:v>
                </c:pt>
                <c:pt idx="9305">
                  <c:v>25.847222222222221</c:v>
                </c:pt>
                <c:pt idx="9306">
                  <c:v>25.85</c:v>
                </c:pt>
                <c:pt idx="9307">
                  <c:v>25.852777777777778</c:v>
                </c:pt>
                <c:pt idx="9308">
                  <c:v>25.855555555555554</c:v>
                </c:pt>
                <c:pt idx="9309">
                  <c:v>25.858333333333334</c:v>
                </c:pt>
                <c:pt idx="9310">
                  <c:v>25.861111111111111</c:v>
                </c:pt>
                <c:pt idx="9311">
                  <c:v>25.863888888888887</c:v>
                </c:pt>
                <c:pt idx="9312">
                  <c:v>25.866666666666667</c:v>
                </c:pt>
                <c:pt idx="9313">
                  <c:v>25.869444444444444</c:v>
                </c:pt>
                <c:pt idx="9314">
                  <c:v>25.872222222222224</c:v>
                </c:pt>
                <c:pt idx="9315">
                  <c:v>25.875</c:v>
                </c:pt>
                <c:pt idx="9316">
                  <c:v>25.877777777777776</c:v>
                </c:pt>
                <c:pt idx="9317">
                  <c:v>25.880555555555556</c:v>
                </c:pt>
                <c:pt idx="9318">
                  <c:v>25.883333333333333</c:v>
                </c:pt>
                <c:pt idx="9319">
                  <c:v>25.886111111111113</c:v>
                </c:pt>
                <c:pt idx="9320">
                  <c:v>25.888888888888889</c:v>
                </c:pt>
                <c:pt idx="9321">
                  <c:v>25.891666666666666</c:v>
                </c:pt>
                <c:pt idx="9322">
                  <c:v>25.894444444444446</c:v>
                </c:pt>
                <c:pt idx="9323">
                  <c:v>25.897222222222222</c:v>
                </c:pt>
                <c:pt idx="9324">
                  <c:v>25.9</c:v>
                </c:pt>
                <c:pt idx="9325">
                  <c:v>25.902777777777779</c:v>
                </c:pt>
                <c:pt idx="9326">
                  <c:v>25.905555555555555</c:v>
                </c:pt>
                <c:pt idx="9327">
                  <c:v>25.908333333333335</c:v>
                </c:pt>
                <c:pt idx="9328">
                  <c:v>25.911111111111111</c:v>
                </c:pt>
                <c:pt idx="9329">
                  <c:v>25.913888888888888</c:v>
                </c:pt>
                <c:pt idx="9330">
                  <c:v>25.916666666666668</c:v>
                </c:pt>
                <c:pt idx="9331">
                  <c:v>25.919444444444444</c:v>
                </c:pt>
                <c:pt idx="9332">
                  <c:v>25.922222222222221</c:v>
                </c:pt>
                <c:pt idx="9333">
                  <c:v>25.925000000000001</c:v>
                </c:pt>
                <c:pt idx="9334">
                  <c:v>25.927777777777777</c:v>
                </c:pt>
                <c:pt idx="9335">
                  <c:v>25.930555555555557</c:v>
                </c:pt>
                <c:pt idx="9336">
                  <c:v>25.933333333333334</c:v>
                </c:pt>
                <c:pt idx="9337">
                  <c:v>25.93611111111111</c:v>
                </c:pt>
                <c:pt idx="9338">
                  <c:v>25.93888888888889</c:v>
                </c:pt>
                <c:pt idx="9339">
                  <c:v>25.941666666666666</c:v>
                </c:pt>
                <c:pt idx="9340">
                  <c:v>25.944444444444443</c:v>
                </c:pt>
                <c:pt idx="9341">
                  <c:v>25.947222222222223</c:v>
                </c:pt>
                <c:pt idx="9342">
                  <c:v>25.95</c:v>
                </c:pt>
                <c:pt idx="9343">
                  <c:v>25.952777777777779</c:v>
                </c:pt>
                <c:pt idx="9344">
                  <c:v>25.955555555555556</c:v>
                </c:pt>
                <c:pt idx="9345">
                  <c:v>25.958333333333332</c:v>
                </c:pt>
                <c:pt idx="9346">
                  <c:v>25.961111111111112</c:v>
                </c:pt>
                <c:pt idx="9347">
                  <c:v>25.963888888888889</c:v>
                </c:pt>
                <c:pt idx="9348">
                  <c:v>25.966666666666665</c:v>
                </c:pt>
                <c:pt idx="9349">
                  <c:v>25.969444444444445</c:v>
                </c:pt>
                <c:pt idx="9350">
                  <c:v>25.972222222222221</c:v>
                </c:pt>
                <c:pt idx="9351">
                  <c:v>25.975000000000001</c:v>
                </c:pt>
                <c:pt idx="9352">
                  <c:v>25.977777777777778</c:v>
                </c:pt>
                <c:pt idx="9353">
                  <c:v>25.980555555555554</c:v>
                </c:pt>
                <c:pt idx="9354">
                  <c:v>25.983333333333334</c:v>
                </c:pt>
                <c:pt idx="9355">
                  <c:v>25.986111111111111</c:v>
                </c:pt>
                <c:pt idx="9356">
                  <c:v>25.988888888888887</c:v>
                </c:pt>
                <c:pt idx="9357">
                  <c:v>25.991666666666667</c:v>
                </c:pt>
                <c:pt idx="9358">
                  <c:v>25.994444444444444</c:v>
                </c:pt>
                <c:pt idx="9359">
                  <c:v>25.997222222222224</c:v>
                </c:pt>
                <c:pt idx="9360">
                  <c:v>26</c:v>
                </c:pt>
                <c:pt idx="9361">
                  <c:v>26.002777777777776</c:v>
                </c:pt>
                <c:pt idx="9362">
                  <c:v>26.005555555555556</c:v>
                </c:pt>
                <c:pt idx="9363">
                  <c:v>26.008333333333333</c:v>
                </c:pt>
                <c:pt idx="9364">
                  <c:v>26.011111111111113</c:v>
                </c:pt>
                <c:pt idx="9365">
                  <c:v>26.013888888888889</c:v>
                </c:pt>
                <c:pt idx="9366">
                  <c:v>26.016666666666666</c:v>
                </c:pt>
                <c:pt idx="9367">
                  <c:v>26.019444444444446</c:v>
                </c:pt>
                <c:pt idx="9368">
                  <c:v>26.022222222222222</c:v>
                </c:pt>
                <c:pt idx="9369">
                  <c:v>26.024999999999999</c:v>
                </c:pt>
                <c:pt idx="9370">
                  <c:v>26.027777777777779</c:v>
                </c:pt>
                <c:pt idx="9371">
                  <c:v>26.030555555555555</c:v>
                </c:pt>
                <c:pt idx="9372">
                  <c:v>26.033333333333335</c:v>
                </c:pt>
                <c:pt idx="9373">
                  <c:v>26.036111111111111</c:v>
                </c:pt>
                <c:pt idx="9374">
                  <c:v>26.038888888888888</c:v>
                </c:pt>
                <c:pt idx="9375">
                  <c:v>26.041666666666668</c:v>
                </c:pt>
                <c:pt idx="9376">
                  <c:v>26.044444444444444</c:v>
                </c:pt>
                <c:pt idx="9377">
                  <c:v>26.047222222222221</c:v>
                </c:pt>
                <c:pt idx="9378">
                  <c:v>26.05</c:v>
                </c:pt>
                <c:pt idx="9379">
                  <c:v>26.052777777777777</c:v>
                </c:pt>
                <c:pt idx="9380">
                  <c:v>26.055555555555557</c:v>
                </c:pt>
                <c:pt idx="9381">
                  <c:v>26.058333333333334</c:v>
                </c:pt>
                <c:pt idx="9382">
                  <c:v>26.06111111111111</c:v>
                </c:pt>
                <c:pt idx="9383">
                  <c:v>26.06388888888889</c:v>
                </c:pt>
                <c:pt idx="9384">
                  <c:v>26.066666666666666</c:v>
                </c:pt>
                <c:pt idx="9385">
                  <c:v>26.069444444444443</c:v>
                </c:pt>
                <c:pt idx="9386">
                  <c:v>26.072222222222223</c:v>
                </c:pt>
                <c:pt idx="9387">
                  <c:v>26.074999999999999</c:v>
                </c:pt>
                <c:pt idx="9388">
                  <c:v>26.077777777777779</c:v>
                </c:pt>
                <c:pt idx="9389">
                  <c:v>26.080555555555556</c:v>
                </c:pt>
                <c:pt idx="9390">
                  <c:v>26.083333333333332</c:v>
                </c:pt>
                <c:pt idx="9391">
                  <c:v>26.086111111111112</c:v>
                </c:pt>
                <c:pt idx="9392">
                  <c:v>26.088888888888889</c:v>
                </c:pt>
                <c:pt idx="9393">
                  <c:v>26.091666666666665</c:v>
                </c:pt>
                <c:pt idx="9394">
                  <c:v>26.094444444444445</c:v>
                </c:pt>
                <c:pt idx="9395">
                  <c:v>26.097222222222221</c:v>
                </c:pt>
                <c:pt idx="9396">
                  <c:v>26.1</c:v>
                </c:pt>
                <c:pt idx="9397">
                  <c:v>26.102777777777778</c:v>
                </c:pt>
                <c:pt idx="9398">
                  <c:v>26.105555555555554</c:v>
                </c:pt>
                <c:pt idx="9399">
                  <c:v>26.108333333333334</c:v>
                </c:pt>
                <c:pt idx="9400">
                  <c:v>26.111111111111111</c:v>
                </c:pt>
                <c:pt idx="9401">
                  <c:v>26.113888888888887</c:v>
                </c:pt>
                <c:pt idx="9402">
                  <c:v>26.116666666666667</c:v>
                </c:pt>
                <c:pt idx="9403">
                  <c:v>26.119444444444444</c:v>
                </c:pt>
                <c:pt idx="9404">
                  <c:v>26.122222222222224</c:v>
                </c:pt>
                <c:pt idx="9405">
                  <c:v>26.125</c:v>
                </c:pt>
                <c:pt idx="9406">
                  <c:v>26.127777777777776</c:v>
                </c:pt>
                <c:pt idx="9407">
                  <c:v>26.130555555555556</c:v>
                </c:pt>
                <c:pt idx="9408">
                  <c:v>26.133333333333333</c:v>
                </c:pt>
                <c:pt idx="9409">
                  <c:v>26.136111111111113</c:v>
                </c:pt>
                <c:pt idx="9410">
                  <c:v>26.138888888888889</c:v>
                </c:pt>
                <c:pt idx="9411">
                  <c:v>26.141666666666666</c:v>
                </c:pt>
                <c:pt idx="9412">
                  <c:v>26.144444444444446</c:v>
                </c:pt>
                <c:pt idx="9413">
                  <c:v>26.147222222222222</c:v>
                </c:pt>
                <c:pt idx="9414">
                  <c:v>26.15</c:v>
                </c:pt>
                <c:pt idx="9415">
                  <c:v>26.152777777777779</c:v>
                </c:pt>
                <c:pt idx="9416">
                  <c:v>26.155555555555555</c:v>
                </c:pt>
                <c:pt idx="9417">
                  <c:v>26.158333333333335</c:v>
                </c:pt>
                <c:pt idx="9418">
                  <c:v>26.161111111111111</c:v>
                </c:pt>
                <c:pt idx="9419">
                  <c:v>26.163888888888888</c:v>
                </c:pt>
                <c:pt idx="9420">
                  <c:v>26.166666666666668</c:v>
                </c:pt>
                <c:pt idx="9421">
                  <c:v>26.169444444444444</c:v>
                </c:pt>
                <c:pt idx="9422">
                  <c:v>26.172222222222221</c:v>
                </c:pt>
                <c:pt idx="9423">
                  <c:v>26.175000000000001</c:v>
                </c:pt>
                <c:pt idx="9424">
                  <c:v>26.177777777777777</c:v>
                </c:pt>
                <c:pt idx="9425">
                  <c:v>26.180555555555557</c:v>
                </c:pt>
                <c:pt idx="9426">
                  <c:v>26.183333333333334</c:v>
                </c:pt>
                <c:pt idx="9427">
                  <c:v>26.18611111111111</c:v>
                </c:pt>
                <c:pt idx="9428">
                  <c:v>26.18888888888889</c:v>
                </c:pt>
                <c:pt idx="9429">
                  <c:v>26.191666666666666</c:v>
                </c:pt>
                <c:pt idx="9430">
                  <c:v>26.194444444444443</c:v>
                </c:pt>
                <c:pt idx="9431">
                  <c:v>26.197222222222223</c:v>
                </c:pt>
                <c:pt idx="9432">
                  <c:v>26.2</c:v>
                </c:pt>
                <c:pt idx="9433">
                  <c:v>26.202777777777779</c:v>
                </c:pt>
                <c:pt idx="9434">
                  <c:v>26.205555555555556</c:v>
                </c:pt>
                <c:pt idx="9435">
                  <c:v>26.208333333333332</c:v>
                </c:pt>
                <c:pt idx="9436">
                  <c:v>26.211111111111112</c:v>
                </c:pt>
                <c:pt idx="9437">
                  <c:v>26.213888888888889</c:v>
                </c:pt>
                <c:pt idx="9438">
                  <c:v>26.216666666666665</c:v>
                </c:pt>
                <c:pt idx="9439">
                  <c:v>26.219444444444445</c:v>
                </c:pt>
                <c:pt idx="9440">
                  <c:v>26.222222222222221</c:v>
                </c:pt>
                <c:pt idx="9441">
                  <c:v>26.225000000000001</c:v>
                </c:pt>
                <c:pt idx="9442">
                  <c:v>26.227777777777778</c:v>
                </c:pt>
                <c:pt idx="9443">
                  <c:v>26.230555555555554</c:v>
                </c:pt>
                <c:pt idx="9444">
                  <c:v>26.233333333333334</c:v>
                </c:pt>
                <c:pt idx="9445">
                  <c:v>26.236111111111111</c:v>
                </c:pt>
                <c:pt idx="9446">
                  <c:v>26.238888888888887</c:v>
                </c:pt>
                <c:pt idx="9447">
                  <c:v>26.241666666666667</c:v>
                </c:pt>
                <c:pt idx="9448">
                  <c:v>26.244444444444444</c:v>
                </c:pt>
                <c:pt idx="9449">
                  <c:v>26.247222222222224</c:v>
                </c:pt>
                <c:pt idx="9450">
                  <c:v>26.25</c:v>
                </c:pt>
                <c:pt idx="9451">
                  <c:v>26.252777777777776</c:v>
                </c:pt>
                <c:pt idx="9452">
                  <c:v>26.255555555555556</c:v>
                </c:pt>
                <c:pt idx="9453">
                  <c:v>26.258333333333333</c:v>
                </c:pt>
                <c:pt idx="9454">
                  <c:v>26.261111111111113</c:v>
                </c:pt>
                <c:pt idx="9455">
                  <c:v>26.263888888888889</c:v>
                </c:pt>
                <c:pt idx="9456">
                  <c:v>26.266666666666666</c:v>
                </c:pt>
                <c:pt idx="9457">
                  <c:v>26.269444444444446</c:v>
                </c:pt>
                <c:pt idx="9458">
                  <c:v>26.272222222222222</c:v>
                </c:pt>
                <c:pt idx="9459">
                  <c:v>26.274999999999999</c:v>
                </c:pt>
                <c:pt idx="9460">
                  <c:v>26.277777777777779</c:v>
                </c:pt>
                <c:pt idx="9461">
                  <c:v>26.280555555555555</c:v>
                </c:pt>
                <c:pt idx="9462">
                  <c:v>26.283333333333335</c:v>
                </c:pt>
                <c:pt idx="9463">
                  <c:v>26.286111111111111</c:v>
                </c:pt>
                <c:pt idx="9464">
                  <c:v>26.288888888888888</c:v>
                </c:pt>
                <c:pt idx="9465">
                  <c:v>26.291666666666668</c:v>
                </c:pt>
                <c:pt idx="9466">
                  <c:v>26.294444444444444</c:v>
                </c:pt>
                <c:pt idx="9467">
                  <c:v>26.297222222222221</c:v>
                </c:pt>
                <c:pt idx="9468">
                  <c:v>26.3</c:v>
                </c:pt>
                <c:pt idx="9469">
                  <c:v>26.302777777777777</c:v>
                </c:pt>
                <c:pt idx="9470">
                  <c:v>26.305555555555557</c:v>
                </c:pt>
                <c:pt idx="9471">
                  <c:v>26.308333333333334</c:v>
                </c:pt>
                <c:pt idx="9472">
                  <c:v>26.31111111111111</c:v>
                </c:pt>
                <c:pt idx="9473">
                  <c:v>26.31388888888889</c:v>
                </c:pt>
                <c:pt idx="9474">
                  <c:v>26.316666666666666</c:v>
                </c:pt>
                <c:pt idx="9475">
                  <c:v>26.319444444444443</c:v>
                </c:pt>
                <c:pt idx="9476">
                  <c:v>26.322222222222223</c:v>
                </c:pt>
                <c:pt idx="9477">
                  <c:v>26.324999999999999</c:v>
                </c:pt>
                <c:pt idx="9478">
                  <c:v>26.327777777777779</c:v>
                </c:pt>
                <c:pt idx="9479">
                  <c:v>26.330555555555556</c:v>
                </c:pt>
                <c:pt idx="9480">
                  <c:v>26.333333333333332</c:v>
                </c:pt>
                <c:pt idx="9481">
                  <c:v>26.336111111111112</c:v>
                </c:pt>
                <c:pt idx="9482">
                  <c:v>26.338888888888889</c:v>
                </c:pt>
                <c:pt idx="9483">
                  <c:v>26.341666666666665</c:v>
                </c:pt>
                <c:pt idx="9484">
                  <c:v>26.344444444444445</c:v>
                </c:pt>
                <c:pt idx="9485">
                  <c:v>26.347222222222221</c:v>
                </c:pt>
                <c:pt idx="9486">
                  <c:v>26.35</c:v>
                </c:pt>
                <c:pt idx="9487">
                  <c:v>26.352777777777778</c:v>
                </c:pt>
                <c:pt idx="9488">
                  <c:v>26.355555555555554</c:v>
                </c:pt>
                <c:pt idx="9489">
                  <c:v>26.358333333333334</c:v>
                </c:pt>
                <c:pt idx="9490">
                  <c:v>26.361111111111111</c:v>
                </c:pt>
                <c:pt idx="9491">
                  <c:v>26.363888888888887</c:v>
                </c:pt>
                <c:pt idx="9492">
                  <c:v>26.366666666666667</c:v>
                </c:pt>
                <c:pt idx="9493">
                  <c:v>26.369444444444444</c:v>
                </c:pt>
                <c:pt idx="9494">
                  <c:v>26.372222222222224</c:v>
                </c:pt>
                <c:pt idx="9495">
                  <c:v>26.375</c:v>
                </c:pt>
                <c:pt idx="9496">
                  <c:v>26.377777777777776</c:v>
                </c:pt>
                <c:pt idx="9497">
                  <c:v>26.380555555555556</c:v>
                </c:pt>
                <c:pt idx="9498">
                  <c:v>26.383333333333333</c:v>
                </c:pt>
                <c:pt idx="9499">
                  <c:v>26.386111111111113</c:v>
                </c:pt>
                <c:pt idx="9500">
                  <c:v>26.388888888888889</c:v>
                </c:pt>
                <c:pt idx="9501">
                  <c:v>26.391666666666666</c:v>
                </c:pt>
                <c:pt idx="9502">
                  <c:v>26.394444444444446</c:v>
                </c:pt>
                <c:pt idx="9503">
                  <c:v>26.397222222222222</c:v>
                </c:pt>
                <c:pt idx="9504">
                  <c:v>26.4</c:v>
                </c:pt>
                <c:pt idx="9505">
                  <c:v>26.402777777777779</c:v>
                </c:pt>
                <c:pt idx="9506">
                  <c:v>26.405555555555555</c:v>
                </c:pt>
                <c:pt idx="9507">
                  <c:v>26.408333333333335</c:v>
                </c:pt>
                <c:pt idx="9508">
                  <c:v>26.411111111111111</c:v>
                </c:pt>
                <c:pt idx="9509">
                  <c:v>26.413888888888888</c:v>
                </c:pt>
                <c:pt idx="9510">
                  <c:v>26.416666666666668</c:v>
                </c:pt>
                <c:pt idx="9511">
                  <c:v>26.419444444444444</c:v>
                </c:pt>
                <c:pt idx="9512">
                  <c:v>26.422222222222221</c:v>
                </c:pt>
                <c:pt idx="9513">
                  <c:v>26.425000000000001</c:v>
                </c:pt>
                <c:pt idx="9514">
                  <c:v>26.427777777777777</c:v>
                </c:pt>
                <c:pt idx="9515">
                  <c:v>26.430555555555557</c:v>
                </c:pt>
                <c:pt idx="9516">
                  <c:v>26.433333333333334</c:v>
                </c:pt>
                <c:pt idx="9517">
                  <c:v>26.43611111111111</c:v>
                </c:pt>
                <c:pt idx="9518">
                  <c:v>26.43888888888889</c:v>
                </c:pt>
                <c:pt idx="9519">
                  <c:v>26.441666666666666</c:v>
                </c:pt>
                <c:pt idx="9520">
                  <c:v>26.444444444444443</c:v>
                </c:pt>
                <c:pt idx="9521">
                  <c:v>26.447222222222223</c:v>
                </c:pt>
                <c:pt idx="9522">
                  <c:v>26.45</c:v>
                </c:pt>
                <c:pt idx="9523">
                  <c:v>26.452777777777779</c:v>
                </c:pt>
                <c:pt idx="9524">
                  <c:v>26.455555555555556</c:v>
                </c:pt>
                <c:pt idx="9525">
                  <c:v>26.458333333333332</c:v>
                </c:pt>
                <c:pt idx="9526">
                  <c:v>26.461111111111112</c:v>
                </c:pt>
                <c:pt idx="9527">
                  <c:v>26.463888888888889</c:v>
                </c:pt>
                <c:pt idx="9528">
                  <c:v>26.466666666666665</c:v>
                </c:pt>
                <c:pt idx="9529">
                  <c:v>26.469444444444445</c:v>
                </c:pt>
                <c:pt idx="9530">
                  <c:v>26.472222222222221</c:v>
                </c:pt>
                <c:pt idx="9531">
                  <c:v>26.475000000000001</c:v>
                </c:pt>
                <c:pt idx="9532">
                  <c:v>26.477777777777778</c:v>
                </c:pt>
                <c:pt idx="9533">
                  <c:v>26.480555555555554</c:v>
                </c:pt>
                <c:pt idx="9534">
                  <c:v>26.483333333333334</c:v>
                </c:pt>
                <c:pt idx="9535">
                  <c:v>26.486111111111111</c:v>
                </c:pt>
                <c:pt idx="9536">
                  <c:v>26.488888888888887</c:v>
                </c:pt>
                <c:pt idx="9537">
                  <c:v>26.491666666666667</c:v>
                </c:pt>
                <c:pt idx="9538">
                  <c:v>26.494444444444444</c:v>
                </c:pt>
                <c:pt idx="9539">
                  <c:v>26.497222222222224</c:v>
                </c:pt>
                <c:pt idx="9540">
                  <c:v>26.5</c:v>
                </c:pt>
                <c:pt idx="9541">
                  <c:v>26.502777777777776</c:v>
                </c:pt>
                <c:pt idx="9542">
                  <c:v>26.505555555555556</c:v>
                </c:pt>
                <c:pt idx="9543">
                  <c:v>26.508333333333333</c:v>
                </c:pt>
                <c:pt idx="9544">
                  <c:v>26.511111111111113</c:v>
                </c:pt>
                <c:pt idx="9545">
                  <c:v>26.513888888888889</c:v>
                </c:pt>
                <c:pt idx="9546">
                  <c:v>26.516666666666666</c:v>
                </c:pt>
                <c:pt idx="9547">
                  <c:v>26.519444444444446</c:v>
                </c:pt>
                <c:pt idx="9548">
                  <c:v>26.522222222222222</c:v>
                </c:pt>
                <c:pt idx="9549">
                  <c:v>26.524999999999999</c:v>
                </c:pt>
                <c:pt idx="9550">
                  <c:v>26.527777777777779</c:v>
                </c:pt>
                <c:pt idx="9551">
                  <c:v>26.530555555555555</c:v>
                </c:pt>
                <c:pt idx="9552">
                  <c:v>26.533333333333335</c:v>
                </c:pt>
                <c:pt idx="9553">
                  <c:v>26.536111111111111</c:v>
                </c:pt>
                <c:pt idx="9554">
                  <c:v>26.538888888888888</c:v>
                </c:pt>
                <c:pt idx="9555">
                  <c:v>26.541666666666668</c:v>
                </c:pt>
                <c:pt idx="9556">
                  <c:v>26.544444444444444</c:v>
                </c:pt>
                <c:pt idx="9557">
                  <c:v>26.547222222222221</c:v>
                </c:pt>
                <c:pt idx="9558">
                  <c:v>26.55</c:v>
                </c:pt>
                <c:pt idx="9559">
                  <c:v>26.552777777777777</c:v>
                </c:pt>
                <c:pt idx="9560">
                  <c:v>26.555555555555557</c:v>
                </c:pt>
                <c:pt idx="9561">
                  <c:v>26.558333333333334</c:v>
                </c:pt>
                <c:pt idx="9562">
                  <c:v>26.56111111111111</c:v>
                </c:pt>
                <c:pt idx="9563">
                  <c:v>26.56388888888889</c:v>
                </c:pt>
                <c:pt idx="9564">
                  <c:v>26.566666666666666</c:v>
                </c:pt>
                <c:pt idx="9565">
                  <c:v>26.569444444444443</c:v>
                </c:pt>
                <c:pt idx="9566">
                  <c:v>26.572222222222223</c:v>
                </c:pt>
                <c:pt idx="9567">
                  <c:v>26.574999999999999</c:v>
                </c:pt>
                <c:pt idx="9568">
                  <c:v>26.577777777777779</c:v>
                </c:pt>
                <c:pt idx="9569">
                  <c:v>26.580555555555556</c:v>
                </c:pt>
                <c:pt idx="9570">
                  <c:v>26.583333333333332</c:v>
                </c:pt>
                <c:pt idx="9571">
                  <c:v>26.586111111111112</c:v>
                </c:pt>
                <c:pt idx="9572">
                  <c:v>26.588888888888889</c:v>
                </c:pt>
                <c:pt idx="9573">
                  <c:v>26.591666666666665</c:v>
                </c:pt>
                <c:pt idx="9574">
                  <c:v>26.594444444444445</c:v>
                </c:pt>
                <c:pt idx="9575">
                  <c:v>26.597222222222221</c:v>
                </c:pt>
                <c:pt idx="9576">
                  <c:v>26.6</c:v>
                </c:pt>
                <c:pt idx="9577">
                  <c:v>26.602777777777778</c:v>
                </c:pt>
                <c:pt idx="9578">
                  <c:v>26.605555555555554</c:v>
                </c:pt>
                <c:pt idx="9579">
                  <c:v>26.608333333333334</c:v>
                </c:pt>
                <c:pt idx="9580">
                  <c:v>26.611111111111111</c:v>
                </c:pt>
                <c:pt idx="9581">
                  <c:v>26.613888888888887</c:v>
                </c:pt>
                <c:pt idx="9582">
                  <c:v>26.616666666666667</c:v>
                </c:pt>
                <c:pt idx="9583">
                  <c:v>26.619444444444444</c:v>
                </c:pt>
                <c:pt idx="9584">
                  <c:v>26.622222222222224</c:v>
                </c:pt>
                <c:pt idx="9585">
                  <c:v>26.625</c:v>
                </c:pt>
                <c:pt idx="9586">
                  <c:v>26.627777777777776</c:v>
                </c:pt>
                <c:pt idx="9587">
                  <c:v>26.630555555555556</c:v>
                </c:pt>
                <c:pt idx="9588">
                  <c:v>26.633333333333333</c:v>
                </c:pt>
                <c:pt idx="9589">
                  <c:v>26.636111111111113</c:v>
                </c:pt>
                <c:pt idx="9590">
                  <c:v>26.638888888888889</c:v>
                </c:pt>
                <c:pt idx="9591">
                  <c:v>26.641666666666666</c:v>
                </c:pt>
                <c:pt idx="9592">
                  <c:v>26.644444444444446</c:v>
                </c:pt>
                <c:pt idx="9593">
                  <c:v>26.647222222222222</c:v>
                </c:pt>
                <c:pt idx="9594">
                  <c:v>26.65</c:v>
                </c:pt>
                <c:pt idx="9595">
                  <c:v>26.652777777777779</c:v>
                </c:pt>
                <c:pt idx="9596">
                  <c:v>26.655555555555555</c:v>
                </c:pt>
                <c:pt idx="9597">
                  <c:v>26.658333333333335</c:v>
                </c:pt>
                <c:pt idx="9598">
                  <c:v>26.661111111111111</c:v>
                </c:pt>
                <c:pt idx="9599">
                  <c:v>26.663888888888888</c:v>
                </c:pt>
                <c:pt idx="9600">
                  <c:v>26.666666666666668</c:v>
                </c:pt>
                <c:pt idx="9601">
                  <c:v>26.669444444444444</c:v>
                </c:pt>
                <c:pt idx="9602">
                  <c:v>26.672222222222221</c:v>
                </c:pt>
                <c:pt idx="9603">
                  <c:v>26.675000000000001</c:v>
                </c:pt>
                <c:pt idx="9604">
                  <c:v>26.677777777777777</c:v>
                </c:pt>
                <c:pt idx="9605">
                  <c:v>26.680555555555557</c:v>
                </c:pt>
                <c:pt idx="9606">
                  <c:v>26.683333333333334</c:v>
                </c:pt>
                <c:pt idx="9607">
                  <c:v>26.68611111111111</c:v>
                </c:pt>
                <c:pt idx="9608">
                  <c:v>26.68888888888889</c:v>
                </c:pt>
                <c:pt idx="9609">
                  <c:v>26.691666666666666</c:v>
                </c:pt>
                <c:pt idx="9610">
                  <c:v>26.694444444444443</c:v>
                </c:pt>
                <c:pt idx="9611">
                  <c:v>26.697222222222223</c:v>
                </c:pt>
                <c:pt idx="9612">
                  <c:v>26.7</c:v>
                </c:pt>
                <c:pt idx="9613">
                  <c:v>26.702777777777779</c:v>
                </c:pt>
                <c:pt idx="9614">
                  <c:v>26.705555555555556</c:v>
                </c:pt>
                <c:pt idx="9615">
                  <c:v>26.708333333333332</c:v>
                </c:pt>
                <c:pt idx="9616">
                  <c:v>26.711111111111112</c:v>
                </c:pt>
                <c:pt idx="9617">
                  <c:v>26.713888888888889</c:v>
                </c:pt>
                <c:pt idx="9618">
                  <c:v>26.716666666666665</c:v>
                </c:pt>
                <c:pt idx="9619">
                  <c:v>26.719444444444445</c:v>
                </c:pt>
                <c:pt idx="9620">
                  <c:v>26.722222222222221</c:v>
                </c:pt>
                <c:pt idx="9621">
                  <c:v>26.725000000000001</c:v>
                </c:pt>
                <c:pt idx="9622">
                  <c:v>26.727777777777778</c:v>
                </c:pt>
                <c:pt idx="9623">
                  <c:v>26.730555555555554</c:v>
                </c:pt>
                <c:pt idx="9624">
                  <c:v>26.733333333333334</c:v>
                </c:pt>
                <c:pt idx="9625">
                  <c:v>26.736111111111111</c:v>
                </c:pt>
                <c:pt idx="9626">
                  <c:v>26.738888888888887</c:v>
                </c:pt>
                <c:pt idx="9627">
                  <c:v>26.741666666666667</c:v>
                </c:pt>
                <c:pt idx="9628">
                  <c:v>26.744444444444444</c:v>
                </c:pt>
                <c:pt idx="9629">
                  <c:v>26.747222222222224</c:v>
                </c:pt>
                <c:pt idx="9630">
                  <c:v>26.75</c:v>
                </c:pt>
                <c:pt idx="9631">
                  <c:v>26.752777777777776</c:v>
                </c:pt>
                <c:pt idx="9632">
                  <c:v>26.755555555555556</c:v>
                </c:pt>
                <c:pt idx="9633">
                  <c:v>26.758333333333333</c:v>
                </c:pt>
                <c:pt idx="9634">
                  <c:v>26.761111111111113</c:v>
                </c:pt>
                <c:pt idx="9635">
                  <c:v>26.763888888888889</c:v>
                </c:pt>
                <c:pt idx="9636">
                  <c:v>26.766666666666666</c:v>
                </c:pt>
                <c:pt idx="9637">
                  <c:v>26.769444444444446</c:v>
                </c:pt>
                <c:pt idx="9638">
                  <c:v>26.772222222222222</c:v>
                </c:pt>
                <c:pt idx="9639">
                  <c:v>26.774999999999999</c:v>
                </c:pt>
                <c:pt idx="9640">
                  <c:v>26.777777777777779</c:v>
                </c:pt>
                <c:pt idx="9641">
                  <c:v>26.780555555555555</c:v>
                </c:pt>
                <c:pt idx="9642">
                  <c:v>26.783333333333335</c:v>
                </c:pt>
                <c:pt idx="9643">
                  <c:v>26.786111111111111</c:v>
                </c:pt>
                <c:pt idx="9644">
                  <c:v>26.788888888888888</c:v>
                </c:pt>
                <c:pt idx="9645">
                  <c:v>26.791666666666668</c:v>
                </c:pt>
                <c:pt idx="9646">
                  <c:v>26.794444444444444</c:v>
                </c:pt>
                <c:pt idx="9647">
                  <c:v>26.797222222222221</c:v>
                </c:pt>
                <c:pt idx="9648">
                  <c:v>26.8</c:v>
                </c:pt>
                <c:pt idx="9649">
                  <c:v>26.802777777777777</c:v>
                </c:pt>
                <c:pt idx="9650">
                  <c:v>26.805555555555557</c:v>
                </c:pt>
                <c:pt idx="9651">
                  <c:v>26.808333333333334</c:v>
                </c:pt>
                <c:pt idx="9652">
                  <c:v>26.81111111111111</c:v>
                </c:pt>
                <c:pt idx="9653">
                  <c:v>26.81388888888889</c:v>
                </c:pt>
                <c:pt idx="9654">
                  <c:v>26.816666666666666</c:v>
                </c:pt>
                <c:pt idx="9655">
                  <c:v>26.819444444444443</c:v>
                </c:pt>
                <c:pt idx="9656">
                  <c:v>26.822222222222223</c:v>
                </c:pt>
                <c:pt idx="9657">
                  <c:v>26.824999999999999</c:v>
                </c:pt>
                <c:pt idx="9658">
                  <c:v>26.827777777777779</c:v>
                </c:pt>
                <c:pt idx="9659">
                  <c:v>26.830555555555556</c:v>
                </c:pt>
                <c:pt idx="9660">
                  <c:v>26.833333333333332</c:v>
                </c:pt>
                <c:pt idx="9661">
                  <c:v>26.836111111111112</c:v>
                </c:pt>
                <c:pt idx="9662">
                  <c:v>26.838888888888889</c:v>
                </c:pt>
                <c:pt idx="9663">
                  <c:v>26.841666666666665</c:v>
                </c:pt>
                <c:pt idx="9664">
                  <c:v>26.844444444444445</c:v>
                </c:pt>
                <c:pt idx="9665">
                  <c:v>26.847222222222221</c:v>
                </c:pt>
                <c:pt idx="9666">
                  <c:v>26.85</c:v>
                </c:pt>
                <c:pt idx="9667">
                  <c:v>26.852777777777778</c:v>
                </c:pt>
                <c:pt idx="9668">
                  <c:v>26.855555555555554</c:v>
                </c:pt>
                <c:pt idx="9669">
                  <c:v>26.858333333333334</c:v>
                </c:pt>
                <c:pt idx="9670">
                  <c:v>26.861111111111111</c:v>
                </c:pt>
                <c:pt idx="9671">
                  <c:v>26.863888888888887</c:v>
                </c:pt>
                <c:pt idx="9672">
                  <c:v>26.866666666666667</c:v>
                </c:pt>
                <c:pt idx="9673">
                  <c:v>26.869444444444444</c:v>
                </c:pt>
                <c:pt idx="9674">
                  <c:v>26.872222222222224</c:v>
                </c:pt>
                <c:pt idx="9675">
                  <c:v>26.875</c:v>
                </c:pt>
                <c:pt idx="9676">
                  <c:v>26.877777777777776</c:v>
                </c:pt>
                <c:pt idx="9677">
                  <c:v>26.880555555555556</c:v>
                </c:pt>
                <c:pt idx="9678">
                  <c:v>26.883333333333333</c:v>
                </c:pt>
                <c:pt idx="9679">
                  <c:v>26.886111111111113</c:v>
                </c:pt>
                <c:pt idx="9680">
                  <c:v>26.888888888888889</c:v>
                </c:pt>
                <c:pt idx="9681">
                  <c:v>26.891666666666666</c:v>
                </c:pt>
                <c:pt idx="9682">
                  <c:v>26.894444444444446</c:v>
                </c:pt>
                <c:pt idx="9683">
                  <c:v>26.897222222222222</c:v>
                </c:pt>
                <c:pt idx="9684">
                  <c:v>26.9</c:v>
                </c:pt>
                <c:pt idx="9685">
                  <c:v>26.902777777777779</c:v>
                </c:pt>
                <c:pt idx="9686">
                  <c:v>26.905555555555555</c:v>
                </c:pt>
                <c:pt idx="9687">
                  <c:v>26.908333333333335</c:v>
                </c:pt>
                <c:pt idx="9688">
                  <c:v>26.911111111111111</c:v>
                </c:pt>
                <c:pt idx="9689">
                  <c:v>26.913888888888888</c:v>
                </c:pt>
                <c:pt idx="9690">
                  <c:v>26.916666666666668</c:v>
                </c:pt>
                <c:pt idx="9691">
                  <c:v>26.919444444444444</c:v>
                </c:pt>
                <c:pt idx="9692">
                  <c:v>26.922222222222221</c:v>
                </c:pt>
                <c:pt idx="9693">
                  <c:v>26.925000000000001</c:v>
                </c:pt>
                <c:pt idx="9694">
                  <c:v>26.927777777777777</c:v>
                </c:pt>
                <c:pt idx="9695">
                  <c:v>26.930555555555557</c:v>
                </c:pt>
                <c:pt idx="9696">
                  <c:v>26.933333333333334</c:v>
                </c:pt>
                <c:pt idx="9697">
                  <c:v>26.93611111111111</c:v>
                </c:pt>
                <c:pt idx="9698">
                  <c:v>26.93888888888889</c:v>
                </c:pt>
                <c:pt idx="9699">
                  <c:v>26.941666666666666</c:v>
                </c:pt>
                <c:pt idx="9700">
                  <c:v>26.944444444444443</c:v>
                </c:pt>
                <c:pt idx="9701">
                  <c:v>26.947222222222223</c:v>
                </c:pt>
                <c:pt idx="9702">
                  <c:v>26.95</c:v>
                </c:pt>
                <c:pt idx="9703">
                  <c:v>26.952777777777779</c:v>
                </c:pt>
                <c:pt idx="9704">
                  <c:v>26.955555555555556</c:v>
                </c:pt>
                <c:pt idx="9705">
                  <c:v>26.958333333333332</c:v>
                </c:pt>
                <c:pt idx="9706">
                  <c:v>26.961111111111112</c:v>
                </c:pt>
                <c:pt idx="9707">
                  <c:v>26.963888888888889</c:v>
                </c:pt>
                <c:pt idx="9708">
                  <c:v>26.966666666666665</c:v>
                </c:pt>
                <c:pt idx="9709">
                  <c:v>26.969444444444445</c:v>
                </c:pt>
                <c:pt idx="9710">
                  <c:v>26.972222222222221</c:v>
                </c:pt>
                <c:pt idx="9711">
                  <c:v>26.975000000000001</c:v>
                </c:pt>
                <c:pt idx="9712">
                  <c:v>26.977777777777778</c:v>
                </c:pt>
                <c:pt idx="9713">
                  <c:v>26.980555555555554</c:v>
                </c:pt>
                <c:pt idx="9714">
                  <c:v>26.983333333333334</c:v>
                </c:pt>
                <c:pt idx="9715">
                  <c:v>26.986111111111111</c:v>
                </c:pt>
                <c:pt idx="9716">
                  <c:v>26.988888888888887</c:v>
                </c:pt>
                <c:pt idx="9717">
                  <c:v>26.991666666666667</c:v>
                </c:pt>
                <c:pt idx="9718">
                  <c:v>26.994444444444444</c:v>
                </c:pt>
                <c:pt idx="9719">
                  <c:v>26.997222222222224</c:v>
                </c:pt>
                <c:pt idx="9720">
                  <c:v>27</c:v>
                </c:pt>
                <c:pt idx="9721">
                  <c:v>27.002777777777776</c:v>
                </c:pt>
                <c:pt idx="9722">
                  <c:v>27.005555555555556</c:v>
                </c:pt>
                <c:pt idx="9723">
                  <c:v>27.008333333333333</c:v>
                </c:pt>
                <c:pt idx="9724">
                  <c:v>27.011111111111113</c:v>
                </c:pt>
                <c:pt idx="9725">
                  <c:v>27.013888888888889</c:v>
                </c:pt>
                <c:pt idx="9726">
                  <c:v>27.016666666666666</c:v>
                </c:pt>
                <c:pt idx="9727">
                  <c:v>27.019444444444446</c:v>
                </c:pt>
                <c:pt idx="9728">
                  <c:v>27.022222222222222</c:v>
                </c:pt>
                <c:pt idx="9729">
                  <c:v>27.024999999999999</c:v>
                </c:pt>
                <c:pt idx="9730">
                  <c:v>27.027777777777779</c:v>
                </c:pt>
                <c:pt idx="9731">
                  <c:v>27.030555555555555</c:v>
                </c:pt>
                <c:pt idx="9732">
                  <c:v>27.033333333333335</c:v>
                </c:pt>
                <c:pt idx="9733">
                  <c:v>27.036111111111111</c:v>
                </c:pt>
                <c:pt idx="9734">
                  <c:v>27.038888888888888</c:v>
                </c:pt>
                <c:pt idx="9735">
                  <c:v>27.041666666666668</c:v>
                </c:pt>
                <c:pt idx="9736">
                  <c:v>27.044444444444444</c:v>
                </c:pt>
                <c:pt idx="9737">
                  <c:v>27.047222222222221</c:v>
                </c:pt>
                <c:pt idx="9738">
                  <c:v>27.05</c:v>
                </c:pt>
                <c:pt idx="9739">
                  <c:v>27.052777777777777</c:v>
                </c:pt>
                <c:pt idx="9740">
                  <c:v>27.055555555555557</c:v>
                </c:pt>
                <c:pt idx="9741">
                  <c:v>27.058333333333334</c:v>
                </c:pt>
                <c:pt idx="9742">
                  <c:v>27.06111111111111</c:v>
                </c:pt>
                <c:pt idx="9743">
                  <c:v>27.06388888888889</c:v>
                </c:pt>
                <c:pt idx="9744">
                  <c:v>27.066666666666666</c:v>
                </c:pt>
                <c:pt idx="9745">
                  <c:v>27.069444444444443</c:v>
                </c:pt>
                <c:pt idx="9746">
                  <c:v>27.072222222222223</c:v>
                </c:pt>
                <c:pt idx="9747">
                  <c:v>27.074999999999999</c:v>
                </c:pt>
                <c:pt idx="9748">
                  <c:v>27.077777777777779</c:v>
                </c:pt>
                <c:pt idx="9749">
                  <c:v>27.080555555555556</c:v>
                </c:pt>
                <c:pt idx="9750">
                  <c:v>27.083333333333332</c:v>
                </c:pt>
                <c:pt idx="9751">
                  <c:v>27.086111111111112</c:v>
                </c:pt>
                <c:pt idx="9752">
                  <c:v>27.088888888888889</c:v>
                </c:pt>
                <c:pt idx="9753">
                  <c:v>27.091666666666665</c:v>
                </c:pt>
                <c:pt idx="9754">
                  <c:v>27.094444444444445</c:v>
                </c:pt>
                <c:pt idx="9755">
                  <c:v>27.097222222222221</c:v>
                </c:pt>
                <c:pt idx="9756">
                  <c:v>27.1</c:v>
                </c:pt>
                <c:pt idx="9757">
                  <c:v>27.102777777777778</c:v>
                </c:pt>
                <c:pt idx="9758">
                  <c:v>27.105555555555554</c:v>
                </c:pt>
                <c:pt idx="9759">
                  <c:v>27.108333333333334</c:v>
                </c:pt>
                <c:pt idx="9760">
                  <c:v>27.111111111111111</c:v>
                </c:pt>
                <c:pt idx="9761">
                  <c:v>27.113888888888887</c:v>
                </c:pt>
                <c:pt idx="9762">
                  <c:v>27.116666666666667</c:v>
                </c:pt>
                <c:pt idx="9763">
                  <c:v>27.119444444444444</c:v>
                </c:pt>
                <c:pt idx="9764">
                  <c:v>27.122222222222224</c:v>
                </c:pt>
                <c:pt idx="9765">
                  <c:v>27.125</c:v>
                </c:pt>
                <c:pt idx="9766">
                  <c:v>27.127777777777776</c:v>
                </c:pt>
                <c:pt idx="9767">
                  <c:v>27.130555555555556</c:v>
                </c:pt>
                <c:pt idx="9768">
                  <c:v>27.133333333333333</c:v>
                </c:pt>
                <c:pt idx="9769">
                  <c:v>27.136111111111113</c:v>
                </c:pt>
                <c:pt idx="9770">
                  <c:v>27.138888888888889</c:v>
                </c:pt>
                <c:pt idx="9771">
                  <c:v>27.141666666666666</c:v>
                </c:pt>
                <c:pt idx="9772">
                  <c:v>27.144444444444446</c:v>
                </c:pt>
                <c:pt idx="9773">
                  <c:v>27.147222222222222</c:v>
                </c:pt>
                <c:pt idx="9774">
                  <c:v>27.15</c:v>
                </c:pt>
                <c:pt idx="9775">
                  <c:v>27.152777777777779</c:v>
                </c:pt>
                <c:pt idx="9776">
                  <c:v>27.155555555555555</c:v>
                </c:pt>
                <c:pt idx="9777">
                  <c:v>27.158333333333335</c:v>
                </c:pt>
                <c:pt idx="9778">
                  <c:v>27.161111111111111</c:v>
                </c:pt>
                <c:pt idx="9779">
                  <c:v>27.163888888888888</c:v>
                </c:pt>
                <c:pt idx="9780">
                  <c:v>27.166666666666668</c:v>
                </c:pt>
                <c:pt idx="9781">
                  <c:v>27.169444444444444</c:v>
                </c:pt>
                <c:pt idx="9782">
                  <c:v>27.172222222222221</c:v>
                </c:pt>
                <c:pt idx="9783">
                  <c:v>27.175000000000001</c:v>
                </c:pt>
                <c:pt idx="9784">
                  <c:v>27.177777777777777</c:v>
                </c:pt>
                <c:pt idx="9785">
                  <c:v>27.180555555555557</c:v>
                </c:pt>
                <c:pt idx="9786">
                  <c:v>27.183333333333334</c:v>
                </c:pt>
                <c:pt idx="9787">
                  <c:v>27.18611111111111</c:v>
                </c:pt>
                <c:pt idx="9788">
                  <c:v>27.18888888888889</c:v>
                </c:pt>
                <c:pt idx="9789">
                  <c:v>27.191666666666666</c:v>
                </c:pt>
                <c:pt idx="9790">
                  <c:v>27.194444444444443</c:v>
                </c:pt>
                <c:pt idx="9791">
                  <c:v>27.197222222222223</c:v>
                </c:pt>
                <c:pt idx="9792">
                  <c:v>27.2</c:v>
                </c:pt>
                <c:pt idx="9793">
                  <c:v>27.202777777777779</c:v>
                </c:pt>
                <c:pt idx="9794">
                  <c:v>27.205555555555556</c:v>
                </c:pt>
                <c:pt idx="9795">
                  <c:v>27.208333333333332</c:v>
                </c:pt>
                <c:pt idx="9796">
                  <c:v>27.211111111111112</c:v>
                </c:pt>
                <c:pt idx="9797">
                  <c:v>27.213888888888889</c:v>
                </c:pt>
                <c:pt idx="9798">
                  <c:v>27.216666666666665</c:v>
                </c:pt>
                <c:pt idx="9799">
                  <c:v>27.219444444444445</c:v>
                </c:pt>
                <c:pt idx="9800">
                  <c:v>27.222222222222221</c:v>
                </c:pt>
                <c:pt idx="9801">
                  <c:v>27.225000000000001</c:v>
                </c:pt>
                <c:pt idx="9802">
                  <c:v>27.227777777777778</c:v>
                </c:pt>
                <c:pt idx="9803">
                  <c:v>27.230555555555554</c:v>
                </c:pt>
                <c:pt idx="9804">
                  <c:v>27.233333333333334</c:v>
                </c:pt>
                <c:pt idx="9805">
                  <c:v>27.236111111111111</c:v>
                </c:pt>
                <c:pt idx="9806">
                  <c:v>27.238888888888887</c:v>
                </c:pt>
                <c:pt idx="9807">
                  <c:v>27.241666666666667</c:v>
                </c:pt>
                <c:pt idx="9808">
                  <c:v>27.244444444444444</c:v>
                </c:pt>
                <c:pt idx="9809">
                  <c:v>27.247222222222224</c:v>
                </c:pt>
                <c:pt idx="9810">
                  <c:v>27.25</c:v>
                </c:pt>
                <c:pt idx="9811">
                  <c:v>27.252777777777776</c:v>
                </c:pt>
                <c:pt idx="9812">
                  <c:v>27.255555555555556</c:v>
                </c:pt>
                <c:pt idx="9813">
                  <c:v>27.258333333333333</c:v>
                </c:pt>
                <c:pt idx="9814">
                  <c:v>27.261111111111113</c:v>
                </c:pt>
                <c:pt idx="9815">
                  <c:v>27.263888888888889</c:v>
                </c:pt>
                <c:pt idx="9816">
                  <c:v>27.266666666666666</c:v>
                </c:pt>
                <c:pt idx="9817">
                  <c:v>27.269444444444446</c:v>
                </c:pt>
                <c:pt idx="9818">
                  <c:v>27.272222222222222</c:v>
                </c:pt>
                <c:pt idx="9819">
                  <c:v>27.274999999999999</c:v>
                </c:pt>
                <c:pt idx="9820">
                  <c:v>27.277777777777779</c:v>
                </c:pt>
                <c:pt idx="9821">
                  <c:v>27.280555555555555</c:v>
                </c:pt>
                <c:pt idx="9822">
                  <c:v>27.283333333333335</c:v>
                </c:pt>
                <c:pt idx="9823">
                  <c:v>27.286111111111111</c:v>
                </c:pt>
                <c:pt idx="9824">
                  <c:v>27.288888888888888</c:v>
                </c:pt>
                <c:pt idx="9825">
                  <c:v>27.291666666666668</c:v>
                </c:pt>
                <c:pt idx="9826">
                  <c:v>27.294444444444444</c:v>
                </c:pt>
                <c:pt idx="9827">
                  <c:v>27.297222222222221</c:v>
                </c:pt>
                <c:pt idx="9828">
                  <c:v>27.3</c:v>
                </c:pt>
                <c:pt idx="9829">
                  <c:v>27.302777777777777</c:v>
                </c:pt>
                <c:pt idx="9830">
                  <c:v>27.305555555555557</c:v>
                </c:pt>
                <c:pt idx="9831">
                  <c:v>27.308333333333334</c:v>
                </c:pt>
                <c:pt idx="9832">
                  <c:v>27.31111111111111</c:v>
                </c:pt>
                <c:pt idx="9833">
                  <c:v>27.31388888888889</c:v>
                </c:pt>
                <c:pt idx="9834">
                  <c:v>27.316666666666666</c:v>
                </c:pt>
                <c:pt idx="9835">
                  <c:v>27.319444444444443</c:v>
                </c:pt>
                <c:pt idx="9836">
                  <c:v>27.322222222222223</c:v>
                </c:pt>
                <c:pt idx="9837">
                  <c:v>27.324999999999999</c:v>
                </c:pt>
                <c:pt idx="9838">
                  <c:v>27.327777777777779</c:v>
                </c:pt>
                <c:pt idx="9839">
                  <c:v>27.330555555555556</c:v>
                </c:pt>
                <c:pt idx="9840">
                  <c:v>27.333333333333332</c:v>
                </c:pt>
                <c:pt idx="9841">
                  <c:v>27.336111111111112</c:v>
                </c:pt>
                <c:pt idx="9842">
                  <c:v>27.338888888888889</c:v>
                </c:pt>
                <c:pt idx="9843">
                  <c:v>27.341666666666665</c:v>
                </c:pt>
                <c:pt idx="9844">
                  <c:v>27.344444444444445</c:v>
                </c:pt>
                <c:pt idx="9845">
                  <c:v>27.347222222222221</c:v>
                </c:pt>
                <c:pt idx="9846">
                  <c:v>27.35</c:v>
                </c:pt>
                <c:pt idx="9847">
                  <c:v>27.352777777777778</c:v>
                </c:pt>
                <c:pt idx="9848">
                  <c:v>27.355555555555554</c:v>
                </c:pt>
                <c:pt idx="9849">
                  <c:v>27.358333333333334</c:v>
                </c:pt>
                <c:pt idx="9850">
                  <c:v>27.361111111111111</c:v>
                </c:pt>
                <c:pt idx="9851">
                  <c:v>27.363888888888887</c:v>
                </c:pt>
                <c:pt idx="9852">
                  <c:v>27.366666666666667</c:v>
                </c:pt>
                <c:pt idx="9853">
                  <c:v>27.369444444444444</c:v>
                </c:pt>
                <c:pt idx="9854">
                  <c:v>27.372222222222224</c:v>
                </c:pt>
                <c:pt idx="9855">
                  <c:v>27.375</c:v>
                </c:pt>
                <c:pt idx="9856">
                  <c:v>27.377777777777776</c:v>
                </c:pt>
                <c:pt idx="9857">
                  <c:v>27.380555555555556</c:v>
                </c:pt>
                <c:pt idx="9858">
                  <c:v>27.383333333333333</c:v>
                </c:pt>
                <c:pt idx="9859">
                  <c:v>27.386111111111113</c:v>
                </c:pt>
                <c:pt idx="9860">
                  <c:v>27.388888888888889</c:v>
                </c:pt>
                <c:pt idx="9861">
                  <c:v>27.391666666666666</c:v>
                </c:pt>
                <c:pt idx="9862">
                  <c:v>27.394444444444446</c:v>
                </c:pt>
                <c:pt idx="9863">
                  <c:v>27.397222222222222</c:v>
                </c:pt>
                <c:pt idx="9864">
                  <c:v>27.4</c:v>
                </c:pt>
                <c:pt idx="9865">
                  <c:v>27.402777777777779</c:v>
                </c:pt>
                <c:pt idx="9866">
                  <c:v>27.405555555555555</c:v>
                </c:pt>
                <c:pt idx="9867">
                  <c:v>27.408333333333335</c:v>
                </c:pt>
                <c:pt idx="9868">
                  <c:v>27.411111111111111</c:v>
                </c:pt>
                <c:pt idx="9869">
                  <c:v>27.413888888888888</c:v>
                </c:pt>
                <c:pt idx="9870">
                  <c:v>27.416666666666668</c:v>
                </c:pt>
                <c:pt idx="9871">
                  <c:v>27.419444444444444</c:v>
                </c:pt>
                <c:pt idx="9872">
                  <c:v>27.422222222222221</c:v>
                </c:pt>
                <c:pt idx="9873">
                  <c:v>27.425000000000001</c:v>
                </c:pt>
                <c:pt idx="9874">
                  <c:v>27.427777777777777</c:v>
                </c:pt>
                <c:pt idx="9875">
                  <c:v>27.430555555555557</c:v>
                </c:pt>
                <c:pt idx="9876">
                  <c:v>27.433333333333334</c:v>
                </c:pt>
                <c:pt idx="9877">
                  <c:v>27.43611111111111</c:v>
                </c:pt>
                <c:pt idx="9878">
                  <c:v>27.43888888888889</c:v>
                </c:pt>
                <c:pt idx="9879">
                  <c:v>27.441666666666666</c:v>
                </c:pt>
                <c:pt idx="9880">
                  <c:v>27.444444444444443</c:v>
                </c:pt>
                <c:pt idx="9881">
                  <c:v>27.447222222222223</c:v>
                </c:pt>
                <c:pt idx="9882">
                  <c:v>27.45</c:v>
                </c:pt>
                <c:pt idx="9883">
                  <c:v>27.452777777777779</c:v>
                </c:pt>
                <c:pt idx="9884">
                  <c:v>27.455555555555556</c:v>
                </c:pt>
                <c:pt idx="9885">
                  <c:v>27.458333333333332</c:v>
                </c:pt>
                <c:pt idx="9886">
                  <c:v>27.461111111111112</c:v>
                </c:pt>
                <c:pt idx="9887">
                  <c:v>27.463888888888889</c:v>
                </c:pt>
                <c:pt idx="9888">
                  <c:v>27.466666666666665</c:v>
                </c:pt>
                <c:pt idx="9889">
                  <c:v>27.469444444444445</c:v>
                </c:pt>
                <c:pt idx="9890">
                  <c:v>27.472222222222221</c:v>
                </c:pt>
                <c:pt idx="9891">
                  <c:v>27.475000000000001</c:v>
                </c:pt>
                <c:pt idx="9892">
                  <c:v>27.477777777777778</c:v>
                </c:pt>
                <c:pt idx="9893">
                  <c:v>27.480555555555554</c:v>
                </c:pt>
                <c:pt idx="9894">
                  <c:v>27.483333333333334</c:v>
                </c:pt>
                <c:pt idx="9895">
                  <c:v>27.486111111111111</c:v>
                </c:pt>
                <c:pt idx="9896">
                  <c:v>27.488888888888887</c:v>
                </c:pt>
                <c:pt idx="9897">
                  <c:v>27.491666666666667</c:v>
                </c:pt>
                <c:pt idx="9898">
                  <c:v>27.494444444444444</c:v>
                </c:pt>
                <c:pt idx="9899">
                  <c:v>27.497222222222224</c:v>
                </c:pt>
                <c:pt idx="9900">
                  <c:v>27.5</c:v>
                </c:pt>
                <c:pt idx="9901">
                  <c:v>27.502777777777776</c:v>
                </c:pt>
                <c:pt idx="9902">
                  <c:v>27.505555555555556</c:v>
                </c:pt>
                <c:pt idx="9903">
                  <c:v>27.508333333333333</c:v>
                </c:pt>
                <c:pt idx="9904">
                  <c:v>27.511111111111113</c:v>
                </c:pt>
                <c:pt idx="9905">
                  <c:v>27.513888888888889</c:v>
                </c:pt>
                <c:pt idx="9906">
                  <c:v>27.516666666666666</c:v>
                </c:pt>
                <c:pt idx="9907">
                  <c:v>27.519444444444446</c:v>
                </c:pt>
                <c:pt idx="9908">
                  <c:v>27.522222222222222</c:v>
                </c:pt>
                <c:pt idx="9909">
                  <c:v>27.524999999999999</c:v>
                </c:pt>
                <c:pt idx="9910">
                  <c:v>27.527777777777779</c:v>
                </c:pt>
                <c:pt idx="9911">
                  <c:v>27.530555555555555</c:v>
                </c:pt>
                <c:pt idx="9912">
                  <c:v>27.533333333333335</c:v>
                </c:pt>
                <c:pt idx="9913">
                  <c:v>27.536111111111111</c:v>
                </c:pt>
                <c:pt idx="9914">
                  <c:v>27.538888888888888</c:v>
                </c:pt>
                <c:pt idx="9915">
                  <c:v>27.541666666666668</c:v>
                </c:pt>
                <c:pt idx="9916">
                  <c:v>27.544444444444444</c:v>
                </c:pt>
                <c:pt idx="9917">
                  <c:v>27.547222222222221</c:v>
                </c:pt>
                <c:pt idx="9918">
                  <c:v>27.55</c:v>
                </c:pt>
                <c:pt idx="9919">
                  <c:v>27.552777777777777</c:v>
                </c:pt>
                <c:pt idx="9920">
                  <c:v>27.555555555555557</c:v>
                </c:pt>
                <c:pt idx="9921">
                  <c:v>27.558333333333334</c:v>
                </c:pt>
                <c:pt idx="9922">
                  <c:v>27.56111111111111</c:v>
                </c:pt>
                <c:pt idx="9923">
                  <c:v>27.56388888888889</c:v>
                </c:pt>
                <c:pt idx="9924">
                  <c:v>27.566666666666666</c:v>
                </c:pt>
                <c:pt idx="9925">
                  <c:v>27.569444444444443</c:v>
                </c:pt>
                <c:pt idx="9926">
                  <c:v>27.572222222222223</c:v>
                </c:pt>
                <c:pt idx="9927">
                  <c:v>27.574999999999999</c:v>
                </c:pt>
                <c:pt idx="9928">
                  <c:v>27.577777777777779</c:v>
                </c:pt>
                <c:pt idx="9929">
                  <c:v>27.580555555555556</c:v>
                </c:pt>
                <c:pt idx="9930">
                  <c:v>27.583333333333332</c:v>
                </c:pt>
                <c:pt idx="9931">
                  <c:v>27.586111111111112</c:v>
                </c:pt>
                <c:pt idx="9932">
                  <c:v>27.588888888888889</c:v>
                </c:pt>
                <c:pt idx="9933">
                  <c:v>27.591666666666665</c:v>
                </c:pt>
                <c:pt idx="9934">
                  <c:v>27.594444444444445</c:v>
                </c:pt>
                <c:pt idx="9935">
                  <c:v>27.597222222222221</c:v>
                </c:pt>
                <c:pt idx="9936">
                  <c:v>27.6</c:v>
                </c:pt>
                <c:pt idx="9937">
                  <c:v>27.602777777777778</c:v>
                </c:pt>
                <c:pt idx="9938">
                  <c:v>27.605555555555554</c:v>
                </c:pt>
                <c:pt idx="9939">
                  <c:v>27.608333333333334</c:v>
                </c:pt>
                <c:pt idx="9940">
                  <c:v>27.611111111111111</c:v>
                </c:pt>
                <c:pt idx="9941">
                  <c:v>27.613888888888887</c:v>
                </c:pt>
                <c:pt idx="9942">
                  <c:v>27.616666666666667</c:v>
                </c:pt>
                <c:pt idx="9943">
                  <c:v>27.619444444444444</c:v>
                </c:pt>
                <c:pt idx="9944">
                  <c:v>27.622222222222224</c:v>
                </c:pt>
                <c:pt idx="9945">
                  <c:v>27.625</c:v>
                </c:pt>
                <c:pt idx="9946">
                  <c:v>27.627777777777776</c:v>
                </c:pt>
                <c:pt idx="9947">
                  <c:v>27.630555555555556</c:v>
                </c:pt>
                <c:pt idx="9948">
                  <c:v>27.633333333333333</c:v>
                </c:pt>
                <c:pt idx="9949">
                  <c:v>27.636111111111113</c:v>
                </c:pt>
                <c:pt idx="9950">
                  <c:v>27.638888888888889</c:v>
                </c:pt>
                <c:pt idx="9951">
                  <c:v>27.641666666666666</c:v>
                </c:pt>
                <c:pt idx="9952">
                  <c:v>27.644444444444446</c:v>
                </c:pt>
                <c:pt idx="9953">
                  <c:v>27.647222222222222</c:v>
                </c:pt>
                <c:pt idx="9954">
                  <c:v>27.65</c:v>
                </c:pt>
                <c:pt idx="9955">
                  <c:v>27.652777777777779</c:v>
                </c:pt>
                <c:pt idx="9956">
                  <c:v>27.655555555555555</c:v>
                </c:pt>
                <c:pt idx="9957">
                  <c:v>27.658333333333335</c:v>
                </c:pt>
                <c:pt idx="9958">
                  <c:v>27.661111111111111</c:v>
                </c:pt>
                <c:pt idx="9959">
                  <c:v>27.663888888888888</c:v>
                </c:pt>
                <c:pt idx="9960">
                  <c:v>27.666666666666668</c:v>
                </c:pt>
                <c:pt idx="9961">
                  <c:v>27.669444444444444</c:v>
                </c:pt>
                <c:pt idx="9962">
                  <c:v>27.672222222222221</c:v>
                </c:pt>
                <c:pt idx="9963">
                  <c:v>27.675000000000001</c:v>
                </c:pt>
                <c:pt idx="9964">
                  <c:v>27.677777777777777</c:v>
                </c:pt>
                <c:pt idx="9965">
                  <c:v>27.680555555555557</c:v>
                </c:pt>
                <c:pt idx="9966">
                  <c:v>27.683333333333334</c:v>
                </c:pt>
                <c:pt idx="9967">
                  <c:v>27.68611111111111</c:v>
                </c:pt>
                <c:pt idx="9968">
                  <c:v>27.68888888888889</c:v>
                </c:pt>
                <c:pt idx="9969">
                  <c:v>27.691666666666666</c:v>
                </c:pt>
                <c:pt idx="9970">
                  <c:v>27.694444444444443</c:v>
                </c:pt>
                <c:pt idx="9971">
                  <c:v>27.697222222222223</c:v>
                </c:pt>
                <c:pt idx="9972">
                  <c:v>27.7</c:v>
                </c:pt>
                <c:pt idx="9973">
                  <c:v>27.702777777777779</c:v>
                </c:pt>
                <c:pt idx="9974">
                  <c:v>27.705555555555556</c:v>
                </c:pt>
                <c:pt idx="9975">
                  <c:v>27.708333333333332</c:v>
                </c:pt>
                <c:pt idx="9976">
                  <c:v>27.711111111111112</c:v>
                </c:pt>
                <c:pt idx="9977">
                  <c:v>27.713888888888889</c:v>
                </c:pt>
                <c:pt idx="9978">
                  <c:v>27.716666666666665</c:v>
                </c:pt>
                <c:pt idx="9979">
                  <c:v>27.719444444444445</c:v>
                </c:pt>
                <c:pt idx="9980">
                  <c:v>27.722222222222221</c:v>
                </c:pt>
                <c:pt idx="9981">
                  <c:v>27.725000000000001</c:v>
                </c:pt>
                <c:pt idx="9982">
                  <c:v>27.727777777777778</c:v>
                </c:pt>
                <c:pt idx="9983">
                  <c:v>27.730555555555554</c:v>
                </c:pt>
                <c:pt idx="9984">
                  <c:v>27.733333333333334</c:v>
                </c:pt>
                <c:pt idx="9985">
                  <c:v>27.736111111111111</c:v>
                </c:pt>
                <c:pt idx="9986">
                  <c:v>27.738888888888887</c:v>
                </c:pt>
                <c:pt idx="9987">
                  <c:v>27.741666666666667</c:v>
                </c:pt>
                <c:pt idx="9988">
                  <c:v>27.744444444444444</c:v>
                </c:pt>
                <c:pt idx="9989">
                  <c:v>27.747222222222224</c:v>
                </c:pt>
                <c:pt idx="9990">
                  <c:v>27.75</c:v>
                </c:pt>
                <c:pt idx="9991">
                  <c:v>27.752777777777776</c:v>
                </c:pt>
                <c:pt idx="9992">
                  <c:v>27.755555555555556</c:v>
                </c:pt>
                <c:pt idx="9993">
                  <c:v>27.758333333333333</c:v>
                </c:pt>
                <c:pt idx="9994">
                  <c:v>27.761111111111113</c:v>
                </c:pt>
                <c:pt idx="9995">
                  <c:v>27.763888888888889</c:v>
                </c:pt>
                <c:pt idx="9996">
                  <c:v>27.766666666666666</c:v>
                </c:pt>
                <c:pt idx="9997">
                  <c:v>27.769444444444446</c:v>
                </c:pt>
                <c:pt idx="9998">
                  <c:v>27.772222222222222</c:v>
                </c:pt>
                <c:pt idx="9999">
                  <c:v>27.774999999999999</c:v>
                </c:pt>
                <c:pt idx="10000">
                  <c:v>27.777777777777779</c:v>
                </c:pt>
                <c:pt idx="10001">
                  <c:v>27.780555555555555</c:v>
                </c:pt>
                <c:pt idx="10002">
                  <c:v>27.783333333333335</c:v>
                </c:pt>
                <c:pt idx="10003">
                  <c:v>27.786111111111111</c:v>
                </c:pt>
                <c:pt idx="10004">
                  <c:v>27.788888888888888</c:v>
                </c:pt>
                <c:pt idx="10005">
                  <c:v>27.791666666666668</c:v>
                </c:pt>
                <c:pt idx="10006">
                  <c:v>27.794444444444444</c:v>
                </c:pt>
                <c:pt idx="10007">
                  <c:v>27.797222222222221</c:v>
                </c:pt>
                <c:pt idx="10008">
                  <c:v>27.8</c:v>
                </c:pt>
                <c:pt idx="10009">
                  <c:v>27.802777777777777</c:v>
                </c:pt>
                <c:pt idx="10010">
                  <c:v>27.805555555555557</c:v>
                </c:pt>
                <c:pt idx="10011">
                  <c:v>27.808333333333334</c:v>
                </c:pt>
                <c:pt idx="10012">
                  <c:v>27.81111111111111</c:v>
                </c:pt>
                <c:pt idx="10013">
                  <c:v>27.81388888888889</c:v>
                </c:pt>
                <c:pt idx="10014">
                  <c:v>27.816666666666666</c:v>
                </c:pt>
                <c:pt idx="10015">
                  <c:v>27.819444444444443</c:v>
                </c:pt>
                <c:pt idx="10016">
                  <c:v>27.822222222222223</c:v>
                </c:pt>
                <c:pt idx="10017">
                  <c:v>27.824999999999999</c:v>
                </c:pt>
                <c:pt idx="10018">
                  <c:v>27.827777777777779</c:v>
                </c:pt>
                <c:pt idx="10019">
                  <c:v>27.830555555555556</c:v>
                </c:pt>
                <c:pt idx="10020">
                  <c:v>27.833333333333332</c:v>
                </c:pt>
                <c:pt idx="10021">
                  <c:v>27.836111111111112</c:v>
                </c:pt>
                <c:pt idx="10022">
                  <c:v>27.838888888888889</c:v>
                </c:pt>
                <c:pt idx="10023">
                  <c:v>27.841666666666665</c:v>
                </c:pt>
                <c:pt idx="10024">
                  <c:v>27.844444444444445</c:v>
                </c:pt>
                <c:pt idx="10025">
                  <c:v>27.847222222222221</c:v>
                </c:pt>
                <c:pt idx="10026">
                  <c:v>27.85</c:v>
                </c:pt>
                <c:pt idx="10027">
                  <c:v>27.852777777777778</c:v>
                </c:pt>
                <c:pt idx="10028">
                  <c:v>27.855555555555554</c:v>
                </c:pt>
                <c:pt idx="10029">
                  <c:v>27.858333333333334</c:v>
                </c:pt>
                <c:pt idx="10030">
                  <c:v>27.861111111111111</c:v>
                </c:pt>
                <c:pt idx="10031">
                  <c:v>27.863888888888887</c:v>
                </c:pt>
                <c:pt idx="10032">
                  <c:v>27.866666666666667</c:v>
                </c:pt>
                <c:pt idx="10033">
                  <c:v>27.869444444444444</c:v>
                </c:pt>
                <c:pt idx="10034">
                  <c:v>27.872222222222224</c:v>
                </c:pt>
                <c:pt idx="10035">
                  <c:v>27.875</c:v>
                </c:pt>
                <c:pt idx="10036">
                  <c:v>27.877777777777776</c:v>
                </c:pt>
                <c:pt idx="10037">
                  <c:v>27.880555555555556</c:v>
                </c:pt>
                <c:pt idx="10038">
                  <c:v>27.883333333333333</c:v>
                </c:pt>
                <c:pt idx="10039">
                  <c:v>27.886111111111113</c:v>
                </c:pt>
                <c:pt idx="10040">
                  <c:v>27.888888888888889</c:v>
                </c:pt>
                <c:pt idx="10041">
                  <c:v>27.891666666666666</c:v>
                </c:pt>
                <c:pt idx="10042">
                  <c:v>27.894444444444446</c:v>
                </c:pt>
                <c:pt idx="10043">
                  <c:v>27.897222222222222</c:v>
                </c:pt>
                <c:pt idx="10044">
                  <c:v>27.9</c:v>
                </c:pt>
                <c:pt idx="10045">
                  <c:v>27.902777777777779</c:v>
                </c:pt>
                <c:pt idx="10046">
                  <c:v>27.905555555555555</c:v>
                </c:pt>
                <c:pt idx="10047">
                  <c:v>27.908333333333335</c:v>
                </c:pt>
                <c:pt idx="10048">
                  <c:v>27.911111111111111</c:v>
                </c:pt>
                <c:pt idx="10049">
                  <c:v>27.913888888888888</c:v>
                </c:pt>
                <c:pt idx="10050">
                  <c:v>27.916666666666668</c:v>
                </c:pt>
                <c:pt idx="10051">
                  <c:v>27.919444444444444</c:v>
                </c:pt>
                <c:pt idx="10052">
                  <c:v>27.922222222222221</c:v>
                </c:pt>
                <c:pt idx="10053">
                  <c:v>27.925000000000001</c:v>
                </c:pt>
                <c:pt idx="10054">
                  <c:v>27.927777777777777</c:v>
                </c:pt>
                <c:pt idx="10055">
                  <c:v>27.930555555555557</c:v>
                </c:pt>
                <c:pt idx="10056">
                  <c:v>27.933333333333334</c:v>
                </c:pt>
                <c:pt idx="10057">
                  <c:v>27.93611111111111</c:v>
                </c:pt>
                <c:pt idx="10058">
                  <c:v>27.93888888888889</c:v>
                </c:pt>
                <c:pt idx="10059">
                  <c:v>27.941666666666666</c:v>
                </c:pt>
                <c:pt idx="10060">
                  <c:v>27.944444444444443</c:v>
                </c:pt>
                <c:pt idx="10061">
                  <c:v>27.947222222222223</c:v>
                </c:pt>
                <c:pt idx="10062">
                  <c:v>27.95</c:v>
                </c:pt>
                <c:pt idx="10063">
                  <c:v>27.952777777777779</c:v>
                </c:pt>
                <c:pt idx="10064">
                  <c:v>27.955555555555556</c:v>
                </c:pt>
                <c:pt idx="10065">
                  <c:v>27.958333333333332</c:v>
                </c:pt>
                <c:pt idx="10066">
                  <c:v>27.961111111111112</c:v>
                </c:pt>
                <c:pt idx="10067">
                  <c:v>27.963888888888889</c:v>
                </c:pt>
                <c:pt idx="10068">
                  <c:v>27.966666666666665</c:v>
                </c:pt>
                <c:pt idx="10069">
                  <c:v>27.969444444444445</c:v>
                </c:pt>
                <c:pt idx="10070">
                  <c:v>27.972222222222221</c:v>
                </c:pt>
                <c:pt idx="10071">
                  <c:v>27.975000000000001</c:v>
                </c:pt>
                <c:pt idx="10072">
                  <c:v>27.977777777777778</c:v>
                </c:pt>
                <c:pt idx="10073">
                  <c:v>27.980555555555554</c:v>
                </c:pt>
                <c:pt idx="10074">
                  <c:v>27.983333333333334</c:v>
                </c:pt>
                <c:pt idx="10075">
                  <c:v>27.986111111111111</c:v>
                </c:pt>
                <c:pt idx="10076">
                  <c:v>27.988888888888887</c:v>
                </c:pt>
                <c:pt idx="10077">
                  <c:v>27.991666666666667</c:v>
                </c:pt>
                <c:pt idx="10078">
                  <c:v>27.994444444444444</c:v>
                </c:pt>
                <c:pt idx="10079">
                  <c:v>27.997222222222224</c:v>
                </c:pt>
                <c:pt idx="10080">
                  <c:v>28</c:v>
                </c:pt>
                <c:pt idx="10081">
                  <c:v>28.002777777777776</c:v>
                </c:pt>
                <c:pt idx="10082">
                  <c:v>28.005555555555556</c:v>
                </c:pt>
                <c:pt idx="10083">
                  <c:v>28.008333333333333</c:v>
                </c:pt>
                <c:pt idx="10084">
                  <c:v>28.011111111111113</c:v>
                </c:pt>
                <c:pt idx="10085">
                  <c:v>28.013888888888889</c:v>
                </c:pt>
                <c:pt idx="10086">
                  <c:v>28.016666666666666</c:v>
                </c:pt>
                <c:pt idx="10087">
                  <c:v>28.019444444444446</c:v>
                </c:pt>
                <c:pt idx="10088">
                  <c:v>28.022222222222222</c:v>
                </c:pt>
                <c:pt idx="10089">
                  <c:v>28.024999999999999</c:v>
                </c:pt>
                <c:pt idx="10090">
                  <c:v>28.027777777777779</c:v>
                </c:pt>
                <c:pt idx="10091">
                  <c:v>28.030555555555555</c:v>
                </c:pt>
                <c:pt idx="10092">
                  <c:v>28.033333333333335</c:v>
                </c:pt>
                <c:pt idx="10093">
                  <c:v>28.036111111111111</c:v>
                </c:pt>
                <c:pt idx="10094">
                  <c:v>28.038888888888888</c:v>
                </c:pt>
                <c:pt idx="10095">
                  <c:v>28.041666666666668</c:v>
                </c:pt>
                <c:pt idx="10096">
                  <c:v>28.044444444444444</c:v>
                </c:pt>
                <c:pt idx="10097">
                  <c:v>28.047222222222221</c:v>
                </c:pt>
                <c:pt idx="10098">
                  <c:v>28.05</c:v>
                </c:pt>
                <c:pt idx="10099">
                  <c:v>28.052777777777777</c:v>
                </c:pt>
                <c:pt idx="10100">
                  <c:v>28.055555555555557</c:v>
                </c:pt>
                <c:pt idx="10101">
                  <c:v>28.058333333333334</c:v>
                </c:pt>
                <c:pt idx="10102">
                  <c:v>28.06111111111111</c:v>
                </c:pt>
                <c:pt idx="10103">
                  <c:v>28.06388888888889</c:v>
                </c:pt>
                <c:pt idx="10104">
                  <c:v>28.066666666666666</c:v>
                </c:pt>
                <c:pt idx="10105">
                  <c:v>28.069444444444443</c:v>
                </c:pt>
                <c:pt idx="10106">
                  <c:v>28.072222222222223</c:v>
                </c:pt>
                <c:pt idx="10107">
                  <c:v>28.074999999999999</c:v>
                </c:pt>
                <c:pt idx="10108">
                  <c:v>28.077777777777779</c:v>
                </c:pt>
                <c:pt idx="10109">
                  <c:v>28.080555555555556</c:v>
                </c:pt>
                <c:pt idx="10110">
                  <c:v>28.083333333333332</c:v>
                </c:pt>
                <c:pt idx="10111">
                  <c:v>28.086111111111112</c:v>
                </c:pt>
                <c:pt idx="10112">
                  <c:v>28.088888888888889</c:v>
                </c:pt>
                <c:pt idx="10113">
                  <c:v>28.091666666666665</c:v>
                </c:pt>
                <c:pt idx="10114">
                  <c:v>28.094444444444445</c:v>
                </c:pt>
                <c:pt idx="10115">
                  <c:v>28.097222222222221</c:v>
                </c:pt>
                <c:pt idx="10116">
                  <c:v>28.1</c:v>
                </c:pt>
                <c:pt idx="10117">
                  <c:v>28.102777777777778</c:v>
                </c:pt>
                <c:pt idx="10118">
                  <c:v>28.105555555555554</c:v>
                </c:pt>
                <c:pt idx="10119">
                  <c:v>28.108333333333334</c:v>
                </c:pt>
                <c:pt idx="10120">
                  <c:v>28.111111111111111</c:v>
                </c:pt>
                <c:pt idx="10121">
                  <c:v>28.113888888888887</c:v>
                </c:pt>
                <c:pt idx="10122">
                  <c:v>28.116666666666667</c:v>
                </c:pt>
                <c:pt idx="10123">
                  <c:v>28.119444444444444</c:v>
                </c:pt>
                <c:pt idx="10124">
                  <c:v>28.122222222222224</c:v>
                </c:pt>
                <c:pt idx="10125">
                  <c:v>28.125</c:v>
                </c:pt>
                <c:pt idx="10126">
                  <c:v>28.127777777777776</c:v>
                </c:pt>
                <c:pt idx="10127">
                  <c:v>28.130555555555556</c:v>
                </c:pt>
                <c:pt idx="10128">
                  <c:v>28.133333333333333</c:v>
                </c:pt>
                <c:pt idx="10129">
                  <c:v>28.136111111111113</c:v>
                </c:pt>
                <c:pt idx="10130">
                  <c:v>28.138888888888889</c:v>
                </c:pt>
                <c:pt idx="10131">
                  <c:v>28.141666666666666</c:v>
                </c:pt>
                <c:pt idx="10132">
                  <c:v>28.144444444444446</c:v>
                </c:pt>
                <c:pt idx="10133">
                  <c:v>28.147222222222222</c:v>
                </c:pt>
                <c:pt idx="10134">
                  <c:v>28.15</c:v>
                </c:pt>
                <c:pt idx="10135">
                  <c:v>28.152777777777779</c:v>
                </c:pt>
                <c:pt idx="10136">
                  <c:v>28.155555555555555</c:v>
                </c:pt>
                <c:pt idx="10137">
                  <c:v>28.158333333333335</c:v>
                </c:pt>
                <c:pt idx="10138">
                  <c:v>28.161111111111111</c:v>
                </c:pt>
                <c:pt idx="10139">
                  <c:v>28.163888888888888</c:v>
                </c:pt>
                <c:pt idx="10140">
                  <c:v>28.166666666666668</c:v>
                </c:pt>
                <c:pt idx="10141">
                  <c:v>28.169444444444444</c:v>
                </c:pt>
                <c:pt idx="10142">
                  <c:v>28.172222222222221</c:v>
                </c:pt>
                <c:pt idx="10143">
                  <c:v>28.175000000000001</c:v>
                </c:pt>
                <c:pt idx="10144">
                  <c:v>28.177777777777777</c:v>
                </c:pt>
                <c:pt idx="10145">
                  <c:v>28.180555555555557</c:v>
                </c:pt>
                <c:pt idx="10146">
                  <c:v>28.183333333333334</c:v>
                </c:pt>
                <c:pt idx="10147">
                  <c:v>28.18611111111111</c:v>
                </c:pt>
                <c:pt idx="10148">
                  <c:v>28.18888888888889</c:v>
                </c:pt>
                <c:pt idx="10149">
                  <c:v>28.191666666666666</c:v>
                </c:pt>
                <c:pt idx="10150">
                  <c:v>28.194444444444443</c:v>
                </c:pt>
                <c:pt idx="10151">
                  <c:v>28.197222222222223</c:v>
                </c:pt>
                <c:pt idx="10152">
                  <c:v>28.2</c:v>
                </c:pt>
                <c:pt idx="10153">
                  <c:v>28.202777777777779</c:v>
                </c:pt>
                <c:pt idx="10154">
                  <c:v>28.205555555555556</c:v>
                </c:pt>
                <c:pt idx="10155">
                  <c:v>28.208333333333332</c:v>
                </c:pt>
                <c:pt idx="10156">
                  <c:v>28.211111111111112</c:v>
                </c:pt>
                <c:pt idx="10157">
                  <c:v>28.213888888888889</c:v>
                </c:pt>
                <c:pt idx="10158">
                  <c:v>28.216666666666665</c:v>
                </c:pt>
                <c:pt idx="10159">
                  <c:v>28.219444444444445</c:v>
                </c:pt>
                <c:pt idx="10160">
                  <c:v>28.222222222222221</c:v>
                </c:pt>
                <c:pt idx="10161">
                  <c:v>28.225000000000001</c:v>
                </c:pt>
                <c:pt idx="10162">
                  <c:v>28.227777777777778</c:v>
                </c:pt>
                <c:pt idx="10163">
                  <c:v>28.230555555555554</c:v>
                </c:pt>
                <c:pt idx="10164">
                  <c:v>28.233333333333334</c:v>
                </c:pt>
                <c:pt idx="10165">
                  <c:v>28.236111111111111</c:v>
                </c:pt>
                <c:pt idx="10166">
                  <c:v>28.238888888888887</c:v>
                </c:pt>
                <c:pt idx="10167">
                  <c:v>28.241666666666667</c:v>
                </c:pt>
                <c:pt idx="10168">
                  <c:v>28.244444444444444</c:v>
                </c:pt>
                <c:pt idx="10169">
                  <c:v>28.247222222222224</c:v>
                </c:pt>
                <c:pt idx="10170">
                  <c:v>28.25</c:v>
                </c:pt>
                <c:pt idx="10171">
                  <c:v>28.252777777777776</c:v>
                </c:pt>
                <c:pt idx="10172">
                  <c:v>28.255555555555556</c:v>
                </c:pt>
                <c:pt idx="10173">
                  <c:v>28.258333333333333</c:v>
                </c:pt>
                <c:pt idx="10174">
                  <c:v>28.261111111111113</c:v>
                </c:pt>
                <c:pt idx="10175">
                  <c:v>28.263888888888889</c:v>
                </c:pt>
                <c:pt idx="10176">
                  <c:v>28.266666666666666</c:v>
                </c:pt>
                <c:pt idx="10177">
                  <c:v>28.269444444444446</c:v>
                </c:pt>
                <c:pt idx="10178">
                  <c:v>28.272222222222222</c:v>
                </c:pt>
                <c:pt idx="10179">
                  <c:v>28.274999999999999</c:v>
                </c:pt>
                <c:pt idx="10180">
                  <c:v>28.277777777777779</c:v>
                </c:pt>
                <c:pt idx="10181">
                  <c:v>28.280555555555555</c:v>
                </c:pt>
                <c:pt idx="10182">
                  <c:v>28.283333333333335</c:v>
                </c:pt>
                <c:pt idx="10183">
                  <c:v>28.286111111111111</c:v>
                </c:pt>
                <c:pt idx="10184">
                  <c:v>28.288888888888888</c:v>
                </c:pt>
                <c:pt idx="10185">
                  <c:v>28.291666666666668</c:v>
                </c:pt>
                <c:pt idx="10186">
                  <c:v>28.294444444444444</c:v>
                </c:pt>
                <c:pt idx="10187">
                  <c:v>28.297222222222221</c:v>
                </c:pt>
                <c:pt idx="10188">
                  <c:v>28.3</c:v>
                </c:pt>
                <c:pt idx="10189">
                  <c:v>28.302777777777777</c:v>
                </c:pt>
                <c:pt idx="10190">
                  <c:v>28.305555555555557</c:v>
                </c:pt>
                <c:pt idx="10191">
                  <c:v>28.308333333333334</c:v>
                </c:pt>
                <c:pt idx="10192">
                  <c:v>28.31111111111111</c:v>
                </c:pt>
                <c:pt idx="10193">
                  <c:v>28.31388888888889</c:v>
                </c:pt>
                <c:pt idx="10194">
                  <c:v>28.316666666666666</c:v>
                </c:pt>
                <c:pt idx="10195">
                  <c:v>28.319444444444443</c:v>
                </c:pt>
                <c:pt idx="10196">
                  <c:v>28.322222222222223</c:v>
                </c:pt>
                <c:pt idx="10197">
                  <c:v>28.324999999999999</c:v>
                </c:pt>
                <c:pt idx="10198">
                  <c:v>28.327777777777779</c:v>
                </c:pt>
                <c:pt idx="10199">
                  <c:v>28.330555555555556</c:v>
                </c:pt>
                <c:pt idx="10200">
                  <c:v>28.333333333333332</c:v>
                </c:pt>
                <c:pt idx="10201">
                  <c:v>28.336111111111112</c:v>
                </c:pt>
                <c:pt idx="10202">
                  <c:v>28.338888888888889</c:v>
                </c:pt>
                <c:pt idx="10203">
                  <c:v>28.341666666666665</c:v>
                </c:pt>
                <c:pt idx="10204">
                  <c:v>28.344444444444445</c:v>
                </c:pt>
                <c:pt idx="10205">
                  <c:v>28.347222222222221</c:v>
                </c:pt>
                <c:pt idx="10206">
                  <c:v>28.35</c:v>
                </c:pt>
                <c:pt idx="10207">
                  <c:v>28.352777777777778</c:v>
                </c:pt>
                <c:pt idx="10208">
                  <c:v>28.355555555555554</c:v>
                </c:pt>
                <c:pt idx="10209">
                  <c:v>28.358333333333334</c:v>
                </c:pt>
                <c:pt idx="10210">
                  <c:v>28.361111111111111</c:v>
                </c:pt>
                <c:pt idx="10211">
                  <c:v>28.363888888888887</c:v>
                </c:pt>
                <c:pt idx="10212">
                  <c:v>28.366666666666667</c:v>
                </c:pt>
                <c:pt idx="10213">
                  <c:v>28.369444444444444</c:v>
                </c:pt>
                <c:pt idx="10214">
                  <c:v>28.372222222222224</c:v>
                </c:pt>
                <c:pt idx="10215">
                  <c:v>28.375</c:v>
                </c:pt>
                <c:pt idx="10216">
                  <c:v>28.377777777777776</c:v>
                </c:pt>
                <c:pt idx="10217">
                  <c:v>28.380555555555556</c:v>
                </c:pt>
                <c:pt idx="10218">
                  <c:v>28.383333333333333</c:v>
                </c:pt>
                <c:pt idx="10219">
                  <c:v>28.386111111111113</c:v>
                </c:pt>
                <c:pt idx="10220">
                  <c:v>28.388888888888889</c:v>
                </c:pt>
                <c:pt idx="10221">
                  <c:v>28.391666666666666</c:v>
                </c:pt>
                <c:pt idx="10222">
                  <c:v>28.394444444444446</c:v>
                </c:pt>
                <c:pt idx="10223">
                  <c:v>28.397222222222222</c:v>
                </c:pt>
                <c:pt idx="10224">
                  <c:v>28.4</c:v>
                </c:pt>
                <c:pt idx="10225">
                  <c:v>28.402777777777779</c:v>
                </c:pt>
                <c:pt idx="10226">
                  <c:v>28.405555555555555</c:v>
                </c:pt>
                <c:pt idx="10227">
                  <c:v>28.408333333333335</c:v>
                </c:pt>
                <c:pt idx="10228">
                  <c:v>28.411111111111111</c:v>
                </c:pt>
                <c:pt idx="10229">
                  <c:v>28.413888888888888</c:v>
                </c:pt>
                <c:pt idx="10230">
                  <c:v>28.416666666666668</c:v>
                </c:pt>
                <c:pt idx="10231">
                  <c:v>28.419444444444444</c:v>
                </c:pt>
                <c:pt idx="10232">
                  <c:v>28.422222222222221</c:v>
                </c:pt>
                <c:pt idx="10233">
                  <c:v>28.425000000000001</c:v>
                </c:pt>
                <c:pt idx="10234">
                  <c:v>28.427777777777777</c:v>
                </c:pt>
                <c:pt idx="10235">
                  <c:v>28.430555555555557</c:v>
                </c:pt>
                <c:pt idx="10236">
                  <c:v>28.433333333333334</c:v>
                </c:pt>
                <c:pt idx="10237">
                  <c:v>28.43611111111111</c:v>
                </c:pt>
                <c:pt idx="10238">
                  <c:v>28.43888888888889</c:v>
                </c:pt>
                <c:pt idx="10239">
                  <c:v>28.441666666666666</c:v>
                </c:pt>
                <c:pt idx="10240">
                  <c:v>28.444444444444443</c:v>
                </c:pt>
                <c:pt idx="10241">
                  <c:v>28.447222222222223</c:v>
                </c:pt>
                <c:pt idx="10242">
                  <c:v>28.45</c:v>
                </c:pt>
                <c:pt idx="10243">
                  <c:v>28.452777777777779</c:v>
                </c:pt>
                <c:pt idx="10244">
                  <c:v>28.455555555555556</c:v>
                </c:pt>
                <c:pt idx="10245">
                  <c:v>28.458333333333332</c:v>
                </c:pt>
                <c:pt idx="10246">
                  <c:v>28.461111111111112</c:v>
                </c:pt>
                <c:pt idx="10247">
                  <c:v>28.463888888888889</c:v>
                </c:pt>
                <c:pt idx="10248">
                  <c:v>28.466666666666665</c:v>
                </c:pt>
                <c:pt idx="10249">
                  <c:v>28.469444444444445</c:v>
                </c:pt>
                <c:pt idx="10250">
                  <c:v>28.472222222222221</c:v>
                </c:pt>
                <c:pt idx="10251">
                  <c:v>28.475000000000001</c:v>
                </c:pt>
                <c:pt idx="10252">
                  <c:v>28.477777777777778</c:v>
                </c:pt>
                <c:pt idx="10253">
                  <c:v>28.480555555555554</c:v>
                </c:pt>
                <c:pt idx="10254">
                  <c:v>28.483333333333334</c:v>
                </c:pt>
                <c:pt idx="10255">
                  <c:v>28.486111111111111</c:v>
                </c:pt>
                <c:pt idx="10256">
                  <c:v>28.488888888888887</c:v>
                </c:pt>
                <c:pt idx="10257">
                  <c:v>28.491666666666667</c:v>
                </c:pt>
                <c:pt idx="10258">
                  <c:v>28.494444444444444</c:v>
                </c:pt>
                <c:pt idx="10259">
                  <c:v>28.497222222222224</c:v>
                </c:pt>
                <c:pt idx="10260">
                  <c:v>28.5</c:v>
                </c:pt>
                <c:pt idx="10261">
                  <c:v>28.502777777777776</c:v>
                </c:pt>
                <c:pt idx="10262">
                  <c:v>28.505555555555556</c:v>
                </c:pt>
                <c:pt idx="10263">
                  <c:v>28.508333333333333</c:v>
                </c:pt>
                <c:pt idx="10264">
                  <c:v>28.511111111111113</c:v>
                </c:pt>
                <c:pt idx="10265">
                  <c:v>28.513888888888889</c:v>
                </c:pt>
                <c:pt idx="10266">
                  <c:v>28.516666666666666</c:v>
                </c:pt>
                <c:pt idx="10267">
                  <c:v>28.519444444444446</c:v>
                </c:pt>
                <c:pt idx="10268">
                  <c:v>28.522222222222222</c:v>
                </c:pt>
                <c:pt idx="10269">
                  <c:v>28.524999999999999</c:v>
                </c:pt>
                <c:pt idx="10270">
                  <c:v>28.527777777777779</c:v>
                </c:pt>
                <c:pt idx="10271">
                  <c:v>28.530555555555555</c:v>
                </c:pt>
                <c:pt idx="10272">
                  <c:v>28.533333333333335</c:v>
                </c:pt>
                <c:pt idx="10273">
                  <c:v>28.536111111111111</c:v>
                </c:pt>
                <c:pt idx="10274">
                  <c:v>28.538888888888888</c:v>
                </c:pt>
                <c:pt idx="10275">
                  <c:v>28.541666666666668</c:v>
                </c:pt>
                <c:pt idx="10276">
                  <c:v>28.544444444444444</c:v>
                </c:pt>
                <c:pt idx="10277">
                  <c:v>28.547222222222221</c:v>
                </c:pt>
                <c:pt idx="10278">
                  <c:v>28.55</c:v>
                </c:pt>
                <c:pt idx="10279">
                  <c:v>28.552777777777777</c:v>
                </c:pt>
                <c:pt idx="10280">
                  <c:v>28.555555555555557</c:v>
                </c:pt>
                <c:pt idx="10281">
                  <c:v>28.558333333333334</c:v>
                </c:pt>
                <c:pt idx="10282">
                  <c:v>28.56111111111111</c:v>
                </c:pt>
                <c:pt idx="10283">
                  <c:v>28.56388888888889</c:v>
                </c:pt>
                <c:pt idx="10284">
                  <c:v>28.566666666666666</c:v>
                </c:pt>
                <c:pt idx="10285">
                  <c:v>28.569444444444443</c:v>
                </c:pt>
                <c:pt idx="10286">
                  <c:v>28.572222222222223</c:v>
                </c:pt>
                <c:pt idx="10287">
                  <c:v>28.574999999999999</c:v>
                </c:pt>
                <c:pt idx="10288">
                  <c:v>28.577777777777779</c:v>
                </c:pt>
                <c:pt idx="10289">
                  <c:v>28.580555555555556</c:v>
                </c:pt>
                <c:pt idx="10290">
                  <c:v>28.583333333333332</c:v>
                </c:pt>
                <c:pt idx="10291">
                  <c:v>28.586111111111112</c:v>
                </c:pt>
                <c:pt idx="10292">
                  <c:v>28.588888888888889</c:v>
                </c:pt>
                <c:pt idx="10293">
                  <c:v>28.591666666666665</c:v>
                </c:pt>
                <c:pt idx="10294">
                  <c:v>28.594444444444445</c:v>
                </c:pt>
                <c:pt idx="10295">
                  <c:v>28.597222222222221</c:v>
                </c:pt>
                <c:pt idx="10296">
                  <c:v>28.6</c:v>
                </c:pt>
                <c:pt idx="10297">
                  <c:v>28.602777777777778</c:v>
                </c:pt>
                <c:pt idx="10298">
                  <c:v>28.605555555555554</c:v>
                </c:pt>
                <c:pt idx="10299">
                  <c:v>28.608333333333334</c:v>
                </c:pt>
                <c:pt idx="10300">
                  <c:v>28.611111111111111</c:v>
                </c:pt>
                <c:pt idx="10301">
                  <c:v>28.613888888888887</c:v>
                </c:pt>
                <c:pt idx="10302">
                  <c:v>28.616666666666667</c:v>
                </c:pt>
                <c:pt idx="10303">
                  <c:v>28.619444444444444</c:v>
                </c:pt>
                <c:pt idx="10304">
                  <c:v>28.622222222222224</c:v>
                </c:pt>
                <c:pt idx="10305">
                  <c:v>28.625</c:v>
                </c:pt>
                <c:pt idx="10306">
                  <c:v>28.627777777777776</c:v>
                </c:pt>
                <c:pt idx="10307">
                  <c:v>28.630555555555556</c:v>
                </c:pt>
                <c:pt idx="10308">
                  <c:v>28.633333333333333</c:v>
                </c:pt>
                <c:pt idx="10309">
                  <c:v>28.636111111111113</c:v>
                </c:pt>
                <c:pt idx="10310">
                  <c:v>28.638888888888889</c:v>
                </c:pt>
                <c:pt idx="10311">
                  <c:v>28.641666666666666</c:v>
                </c:pt>
                <c:pt idx="10312">
                  <c:v>28.644444444444446</c:v>
                </c:pt>
                <c:pt idx="10313">
                  <c:v>28.647222222222222</c:v>
                </c:pt>
                <c:pt idx="10314">
                  <c:v>28.65</c:v>
                </c:pt>
                <c:pt idx="10315">
                  <c:v>28.652777777777779</c:v>
                </c:pt>
                <c:pt idx="10316">
                  <c:v>28.655555555555555</c:v>
                </c:pt>
                <c:pt idx="10317">
                  <c:v>28.658333333333335</c:v>
                </c:pt>
                <c:pt idx="10318">
                  <c:v>28.661111111111111</c:v>
                </c:pt>
                <c:pt idx="10319">
                  <c:v>28.663888888888888</c:v>
                </c:pt>
                <c:pt idx="10320">
                  <c:v>28.666666666666668</c:v>
                </c:pt>
                <c:pt idx="10321">
                  <c:v>28.669444444444444</c:v>
                </c:pt>
                <c:pt idx="10322">
                  <c:v>28.672222222222221</c:v>
                </c:pt>
                <c:pt idx="10323">
                  <c:v>28.675000000000001</c:v>
                </c:pt>
                <c:pt idx="10324">
                  <c:v>28.677777777777777</c:v>
                </c:pt>
                <c:pt idx="10325">
                  <c:v>28.680555555555557</c:v>
                </c:pt>
                <c:pt idx="10326">
                  <c:v>28.683333333333334</c:v>
                </c:pt>
                <c:pt idx="10327">
                  <c:v>28.68611111111111</c:v>
                </c:pt>
                <c:pt idx="10328">
                  <c:v>28.68888888888889</c:v>
                </c:pt>
                <c:pt idx="10329">
                  <c:v>28.691666666666666</c:v>
                </c:pt>
                <c:pt idx="10330">
                  <c:v>28.694444444444443</c:v>
                </c:pt>
                <c:pt idx="10331">
                  <c:v>28.697222222222223</c:v>
                </c:pt>
                <c:pt idx="10332">
                  <c:v>28.7</c:v>
                </c:pt>
                <c:pt idx="10333">
                  <c:v>28.702777777777779</c:v>
                </c:pt>
                <c:pt idx="10334">
                  <c:v>28.705555555555556</c:v>
                </c:pt>
                <c:pt idx="10335">
                  <c:v>28.708333333333332</c:v>
                </c:pt>
                <c:pt idx="10336">
                  <c:v>28.711111111111112</c:v>
                </c:pt>
                <c:pt idx="10337">
                  <c:v>28.713888888888889</c:v>
                </c:pt>
                <c:pt idx="10338">
                  <c:v>28.716666666666665</c:v>
                </c:pt>
                <c:pt idx="10339">
                  <c:v>28.719444444444445</c:v>
                </c:pt>
                <c:pt idx="10340">
                  <c:v>28.722222222222221</c:v>
                </c:pt>
                <c:pt idx="10341">
                  <c:v>28.725000000000001</c:v>
                </c:pt>
                <c:pt idx="10342">
                  <c:v>28.727777777777778</c:v>
                </c:pt>
                <c:pt idx="10343">
                  <c:v>28.730555555555554</c:v>
                </c:pt>
                <c:pt idx="10344">
                  <c:v>28.733333333333334</c:v>
                </c:pt>
                <c:pt idx="10345">
                  <c:v>28.736111111111111</c:v>
                </c:pt>
                <c:pt idx="10346">
                  <c:v>28.738888888888887</c:v>
                </c:pt>
                <c:pt idx="10347">
                  <c:v>28.741666666666667</c:v>
                </c:pt>
                <c:pt idx="10348">
                  <c:v>28.744444444444444</c:v>
                </c:pt>
                <c:pt idx="10349">
                  <c:v>28.747222222222224</c:v>
                </c:pt>
                <c:pt idx="10350">
                  <c:v>28.75</c:v>
                </c:pt>
                <c:pt idx="10351">
                  <c:v>28.752777777777776</c:v>
                </c:pt>
                <c:pt idx="10352">
                  <c:v>28.755555555555556</c:v>
                </c:pt>
                <c:pt idx="10353">
                  <c:v>28.758333333333333</c:v>
                </c:pt>
                <c:pt idx="10354">
                  <c:v>28.761111111111113</c:v>
                </c:pt>
                <c:pt idx="10355">
                  <c:v>28.763888888888889</c:v>
                </c:pt>
                <c:pt idx="10356">
                  <c:v>28.766666666666666</c:v>
                </c:pt>
                <c:pt idx="10357">
                  <c:v>28.769444444444446</c:v>
                </c:pt>
                <c:pt idx="10358">
                  <c:v>28.772222222222222</c:v>
                </c:pt>
                <c:pt idx="10359">
                  <c:v>28.774999999999999</c:v>
                </c:pt>
                <c:pt idx="10360">
                  <c:v>28.777777777777779</c:v>
                </c:pt>
                <c:pt idx="10361">
                  <c:v>28.780555555555555</c:v>
                </c:pt>
                <c:pt idx="10362">
                  <c:v>28.783333333333335</c:v>
                </c:pt>
                <c:pt idx="10363">
                  <c:v>28.786111111111111</c:v>
                </c:pt>
                <c:pt idx="10364">
                  <c:v>28.788888888888888</c:v>
                </c:pt>
                <c:pt idx="10365">
                  <c:v>28.791666666666668</c:v>
                </c:pt>
                <c:pt idx="10366">
                  <c:v>28.794444444444444</c:v>
                </c:pt>
                <c:pt idx="10367">
                  <c:v>28.797222222222221</c:v>
                </c:pt>
                <c:pt idx="10368">
                  <c:v>28.8</c:v>
                </c:pt>
                <c:pt idx="10369">
                  <c:v>28.802777777777777</c:v>
                </c:pt>
                <c:pt idx="10370">
                  <c:v>28.805555555555557</c:v>
                </c:pt>
                <c:pt idx="10371">
                  <c:v>28.808333333333334</c:v>
                </c:pt>
                <c:pt idx="10372">
                  <c:v>28.81111111111111</c:v>
                </c:pt>
                <c:pt idx="10373">
                  <c:v>28.81388888888889</c:v>
                </c:pt>
                <c:pt idx="10374">
                  <c:v>28.816666666666666</c:v>
                </c:pt>
                <c:pt idx="10375">
                  <c:v>28.819444444444443</c:v>
                </c:pt>
                <c:pt idx="10376">
                  <c:v>28.822222222222223</c:v>
                </c:pt>
                <c:pt idx="10377">
                  <c:v>28.824999999999999</c:v>
                </c:pt>
                <c:pt idx="10378">
                  <c:v>28.827777777777779</c:v>
                </c:pt>
                <c:pt idx="10379">
                  <c:v>28.830555555555556</c:v>
                </c:pt>
                <c:pt idx="10380">
                  <c:v>28.833333333333332</c:v>
                </c:pt>
                <c:pt idx="10381">
                  <c:v>28.836111111111112</c:v>
                </c:pt>
                <c:pt idx="10382">
                  <c:v>28.838888888888889</c:v>
                </c:pt>
                <c:pt idx="10383">
                  <c:v>28.841666666666665</c:v>
                </c:pt>
                <c:pt idx="10384">
                  <c:v>28.844444444444445</c:v>
                </c:pt>
                <c:pt idx="10385">
                  <c:v>28.847222222222221</c:v>
                </c:pt>
                <c:pt idx="10386">
                  <c:v>28.85</c:v>
                </c:pt>
                <c:pt idx="10387">
                  <c:v>28.852777777777778</c:v>
                </c:pt>
                <c:pt idx="10388">
                  <c:v>28.855555555555554</c:v>
                </c:pt>
                <c:pt idx="10389">
                  <c:v>28.858333333333334</c:v>
                </c:pt>
                <c:pt idx="10390">
                  <c:v>28.861111111111111</c:v>
                </c:pt>
                <c:pt idx="10391">
                  <c:v>28.863888888888887</c:v>
                </c:pt>
                <c:pt idx="10392">
                  <c:v>28.866666666666667</c:v>
                </c:pt>
                <c:pt idx="10393">
                  <c:v>28.869444444444444</c:v>
                </c:pt>
                <c:pt idx="10394">
                  <c:v>28.872222222222224</c:v>
                </c:pt>
                <c:pt idx="10395">
                  <c:v>28.875</c:v>
                </c:pt>
                <c:pt idx="10396">
                  <c:v>28.877777777777776</c:v>
                </c:pt>
                <c:pt idx="10397">
                  <c:v>28.880555555555556</c:v>
                </c:pt>
                <c:pt idx="10398">
                  <c:v>28.883333333333333</c:v>
                </c:pt>
                <c:pt idx="10399">
                  <c:v>28.886111111111113</c:v>
                </c:pt>
                <c:pt idx="10400">
                  <c:v>28.888888888888889</c:v>
                </c:pt>
                <c:pt idx="10401">
                  <c:v>28.891666666666666</c:v>
                </c:pt>
                <c:pt idx="10402">
                  <c:v>28.894444444444446</c:v>
                </c:pt>
                <c:pt idx="10403">
                  <c:v>28.897222222222222</c:v>
                </c:pt>
                <c:pt idx="10404">
                  <c:v>28.9</c:v>
                </c:pt>
                <c:pt idx="10405">
                  <c:v>28.902777777777779</c:v>
                </c:pt>
                <c:pt idx="10406">
                  <c:v>28.905555555555555</c:v>
                </c:pt>
                <c:pt idx="10407">
                  <c:v>28.908333333333335</c:v>
                </c:pt>
                <c:pt idx="10408">
                  <c:v>28.911111111111111</c:v>
                </c:pt>
                <c:pt idx="10409">
                  <c:v>28.913888888888888</c:v>
                </c:pt>
                <c:pt idx="10410">
                  <c:v>28.916666666666668</c:v>
                </c:pt>
                <c:pt idx="10411">
                  <c:v>28.919444444444444</c:v>
                </c:pt>
                <c:pt idx="10412">
                  <c:v>28.922222222222221</c:v>
                </c:pt>
                <c:pt idx="10413">
                  <c:v>28.925000000000001</c:v>
                </c:pt>
                <c:pt idx="10414">
                  <c:v>28.927777777777777</c:v>
                </c:pt>
                <c:pt idx="10415">
                  <c:v>28.930555555555557</c:v>
                </c:pt>
                <c:pt idx="10416">
                  <c:v>28.933333333333334</c:v>
                </c:pt>
                <c:pt idx="10417">
                  <c:v>28.93611111111111</c:v>
                </c:pt>
                <c:pt idx="10418">
                  <c:v>28.93888888888889</c:v>
                </c:pt>
                <c:pt idx="10419">
                  <c:v>28.941666666666666</c:v>
                </c:pt>
                <c:pt idx="10420">
                  <c:v>28.944444444444443</c:v>
                </c:pt>
                <c:pt idx="10421">
                  <c:v>28.947222222222223</c:v>
                </c:pt>
                <c:pt idx="10422">
                  <c:v>28.95</c:v>
                </c:pt>
                <c:pt idx="10423">
                  <c:v>28.952777777777779</c:v>
                </c:pt>
                <c:pt idx="10424">
                  <c:v>28.955555555555556</c:v>
                </c:pt>
                <c:pt idx="10425">
                  <c:v>28.958333333333332</c:v>
                </c:pt>
                <c:pt idx="10426">
                  <c:v>28.961111111111112</c:v>
                </c:pt>
                <c:pt idx="10427">
                  <c:v>28.963888888888889</c:v>
                </c:pt>
                <c:pt idx="10428">
                  <c:v>28.966666666666665</c:v>
                </c:pt>
                <c:pt idx="10429">
                  <c:v>28.969444444444445</c:v>
                </c:pt>
                <c:pt idx="10430">
                  <c:v>28.972222222222221</c:v>
                </c:pt>
                <c:pt idx="10431">
                  <c:v>28.975000000000001</c:v>
                </c:pt>
                <c:pt idx="10432">
                  <c:v>28.977777777777778</c:v>
                </c:pt>
                <c:pt idx="10433">
                  <c:v>28.980555555555554</c:v>
                </c:pt>
                <c:pt idx="10434">
                  <c:v>28.983333333333334</c:v>
                </c:pt>
                <c:pt idx="10435">
                  <c:v>28.986111111111111</c:v>
                </c:pt>
                <c:pt idx="10436">
                  <c:v>28.988888888888887</c:v>
                </c:pt>
                <c:pt idx="10437">
                  <c:v>28.991666666666667</c:v>
                </c:pt>
                <c:pt idx="10438">
                  <c:v>28.994444444444444</c:v>
                </c:pt>
                <c:pt idx="10439">
                  <c:v>28.997222222222224</c:v>
                </c:pt>
                <c:pt idx="10440">
                  <c:v>29</c:v>
                </c:pt>
                <c:pt idx="10441">
                  <c:v>29.002777777777776</c:v>
                </c:pt>
                <c:pt idx="10442">
                  <c:v>29.005555555555556</c:v>
                </c:pt>
                <c:pt idx="10443">
                  <c:v>29.008333333333333</c:v>
                </c:pt>
                <c:pt idx="10444">
                  <c:v>29.011111111111113</c:v>
                </c:pt>
                <c:pt idx="10445">
                  <c:v>29.013888888888889</c:v>
                </c:pt>
                <c:pt idx="10446">
                  <c:v>29.016666666666666</c:v>
                </c:pt>
                <c:pt idx="10447">
                  <c:v>29.019444444444446</c:v>
                </c:pt>
                <c:pt idx="10448">
                  <c:v>29.022222222222222</c:v>
                </c:pt>
                <c:pt idx="10449">
                  <c:v>29.024999999999999</c:v>
                </c:pt>
                <c:pt idx="10450">
                  <c:v>29.027777777777779</c:v>
                </c:pt>
                <c:pt idx="10451">
                  <c:v>29.030555555555555</c:v>
                </c:pt>
                <c:pt idx="10452">
                  <c:v>29.033333333333335</c:v>
                </c:pt>
                <c:pt idx="10453">
                  <c:v>29.036111111111111</c:v>
                </c:pt>
                <c:pt idx="10454">
                  <c:v>29.038888888888888</c:v>
                </c:pt>
                <c:pt idx="10455">
                  <c:v>29.041666666666668</c:v>
                </c:pt>
                <c:pt idx="10456">
                  <c:v>29.044444444444444</c:v>
                </c:pt>
                <c:pt idx="10457">
                  <c:v>29.047222222222221</c:v>
                </c:pt>
                <c:pt idx="10458">
                  <c:v>29.05</c:v>
                </c:pt>
                <c:pt idx="10459">
                  <c:v>29.052777777777777</c:v>
                </c:pt>
                <c:pt idx="10460">
                  <c:v>29.055555555555557</c:v>
                </c:pt>
                <c:pt idx="10461">
                  <c:v>29.058333333333334</c:v>
                </c:pt>
                <c:pt idx="10462">
                  <c:v>29.06111111111111</c:v>
                </c:pt>
                <c:pt idx="10463">
                  <c:v>29.06388888888889</c:v>
                </c:pt>
                <c:pt idx="10464">
                  <c:v>29.066666666666666</c:v>
                </c:pt>
                <c:pt idx="10465">
                  <c:v>29.069444444444443</c:v>
                </c:pt>
                <c:pt idx="10466">
                  <c:v>29.072222222222223</c:v>
                </c:pt>
                <c:pt idx="10467">
                  <c:v>29.074999999999999</c:v>
                </c:pt>
                <c:pt idx="10468">
                  <c:v>29.077777777777779</c:v>
                </c:pt>
                <c:pt idx="10469">
                  <c:v>29.080555555555556</c:v>
                </c:pt>
                <c:pt idx="10470">
                  <c:v>29.083333333333332</c:v>
                </c:pt>
                <c:pt idx="10471">
                  <c:v>29.086111111111112</c:v>
                </c:pt>
                <c:pt idx="10472">
                  <c:v>29.088888888888889</c:v>
                </c:pt>
                <c:pt idx="10473">
                  <c:v>29.091666666666665</c:v>
                </c:pt>
                <c:pt idx="10474">
                  <c:v>29.094444444444445</c:v>
                </c:pt>
                <c:pt idx="10475">
                  <c:v>29.097222222222221</c:v>
                </c:pt>
                <c:pt idx="10476">
                  <c:v>29.1</c:v>
                </c:pt>
                <c:pt idx="10477">
                  <c:v>29.102777777777778</c:v>
                </c:pt>
                <c:pt idx="10478">
                  <c:v>29.105555555555554</c:v>
                </c:pt>
                <c:pt idx="10479">
                  <c:v>29.108333333333334</c:v>
                </c:pt>
                <c:pt idx="10480">
                  <c:v>29.111111111111111</c:v>
                </c:pt>
                <c:pt idx="10481">
                  <c:v>29.113888888888887</c:v>
                </c:pt>
                <c:pt idx="10482">
                  <c:v>29.116666666666667</c:v>
                </c:pt>
                <c:pt idx="10483">
                  <c:v>29.119444444444444</c:v>
                </c:pt>
                <c:pt idx="10484">
                  <c:v>29.122222222222224</c:v>
                </c:pt>
                <c:pt idx="10485">
                  <c:v>29.125</c:v>
                </c:pt>
                <c:pt idx="10486">
                  <c:v>29.127777777777776</c:v>
                </c:pt>
                <c:pt idx="10487">
                  <c:v>29.130555555555556</c:v>
                </c:pt>
                <c:pt idx="10488">
                  <c:v>29.133333333333333</c:v>
                </c:pt>
                <c:pt idx="10489">
                  <c:v>29.136111111111113</c:v>
                </c:pt>
                <c:pt idx="10490">
                  <c:v>29.138888888888889</c:v>
                </c:pt>
                <c:pt idx="10491">
                  <c:v>29.141666666666666</c:v>
                </c:pt>
                <c:pt idx="10492">
                  <c:v>29.144444444444446</c:v>
                </c:pt>
                <c:pt idx="10493">
                  <c:v>29.147222222222222</c:v>
                </c:pt>
                <c:pt idx="10494">
                  <c:v>29.15</c:v>
                </c:pt>
                <c:pt idx="10495">
                  <c:v>29.152777777777779</c:v>
                </c:pt>
                <c:pt idx="10496">
                  <c:v>29.155555555555555</c:v>
                </c:pt>
                <c:pt idx="10497">
                  <c:v>29.158333333333335</c:v>
                </c:pt>
                <c:pt idx="10498">
                  <c:v>29.161111111111111</c:v>
                </c:pt>
                <c:pt idx="10499">
                  <c:v>29.163888888888888</c:v>
                </c:pt>
                <c:pt idx="10500">
                  <c:v>29.166666666666668</c:v>
                </c:pt>
                <c:pt idx="10501">
                  <c:v>29.169444444444444</c:v>
                </c:pt>
                <c:pt idx="10502">
                  <c:v>29.172222222222221</c:v>
                </c:pt>
                <c:pt idx="10503">
                  <c:v>29.175000000000001</c:v>
                </c:pt>
                <c:pt idx="10504">
                  <c:v>29.177777777777777</c:v>
                </c:pt>
                <c:pt idx="10505">
                  <c:v>29.180555555555557</c:v>
                </c:pt>
                <c:pt idx="10506">
                  <c:v>29.183333333333334</c:v>
                </c:pt>
                <c:pt idx="10507">
                  <c:v>29.18611111111111</c:v>
                </c:pt>
                <c:pt idx="10508">
                  <c:v>29.18888888888889</c:v>
                </c:pt>
                <c:pt idx="10509">
                  <c:v>29.191666666666666</c:v>
                </c:pt>
                <c:pt idx="10510">
                  <c:v>29.194444444444443</c:v>
                </c:pt>
                <c:pt idx="10511">
                  <c:v>29.197222222222223</c:v>
                </c:pt>
                <c:pt idx="10512">
                  <c:v>29.2</c:v>
                </c:pt>
                <c:pt idx="10513">
                  <c:v>29.202777777777779</c:v>
                </c:pt>
                <c:pt idx="10514">
                  <c:v>29.205555555555556</c:v>
                </c:pt>
                <c:pt idx="10515">
                  <c:v>29.208333333333332</c:v>
                </c:pt>
                <c:pt idx="10516">
                  <c:v>29.211111111111112</c:v>
                </c:pt>
                <c:pt idx="10517">
                  <c:v>29.213888888888889</c:v>
                </c:pt>
                <c:pt idx="10518">
                  <c:v>29.216666666666665</c:v>
                </c:pt>
                <c:pt idx="10519">
                  <c:v>29.219444444444445</c:v>
                </c:pt>
                <c:pt idx="10520">
                  <c:v>29.222222222222221</c:v>
                </c:pt>
                <c:pt idx="10521">
                  <c:v>29.225000000000001</c:v>
                </c:pt>
                <c:pt idx="10522">
                  <c:v>29.227777777777778</c:v>
                </c:pt>
                <c:pt idx="10523">
                  <c:v>29.230555555555554</c:v>
                </c:pt>
                <c:pt idx="10524">
                  <c:v>29.233333333333334</c:v>
                </c:pt>
                <c:pt idx="10525">
                  <c:v>29.236111111111111</c:v>
                </c:pt>
                <c:pt idx="10526">
                  <c:v>29.238888888888887</c:v>
                </c:pt>
                <c:pt idx="10527">
                  <c:v>29.241666666666667</c:v>
                </c:pt>
                <c:pt idx="10528">
                  <c:v>29.244444444444444</c:v>
                </c:pt>
                <c:pt idx="10529">
                  <c:v>29.247222222222224</c:v>
                </c:pt>
                <c:pt idx="10530">
                  <c:v>29.25</c:v>
                </c:pt>
                <c:pt idx="10531">
                  <c:v>29.252777777777776</c:v>
                </c:pt>
                <c:pt idx="10532">
                  <c:v>29.255555555555556</c:v>
                </c:pt>
                <c:pt idx="10533">
                  <c:v>29.258333333333333</c:v>
                </c:pt>
                <c:pt idx="10534">
                  <c:v>29.261111111111113</c:v>
                </c:pt>
                <c:pt idx="10535">
                  <c:v>29.263888888888889</c:v>
                </c:pt>
                <c:pt idx="10536">
                  <c:v>29.266666666666666</c:v>
                </c:pt>
                <c:pt idx="10537">
                  <c:v>29.269444444444446</c:v>
                </c:pt>
                <c:pt idx="10538">
                  <c:v>29.272222222222222</c:v>
                </c:pt>
                <c:pt idx="10539">
                  <c:v>29.274999999999999</c:v>
                </c:pt>
                <c:pt idx="10540">
                  <c:v>29.277777777777779</c:v>
                </c:pt>
                <c:pt idx="10541">
                  <c:v>29.280555555555555</c:v>
                </c:pt>
                <c:pt idx="10542">
                  <c:v>29.283333333333335</c:v>
                </c:pt>
                <c:pt idx="10543">
                  <c:v>29.286111111111111</c:v>
                </c:pt>
                <c:pt idx="10544">
                  <c:v>29.288888888888888</c:v>
                </c:pt>
                <c:pt idx="10545">
                  <c:v>29.291666666666668</c:v>
                </c:pt>
                <c:pt idx="10546">
                  <c:v>29.294444444444444</c:v>
                </c:pt>
                <c:pt idx="10547">
                  <c:v>29.297222222222221</c:v>
                </c:pt>
                <c:pt idx="10548">
                  <c:v>29.3</c:v>
                </c:pt>
                <c:pt idx="10549">
                  <c:v>29.302777777777777</c:v>
                </c:pt>
                <c:pt idx="10550">
                  <c:v>29.305555555555557</c:v>
                </c:pt>
                <c:pt idx="10551">
                  <c:v>29.308333333333334</c:v>
                </c:pt>
                <c:pt idx="10552">
                  <c:v>29.31111111111111</c:v>
                </c:pt>
                <c:pt idx="10553">
                  <c:v>29.31388888888889</c:v>
                </c:pt>
                <c:pt idx="10554">
                  <c:v>29.316666666666666</c:v>
                </c:pt>
                <c:pt idx="10555">
                  <c:v>29.319444444444443</c:v>
                </c:pt>
                <c:pt idx="10556">
                  <c:v>29.322222222222223</c:v>
                </c:pt>
                <c:pt idx="10557">
                  <c:v>29.324999999999999</c:v>
                </c:pt>
                <c:pt idx="10558">
                  <c:v>29.327777777777779</c:v>
                </c:pt>
                <c:pt idx="10559">
                  <c:v>29.330555555555556</c:v>
                </c:pt>
                <c:pt idx="10560">
                  <c:v>29.333333333333332</c:v>
                </c:pt>
                <c:pt idx="10561">
                  <c:v>29.336111111111112</c:v>
                </c:pt>
                <c:pt idx="10562">
                  <c:v>29.338888888888889</c:v>
                </c:pt>
                <c:pt idx="10563">
                  <c:v>29.341666666666665</c:v>
                </c:pt>
                <c:pt idx="10564">
                  <c:v>29.344444444444445</c:v>
                </c:pt>
                <c:pt idx="10565">
                  <c:v>29.347222222222221</c:v>
                </c:pt>
                <c:pt idx="10566">
                  <c:v>29.35</c:v>
                </c:pt>
                <c:pt idx="10567">
                  <c:v>29.352777777777778</c:v>
                </c:pt>
                <c:pt idx="10568">
                  <c:v>29.355555555555554</c:v>
                </c:pt>
                <c:pt idx="10569">
                  <c:v>29.358333333333334</c:v>
                </c:pt>
                <c:pt idx="10570">
                  <c:v>29.361111111111111</c:v>
                </c:pt>
                <c:pt idx="10571">
                  <c:v>29.363888888888887</c:v>
                </c:pt>
                <c:pt idx="10572">
                  <c:v>29.366666666666667</c:v>
                </c:pt>
                <c:pt idx="10573">
                  <c:v>29.369444444444444</c:v>
                </c:pt>
                <c:pt idx="10574">
                  <c:v>29.372222222222224</c:v>
                </c:pt>
                <c:pt idx="10575">
                  <c:v>29.375</c:v>
                </c:pt>
                <c:pt idx="10576">
                  <c:v>29.377777777777776</c:v>
                </c:pt>
                <c:pt idx="10577">
                  <c:v>29.380555555555556</c:v>
                </c:pt>
                <c:pt idx="10578">
                  <c:v>29.383333333333333</c:v>
                </c:pt>
                <c:pt idx="10579">
                  <c:v>29.386111111111113</c:v>
                </c:pt>
                <c:pt idx="10580">
                  <c:v>29.388888888888889</c:v>
                </c:pt>
                <c:pt idx="10581">
                  <c:v>29.391666666666666</c:v>
                </c:pt>
                <c:pt idx="10582">
                  <c:v>29.394444444444446</c:v>
                </c:pt>
                <c:pt idx="10583">
                  <c:v>29.397222222222222</c:v>
                </c:pt>
                <c:pt idx="10584">
                  <c:v>29.4</c:v>
                </c:pt>
                <c:pt idx="10585">
                  <c:v>29.402777777777779</c:v>
                </c:pt>
                <c:pt idx="10586">
                  <c:v>29.405555555555555</c:v>
                </c:pt>
                <c:pt idx="10587">
                  <c:v>29.408333333333335</c:v>
                </c:pt>
                <c:pt idx="10588">
                  <c:v>29.411111111111111</c:v>
                </c:pt>
                <c:pt idx="10589">
                  <c:v>29.413888888888888</c:v>
                </c:pt>
                <c:pt idx="10590">
                  <c:v>29.416666666666668</c:v>
                </c:pt>
                <c:pt idx="10591">
                  <c:v>29.419444444444444</c:v>
                </c:pt>
                <c:pt idx="10592">
                  <c:v>29.422222222222221</c:v>
                </c:pt>
                <c:pt idx="10593">
                  <c:v>29.425000000000001</c:v>
                </c:pt>
                <c:pt idx="10594">
                  <c:v>29.427777777777777</c:v>
                </c:pt>
                <c:pt idx="10595">
                  <c:v>29.430555555555557</c:v>
                </c:pt>
                <c:pt idx="10596">
                  <c:v>29.433333333333334</c:v>
                </c:pt>
                <c:pt idx="10597">
                  <c:v>29.43611111111111</c:v>
                </c:pt>
                <c:pt idx="10598">
                  <c:v>29.43888888888889</c:v>
                </c:pt>
                <c:pt idx="10599">
                  <c:v>29.441666666666666</c:v>
                </c:pt>
                <c:pt idx="10600">
                  <c:v>29.444444444444443</c:v>
                </c:pt>
                <c:pt idx="10601">
                  <c:v>29.447222222222223</c:v>
                </c:pt>
                <c:pt idx="10602">
                  <c:v>29.45</c:v>
                </c:pt>
                <c:pt idx="10603">
                  <c:v>29.452777777777779</c:v>
                </c:pt>
                <c:pt idx="10604">
                  <c:v>29.455555555555556</c:v>
                </c:pt>
                <c:pt idx="10605">
                  <c:v>29.458333333333332</c:v>
                </c:pt>
                <c:pt idx="10606">
                  <c:v>29.461111111111112</c:v>
                </c:pt>
                <c:pt idx="10607">
                  <c:v>29.463888888888889</c:v>
                </c:pt>
                <c:pt idx="10608">
                  <c:v>29.466666666666665</c:v>
                </c:pt>
                <c:pt idx="10609">
                  <c:v>29.469444444444445</c:v>
                </c:pt>
                <c:pt idx="10610">
                  <c:v>29.472222222222221</c:v>
                </c:pt>
                <c:pt idx="10611">
                  <c:v>29.475000000000001</c:v>
                </c:pt>
                <c:pt idx="10612">
                  <c:v>29.477777777777778</c:v>
                </c:pt>
                <c:pt idx="10613">
                  <c:v>29.480555555555554</c:v>
                </c:pt>
                <c:pt idx="10614">
                  <c:v>29.483333333333334</c:v>
                </c:pt>
                <c:pt idx="10615">
                  <c:v>29.486111111111111</c:v>
                </c:pt>
                <c:pt idx="10616">
                  <c:v>29.488888888888887</c:v>
                </c:pt>
                <c:pt idx="10617">
                  <c:v>29.491666666666667</c:v>
                </c:pt>
                <c:pt idx="10618">
                  <c:v>29.494444444444444</c:v>
                </c:pt>
                <c:pt idx="10619">
                  <c:v>29.497222222222224</c:v>
                </c:pt>
                <c:pt idx="10620">
                  <c:v>29.5</c:v>
                </c:pt>
                <c:pt idx="10621">
                  <c:v>29.502777777777776</c:v>
                </c:pt>
                <c:pt idx="10622">
                  <c:v>29.505555555555556</c:v>
                </c:pt>
                <c:pt idx="10623">
                  <c:v>29.508333333333333</c:v>
                </c:pt>
                <c:pt idx="10624">
                  <c:v>29.511111111111113</c:v>
                </c:pt>
                <c:pt idx="10625">
                  <c:v>29.513888888888889</c:v>
                </c:pt>
                <c:pt idx="10626">
                  <c:v>29.516666666666666</c:v>
                </c:pt>
                <c:pt idx="10627">
                  <c:v>29.519444444444446</c:v>
                </c:pt>
                <c:pt idx="10628">
                  <c:v>29.522222222222222</c:v>
                </c:pt>
                <c:pt idx="10629">
                  <c:v>29.524999999999999</c:v>
                </c:pt>
                <c:pt idx="10630">
                  <c:v>29.527777777777779</c:v>
                </c:pt>
                <c:pt idx="10631">
                  <c:v>29.530555555555555</c:v>
                </c:pt>
                <c:pt idx="10632">
                  <c:v>29.533333333333335</c:v>
                </c:pt>
                <c:pt idx="10633">
                  <c:v>29.536111111111111</c:v>
                </c:pt>
                <c:pt idx="10634">
                  <c:v>29.538888888888888</c:v>
                </c:pt>
                <c:pt idx="10635">
                  <c:v>29.541666666666668</c:v>
                </c:pt>
                <c:pt idx="10636">
                  <c:v>29.544444444444444</c:v>
                </c:pt>
                <c:pt idx="10637">
                  <c:v>29.547222222222221</c:v>
                </c:pt>
                <c:pt idx="10638">
                  <c:v>29.55</c:v>
                </c:pt>
                <c:pt idx="10639">
                  <c:v>29.552777777777777</c:v>
                </c:pt>
                <c:pt idx="10640">
                  <c:v>29.555555555555557</c:v>
                </c:pt>
                <c:pt idx="10641">
                  <c:v>29.558333333333334</c:v>
                </c:pt>
                <c:pt idx="10642">
                  <c:v>29.56111111111111</c:v>
                </c:pt>
                <c:pt idx="10643">
                  <c:v>29.56388888888889</c:v>
                </c:pt>
                <c:pt idx="10644">
                  <c:v>29.566666666666666</c:v>
                </c:pt>
                <c:pt idx="10645">
                  <c:v>29.569444444444443</c:v>
                </c:pt>
                <c:pt idx="10646">
                  <c:v>29.572222222222223</c:v>
                </c:pt>
                <c:pt idx="10647">
                  <c:v>29.574999999999999</c:v>
                </c:pt>
                <c:pt idx="10648">
                  <c:v>29.577777777777779</c:v>
                </c:pt>
                <c:pt idx="10649">
                  <c:v>29.580555555555556</c:v>
                </c:pt>
                <c:pt idx="10650">
                  <c:v>29.583333333333332</c:v>
                </c:pt>
                <c:pt idx="10651">
                  <c:v>29.586111111111112</c:v>
                </c:pt>
                <c:pt idx="10652">
                  <c:v>29.588888888888889</c:v>
                </c:pt>
                <c:pt idx="10653">
                  <c:v>29.591666666666665</c:v>
                </c:pt>
                <c:pt idx="10654">
                  <c:v>29.594444444444445</c:v>
                </c:pt>
                <c:pt idx="10655">
                  <c:v>29.597222222222221</c:v>
                </c:pt>
                <c:pt idx="10656">
                  <c:v>29.6</c:v>
                </c:pt>
                <c:pt idx="10657">
                  <c:v>29.602777777777778</c:v>
                </c:pt>
                <c:pt idx="10658">
                  <c:v>29.605555555555554</c:v>
                </c:pt>
                <c:pt idx="10659">
                  <c:v>29.608333333333334</c:v>
                </c:pt>
                <c:pt idx="10660">
                  <c:v>29.611111111111111</c:v>
                </c:pt>
                <c:pt idx="10661">
                  <c:v>29.613888888888887</c:v>
                </c:pt>
                <c:pt idx="10662">
                  <c:v>29.616666666666667</c:v>
                </c:pt>
                <c:pt idx="10663">
                  <c:v>29.619444444444444</c:v>
                </c:pt>
                <c:pt idx="10664">
                  <c:v>29.622222222222224</c:v>
                </c:pt>
                <c:pt idx="10665">
                  <c:v>29.625</c:v>
                </c:pt>
                <c:pt idx="10666">
                  <c:v>29.627777777777776</c:v>
                </c:pt>
                <c:pt idx="10667">
                  <c:v>29.630555555555556</c:v>
                </c:pt>
                <c:pt idx="10668">
                  <c:v>29.633333333333333</c:v>
                </c:pt>
                <c:pt idx="10669">
                  <c:v>29.636111111111113</c:v>
                </c:pt>
                <c:pt idx="10670">
                  <c:v>29.638888888888889</c:v>
                </c:pt>
                <c:pt idx="10671">
                  <c:v>29.641666666666666</c:v>
                </c:pt>
                <c:pt idx="10672">
                  <c:v>29.644444444444446</c:v>
                </c:pt>
                <c:pt idx="10673">
                  <c:v>29.647222222222222</c:v>
                </c:pt>
                <c:pt idx="10674">
                  <c:v>29.65</c:v>
                </c:pt>
                <c:pt idx="10675">
                  <c:v>29.652777777777779</c:v>
                </c:pt>
                <c:pt idx="10676">
                  <c:v>29.655555555555555</c:v>
                </c:pt>
                <c:pt idx="10677">
                  <c:v>29.658333333333335</c:v>
                </c:pt>
                <c:pt idx="10678">
                  <c:v>29.661111111111111</c:v>
                </c:pt>
                <c:pt idx="10679">
                  <c:v>29.663888888888888</c:v>
                </c:pt>
                <c:pt idx="10680">
                  <c:v>29.666666666666668</c:v>
                </c:pt>
                <c:pt idx="10681">
                  <c:v>29.669444444444444</c:v>
                </c:pt>
                <c:pt idx="10682">
                  <c:v>29.672222222222221</c:v>
                </c:pt>
                <c:pt idx="10683">
                  <c:v>29.675000000000001</c:v>
                </c:pt>
                <c:pt idx="10684">
                  <c:v>29.677777777777777</c:v>
                </c:pt>
                <c:pt idx="10685">
                  <c:v>29.680555555555557</c:v>
                </c:pt>
                <c:pt idx="10686">
                  <c:v>29.683333333333334</c:v>
                </c:pt>
                <c:pt idx="10687">
                  <c:v>29.68611111111111</c:v>
                </c:pt>
                <c:pt idx="10688">
                  <c:v>29.68888888888889</c:v>
                </c:pt>
                <c:pt idx="10689">
                  <c:v>29.691666666666666</c:v>
                </c:pt>
                <c:pt idx="10690">
                  <c:v>29.694444444444443</c:v>
                </c:pt>
                <c:pt idx="10691">
                  <c:v>29.697222222222223</c:v>
                </c:pt>
                <c:pt idx="10692">
                  <c:v>29.7</c:v>
                </c:pt>
                <c:pt idx="10693">
                  <c:v>29.702777777777779</c:v>
                </c:pt>
                <c:pt idx="10694">
                  <c:v>29.705555555555556</c:v>
                </c:pt>
                <c:pt idx="10695">
                  <c:v>29.708333333333332</c:v>
                </c:pt>
                <c:pt idx="10696">
                  <c:v>29.711111111111112</c:v>
                </c:pt>
                <c:pt idx="10697">
                  <c:v>29.713888888888889</c:v>
                </c:pt>
                <c:pt idx="10698">
                  <c:v>29.716666666666665</c:v>
                </c:pt>
                <c:pt idx="10699">
                  <c:v>29.719444444444445</c:v>
                </c:pt>
                <c:pt idx="10700">
                  <c:v>29.722222222222221</c:v>
                </c:pt>
                <c:pt idx="10701">
                  <c:v>29.725000000000001</c:v>
                </c:pt>
                <c:pt idx="10702">
                  <c:v>29.727777777777778</c:v>
                </c:pt>
                <c:pt idx="10703">
                  <c:v>29.730555555555554</c:v>
                </c:pt>
                <c:pt idx="10704">
                  <c:v>29.733333333333334</c:v>
                </c:pt>
                <c:pt idx="10705">
                  <c:v>29.736111111111111</c:v>
                </c:pt>
                <c:pt idx="10706">
                  <c:v>29.738888888888887</c:v>
                </c:pt>
                <c:pt idx="10707">
                  <c:v>29.741666666666667</c:v>
                </c:pt>
                <c:pt idx="10708">
                  <c:v>29.744444444444444</c:v>
                </c:pt>
                <c:pt idx="10709">
                  <c:v>29.747222222222224</c:v>
                </c:pt>
                <c:pt idx="10710">
                  <c:v>29.75</c:v>
                </c:pt>
                <c:pt idx="10711">
                  <c:v>29.752777777777776</c:v>
                </c:pt>
                <c:pt idx="10712">
                  <c:v>29.755555555555556</c:v>
                </c:pt>
                <c:pt idx="10713">
                  <c:v>29.758333333333333</c:v>
                </c:pt>
                <c:pt idx="10714">
                  <c:v>29.761111111111113</c:v>
                </c:pt>
                <c:pt idx="10715">
                  <c:v>29.763888888888889</c:v>
                </c:pt>
                <c:pt idx="10716">
                  <c:v>29.766666666666666</c:v>
                </c:pt>
                <c:pt idx="10717">
                  <c:v>29.769444444444446</c:v>
                </c:pt>
                <c:pt idx="10718">
                  <c:v>29.772222222222222</c:v>
                </c:pt>
                <c:pt idx="10719">
                  <c:v>29.774999999999999</c:v>
                </c:pt>
                <c:pt idx="10720">
                  <c:v>29.777777777777779</c:v>
                </c:pt>
                <c:pt idx="10721">
                  <c:v>29.780555555555555</c:v>
                </c:pt>
                <c:pt idx="10722">
                  <c:v>29.783333333333335</c:v>
                </c:pt>
                <c:pt idx="10723">
                  <c:v>29.786111111111111</c:v>
                </c:pt>
                <c:pt idx="10724">
                  <c:v>29.788888888888888</c:v>
                </c:pt>
                <c:pt idx="10725">
                  <c:v>29.791666666666668</c:v>
                </c:pt>
                <c:pt idx="10726">
                  <c:v>29.794444444444444</c:v>
                </c:pt>
                <c:pt idx="10727">
                  <c:v>29.797222222222221</c:v>
                </c:pt>
                <c:pt idx="10728">
                  <c:v>29.8</c:v>
                </c:pt>
                <c:pt idx="10729">
                  <c:v>29.802777777777777</c:v>
                </c:pt>
                <c:pt idx="10730">
                  <c:v>29.805555555555557</c:v>
                </c:pt>
                <c:pt idx="10731">
                  <c:v>29.808333333333334</c:v>
                </c:pt>
                <c:pt idx="10732">
                  <c:v>29.81111111111111</c:v>
                </c:pt>
                <c:pt idx="10733">
                  <c:v>29.81388888888889</c:v>
                </c:pt>
                <c:pt idx="10734">
                  <c:v>29.816666666666666</c:v>
                </c:pt>
                <c:pt idx="10735">
                  <c:v>29.819444444444443</c:v>
                </c:pt>
                <c:pt idx="10736">
                  <c:v>29.822222222222223</c:v>
                </c:pt>
                <c:pt idx="10737">
                  <c:v>29.824999999999999</c:v>
                </c:pt>
                <c:pt idx="10738">
                  <c:v>29.827777777777779</c:v>
                </c:pt>
                <c:pt idx="10739">
                  <c:v>29.830555555555556</c:v>
                </c:pt>
                <c:pt idx="10740">
                  <c:v>29.833333333333332</c:v>
                </c:pt>
                <c:pt idx="10741">
                  <c:v>29.836111111111112</c:v>
                </c:pt>
                <c:pt idx="10742">
                  <c:v>29.838888888888889</c:v>
                </c:pt>
                <c:pt idx="10743">
                  <c:v>29.841666666666665</c:v>
                </c:pt>
                <c:pt idx="10744">
                  <c:v>29.844444444444445</c:v>
                </c:pt>
                <c:pt idx="10745">
                  <c:v>29.847222222222221</c:v>
                </c:pt>
                <c:pt idx="10746">
                  <c:v>29.85</c:v>
                </c:pt>
                <c:pt idx="10747">
                  <c:v>29.852777777777778</c:v>
                </c:pt>
                <c:pt idx="10748">
                  <c:v>29.855555555555554</c:v>
                </c:pt>
                <c:pt idx="10749">
                  <c:v>29.858333333333334</c:v>
                </c:pt>
                <c:pt idx="10750">
                  <c:v>29.861111111111111</c:v>
                </c:pt>
                <c:pt idx="10751">
                  <c:v>29.863888888888887</c:v>
                </c:pt>
                <c:pt idx="10752">
                  <c:v>29.866666666666667</c:v>
                </c:pt>
                <c:pt idx="10753">
                  <c:v>29.869444444444444</c:v>
                </c:pt>
                <c:pt idx="10754">
                  <c:v>29.872222222222224</c:v>
                </c:pt>
                <c:pt idx="10755">
                  <c:v>29.875</c:v>
                </c:pt>
                <c:pt idx="10756">
                  <c:v>29.877777777777776</c:v>
                </c:pt>
                <c:pt idx="10757">
                  <c:v>29.880555555555556</c:v>
                </c:pt>
                <c:pt idx="10758">
                  <c:v>29.883333333333333</c:v>
                </c:pt>
                <c:pt idx="10759">
                  <c:v>29.886111111111113</c:v>
                </c:pt>
                <c:pt idx="10760">
                  <c:v>29.888888888888889</c:v>
                </c:pt>
                <c:pt idx="10761">
                  <c:v>29.891666666666666</c:v>
                </c:pt>
                <c:pt idx="10762">
                  <c:v>29.894444444444446</c:v>
                </c:pt>
                <c:pt idx="10763">
                  <c:v>29.897222222222222</c:v>
                </c:pt>
                <c:pt idx="10764">
                  <c:v>29.9</c:v>
                </c:pt>
                <c:pt idx="10765">
                  <c:v>29.902777777777779</c:v>
                </c:pt>
                <c:pt idx="10766">
                  <c:v>29.905555555555555</c:v>
                </c:pt>
                <c:pt idx="10767">
                  <c:v>29.908333333333335</c:v>
                </c:pt>
                <c:pt idx="10768">
                  <c:v>29.911111111111111</c:v>
                </c:pt>
                <c:pt idx="10769">
                  <c:v>29.913888888888888</c:v>
                </c:pt>
                <c:pt idx="10770">
                  <c:v>29.916666666666668</c:v>
                </c:pt>
                <c:pt idx="10771">
                  <c:v>29.919444444444444</c:v>
                </c:pt>
                <c:pt idx="10772">
                  <c:v>29.922222222222221</c:v>
                </c:pt>
                <c:pt idx="10773">
                  <c:v>29.925000000000001</c:v>
                </c:pt>
                <c:pt idx="10774">
                  <c:v>29.927777777777777</c:v>
                </c:pt>
                <c:pt idx="10775">
                  <c:v>29.930555555555557</c:v>
                </c:pt>
                <c:pt idx="10776">
                  <c:v>29.933333333333334</c:v>
                </c:pt>
                <c:pt idx="10777">
                  <c:v>29.93611111111111</c:v>
                </c:pt>
                <c:pt idx="10778">
                  <c:v>29.93888888888889</c:v>
                </c:pt>
                <c:pt idx="10779">
                  <c:v>29.941666666666666</c:v>
                </c:pt>
                <c:pt idx="10780">
                  <c:v>29.944444444444443</c:v>
                </c:pt>
                <c:pt idx="10781">
                  <c:v>29.947222222222223</c:v>
                </c:pt>
                <c:pt idx="10782">
                  <c:v>29.95</c:v>
                </c:pt>
                <c:pt idx="10783">
                  <c:v>29.952777777777779</c:v>
                </c:pt>
                <c:pt idx="10784">
                  <c:v>29.955555555555556</c:v>
                </c:pt>
                <c:pt idx="10785">
                  <c:v>29.958333333333332</c:v>
                </c:pt>
                <c:pt idx="10786">
                  <c:v>29.961111111111112</c:v>
                </c:pt>
                <c:pt idx="10787">
                  <c:v>29.963888888888889</c:v>
                </c:pt>
                <c:pt idx="10788">
                  <c:v>29.966666666666665</c:v>
                </c:pt>
                <c:pt idx="10789">
                  <c:v>29.969444444444445</c:v>
                </c:pt>
                <c:pt idx="10790">
                  <c:v>29.972222222222221</c:v>
                </c:pt>
                <c:pt idx="10791">
                  <c:v>29.975000000000001</c:v>
                </c:pt>
                <c:pt idx="10792">
                  <c:v>29.977777777777778</c:v>
                </c:pt>
                <c:pt idx="10793">
                  <c:v>29.980555555555554</c:v>
                </c:pt>
                <c:pt idx="10794">
                  <c:v>29.983333333333334</c:v>
                </c:pt>
                <c:pt idx="10795">
                  <c:v>29.986111111111111</c:v>
                </c:pt>
                <c:pt idx="10796">
                  <c:v>29.988888888888887</c:v>
                </c:pt>
                <c:pt idx="10797">
                  <c:v>29.991666666666667</c:v>
                </c:pt>
                <c:pt idx="10798">
                  <c:v>29.994444444444444</c:v>
                </c:pt>
                <c:pt idx="10799">
                  <c:v>29.997222222222224</c:v>
                </c:pt>
                <c:pt idx="10800">
                  <c:v>30</c:v>
                </c:pt>
                <c:pt idx="10801">
                  <c:v>30.002777777777776</c:v>
                </c:pt>
                <c:pt idx="10802">
                  <c:v>30.005555555555556</c:v>
                </c:pt>
                <c:pt idx="10803">
                  <c:v>30.008333333333333</c:v>
                </c:pt>
                <c:pt idx="10804">
                  <c:v>30.011111111111113</c:v>
                </c:pt>
                <c:pt idx="10805">
                  <c:v>30.013888888888889</c:v>
                </c:pt>
                <c:pt idx="10806">
                  <c:v>30.016666666666666</c:v>
                </c:pt>
                <c:pt idx="10807">
                  <c:v>30.019444444444446</c:v>
                </c:pt>
                <c:pt idx="10808">
                  <c:v>30.022222222222222</c:v>
                </c:pt>
                <c:pt idx="10809">
                  <c:v>30.024999999999999</c:v>
                </c:pt>
                <c:pt idx="10810">
                  <c:v>30.027777777777779</c:v>
                </c:pt>
                <c:pt idx="10811">
                  <c:v>30.030555555555555</c:v>
                </c:pt>
                <c:pt idx="10812">
                  <c:v>30.033333333333335</c:v>
                </c:pt>
                <c:pt idx="10813">
                  <c:v>30.036111111111111</c:v>
                </c:pt>
                <c:pt idx="10814">
                  <c:v>30.038888888888888</c:v>
                </c:pt>
                <c:pt idx="10815">
                  <c:v>30.041666666666668</c:v>
                </c:pt>
                <c:pt idx="10816">
                  <c:v>30.044444444444444</c:v>
                </c:pt>
                <c:pt idx="10817">
                  <c:v>30.047222222222221</c:v>
                </c:pt>
                <c:pt idx="10818">
                  <c:v>30.05</c:v>
                </c:pt>
                <c:pt idx="10819">
                  <c:v>30.052777777777777</c:v>
                </c:pt>
                <c:pt idx="10820">
                  <c:v>30.055555555555557</c:v>
                </c:pt>
                <c:pt idx="10821">
                  <c:v>30.058333333333334</c:v>
                </c:pt>
                <c:pt idx="10822">
                  <c:v>30.06111111111111</c:v>
                </c:pt>
                <c:pt idx="10823">
                  <c:v>30.06388888888889</c:v>
                </c:pt>
                <c:pt idx="10824">
                  <c:v>30.066666666666666</c:v>
                </c:pt>
                <c:pt idx="10825">
                  <c:v>30.069444444444443</c:v>
                </c:pt>
                <c:pt idx="10826">
                  <c:v>30.072222222222223</c:v>
                </c:pt>
                <c:pt idx="10827">
                  <c:v>30.074999999999999</c:v>
                </c:pt>
                <c:pt idx="10828">
                  <c:v>30.077777777777779</c:v>
                </c:pt>
                <c:pt idx="10829">
                  <c:v>30.080555555555556</c:v>
                </c:pt>
                <c:pt idx="10830">
                  <c:v>30.083333333333332</c:v>
                </c:pt>
                <c:pt idx="10831">
                  <c:v>30.086111111111112</c:v>
                </c:pt>
                <c:pt idx="10832">
                  <c:v>30.088888888888889</c:v>
                </c:pt>
                <c:pt idx="10833">
                  <c:v>30.091666666666665</c:v>
                </c:pt>
                <c:pt idx="10834">
                  <c:v>30.094444444444445</c:v>
                </c:pt>
                <c:pt idx="10835">
                  <c:v>30.097222222222221</c:v>
                </c:pt>
                <c:pt idx="10836">
                  <c:v>30.1</c:v>
                </c:pt>
                <c:pt idx="10837">
                  <c:v>30.102777777777778</c:v>
                </c:pt>
                <c:pt idx="10838">
                  <c:v>30.105555555555554</c:v>
                </c:pt>
                <c:pt idx="10839">
                  <c:v>30.108333333333334</c:v>
                </c:pt>
                <c:pt idx="10840">
                  <c:v>30.111111111111111</c:v>
                </c:pt>
                <c:pt idx="10841">
                  <c:v>30.113888888888887</c:v>
                </c:pt>
                <c:pt idx="10842">
                  <c:v>30.116666666666667</c:v>
                </c:pt>
                <c:pt idx="10843">
                  <c:v>30.119444444444444</c:v>
                </c:pt>
                <c:pt idx="10844">
                  <c:v>30.122222222222224</c:v>
                </c:pt>
                <c:pt idx="10845">
                  <c:v>30.125</c:v>
                </c:pt>
                <c:pt idx="10846">
                  <c:v>30.127777777777776</c:v>
                </c:pt>
                <c:pt idx="10847">
                  <c:v>30.130555555555556</c:v>
                </c:pt>
                <c:pt idx="10848">
                  <c:v>30.133333333333333</c:v>
                </c:pt>
                <c:pt idx="10849">
                  <c:v>30.136111111111113</c:v>
                </c:pt>
                <c:pt idx="10850">
                  <c:v>30.138888888888889</c:v>
                </c:pt>
                <c:pt idx="10851">
                  <c:v>30.141666666666666</c:v>
                </c:pt>
                <c:pt idx="10852">
                  <c:v>30.144444444444446</c:v>
                </c:pt>
                <c:pt idx="10853">
                  <c:v>30.147222222222222</c:v>
                </c:pt>
                <c:pt idx="10854">
                  <c:v>30.15</c:v>
                </c:pt>
                <c:pt idx="10855">
                  <c:v>30.152777777777779</c:v>
                </c:pt>
                <c:pt idx="10856">
                  <c:v>30.155555555555555</c:v>
                </c:pt>
                <c:pt idx="10857">
                  <c:v>30.158333333333335</c:v>
                </c:pt>
                <c:pt idx="10858">
                  <c:v>30.161111111111111</c:v>
                </c:pt>
                <c:pt idx="10859">
                  <c:v>30.163888888888888</c:v>
                </c:pt>
                <c:pt idx="10860">
                  <c:v>30.166666666666668</c:v>
                </c:pt>
                <c:pt idx="10861">
                  <c:v>30.169444444444444</c:v>
                </c:pt>
                <c:pt idx="10862">
                  <c:v>30.172222222222221</c:v>
                </c:pt>
                <c:pt idx="10863">
                  <c:v>30.175000000000001</c:v>
                </c:pt>
                <c:pt idx="10864">
                  <c:v>30.177777777777777</c:v>
                </c:pt>
                <c:pt idx="10865">
                  <c:v>30.180555555555557</c:v>
                </c:pt>
                <c:pt idx="10866">
                  <c:v>30.183333333333334</c:v>
                </c:pt>
                <c:pt idx="10867">
                  <c:v>30.18611111111111</c:v>
                </c:pt>
                <c:pt idx="10868">
                  <c:v>30.18888888888889</c:v>
                </c:pt>
                <c:pt idx="10869">
                  <c:v>30.191666666666666</c:v>
                </c:pt>
                <c:pt idx="10870">
                  <c:v>30.194444444444443</c:v>
                </c:pt>
                <c:pt idx="10871">
                  <c:v>30.197222222222223</c:v>
                </c:pt>
                <c:pt idx="10872">
                  <c:v>30.2</c:v>
                </c:pt>
                <c:pt idx="10873">
                  <c:v>30.202777777777779</c:v>
                </c:pt>
                <c:pt idx="10874">
                  <c:v>30.205555555555556</c:v>
                </c:pt>
                <c:pt idx="10875">
                  <c:v>30.208333333333332</c:v>
                </c:pt>
                <c:pt idx="10876">
                  <c:v>30.211111111111112</c:v>
                </c:pt>
                <c:pt idx="10877">
                  <c:v>30.213888888888889</c:v>
                </c:pt>
                <c:pt idx="10878">
                  <c:v>30.216666666666665</c:v>
                </c:pt>
                <c:pt idx="10879">
                  <c:v>30.219444444444445</c:v>
                </c:pt>
                <c:pt idx="10880">
                  <c:v>30.222222222222221</c:v>
                </c:pt>
                <c:pt idx="10881">
                  <c:v>30.225000000000001</c:v>
                </c:pt>
                <c:pt idx="10882">
                  <c:v>30.227777777777778</c:v>
                </c:pt>
                <c:pt idx="10883">
                  <c:v>30.230555555555554</c:v>
                </c:pt>
                <c:pt idx="10884">
                  <c:v>30.233333333333334</c:v>
                </c:pt>
                <c:pt idx="10885">
                  <c:v>30.236111111111111</c:v>
                </c:pt>
                <c:pt idx="10886">
                  <c:v>30.238888888888887</c:v>
                </c:pt>
                <c:pt idx="10887">
                  <c:v>30.241666666666667</c:v>
                </c:pt>
                <c:pt idx="10888">
                  <c:v>30.244444444444444</c:v>
                </c:pt>
                <c:pt idx="10889">
                  <c:v>30.247222222222224</c:v>
                </c:pt>
                <c:pt idx="10890">
                  <c:v>30.25</c:v>
                </c:pt>
                <c:pt idx="10891">
                  <c:v>30.252777777777776</c:v>
                </c:pt>
                <c:pt idx="10892">
                  <c:v>30.255555555555556</c:v>
                </c:pt>
                <c:pt idx="10893">
                  <c:v>30.258333333333333</c:v>
                </c:pt>
                <c:pt idx="10894">
                  <c:v>30.261111111111113</c:v>
                </c:pt>
                <c:pt idx="10895">
                  <c:v>30.263888888888889</c:v>
                </c:pt>
                <c:pt idx="10896">
                  <c:v>30.266666666666666</c:v>
                </c:pt>
                <c:pt idx="10897">
                  <c:v>30.269444444444446</c:v>
                </c:pt>
                <c:pt idx="10898">
                  <c:v>30.272222222222222</c:v>
                </c:pt>
                <c:pt idx="10899">
                  <c:v>30.274999999999999</c:v>
                </c:pt>
                <c:pt idx="10900">
                  <c:v>30.277777777777779</c:v>
                </c:pt>
                <c:pt idx="10901">
                  <c:v>30.280555555555555</c:v>
                </c:pt>
                <c:pt idx="10902">
                  <c:v>30.283333333333335</c:v>
                </c:pt>
                <c:pt idx="10903">
                  <c:v>30.286111111111111</c:v>
                </c:pt>
                <c:pt idx="10904">
                  <c:v>30.288888888888888</c:v>
                </c:pt>
                <c:pt idx="10905">
                  <c:v>30.291666666666668</c:v>
                </c:pt>
                <c:pt idx="10906">
                  <c:v>30.294444444444444</c:v>
                </c:pt>
                <c:pt idx="10907">
                  <c:v>30.297222222222221</c:v>
                </c:pt>
                <c:pt idx="10908">
                  <c:v>30.3</c:v>
                </c:pt>
                <c:pt idx="10909">
                  <c:v>30.302777777777777</c:v>
                </c:pt>
                <c:pt idx="10910">
                  <c:v>30.305555555555557</c:v>
                </c:pt>
                <c:pt idx="10911">
                  <c:v>30.308333333333334</c:v>
                </c:pt>
                <c:pt idx="10912">
                  <c:v>30.31111111111111</c:v>
                </c:pt>
                <c:pt idx="10913">
                  <c:v>30.31388888888889</c:v>
                </c:pt>
                <c:pt idx="10914">
                  <c:v>30.316666666666666</c:v>
                </c:pt>
                <c:pt idx="10915">
                  <c:v>30.319444444444443</c:v>
                </c:pt>
                <c:pt idx="10916">
                  <c:v>30.322222222222223</c:v>
                </c:pt>
                <c:pt idx="10917">
                  <c:v>30.324999999999999</c:v>
                </c:pt>
                <c:pt idx="10918">
                  <c:v>30.327777777777779</c:v>
                </c:pt>
                <c:pt idx="10919">
                  <c:v>30.330555555555556</c:v>
                </c:pt>
                <c:pt idx="10920">
                  <c:v>30.333333333333332</c:v>
                </c:pt>
                <c:pt idx="10921">
                  <c:v>30.336111111111112</c:v>
                </c:pt>
                <c:pt idx="10922">
                  <c:v>30.338888888888889</c:v>
                </c:pt>
                <c:pt idx="10923">
                  <c:v>30.341666666666665</c:v>
                </c:pt>
                <c:pt idx="10924">
                  <c:v>30.344444444444445</c:v>
                </c:pt>
                <c:pt idx="10925">
                  <c:v>30.347222222222221</c:v>
                </c:pt>
                <c:pt idx="10926">
                  <c:v>30.35</c:v>
                </c:pt>
                <c:pt idx="10927">
                  <c:v>30.352777777777778</c:v>
                </c:pt>
                <c:pt idx="10928">
                  <c:v>30.355555555555554</c:v>
                </c:pt>
                <c:pt idx="10929">
                  <c:v>30.358333333333334</c:v>
                </c:pt>
                <c:pt idx="10930">
                  <c:v>30.361111111111111</c:v>
                </c:pt>
                <c:pt idx="10931">
                  <c:v>30.363888888888887</c:v>
                </c:pt>
                <c:pt idx="10932">
                  <c:v>30.366666666666667</c:v>
                </c:pt>
                <c:pt idx="10933">
                  <c:v>30.369444444444444</c:v>
                </c:pt>
                <c:pt idx="10934">
                  <c:v>30.372222222222224</c:v>
                </c:pt>
                <c:pt idx="10935">
                  <c:v>30.375</c:v>
                </c:pt>
                <c:pt idx="10936">
                  <c:v>30.377777777777776</c:v>
                </c:pt>
                <c:pt idx="10937">
                  <c:v>30.380555555555556</c:v>
                </c:pt>
                <c:pt idx="10938">
                  <c:v>30.383333333333333</c:v>
                </c:pt>
                <c:pt idx="10939">
                  <c:v>30.386111111111113</c:v>
                </c:pt>
                <c:pt idx="10940">
                  <c:v>30.388888888888889</c:v>
                </c:pt>
                <c:pt idx="10941">
                  <c:v>30.391666666666666</c:v>
                </c:pt>
                <c:pt idx="10942">
                  <c:v>30.394444444444446</c:v>
                </c:pt>
                <c:pt idx="10943">
                  <c:v>30.397222222222222</c:v>
                </c:pt>
                <c:pt idx="10944">
                  <c:v>30.4</c:v>
                </c:pt>
                <c:pt idx="10945">
                  <c:v>30.402777777777779</c:v>
                </c:pt>
                <c:pt idx="10946">
                  <c:v>30.405555555555555</c:v>
                </c:pt>
                <c:pt idx="10947">
                  <c:v>30.408333333333335</c:v>
                </c:pt>
                <c:pt idx="10948">
                  <c:v>30.411111111111111</c:v>
                </c:pt>
                <c:pt idx="10949">
                  <c:v>30.413888888888888</c:v>
                </c:pt>
                <c:pt idx="10950">
                  <c:v>30.416666666666668</c:v>
                </c:pt>
                <c:pt idx="10951">
                  <c:v>30.419444444444444</c:v>
                </c:pt>
                <c:pt idx="10952">
                  <c:v>30.422222222222221</c:v>
                </c:pt>
                <c:pt idx="10953">
                  <c:v>30.425000000000001</c:v>
                </c:pt>
                <c:pt idx="10954">
                  <c:v>30.427777777777777</c:v>
                </c:pt>
                <c:pt idx="10955">
                  <c:v>30.430555555555557</c:v>
                </c:pt>
                <c:pt idx="10956">
                  <c:v>30.433333333333334</c:v>
                </c:pt>
                <c:pt idx="10957">
                  <c:v>30.43611111111111</c:v>
                </c:pt>
                <c:pt idx="10958">
                  <c:v>30.43888888888889</c:v>
                </c:pt>
                <c:pt idx="10959">
                  <c:v>30.441666666666666</c:v>
                </c:pt>
                <c:pt idx="10960">
                  <c:v>30.444444444444443</c:v>
                </c:pt>
                <c:pt idx="10961">
                  <c:v>30.447222222222223</c:v>
                </c:pt>
                <c:pt idx="10962">
                  <c:v>30.45</c:v>
                </c:pt>
                <c:pt idx="10963">
                  <c:v>30.452777777777779</c:v>
                </c:pt>
                <c:pt idx="10964">
                  <c:v>30.455555555555556</c:v>
                </c:pt>
                <c:pt idx="10965">
                  <c:v>30.458333333333332</c:v>
                </c:pt>
                <c:pt idx="10966">
                  <c:v>30.461111111111112</c:v>
                </c:pt>
                <c:pt idx="10967">
                  <c:v>30.463888888888889</c:v>
                </c:pt>
                <c:pt idx="10968">
                  <c:v>30.466666666666665</c:v>
                </c:pt>
                <c:pt idx="10969">
                  <c:v>30.469444444444445</c:v>
                </c:pt>
                <c:pt idx="10970">
                  <c:v>30.472222222222221</c:v>
                </c:pt>
                <c:pt idx="10971">
                  <c:v>30.475000000000001</c:v>
                </c:pt>
                <c:pt idx="10972">
                  <c:v>30.477777777777778</c:v>
                </c:pt>
                <c:pt idx="10973">
                  <c:v>30.480555555555554</c:v>
                </c:pt>
                <c:pt idx="10974">
                  <c:v>30.483333333333334</c:v>
                </c:pt>
                <c:pt idx="10975">
                  <c:v>30.486111111111111</c:v>
                </c:pt>
                <c:pt idx="10976">
                  <c:v>30.488888888888887</c:v>
                </c:pt>
                <c:pt idx="10977">
                  <c:v>30.491666666666667</c:v>
                </c:pt>
                <c:pt idx="10978">
                  <c:v>30.494444444444444</c:v>
                </c:pt>
                <c:pt idx="10979">
                  <c:v>30.497222222222224</c:v>
                </c:pt>
                <c:pt idx="10980">
                  <c:v>30.5</c:v>
                </c:pt>
                <c:pt idx="10981">
                  <c:v>30.502777777777776</c:v>
                </c:pt>
                <c:pt idx="10982">
                  <c:v>30.505555555555556</c:v>
                </c:pt>
                <c:pt idx="10983">
                  <c:v>30.508333333333333</c:v>
                </c:pt>
                <c:pt idx="10984">
                  <c:v>30.511111111111113</c:v>
                </c:pt>
                <c:pt idx="10985">
                  <c:v>30.513888888888889</c:v>
                </c:pt>
                <c:pt idx="10986">
                  <c:v>30.516666666666666</c:v>
                </c:pt>
                <c:pt idx="10987">
                  <c:v>30.519444444444446</c:v>
                </c:pt>
                <c:pt idx="10988">
                  <c:v>30.522222222222222</c:v>
                </c:pt>
                <c:pt idx="10989">
                  <c:v>30.524999999999999</c:v>
                </c:pt>
                <c:pt idx="10990">
                  <c:v>30.527777777777779</c:v>
                </c:pt>
                <c:pt idx="10991">
                  <c:v>30.530555555555555</c:v>
                </c:pt>
                <c:pt idx="10992">
                  <c:v>30.533333333333335</c:v>
                </c:pt>
                <c:pt idx="10993">
                  <c:v>30.536111111111111</c:v>
                </c:pt>
                <c:pt idx="10994">
                  <c:v>30.538888888888888</c:v>
                </c:pt>
                <c:pt idx="10995">
                  <c:v>30.541666666666668</c:v>
                </c:pt>
                <c:pt idx="10996">
                  <c:v>30.544444444444444</c:v>
                </c:pt>
                <c:pt idx="10997">
                  <c:v>30.547222222222221</c:v>
                </c:pt>
                <c:pt idx="10998">
                  <c:v>30.55</c:v>
                </c:pt>
                <c:pt idx="10999">
                  <c:v>30.552777777777777</c:v>
                </c:pt>
                <c:pt idx="11000">
                  <c:v>30.555555555555557</c:v>
                </c:pt>
                <c:pt idx="11001">
                  <c:v>30.558333333333334</c:v>
                </c:pt>
                <c:pt idx="11002">
                  <c:v>30.56111111111111</c:v>
                </c:pt>
                <c:pt idx="11003">
                  <c:v>30.56388888888889</c:v>
                </c:pt>
                <c:pt idx="11004">
                  <c:v>30.566666666666666</c:v>
                </c:pt>
                <c:pt idx="11005">
                  <c:v>30.569444444444443</c:v>
                </c:pt>
                <c:pt idx="11006">
                  <c:v>30.572222222222223</c:v>
                </c:pt>
                <c:pt idx="11007">
                  <c:v>30.574999999999999</c:v>
                </c:pt>
                <c:pt idx="11008">
                  <c:v>30.577777777777779</c:v>
                </c:pt>
                <c:pt idx="11009">
                  <c:v>30.580555555555556</c:v>
                </c:pt>
                <c:pt idx="11010">
                  <c:v>30.583333333333332</c:v>
                </c:pt>
                <c:pt idx="11011">
                  <c:v>30.586111111111112</c:v>
                </c:pt>
                <c:pt idx="11012">
                  <c:v>30.588888888888889</c:v>
                </c:pt>
                <c:pt idx="11013">
                  <c:v>30.591666666666665</c:v>
                </c:pt>
                <c:pt idx="11014">
                  <c:v>30.594444444444445</c:v>
                </c:pt>
                <c:pt idx="11015">
                  <c:v>30.597222222222221</c:v>
                </c:pt>
                <c:pt idx="11016">
                  <c:v>30.6</c:v>
                </c:pt>
                <c:pt idx="11017">
                  <c:v>30.602777777777778</c:v>
                </c:pt>
                <c:pt idx="11018">
                  <c:v>30.605555555555554</c:v>
                </c:pt>
                <c:pt idx="11019">
                  <c:v>30.608333333333334</c:v>
                </c:pt>
                <c:pt idx="11020">
                  <c:v>30.611111111111111</c:v>
                </c:pt>
                <c:pt idx="11021">
                  <c:v>30.613888888888887</c:v>
                </c:pt>
                <c:pt idx="11022">
                  <c:v>30.616666666666667</c:v>
                </c:pt>
                <c:pt idx="11023">
                  <c:v>30.619444444444444</c:v>
                </c:pt>
                <c:pt idx="11024">
                  <c:v>30.622222222222224</c:v>
                </c:pt>
                <c:pt idx="11025">
                  <c:v>30.625</c:v>
                </c:pt>
                <c:pt idx="11026">
                  <c:v>30.627777777777776</c:v>
                </c:pt>
                <c:pt idx="11027">
                  <c:v>30.630555555555556</c:v>
                </c:pt>
                <c:pt idx="11028">
                  <c:v>30.633333333333333</c:v>
                </c:pt>
                <c:pt idx="11029">
                  <c:v>30.636111111111113</c:v>
                </c:pt>
                <c:pt idx="11030">
                  <c:v>30.638888888888889</c:v>
                </c:pt>
                <c:pt idx="11031">
                  <c:v>30.641666666666666</c:v>
                </c:pt>
                <c:pt idx="11032">
                  <c:v>30.644444444444446</c:v>
                </c:pt>
                <c:pt idx="11033">
                  <c:v>30.647222222222222</c:v>
                </c:pt>
                <c:pt idx="11034">
                  <c:v>30.65</c:v>
                </c:pt>
                <c:pt idx="11035">
                  <c:v>30.652777777777779</c:v>
                </c:pt>
                <c:pt idx="11036">
                  <c:v>30.655555555555555</c:v>
                </c:pt>
                <c:pt idx="11037">
                  <c:v>30.658333333333335</c:v>
                </c:pt>
                <c:pt idx="11038">
                  <c:v>30.661111111111111</c:v>
                </c:pt>
                <c:pt idx="11039">
                  <c:v>30.663888888888888</c:v>
                </c:pt>
                <c:pt idx="11040">
                  <c:v>30.666666666666668</c:v>
                </c:pt>
                <c:pt idx="11041">
                  <c:v>30.669444444444444</c:v>
                </c:pt>
                <c:pt idx="11042">
                  <c:v>30.672222222222221</c:v>
                </c:pt>
                <c:pt idx="11043">
                  <c:v>30.675000000000001</c:v>
                </c:pt>
                <c:pt idx="11044">
                  <c:v>30.677777777777777</c:v>
                </c:pt>
                <c:pt idx="11045">
                  <c:v>30.680555555555557</c:v>
                </c:pt>
                <c:pt idx="11046">
                  <c:v>30.683333333333334</c:v>
                </c:pt>
                <c:pt idx="11047">
                  <c:v>30.68611111111111</c:v>
                </c:pt>
                <c:pt idx="11048">
                  <c:v>30.68888888888889</c:v>
                </c:pt>
                <c:pt idx="11049">
                  <c:v>30.691666666666666</c:v>
                </c:pt>
                <c:pt idx="11050">
                  <c:v>30.694444444444443</c:v>
                </c:pt>
                <c:pt idx="11051">
                  <c:v>30.697222222222223</c:v>
                </c:pt>
                <c:pt idx="11052">
                  <c:v>30.7</c:v>
                </c:pt>
                <c:pt idx="11053">
                  <c:v>30.702777777777779</c:v>
                </c:pt>
                <c:pt idx="11054">
                  <c:v>30.705555555555556</c:v>
                </c:pt>
                <c:pt idx="11055">
                  <c:v>30.708333333333332</c:v>
                </c:pt>
                <c:pt idx="11056">
                  <c:v>30.711111111111112</c:v>
                </c:pt>
                <c:pt idx="11057">
                  <c:v>30.713888888888889</c:v>
                </c:pt>
                <c:pt idx="11058">
                  <c:v>30.716666666666665</c:v>
                </c:pt>
                <c:pt idx="11059">
                  <c:v>30.719444444444445</c:v>
                </c:pt>
                <c:pt idx="11060">
                  <c:v>30.722222222222221</c:v>
                </c:pt>
                <c:pt idx="11061">
                  <c:v>30.725000000000001</c:v>
                </c:pt>
                <c:pt idx="11062">
                  <c:v>30.727777777777778</c:v>
                </c:pt>
                <c:pt idx="11063">
                  <c:v>30.730555555555554</c:v>
                </c:pt>
                <c:pt idx="11064">
                  <c:v>30.733333333333334</c:v>
                </c:pt>
                <c:pt idx="11065">
                  <c:v>30.736111111111111</c:v>
                </c:pt>
                <c:pt idx="11066">
                  <c:v>30.738888888888887</c:v>
                </c:pt>
                <c:pt idx="11067">
                  <c:v>30.741666666666667</c:v>
                </c:pt>
                <c:pt idx="11068">
                  <c:v>30.744444444444444</c:v>
                </c:pt>
                <c:pt idx="11069">
                  <c:v>30.747222222222224</c:v>
                </c:pt>
                <c:pt idx="11070">
                  <c:v>30.75</c:v>
                </c:pt>
                <c:pt idx="11071">
                  <c:v>30.752777777777776</c:v>
                </c:pt>
                <c:pt idx="11072">
                  <c:v>30.755555555555556</c:v>
                </c:pt>
                <c:pt idx="11073">
                  <c:v>30.758333333333333</c:v>
                </c:pt>
                <c:pt idx="11074">
                  <c:v>30.761111111111113</c:v>
                </c:pt>
                <c:pt idx="11075">
                  <c:v>30.763888888888889</c:v>
                </c:pt>
                <c:pt idx="11076">
                  <c:v>30.766666666666666</c:v>
                </c:pt>
                <c:pt idx="11077">
                  <c:v>30.769444444444446</c:v>
                </c:pt>
                <c:pt idx="11078">
                  <c:v>30.772222222222222</c:v>
                </c:pt>
                <c:pt idx="11079">
                  <c:v>30.774999999999999</c:v>
                </c:pt>
                <c:pt idx="11080">
                  <c:v>30.777777777777779</c:v>
                </c:pt>
                <c:pt idx="11081">
                  <c:v>30.780555555555555</c:v>
                </c:pt>
                <c:pt idx="11082">
                  <c:v>30.783333333333335</c:v>
                </c:pt>
                <c:pt idx="11083">
                  <c:v>30.786111111111111</c:v>
                </c:pt>
                <c:pt idx="11084">
                  <c:v>30.788888888888888</c:v>
                </c:pt>
                <c:pt idx="11085">
                  <c:v>30.791666666666668</c:v>
                </c:pt>
                <c:pt idx="11086">
                  <c:v>30.794444444444444</c:v>
                </c:pt>
                <c:pt idx="11087">
                  <c:v>30.797222222222221</c:v>
                </c:pt>
                <c:pt idx="11088">
                  <c:v>30.8</c:v>
                </c:pt>
                <c:pt idx="11089">
                  <c:v>30.802777777777777</c:v>
                </c:pt>
                <c:pt idx="11090">
                  <c:v>30.805555555555557</c:v>
                </c:pt>
                <c:pt idx="11091">
                  <c:v>30.808333333333334</c:v>
                </c:pt>
                <c:pt idx="11092">
                  <c:v>30.81111111111111</c:v>
                </c:pt>
                <c:pt idx="11093">
                  <c:v>30.81388888888889</c:v>
                </c:pt>
                <c:pt idx="11094">
                  <c:v>30.816666666666666</c:v>
                </c:pt>
                <c:pt idx="11095">
                  <c:v>30.819444444444443</c:v>
                </c:pt>
                <c:pt idx="11096">
                  <c:v>30.822222222222223</c:v>
                </c:pt>
                <c:pt idx="11097">
                  <c:v>30.824999999999999</c:v>
                </c:pt>
                <c:pt idx="11098">
                  <c:v>30.827777777777779</c:v>
                </c:pt>
                <c:pt idx="11099">
                  <c:v>30.830555555555556</c:v>
                </c:pt>
                <c:pt idx="11100">
                  <c:v>30.833333333333332</c:v>
                </c:pt>
                <c:pt idx="11101">
                  <c:v>30.836111111111112</c:v>
                </c:pt>
                <c:pt idx="11102">
                  <c:v>30.838888888888889</c:v>
                </c:pt>
                <c:pt idx="11103">
                  <c:v>30.841666666666665</c:v>
                </c:pt>
                <c:pt idx="11104">
                  <c:v>30.844444444444445</c:v>
                </c:pt>
                <c:pt idx="11105">
                  <c:v>30.847222222222221</c:v>
                </c:pt>
                <c:pt idx="11106">
                  <c:v>30.85</c:v>
                </c:pt>
                <c:pt idx="11107">
                  <c:v>30.852777777777778</c:v>
                </c:pt>
                <c:pt idx="11108">
                  <c:v>30.855555555555554</c:v>
                </c:pt>
                <c:pt idx="11109">
                  <c:v>30.858333333333334</c:v>
                </c:pt>
                <c:pt idx="11110">
                  <c:v>30.861111111111111</c:v>
                </c:pt>
                <c:pt idx="11111">
                  <c:v>30.863888888888887</c:v>
                </c:pt>
                <c:pt idx="11112">
                  <c:v>30.866666666666667</c:v>
                </c:pt>
                <c:pt idx="11113">
                  <c:v>30.869444444444444</c:v>
                </c:pt>
                <c:pt idx="11114">
                  <c:v>30.872222222222224</c:v>
                </c:pt>
                <c:pt idx="11115">
                  <c:v>30.875</c:v>
                </c:pt>
                <c:pt idx="11116">
                  <c:v>30.877777777777776</c:v>
                </c:pt>
                <c:pt idx="11117">
                  <c:v>30.880555555555556</c:v>
                </c:pt>
                <c:pt idx="11118">
                  <c:v>30.883333333333333</c:v>
                </c:pt>
                <c:pt idx="11119">
                  <c:v>30.886111111111113</c:v>
                </c:pt>
                <c:pt idx="11120">
                  <c:v>30.888888888888889</c:v>
                </c:pt>
                <c:pt idx="11121">
                  <c:v>30.891666666666666</c:v>
                </c:pt>
                <c:pt idx="11122">
                  <c:v>30.894444444444446</c:v>
                </c:pt>
                <c:pt idx="11123">
                  <c:v>30.897222222222222</c:v>
                </c:pt>
                <c:pt idx="11124">
                  <c:v>30.9</c:v>
                </c:pt>
                <c:pt idx="11125">
                  <c:v>30.902777777777779</c:v>
                </c:pt>
                <c:pt idx="11126">
                  <c:v>30.905555555555555</c:v>
                </c:pt>
                <c:pt idx="11127">
                  <c:v>30.908333333333335</c:v>
                </c:pt>
                <c:pt idx="11128">
                  <c:v>30.911111111111111</c:v>
                </c:pt>
                <c:pt idx="11129">
                  <c:v>30.913888888888888</c:v>
                </c:pt>
                <c:pt idx="11130">
                  <c:v>30.916666666666668</c:v>
                </c:pt>
                <c:pt idx="11131">
                  <c:v>30.919444444444444</c:v>
                </c:pt>
                <c:pt idx="11132">
                  <c:v>30.922222222222221</c:v>
                </c:pt>
                <c:pt idx="11133">
                  <c:v>30.925000000000001</c:v>
                </c:pt>
                <c:pt idx="11134">
                  <c:v>30.927777777777777</c:v>
                </c:pt>
                <c:pt idx="11135">
                  <c:v>30.930555555555557</c:v>
                </c:pt>
                <c:pt idx="11136">
                  <c:v>30.933333333333334</c:v>
                </c:pt>
                <c:pt idx="11137">
                  <c:v>30.93611111111111</c:v>
                </c:pt>
                <c:pt idx="11138">
                  <c:v>30.93888888888889</c:v>
                </c:pt>
                <c:pt idx="11139">
                  <c:v>30.941666666666666</c:v>
                </c:pt>
                <c:pt idx="11140">
                  <c:v>30.944444444444443</c:v>
                </c:pt>
                <c:pt idx="11141">
                  <c:v>30.947222222222223</c:v>
                </c:pt>
                <c:pt idx="11142">
                  <c:v>30.95</c:v>
                </c:pt>
                <c:pt idx="11143">
                  <c:v>30.952777777777779</c:v>
                </c:pt>
                <c:pt idx="11144">
                  <c:v>30.955555555555556</c:v>
                </c:pt>
                <c:pt idx="11145">
                  <c:v>30.958333333333332</c:v>
                </c:pt>
                <c:pt idx="11146">
                  <c:v>30.961111111111112</c:v>
                </c:pt>
                <c:pt idx="11147">
                  <c:v>30.963888888888889</c:v>
                </c:pt>
                <c:pt idx="11148">
                  <c:v>30.966666666666665</c:v>
                </c:pt>
                <c:pt idx="11149">
                  <c:v>30.969444444444445</c:v>
                </c:pt>
                <c:pt idx="11150">
                  <c:v>30.972222222222221</c:v>
                </c:pt>
                <c:pt idx="11151">
                  <c:v>30.975000000000001</c:v>
                </c:pt>
                <c:pt idx="11152">
                  <c:v>30.977777777777778</c:v>
                </c:pt>
                <c:pt idx="11153">
                  <c:v>30.980555555555554</c:v>
                </c:pt>
                <c:pt idx="11154">
                  <c:v>30.983333333333334</c:v>
                </c:pt>
                <c:pt idx="11155">
                  <c:v>30.986111111111111</c:v>
                </c:pt>
                <c:pt idx="11156">
                  <c:v>30.988888888888887</c:v>
                </c:pt>
                <c:pt idx="11157">
                  <c:v>30.991666666666667</c:v>
                </c:pt>
                <c:pt idx="11158">
                  <c:v>30.994444444444444</c:v>
                </c:pt>
                <c:pt idx="11159">
                  <c:v>30.997222222222224</c:v>
                </c:pt>
                <c:pt idx="11160">
                  <c:v>31</c:v>
                </c:pt>
                <c:pt idx="11161">
                  <c:v>31.002777777777776</c:v>
                </c:pt>
                <c:pt idx="11162">
                  <c:v>31.005555555555556</c:v>
                </c:pt>
                <c:pt idx="11163">
                  <c:v>31.008333333333333</c:v>
                </c:pt>
                <c:pt idx="11164">
                  <c:v>31.011111111111113</c:v>
                </c:pt>
                <c:pt idx="11165">
                  <c:v>31.013888888888889</c:v>
                </c:pt>
                <c:pt idx="11166">
                  <c:v>31.016666666666666</c:v>
                </c:pt>
                <c:pt idx="11167">
                  <c:v>31.019444444444446</c:v>
                </c:pt>
                <c:pt idx="11168">
                  <c:v>31.022222222222222</c:v>
                </c:pt>
                <c:pt idx="11169">
                  <c:v>31.024999999999999</c:v>
                </c:pt>
                <c:pt idx="11170">
                  <c:v>31.027777777777779</c:v>
                </c:pt>
                <c:pt idx="11171">
                  <c:v>31.030555555555555</c:v>
                </c:pt>
                <c:pt idx="11172">
                  <c:v>31.033333333333335</c:v>
                </c:pt>
                <c:pt idx="11173">
                  <c:v>31.036111111111111</c:v>
                </c:pt>
                <c:pt idx="11174">
                  <c:v>31.038888888888888</c:v>
                </c:pt>
                <c:pt idx="11175">
                  <c:v>31.041666666666668</c:v>
                </c:pt>
                <c:pt idx="11176">
                  <c:v>31.044444444444444</c:v>
                </c:pt>
                <c:pt idx="11177">
                  <c:v>31.047222222222221</c:v>
                </c:pt>
                <c:pt idx="11178">
                  <c:v>31.05</c:v>
                </c:pt>
                <c:pt idx="11179">
                  <c:v>31.052777777777777</c:v>
                </c:pt>
                <c:pt idx="11180">
                  <c:v>31.055555555555557</c:v>
                </c:pt>
                <c:pt idx="11181">
                  <c:v>31.058333333333334</c:v>
                </c:pt>
                <c:pt idx="11182">
                  <c:v>31.06111111111111</c:v>
                </c:pt>
                <c:pt idx="11183">
                  <c:v>31.06388888888889</c:v>
                </c:pt>
                <c:pt idx="11184">
                  <c:v>31.066666666666666</c:v>
                </c:pt>
                <c:pt idx="11185">
                  <c:v>31.069444444444443</c:v>
                </c:pt>
                <c:pt idx="11186">
                  <c:v>31.072222222222223</c:v>
                </c:pt>
                <c:pt idx="11187">
                  <c:v>31.074999999999999</c:v>
                </c:pt>
                <c:pt idx="11188">
                  <c:v>31.077777777777779</c:v>
                </c:pt>
                <c:pt idx="11189">
                  <c:v>31.080555555555556</c:v>
                </c:pt>
                <c:pt idx="11190">
                  <c:v>31.083333333333332</c:v>
                </c:pt>
                <c:pt idx="11191">
                  <c:v>31.086111111111112</c:v>
                </c:pt>
                <c:pt idx="11192">
                  <c:v>31.088888888888889</c:v>
                </c:pt>
                <c:pt idx="11193">
                  <c:v>31.091666666666665</c:v>
                </c:pt>
                <c:pt idx="11194">
                  <c:v>31.094444444444445</c:v>
                </c:pt>
                <c:pt idx="11195">
                  <c:v>31.097222222222221</c:v>
                </c:pt>
                <c:pt idx="11196">
                  <c:v>31.1</c:v>
                </c:pt>
                <c:pt idx="11197">
                  <c:v>31.102777777777778</c:v>
                </c:pt>
                <c:pt idx="11198">
                  <c:v>31.105555555555554</c:v>
                </c:pt>
                <c:pt idx="11199">
                  <c:v>31.108333333333334</c:v>
                </c:pt>
                <c:pt idx="11200">
                  <c:v>31.111111111111111</c:v>
                </c:pt>
                <c:pt idx="11201">
                  <c:v>31.113888888888887</c:v>
                </c:pt>
                <c:pt idx="11202">
                  <c:v>31.116666666666667</c:v>
                </c:pt>
                <c:pt idx="11203">
                  <c:v>31.119444444444444</c:v>
                </c:pt>
                <c:pt idx="11204">
                  <c:v>31.122222222222224</c:v>
                </c:pt>
                <c:pt idx="11205">
                  <c:v>31.125</c:v>
                </c:pt>
                <c:pt idx="11206">
                  <c:v>31.127777777777776</c:v>
                </c:pt>
                <c:pt idx="11207">
                  <c:v>31.130555555555556</c:v>
                </c:pt>
                <c:pt idx="11208">
                  <c:v>31.133333333333333</c:v>
                </c:pt>
                <c:pt idx="11209">
                  <c:v>31.136111111111113</c:v>
                </c:pt>
                <c:pt idx="11210">
                  <c:v>31.138888888888889</c:v>
                </c:pt>
                <c:pt idx="11211">
                  <c:v>31.141666666666666</c:v>
                </c:pt>
                <c:pt idx="11212">
                  <c:v>31.144444444444446</c:v>
                </c:pt>
                <c:pt idx="11213">
                  <c:v>31.147222222222222</c:v>
                </c:pt>
                <c:pt idx="11214">
                  <c:v>31.15</c:v>
                </c:pt>
                <c:pt idx="11215">
                  <c:v>31.152777777777779</c:v>
                </c:pt>
                <c:pt idx="11216">
                  <c:v>31.155555555555555</c:v>
                </c:pt>
                <c:pt idx="11217">
                  <c:v>31.158333333333335</c:v>
                </c:pt>
                <c:pt idx="11218">
                  <c:v>31.161111111111111</c:v>
                </c:pt>
                <c:pt idx="11219">
                  <c:v>31.163888888888888</c:v>
                </c:pt>
                <c:pt idx="11220">
                  <c:v>31.166666666666668</c:v>
                </c:pt>
                <c:pt idx="11221">
                  <c:v>31.169444444444444</c:v>
                </c:pt>
                <c:pt idx="11222">
                  <c:v>31.172222222222221</c:v>
                </c:pt>
                <c:pt idx="11223">
                  <c:v>31.175000000000001</c:v>
                </c:pt>
                <c:pt idx="11224">
                  <c:v>31.177777777777777</c:v>
                </c:pt>
                <c:pt idx="11225">
                  <c:v>31.180555555555557</c:v>
                </c:pt>
                <c:pt idx="11226">
                  <c:v>31.183333333333334</c:v>
                </c:pt>
                <c:pt idx="11227">
                  <c:v>31.18611111111111</c:v>
                </c:pt>
                <c:pt idx="11228">
                  <c:v>31.18888888888889</c:v>
                </c:pt>
                <c:pt idx="11229">
                  <c:v>31.191666666666666</c:v>
                </c:pt>
                <c:pt idx="11230">
                  <c:v>31.194444444444443</c:v>
                </c:pt>
                <c:pt idx="11231">
                  <c:v>31.197222222222223</c:v>
                </c:pt>
                <c:pt idx="11232">
                  <c:v>31.2</c:v>
                </c:pt>
                <c:pt idx="11233">
                  <c:v>31.202777777777779</c:v>
                </c:pt>
                <c:pt idx="11234">
                  <c:v>31.205555555555556</c:v>
                </c:pt>
                <c:pt idx="11235">
                  <c:v>31.208333333333332</c:v>
                </c:pt>
                <c:pt idx="11236">
                  <c:v>31.211111111111112</c:v>
                </c:pt>
                <c:pt idx="11237">
                  <c:v>31.213888888888889</c:v>
                </c:pt>
                <c:pt idx="11238">
                  <c:v>31.216666666666665</c:v>
                </c:pt>
                <c:pt idx="11239">
                  <c:v>31.219444444444445</c:v>
                </c:pt>
                <c:pt idx="11240">
                  <c:v>31.222222222222221</c:v>
                </c:pt>
                <c:pt idx="11241">
                  <c:v>31.225000000000001</c:v>
                </c:pt>
                <c:pt idx="11242">
                  <c:v>31.227777777777778</c:v>
                </c:pt>
                <c:pt idx="11243">
                  <c:v>31.230555555555554</c:v>
                </c:pt>
                <c:pt idx="11244">
                  <c:v>31.233333333333334</c:v>
                </c:pt>
                <c:pt idx="11245">
                  <c:v>31.236111111111111</c:v>
                </c:pt>
                <c:pt idx="11246">
                  <c:v>31.238888888888887</c:v>
                </c:pt>
                <c:pt idx="11247">
                  <c:v>31.241666666666667</c:v>
                </c:pt>
                <c:pt idx="11248">
                  <c:v>31.244444444444444</c:v>
                </c:pt>
                <c:pt idx="11249">
                  <c:v>31.247222222222224</c:v>
                </c:pt>
                <c:pt idx="11250">
                  <c:v>31.25</c:v>
                </c:pt>
                <c:pt idx="11251">
                  <c:v>31.252777777777776</c:v>
                </c:pt>
                <c:pt idx="11252">
                  <c:v>31.255555555555556</c:v>
                </c:pt>
                <c:pt idx="11253">
                  <c:v>31.258333333333333</c:v>
                </c:pt>
                <c:pt idx="11254">
                  <c:v>31.261111111111113</c:v>
                </c:pt>
                <c:pt idx="11255">
                  <c:v>31.263888888888889</c:v>
                </c:pt>
                <c:pt idx="11256">
                  <c:v>31.266666666666666</c:v>
                </c:pt>
                <c:pt idx="11257">
                  <c:v>31.269444444444446</c:v>
                </c:pt>
                <c:pt idx="11258">
                  <c:v>31.272222222222222</c:v>
                </c:pt>
                <c:pt idx="11259">
                  <c:v>31.274999999999999</c:v>
                </c:pt>
                <c:pt idx="11260">
                  <c:v>31.277777777777779</c:v>
                </c:pt>
                <c:pt idx="11261">
                  <c:v>31.280555555555555</c:v>
                </c:pt>
                <c:pt idx="11262">
                  <c:v>31.283333333333335</c:v>
                </c:pt>
                <c:pt idx="11263">
                  <c:v>31.286111111111111</c:v>
                </c:pt>
                <c:pt idx="11264">
                  <c:v>31.288888888888888</c:v>
                </c:pt>
                <c:pt idx="11265">
                  <c:v>31.291666666666668</c:v>
                </c:pt>
                <c:pt idx="11266">
                  <c:v>31.294444444444444</c:v>
                </c:pt>
                <c:pt idx="11267">
                  <c:v>31.297222222222221</c:v>
                </c:pt>
                <c:pt idx="11268">
                  <c:v>31.3</c:v>
                </c:pt>
                <c:pt idx="11269">
                  <c:v>31.302777777777777</c:v>
                </c:pt>
                <c:pt idx="11270">
                  <c:v>31.305555555555557</c:v>
                </c:pt>
                <c:pt idx="11271">
                  <c:v>31.308333333333334</c:v>
                </c:pt>
                <c:pt idx="11272">
                  <c:v>31.31111111111111</c:v>
                </c:pt>
                <c:pt idx="11273">
                  <c:v>31.31388888888889</c:v>
                </c:pt>
                <c:pt idx="11274">
                  <c:v>31.316666666666666</c:v>
                </c:pt>
                <c:pt idx="11275">
                  <c:v>31.319444444444443</c:v>
                </c:pt>
                <c:pt idx="11276">
                  <c:v>31.322222222222223</c:v>
                </c:pt>
                <c:pt idx="11277">
                  <c:v>31.324999999999999</c:v>
                </c:pt>
                <c:pt idx="11278">
                  <c:v>31.327777777777779</c:v>
                </c:pt>
                <c:pt idx="11279">
                  <c:v>31.330555555555556</c:v>
                </c:pt>
                <c:pt idx="11280">
                  <c:v>31.333333333333332</c:v>
                </c:pt>
                <c:pt idx="11281">
                  <c:v>31.336111111111112</c:v>
                </c:pt>
                <c:pt idx="11282">
                  <c:v>31.338888888888889</c:v>
                </c:pt>
                <c:pt idx="11283">
                  <c:v>31.341666666666665</c:v>
                </c:pt>
                <c:pt idx="11284">
                  <c:v>31.344444444444445</c:v>
                </c:pt>
                <c:pt idx="11285">
                  <c:v>31.347222222222221</c:v>
                </c:pt>
                <c:pt idx="11286">
                  <c:v>31.35</c:v>
                </c:pt>
                <c:pt idx="11287">
                  <c:v>31.352777777777778</c:v>
                </c:pt>
                <c:pt idx="11288">
                  <c:v>31.355555555555554</c:v>
                </c:pt>
                <c:pt idx="11289">
                  <c:v>31.358333333333334</c:v>
                </c:pt>
                <c:pt idx="11290">
                  <c:v>31.361111111111111</c:v>
                </c:pt>
                <c:pt idx="11291">
                  <c:v>31.363888888888887</c:v>
                </c:pt>
                <c:pt idx="11292">
                  <c:v>31.366666666666667</c:v>
                </c:pt>
                <c:pt idx="11293">
                  <c:v>31.369444444444444</c:v>
                </c:pt>
                <c:pt idx="11294">
                  <c:v>31.372222222222224</c:v>
                </c:pt>
                <c:pt idx="11295">
                  <c:v>31.375</c:v>
                </c:pt>
                <c:pt idx="11296">
                  <c:v>31.377777777777776</c:v>
                </c:pt>
                <c:pt idx="11297">
                  <c:v>31.380555555555556</c:v>
                </c:pt>
                <c:pt idx="11298">
                  <c:v>31.383333333333333</c:v>
                </c:pt>
                <c:pt idx="11299">
                  <c:v>31.386111111111113</c:v>
                </c:pt>
                <c:pt idx="11300">
                  <c:v>31.388888888888889</c:v>
                </c:pt>
                <c:pt idx="11301">
                  <c:v>31.391666666666666</c:v>
                </c:pt>
                <c:pt idx="11302">
                  <c:v>31.394444444444446</c:v>
                </c:pt>
                <c:pt idx="11303">
                  <c:v>31.397222222222222</c:v>
                </c:pt>
                <c:pt idx="11304">
                  <c:v>31.4</c:v>
                </c:pt>
                <c:pt idx="11305">
                  <c:v>31.402777777777779</c:v>
                </c:pt>
                <c:pt idx="11306">
                  <c:v>31.405555555555555</c:v>
                </c:pt>
                <c:pt idx="11307">
                  <c:v>31.408333333333335</c:v>
                </c:pt>
                <c:pt idx="11308">
                  <c:v>31.411111111111111</c:v>
                </c:pt>
                <c:pt idx="11309">
                  <c:v>31.413888888888888</c:v>
                </c:pt>
                <c:pt idx="11310">
                  <c:v>31.416666666666668</c:v>
                </c:pt>
                <c:pt idx="11311">
                  <c:v>31.419444444444444</c:v>
                </c:pt>
                <c:pt idx="11312">
                  <c:v>31.422222222222221</c:v>
                </c:pt>
                <c:pt idx="11313">
                  <c:v>31.425000000000001</c:v>
                </c:pt>
                <c:pt idx="11314">
                  <c:v>31.427777777777777</c:v>
                </c:pt>
                <c:pt idx="11315">
                  <c:v>31.430555555555557</c:v>
                </c:pt>
                <c:pt idx="11316">
                  <c:v>31.433333333333334</c:v>
                </c:pt>
                <c:pt idx="11317">
                  <c:v>31.43611111111111</c:v>
                </c:pt>
                <c:pt idx="11318">
                  <c:v>31.43888888888889</c:v>
                </c:pt>
                <c:pt idx="11319">
                  <c:v>31.441666666666666</c:v>
                </c:pt>
                <c:pt idx="11320">
                  <c:v>31.444444444444443</c:v>
                </c:pt>
                <c:pt idx="11321">
                  <c:v>31.447222222222223</c:v>
                </c:pt>
                <c:pt idx="11322">
                  <c:v>31.45</c:v>
                </c:pt>
                <c:pt idx="11323">
                  <c:v>31.452777777777779</c:v>
                </c:pt>
                <c:pt idx="11324">
                  <c:v>31.455555555555556</c:v>
                </c:pt>
                <c:pt idx="11325">
                  <c:v>31.458333333333332</c:v>
                </c:pt>
                <c:pt idx="11326">
                  <c:v>31.461111111111112</c:v>
                </c:pt>
                <c:pt idx="11327">
                  <c:v>31.463888888888889</c:v>
                </c:pt>
                <c:pt idx="11328">
                  <c:v>31.466666666666665</c:v>
                </c:pt>
                <c:pt idx="11329">
                  <c:v>31.469444444444445</c:v>
                </c:pt>
                <c:pt idx="11330">
                  <c:v>31.472222222222221</c:v>
                </c:pt>
                <c:pt idx="11331">
                  <c:v>31.475000000000001</c:v>
                </c:pt>
                <c:pt idx="11332">
                  <c:v>31.477777777777778</c:v>
                </c:pt>
                <c:pt idx="11333">
                  <c:v>31.480555555555554</c:v>
                </c:pt>
                <c:pt idx="11334">
                  <c:v>31.483333333333334</c:v>
                </c:pt>
                <c:pt idx="11335">
                  <c:v>31.486111111111111</c:v>
                </c:pt>
                <c:pt idx="11336">
                  <c:v>31.488888888888887</c:v>
                </c:pt>
                <c:pt idx="11337">
                  <c:v>31.491666666666667</c:v>
                </c:pt>
                <c:pt idx="11338">
                  <c:v>31.494444444444444</c:v>
                </c:pt>
                <c:pt idx="11339">
                  <c:v>31.497222222222224</c:v>
                </c:pt>
                <c:pt idx="11340">
                  <c:v>31.5</c:v>
                </c:pt>
                <c:pt idx="11341">
                  <c:v>31.502777777777776</c:v>
                </c:pt>
                <c:pt idx="11342">
                  <c:v>31.505555555555556</c:v>
                </c:pt>
                <c:pt idx="11343">
                  <c:v>31.508333333333333</c:v>
                </c:pt>
                <c:pt idx="11344">
                  <c:v>31.511111111111113</c:v>
                </c:pt>
                <c:pt idx="11345">
                  <c:v>31.513888888888889</c:v>
                </c:pt>
                <c:pt idx="11346">
                  <c:v>31.516666666666666</c:v>
                </c:pt>
                <c:pt idx="11347">
                  <c:v>31.519444444444446</c:v>
                </c:pt>
                <c:pt idx="11348">
                  <c:v>31.522222222222222</c:v>
                </c:pt>
                <c:pt idx="11349">
                  <c:v>31.524999999999999</c:v>
                </c:pt>
                <c:pt idx="11350">
                  <c:v>31.527777777777779</c:v>
                </c:pt>
                <c:pt idx="11351">
                  <c:v>31.530555555555555</c:v>
                </c:pt>
                <c:pt idx="11352">
                  <c:v>31.533333333333335</c:v>
                </c:pt>
                <c:pt idx="11353">
                  <c:v>31.536111111111111</c:v>
                </c:pt>
                <c:pt idx="11354">
                  <c:v>31.538888888888888</c:v>
                </c:pt>
                <c:pt idx="11355">
                  <c:v>31.541666666666668</c:v>
                </c:pt>
                <c:pt idx="11356">
                  <c:v>31.544444444444444</c:v>
                </c:pt>
                <c:pt idx="11357">
                  <c:v>31.547222222222221</c:v>
                </c:pt>
                <c:pt idx="11358">
                  <c:v>31.55</c:v>
                </c:pt>
                <c:pt idx="11359">
                  <c:v>31.552777777777777</c:v>
                </c:pt>
                <c:pt idx="11360">
                  <c:v>31.555555555555557</c:v>
                </c:pt>
                <c:pt idx="11361">
                  <c:v>31.558333333333334</c:v>
                </c:pt>
                <c:pt idx="11362">
                  <c:v>31.56111111111111</c:v>
                </c:pt>
                <c:pt idx="11363">
                  <c:v>31.56388888888889</c:v>
                </c:pt>
                <c:pt idx="11364">
                  <c:v>31.566666666666666</c:v>
                </c:pt>
                <c:pt idx="11365">
                  <c:v>31.569444444444443</c:v>
                </c:pt>
                <c:pt idx="11366">
                  <c:v>31.572222222222223</c:v>
                </c:pt>
                <c:pt idx="11367">
                  <c:v>31.574999999999999</c:v>
                </c:pt>
                <c:pt idx="11368">
                  <c:v>31.577777777777779</c:v>
                </c:pt>
                <c:pt idx="11369">
                  <c:v>31.580555555555556</c:v>
                </c:pt>
                <c:pt idx="11370">
                  <c:v>31.583333333333332</c:v>
                </c:pt>
                <c:pt idx="11371">
                  <c:v>31.586111111111112</c:v>
                </c:pt>
                <c:pt idx="11372">
                  <c:v>31.588888888888889</c:v>
                </c:pt>
                <c:pt idx="11373">
                  <c:v>31.591666666666665</c:v>
                </c:pt>
                <c:pt idx="11374">
                  <c:v>31.594444444444445</c:v>
                </c:pt>
                <c:pt idx="11375">
                  <c:v>31.597222222222221</c:v>
                </c:pt>
                <c:pt idx="11376">
                  <c:v>31.6</c:v>
                </c:pt>
                <c:pt idx="11377">
                  <c:v>31.602777777777778</c:v>
                </c:pt>
                <c:pt idx="11378">
                  <c:v>31.605555555555554</c:v>
                </c:pt>
                <c:pt idx="11379">
                  <c:v>31.608333333333334</c:v>
                </c:pt>
                <c:pt idx="11380">
                  <c:v>31.611111111111111</c:v>
                </c:pt>
                <c:pt idx="11381">
                  <c:v>31.613888888888887</c:v>
                </c:pt>
                <c:pt idx="11382">
                  <c:v>31.616666666666667</c:v>
                </c:pt>
                <c:pt idx="11383">
                  <c:v>31.619444444444444</c:v>
                </c:pt>
                <c:pt idx="11384">
                  <c:v>31.622222222222224</c:v>
                </c:pt>
                <c:pt idx="11385">
                  <c:v>31.625</c:v>
                </c:pt>
                <c:pt idx="11386">
                  <c:v>31.627777777777776</c:v>
                </c:pt>
                <c:pt idx="11387">
                  <c:v>31.630555555555556</c:v>
                </c:pt>
                <c:pt idx="11388">
                  <c:v>31.633333333333333</c:v>
                </c:pt>
                <c:pt idx="11389">
                  <c:v>31.636111111111113</c:v>
                </c:pt>
                <c:pt idx="11390">
                  <c:v>31.638888888888889</c:v>
                </c:pt>
                <c:pt idx="11391">
                  <c:v>31.641666666666666</c:v>
                </c:pt>
                <c:pt idx="11392">
                  <c:v>31.644444444444446</c:v>
                </c:pt>
                <c:pt idx="11393">
                  <c:v>31.647222222222222</c:v>
                </c:pt>
                <c:pt idx="11394">
                  <c:v>31.65</c:v>
                </c:pt>
                <c:pt idx="11395">
                  <c:v>31.652777777777779</c:v>
                </c:pt>
                <c:pt idx="11396">
                  <c:v>31.655555555555555</c:v>
                </c:pt>
                <c:pt idx="11397">
                  <c:v>31.658333333333335</c:v>
                </c:pt>
                <c:pt idx="11398">
                  <c:v>31.661111111111111</c:v>
                </c:pt>
                <c:pt idx="11399">
                  <c:v>31.663888888888888</c:v>
                </c:pt>
                <c:pt idx="11400">
                  <c:v>31.666666666666668</c:v>
                </c:pt>
                <c:pt idx="11401">
                  <c:v>31.669444444444444</c:v>
                </c:pt>
                <c:pt idx="11402">
                  <c:v>31.672222222222221</c:v>
                </c:pt>
                <c:pt idx="11403">
                  <c:v>31.675000000000001</c:v>
                </c:pt>
                <c:pt idx="11404">
                  <c:v>31.677777777777777</c:v>
                </c:pt>
                <c:pt idx="11405">
                  <c:v>31.680555555555557</c:v>
                </c:pt>
                <c:pt idx="11406">
                  <c:v>31.683333333333334</c:v>
                </c:pt>
                <c:pt idx="11407">
                  <c:v>31.68611111111111</c:v>
                </c:pt>
                <c:pt idx="11408">
                  <c:v>31.68888888888889</c:v>
                </c:pt>
                <c:pt idx="11409">
                  <c:v>31.691666666666666</c:v>
                </c:pt>
                <c:pt idx="11410">
                  <c:v>31.694444444444443</c:v>
                </c:pt>
                <c:pt idx="11411">
                  <c:v>31.697222222222223</c:v>
                </c:pt>
                <c:pt idx="11412">
                  <c:v>31.7</c:v>
                </c:pt>
                <c:pt idx="11413">
                  <c:v>31.702777777777779</c:v>
                </c:pt>
                <c:pt idx="11414">
                  <c:v>31.705555555555556</c:v>
                </c:pt>
                <c:pt idx="11415">
                  <c:v>31.708333333333332</c:v>
                </c:pt>
                <c:pt idx="11416">
                  <c:v>31.711111111111112</c:v>
                </c:pt>
                <c:pt idx="11417">
                  <c:v>31.713888888888889</c:v>
                </c:pt>
                <c:pt idx="11418">
                  <c:v>31.716666666666665</c:v>
                </c:pt>
                <c:pt idx="11419">
                  <c:v>31.719444444444445</c:v>
                </c:pt>
                <c:pt idx="11420">
                  <c:v>31.722222222222221</c:v>
                </c:pt>
                <c:pt idx="11421">
                  <c:v>31.725000000000001</c:v>
                </c:pt>
                <c:pt idx="11422">
                  <c:v>31.727777777777778</c:v>
                </c:pt>
                <c:pt idx="11423">
                  <c:v>31.730555555555554</c:v>
                </c:pt>
                <c:pt idx="11424">
                  <c:v>31.733333333333334</c:v>
                </c:pt>
                <c:pt idx="11425">
                  <c:v>31.736111111111111</c:v>
                </c:pt>
                <c:pt idx="11426">
                  <c:v>31.738888888888887</c:v>
                </c:pt>
                <c:pt idx="11427">
                  <c:v>31.741666666666667</c:v>
                </c:pt>
                <c:pt idx="11428">
                  <c:v>31.744444444444444</c:v>
                </c:pt>
                <c:pt idx="11429">
                  <c:v>31.747222222222224</c:v>
                </c:pt>
                <c:pt idx="11430">
                  <c:v>31.75</c:v>
                </c:pt>
                <c:pt idx="11431">
                  <c:v>31.752777777777776</c:v>
                </c:pt>
                <c:pt idx="11432">
                  <c:v>31.755555555555556</c:v>
                </c:pt>
                <c:pt idx="11433">
                  <c:v>31.758333333333333</c:v>
                </c:pt>
                <c:pt idx="11434">
                  <c:v>31.761111111111113</c:v>
                </c:pt>
                <c:pt idx="11435">
                  <c:v>31.763888888888889</c:v>
                </c:pt>
                <c:pt idx="11436">
                  <c:v>31.766666666666666</c:v>
                </c:pt>
                <c:pt idx="11437">
                  <c:v>31.769444444444446</c:v>
                </c:pt>
                <c:pt idx="11438">
                  <c:v>31.772222222222222</c:v>
                </c:pt>
                <c:pt idx="11439">
                  <c:v>31.774999999999999</c:v>
                </c:pt>
                <c:pt idx="11440">
                  <c:v>31.777777777777779</c:v>
                </c:pt>
                <c:pt idx="11441">
                  <c:v>31.780555555555555</c:v>
                </c:pt>
                <c:pt idx="11442">
                  <c:v>31.783333333333335</c:v>
                </c:pt>
                <c:pt idx="11443">
                  <c:v>31.786111111111111</c:v>
                </c:pt>
                <c:pt idx="11444">
                  <c:v>31.788888888888888</c:v>
                </c:pt>
                <c:pt idx="11445">
                  <c:v>31.791666666666668</c:v>
                </c:pt>
                <c:pt idx="11446">
                  <c:v>31.794444444444444</c:v>
                </c:pt>
                <c:pt idx="11447">
                  <c:v>31.797222222222221</c:v>
                </c:pt>
                <c:pt idx="11448">
                  <c:v>31.8</c:v>
                </c:pt>
                <c:pt idx="11449">
                  <c:v>31.802777777777777</c:v>
                </c:pt>
                <c:pt idx="11450">
                  <c:v>31.805555555555557</c:v>
                </c:pt>
                <c:pt idx="11451">
                  <c:v>31.808333333333334</c:v>
                </c:pt>
                <c:pt idx="11452">
                  <c:v>31.81111111111111</c:v>
                </c:pt>
                <c:pt idx="11453">
                  <c:v>31.81388888888889</c:v>
                </c:pt>
                <c:pt idx="11454">
                  <c:v>31.816666666666666</c:v>
                </c:pt>
                <c:pt idx="11455">
                  <c:v>31.819444444444443</c:v>
                </c:pt>
                <c:pt idx="11456">
                  <c:v>31.822222222222223</c:v>
                </c:pt>
                <c:pt idx="11457">
                  <c:v>31.824999999999999</c:v>
                </c:pt>
                <c:pt idx="11458">
                  <c:v>31.827777777777779</c:v>
                </c:pt>
                <c:pt idx="11459">
                  <c:v>31.830555555555556</c:v>
                </c:pt>
                <c:pt idx="11460">
                  <c:v>31.833333333333332</c:v>
                </c:pt>
                <c:pt idx="11461">
                  <c:v>31.836111111111112</c:v>
                </c:pt>
                <c:pt idx="11462">
                  <c:v>31.838888888888889</c:v>
                </c:pt>
                <c:pt idx="11463">
                  <c:v>31.841666666666665</c:v>
                </c:pt>
                <c:pt idx="11464">
                  <c:v>31.844444444444445</c:v>
                </c:pt>
                <c:pt idx="11465">
                  <c:v>31.847222222222221</c:v>
                </c:pt>
                <c:pt idx="11466">
                  <c:v>31.85</c:v>
                </c:pt>
                <c:pt idx="11467">
                  <c:v>31.852777777777778</c:v>
                </c:pt>
                <c:pt idx="11468">
                  <c:v>31.855555555555554</c:v>
                </c:pt>
                <c:pt idx="11469">
                  <c:v>31.858333333333334</c:v>
                </c:pt>
                <c:pt idx="11470">
                  <c:v>31.861111111111111</c:v>
                </c:pt>
                <c:pt idx="11471">
                  <c:v>31.863888888888887</c:v>
                </c:pt>
                <c:pt idx="11472">
                  <c:v>31.866666666666667</c:v>
                </c:pt>
                <c:pt idx="11473">
                  <c:v>31.869444444444444</c:v>
                </c:pt>
                <c:pt idx="11474">
                  <c:v>31.872222222222224</c:v>
                </c:pt>
                <c:pt idx="11475">
                  <c:v>31.875</c:v>
                </c:pt>
                <c:pt idx="11476">
                  <c:v>31.877777777777776</c:v>
                </c:pt>
                <c:pt idx="11477">
                  <c:v>31.880555555555556</c:v>
                </c:pt>
                <c:pt idx="11478">
                  <c:v>31.883333333333333</c:v>
                </c:pt>
                <c:pt idx="11479">
                  <c:v>31.886111111111113</c:v>
                </c:pt>
                <c:pt idx="11480">
                  <c:v>31.888888888888889</c:v>
                </c:pt>
                <c:pt idx="11481">
                  <c:v>31.891666666666666</c:v>
                </c:pt>
                <c:pt idx="11482">
                  <c:v>31.894444444444446</c:v>
                </c:pt>
                <c:pt idx="11483">
                  <c:v>31.897222222222222</c:v>
                </c:pt>
                <c:pt idx="11484">
                  <c:v>31.9</c:v>
                </c:pt>
                <c:pt idx="11485">
                  <c:v>31.902777777777779</c:v>
                </c:pt>
                <c:pt idx="11486">
                  <c:v>31.905555555555555</c:v>
                </c:pt>
                <c:pt idx="11487">
                  <c:v>31.908333333333335</c:v>
                </c:pt>
                <c:pt idx="11488">
                  <c:v>31.911111111111111</c:v>
                </c:pt>
                <c:pt idx="11489">
                  <c:v>31.913888888888888</c:v>
                </c:pt>
                <c:pt idx="11490">
                  <c:v>31.916666666666668</c:v>
                </c:pt>
                <c:pt idx="11491">
                  <c:v>31.919444444444444</c:v>
                </c:pt>
                <c:pt idx="11492">
                  <c:v>31.922222222222221</c:v>
                </c:pt>
                <c:pt idx="11493">
                  <c:v>31.925000000000001</c:v>
                </c:pt>
                <c:pt idx="11494">
                  <c:v>31.927777777777777</c:v>
                </c:pt>
                <c:pt idx="11495">
                  <c:v>31.930555555555557</c:v>
                </c:pt>
                <c:pt idx="11496">
                  <c:v>31.933333333333334</c:v>
                </c:pt>
                <c:pt idx="11497">
                  <c:v>31.93611111111111</c:v>
                </c:pt>
                <c:pt idx="11498">
                  <c:v>31.93888888888889</c:v>
                </c:pt>
                <c:pt idx="11499">
                  <c:v>31.941666666666666</c:v>
                </c:pt>
                <c:pt idx="11500">
                  <c:v>31.944444444444443</c:v>
                </c:pt>
                <c:pt idx="11501">
                  <c:v>31.947222222222223</c:v>
                </c:pt>
                <c:pt idx="11502">
                  <c:v>31.95</c:v>
                </c:pt>
                <c:pt idx="11503">
                  <c:v>31.952777777777779</c:v>
                </c:pt>
                <c:pt idx="11504">
                  <c:v>31.955555555555556</c:v>
                </c:pt>
                <c:pt idx="11505">
                  <c:v>31.958333333333332</c:v>
                </c:pt>
                <c:pt idx="11506">
                  <c:v>31.961111111111112</c:v>
                </c:pt>
                <c:pt idx="11507">
                  <c:v>31.963888888888889</c:v>
                </c:pt>
                <c:pt idx="11508">
                  <c:v>31.966666666666665</c:v>
                </c:pt>
                <c:pt idx="11509">
                  <c:v>31.969444444444445</c:v>
                </c:pt>
                <c:pt idx="11510">
                  <c:v>31.972222222222221</c:v>
                </c:pt>
                <c:pt idx="11511">
                  <c:v>31.975000000000001</c:v>
                </c:pt>
                <c:pt idx="11512">
                  <c:v>31.977777777777778</c:v>
                </c:pt>
                <c:pt idx="11513">
                  <c:v>31.980555555555554</c:v>
                </c:pt>
                <c:pt idx="11514">
                  <c:v>31.983333333333334</c:v>
                </c:pt>
                <c:pt idx="11515">
                  <c:v>31.986111111111111</c:v>
                </c:pt>
                <c:pt idx="11516">
                  <c:v>31.988888888888887</c:v>
                </c:pt>
                <c:pt idx="11517">
                  <c:v>31.991666666666667</c:v>
                </c:pt>
                <c:pt idx="11518">
                  <c:v>31.994444444444444</c:v>
                </c:pt>
                <c:pt idx="11519">
                  <c:v>31.997222222222224</c:v>
                </c:pt>
                <c:pt idx="11520">
                  <c:v>32</c:v>
                </c:pt>
                <c:pt idx="11521">
                  <c:v>32.00277777777778</c:v>
                </c:pt>
                <c:pt idx="11522">
                  <c:v>32.005555555555553</c:v>
                </c:pt>
                <c:pt idx="11523">
                  <c:v>32.008333333333333</c:v>
                </c:pt>
                <c:pt idx="11524">
                  <c:v>32.011111111111113</c:v>
                </c:pt>
                <c:pt idx="11525">
                  <c:v>32.013888888888886</c:v>
                </c:pt>
                <c:pt idx="11526">
                  <c:v>32.016666666666666</c:v>
                </c:pt>
                <c:pt idx="11527">
                  <c:v>32.019444444444446</c:v>
                </c:pt>
                <c:pt idx="11528">
                  <c:v>32.022222222222226</c:v>
                </c:pt>
                <c:pt idx="11529">
                  <c:v>32.024999999999999</c:v>
                </c:pt>
                <c:pt idx="11530">
                  <c:v>32.027777777777779</c:v>
                </c:pt>
                <c:pt idx="11531">
                  <c:v>32.030555555555559</c:v>
                </c:pt>
                <c:pt idx="11532">
                  <c:v>32.033333333333331</c:v>
                </c:pt>
                <c:pt idx="11533">
                  <c:v>32.036111111111111</c:v>
                </c:pt>
                <c:pt idx="11534">
                  <c:v>32.038888888888891</c:v>
                </c:pt>
                <c:pt idx="11535">
                  <c:v>32.041666666666664</c:v>
                </c:pt>
                <c:pt idx="11536">
                  <c:v>32.044444444444444</c:v>
                </c:pt>
                <c:pt idx="11537">
                  <c:v>32.047222222222224</c:v>
                </c:pt>
                <c:pt idx="11538">
                  <c:v>32.049999999999997</c:v>
                </c:pt>
                <c:pt idx="11539">
                  <c:v>32.052777777777777</c:v>
                </c:pt>
                <c:pt idx="11540">
                  <c:v>32.055555555555557</c:v>
                </c:pt>
                <c:pt idx="11541">
                  <c:v>32.05833333333333</c:v>
                </c:pt>
                <c:pt idx="11542">
                  <c:v>32.06111111111111</c:v>
                </c:pt>
                <c:pt idx="11543">
                  <c:v>32.06388888888889</c:v>
                </c:pt>
                <c:pt idx="11544">
                  <c:v>32.06666666666667</c:v>
                </c:pt>
                <c:pt idx="11545">
                  <c:v>32.069444444444443</c:v>
                </c:pt>
                <c:pt idx="11546">
                  <c:v>32.072222222222223</c:v>
                </c:pt>
                <c:pt idx="11547">
                  <c:v>32.075000000000003</c:v>
                </c:pt>
                <c:pt idx="11548">
                  <c:v>32.077777777777776</c:v>
                </c:pt>
                <c:pt idx="11549">
                  <c:v>32.080555555555556</c:v>
                </c:pt>
                <c:pt idx="11550">
                  <c:v>32.083333333333336</c:v>
                </c:pt>
                <c:pt idx="11551">
                  <c:v>32.086111111111109</c:v>
                </c:pt>
                <c:pt idx="11552">
                  <c:v>32.088888888888889</c:v>
                </c:pt>
                <c:pt idx="11553">
                  <c:v>32.091666666666669</c:v>
                </c:pt>
                <c:pt idx="11554">
                  <c:v>32.094444444444441</c:v>
                </c:pt>
                <c:pt idx="11555">
                  <c:v>32.097222222222221</c:v>
                </c:pt>
                <c:pt idx="11556">
                  <c:v>32.1</c:v>
                </c:pt>
                <c:pt idx="11557">
                  <c:v>32.102777777777774</c:v>
                </c:pt>
                <c:pt idx="11558">
                  <c:v>32.105555555555554</c:v>
                </c:pt>
                <c:pt idx="11559">
                  <c:v>32.108333333333334</c:v>
                </c:pt>
                <c:pt idx="11560">
                  <c:v>32.111111111111114</c:v>
                </c:pt>
                <c:pt idx="11561">
                  <c:v>32.113888888888887</c:v>
                </c:pt>
                <c:pt idx="11562">
                  <c:v>32.116666666666667</c:v>
                </c:pt>
                <c:pt idx="11563">
                  <c:v>32.119444444444447</c:v>
                </c:pt>
                <c:pt idx="11564">
                  <c:v>32.12222222222222</c:v>
                </c:pt>
                <c:pt idx="11565">
                  <c:v>32.125</c:v>
                </c:pt>
                <c:pt idx="11566">
                  <c:v>32.12777777777778</c:v>
                </c:pt>
                <c:pt idx="11567">
                  <c:v>32.130555555555553</c:v>
                </c:pt>
                <c:pt idx="11568">
                  <c:v>32.133333333333333</c:v>
                </c:pt>
                <c:pt idx="11569">
                  <c:v>32.136111111111113</c:v>
                </c:pt>
                <c:pt idx="11570">
                  <c:v>32.138888888888886</c:v>
                </c:pt>
                <c:pt idx="11571">
                  <c:v>32.141666666666666</c:v>
                </c:pt>
                <c:pt idx="11572">
                  <c:v>32.144444444444446</c:v>
                </c:pt>
                <c:pt idx="11573">
                  <c:v>32.147222222222226</c:v>
                </c:pt>
                <c:pt idx="11574">
                  <c:v>32.15</c:v>
                </c:pt>
                <c:pt idx="11575">
                  <c:v>32.152777777777779</c:v>
                </c:pt>
                <c:pt idx="11576">
                  <c:v>32.155555555555559</c:v>
                </c:pt>
                <c:pt idx="11577">
                  <c:v>32.158333333333331</c:v>
                </c:pt>
                <c:pt idx="11578">
                  <c:v>32.161111111111111</c:v>
                </c:pt>
                <c:pt idx="11579">
                  <c:v>32.163888888888891</c:v>
                </c:pt>
                <c:pt idx="11580">
                  <c:v>32.166666666666664</c:v>
                </c:pt>
                <c:pt idx="11581">
                  <c:v>32.169444444444444</c:v>
                </c:pt>
                <c:pt idx="11582">
                  <c:v>32.172222222222224</c:v>
                </c:pt>
                <c:pt idx="11583">
                  <c:v>32.174999999999997</c:v>
                </c:pt>
                <c:pt idx="11584">
                  <c:v>32.177777777777777</c:v>
                </c:pt>
                <c:pt idx="11585">
                  <c:v>32.180555555555557</c:v>
                </c:pt>
                <c:pt idx="11586">
                  <c:v>32.18333333333333</c:v>
                </c:pt>
                <c:pt idx="11587">
                  <c:v>32.18611111111111</c:v>
                </c:pt>
                <c:pt idx="11588">
                  <c:v>32.18888888888889</c:v>
                </c:pt>
                <c:pt idx="11589">
                  <c:v>32.19166666666667</c:v>
                </c:pt>
                <c:pt idx="11590">
                  <c:v>32.194444444444443</c:v>
                </c:pt>
                <c:pt idx="11591">
                  <c:v>32.197222222222223</c:v>
                </c:pt>
                <c:pt idx="11592">
                  <c:v>32.200000000000003</c:v>
                </c:pt>
                <c:pt idx="11593">
                  <c:v>32.202777777777776</c:v>
                </c:pt>
                <c:pt idx="11594">
                  <c:v>32.205555555555556</c:v>
                </c:pt>
                <c:pt idx="11595">
                  <c:v>32.208333333333336</c:v>
                </c:pt>
                <c:pt idx="11596">
                  <c:v>32.211111111111109</c:v>
                </c:pt>
                <c:pt idx="11597">
                  <c:v>32.213888888888889</c:v>
                </c:pt>
                <c:pt idx="11598">
                  <c:v>32.216666666666669</c:v>
                </c:pt>
                <c:pt idx="11599">
                  <c:v>32.219444444444441</c:v>
                </c:pt>
                <c:pt idx="11600">
                  <c:v>32.222222222222221</c:v>
                </c:pt>
                <c:pt idx="11601">
                  <c:v>32.225000000000001</c:v>
                </c:pt>
                <c:pt idx="11602">
                  <c:v>32.227777777777774</c:v>
                </c:pt>
                <c:pt idx="11603">
                  <c:v>32.230555555555554</c:v>
                </c:pt>
                <c:pt idx="11604">
                  <c:v>32.233333333333334</c:v>
                </c:pt>
                <c:pt idx="11605">
                  <c:v>32.236111111111114</c:v>
                </c:pt>
                <c:pt idx="11606">
                  <c:v>32.238888888888887</c:v>
                </c:pt>
                <c:pt idx="11607">
                  <c:v>32.241666666666667</c:v>
                </c:pt>
                <c:pt idx="11608">
                  <c:v>32.244444444444447</c:v>
                </c:pt>
                <c:pt idx="11609">
                  <c:v>32.24722222222222</c:v>
                </c:pt>
                <c:pt idx="11610">
                  <c:v>32.25</c:v>
                </c:pt>
                <c:pt idx="11611">
                  <c:v>32.25277777777778</c:v>
                </c:pt>
                <c:pt idx="11612">
                  <c:v>32.255555555555553</c:v>
                </c:pt>
                <c:pt idx="11613">
                  <c:v>32.258333333333333</c:v>
                </c:pt>
                <c:pt idx="11614">
                  <c:v>32.261111111111113</c:v>
                </c:pt>
                <c:pt idx="11615">
                  <c:v>32.263888888888886</c:v>
                </c:pt>
                <c:pt idx="11616">
                  <c:v>32.266666666666666</c:v>
                </c:pt>
                <c:pt idx="11617">
                  <c:v>32.269444444444446</c:v>
                </c:pt>
                <c:pt idx="11618">
                  <c:v>32.272222222222226</c:v>
                </c:pt>
                <c:pt idx="11619">
                  <c:v>32.274999999999999</c:v>
                </c:pt>
                <c:pt idx="11620">
                  <c:v>32.277777777777779</c:v>
                </c:pt>
                <c:pt idx="11621">
                  <c:v>32.280555555555559</c:v>
                </c:pt>
                <c:pt idx="11622">
                  <c:v>32.283333333333331</c:v>
                </c:pt>
                <c:pt idx="11623">
                  <c:v>32.286111111111111</c:v>
                </c:pt>
                <c:pt idx="11624">
                  <c:v>32.288888888888891</c:v>
                </c:pt>
                <c:pt idx="11625">
                  <c:v>32.291666666666664</c:v>
                </c:pt>
                <c:pt idx="11626">
                  <c:v>32.294444444444444</c:v>
                </c:pt>
                <c:pt idx="11627">
                  <c:v>32.297222222222224</c:v>
                </c:pt>
                <c:pt idx="11628">
                  <c:v>32.299999999999997</c:v>
                </c:pt>
                <c:pt idx="11629">
                  <c:v>32.302777777777777</c:v>
                </c:pt>
                <c:pt idx="11630">
                  <c:v>32.305555555555557</c:v>
                </c:pt>
                <c:pt idx="11631">
                  <c:v>32.30833333333333</c:v>
                </c:pt>
                <c:pt idx="11632">
                  <c:v>32.31111111111111</c:v>
                </c:pt>
                <c:pt idx="11633">
                  <c:v>32.31388888888889</c:v>
                </c:pt>
                <c:pt idx="11634">
                  <c:v>32.31666666666667</c:v>
                </c:pt>
                <c:pt idx="11635">
                  <c:v>32.319444444444443</c:v>
                </c:pt>
                <c:pt idx="11636">
                  <c:v>32.322222222222223</c:v>
                </c:pt>
                <c:pt idx="11637">
                  <c:v>32.325000000000003</c:v>
                </c:pt>
                <c:pt idx="11638">
                  <c:v>32.327777777777776</c:v>
                </c:pt>
                <c:pt idx="11639">
                  <c:v>32.330555555555556</c:v>
                </c:pt>
                <c:pt idx="11640">
                  <c:v>32.333333333333336</c:v>
                </c:pt>
                <c:pt idx="11641">
                  <c:v>32.336111111111109</c:v>
                </c:pt>
                <c:pt idx="11642">
                  <c:v>32.338888888888889</c:v>
                </c:pt>
                <c:pt idx="11643">
                  <c:v>32.341666666666669</c:v>
                </c:pt>
                <c:pt idx="11644">
                  <c:v>32.344444444444441</c:v>
                </c:pt>
                <c:pt idx="11645">
                  <c:v>32.347222222222221</c:v>
                </c:pt>
                <c:pt idx="11646">
                  <c:v>32.35</c:v>
                </c:pt>
                <c:pt idx="11647">
                  <c:v>32.352777777777774</c:v>
                </c:pt>
                <c:pt idx="11648">
                  <c:v>32.355555555555554</c:v>
                </c:pt>
                <c:pt idx="11649">
                  <c:v>32.358333333333334</c:v>
                </c:pt>
                <c:pt idx="11650">
                  <c:v>32.361111111111114</c:v>
                </c:pt>
                <c:pt idx="11651">
                  <c:v>32.363888888888887</c:v>
                </c:pt>
                <c:pt idx="11652">
                  <c:v>32.366666666666667</c:v>
                </c:pt>
                <c:pt idx="11653">
                  <c:v>32.369444444444447</c:v>
                </c:pt>
                <c:pt idx="11654">
                  <c:v>32.37222222222222</c:v>
                </c:pt>
                <c:pt idx="11655">
                  <c:v>32.375</c:v>
                </c:pt>
                <c:pt idx="11656">
                  <c:v>32.37777777777778</c:v>
                </c:pt>
                <c:pt idx="11657">
                  <c:v>32.380555555555553</c:v>
                </c:pt>
                <c:pt idx="11658">
                  <c:v>32.383333333333333</c:v>
                </c:pt>
                <c:pt idx="11659">
                  <c:v>32.386111111111113</c:v>
                </c:pt>
                <c:pt idx="11660">
                  <c:v>32.388888888888886</c:v>
                </c:pt>
                <c:pt idx="11661">
                  <c:v>32.391666666666666</c:v>
                </c:pt>
                <c:pt idx="11662">
                  <c:v>32.394444444444446</c:v>
                </c:pt>
                <c:pt idx="11663">
                  <c:v>32.397222222222226</c:v>
                </c:pt>
                <c:pt idx="11664">
                  <c:v>32.4</c:v>
                </c:pt>
                <c:pt idx="11665">
                  <c:v>32.402777777777779</c:v>
                </c:pt>
                <c:pt idx="11666">
                  <c:v>32.405555555555559</c:v>
                </c:pt>
                <c:pt idx="11667">
                  <c:v>32.408333333333331</c:v>
                </c:pt>
                <c:pt idx="11668">
                  <c:v>32.411111111111111</c:v>
                </c:pt>
                <c:pt idx="11669">
                  <c:v>32.413888888888891</c:v>
                </c:pt>
                <c:pt idx="11670">
                  <c:v>32.416666666666664</c:v>
                </c:pt>
                <c:pt idx="11671">
                  <c:v>32.419444444444444</c:v>
                </c:pt>
                <c:pt idx="11672">
                  <c:v>32.422222222222224</c:v>
                </c:pt>
                <c:pt idx="11673">
                  <c:v>32.424999999999997</c:v>
                </c:pt>
                <c:pt idx="11674">
                  <c:v>32.427777777777777</c:v>
                </c:pt>
                <c:pt idx="11675">
                  <c:v>32.430555555555557</c:v>
                </c:pt>
                <c:pt idx="11676">
                  <c:v>32.43333333333333</c:v>
                </c:pt>
                <c:pt idx="11677">
                  <c:v>32.43611111111111</c:v>
                </c:pt>
                <c:pt idx="11678">
                  <c:v>32.43888888888889</c:v>
                </c:pt>
                <c:pt idx="11679">
                  <c:v>32.44166666666667</c:v>
                </c:pt>
                <c:pt idx="11680">
                  <c:v>32.444444444444443</c:v>
                </c:pt>
                <c:pt idx="11681">
                  <c:v>32.447222222222223</c:v>
                </c:pt>
                <c:pt idx="11682">
                  <c:v>32.450000000000003</c:v>
                </c:pt>
                <c:pt idx="11683">
                  <c:v>32.452777777777776</c:v>
                </c:pt>
                <c:pt idx="11684">
                  <c:v>32.455555555555556</c:v>
                </c:pt>
                <c:pt idx="11685">
                  <c:v>32.458333333333336</c:v>
                </c:pt>
                <c:pt idx="11686">
                  <c:v>32.461111111111109</c:v>
                </c:pt>
                <c:pt idx="11687">
                  <c:v>32.463888888888889</c:v>
                </c:pt>
                <c:pt idx="11688">
                  <c:v>32.466666666666669</c:v>
                </c:pt>
                <c:pt idx="11689">
                  <c:v>32.469444444444441</c:v>
                </c:pt>
                <c:pt idx="11690">
                  <c:v>32.472222222222221</c:v>
                </c:pt>
                <c:pt idx="11691">
                  <c:v>32.475000000000001</c:v>
                </c:pt>
                <c:pt idx="11692">
                  <c:v>32.477777777777774</c:v>
                </c:pt>
                <c:pt idx="11693">
                  <c:v>32.480555555555554</c:v>
                </c:pt>
                <c:pt idx="11694">
                  <c:v>32.483333333333334</c:v>
                </c:pt>
                <c:pt idx="11695">
                  <c:v>32.486111111111114</c:v>
                </c:pt>
                <c:pt idx="11696">
                  <c:v>32.488888888888887</c:v>
                </c:pt>
                <c:pt idx="11697">
                  <c:v>32.491666666666667</c:v>
                </c:pt>
                <c:pt idx="11698">
                  <c:v>32.494444444444447</c:v>
                </c:pt>
                <c:pt idx="11699">
                  <c:v>32.49722222222222</c:v>
                </c:pt>
                <c:pt idx="11700">
                  <c:v>32.5</c:v>
                </c:pt>
                <c:pt idx="11701">
                  <c:v>32.50277777777778</c:v>
                </c:pt>
                <c:pt idx="11702">
                  <c:v>32.505555555555553</c:v>
                </c:pt>
                <c:pt idx="11703">
                  <c:v>32.508333333333333</c:v>
                </c:pt>
                <c:pt idx="11704">
                  <c:v>32.511111111111113</c:v>
                </c:pt>
                <c:pt idx="11705">
                  <c:v>32.513888888888886</c:v>
                </c:pt>
                <c:pt idx="11706">
                  <c:v>32.516666666666666</c:v>
                </c:pt>
                <c:pt idx="11707">
                  <c:v>32.519444444444446</c:v>
                </c:pt>
                <c:pt idx="11708">
                  <c:v>32.522222222222226</c:v>
                </c:pt>
                <c:pt idx="11709">
                  <c:v>32.524999999999999</c:v>
                </c:pt>
                <c:pt idx="11710">
                  <c:v>32.527777777777779</c:v>
                </c:pt>
                <c:pt idx="11711">
                  <c:v>32.530555555555559</c:v>
                </c:pt>
                <c:pt idx="11712">
                  <c:v>32.533333333333331</c:v>
                </c:pt>
                <c:pt idx="11713">
                  <c:v>32.536111111111111</c:v>
                </c:pt>
                <c:pt idx="11714">
                  <c:v>32.538888888888891</c:v>
                </c:pt>
                <c:pt idx="11715">
                  <c:v>32.541666666666664</c:v>
                </c:pt>
                <c:pt idx="11716">
                  <c:v>32.544444444444444</c:v>
                </c:pt>
                <c:pt idx="11717">
                  <c:v>32.547222222222224</c:v>
                </c:pt>
                <c:pt idx="11718">
                  <c:v>32.549999999999997</c:v>
                </c:pt>
                <c:pt idx="11719">
                  <c:v>32.552777777777777</c:v>
                </c:pt>
                <c:pt idx="11720">
                  <c:v>32.555555555555557</c:v>
                </c:pt>
                <c:pt idx="11721">
                  <c:v>32.55833333333333</c:v>
                </c:pt>
                <c:pt idx="11722">
                  <c:v>32.56111111111111</c:v>
                </c:pt>
                <c:pt idx="11723">
                  <c:v>32.56388888888889</c:v>
                </c:pt>
                <c:pt idx="11724">
                  <c:v>32.56666666666667</c:v>
                </c:pt>
                <c:pt idx="11725">
                  <c:v>32.569444444444443</c:v>
                </c:pt>
                <c:pt idx="11726">
                  <c:v>32.572222222222223</c:v>
                </c:pt>
                <c:pt idx="11727">
                  <c:v>32.575000000000003</c:v>
                </c:pt>
                <c:pt idx="11728">
                  <c:v>32.577777777777776</c:v>
                </c:pt>
                <c:pt idx="11729">
                  <c:v>32.580555555555556</c:v>
                </c:pt>
                <c:pt idx="11730">
                  <c:v>32.583333333333336</c:v>
                </c:pt>
                <c:pt idx="11731">
                  <c:v>32.586111111111109</c:v>
                </c:pt>
                <c:pt idx="11732">
                  <c:v>32.588888888888889</c:v>
                </c:pt>
                <c:pt idx="11733">
                  <c:v>32.591666666666669</c:v>
                </c:pt>
                <c:pt idx="11734">
                  <c:v>32.594444444444441</c:v>
                </c:pt>
                <c:pt idx="11735">
                  <c:v>32.597222222222221</c:v>
                </c:pt>
                <c:pt idx="11736">
                  <c:v>32.6</c:v>
                </c:pt>
                <c:pt idx="11737">
                  <c:v>32.602777777777774</c:v>
                </c:pt>
                <c:pt idx="11738">
                  <c:v>32.605555555555554</c:v>
                </c:pt>
                <c:pt idx="11739">
                  <c:v>32.608333333333334</c:v>
                </c:pt>
                <c:pt idx="11740">
                  <c:v>32.611111111111114</c:v>
                </c:pt>
                <c:pt idx="11741">
                  <c:v>32.613888888888887</c:v>
                </c:pt>
                <c:pt idx="11742">
                  <c:v>32.616666666666667</c:v>
                </c:pt>
                <c:pt idx="11743">
                  <c:v>32.619444444444447</c:v>
                </c:pt>
                <c:pt idx="11744">
                  <c:v>32.62222222222222</c:v>
                </c:pt>
                <c:pt idx="11745">
                  <c:v>32.625</c:v>
                </c:pt>
                <c:pt idx="11746">
                  <c:v>32.62777777777778</c:v>
                </c:pt>
                <c:pt idx="11747">
                  <c:v>32.630555555555553</c:v>
                </c:pt>
                <c:pt idx="11748">
                  <c:v>32.633333333333333</c:v>
                </c:pt>
                <c:pt idx="11749">
                  <c:v>32.636111111111113</c:v>
                </c:pt>
                <c:pt idx="11750">
                  <c:v>32.638888888888886</c:v>
                </c:pt>
                <c:pt idx="11751">
                  <c:v>32.641666666666666</c:v>
                </c:pt>
                <c:pt idx="11752">
                  <c:v>32.644444444444446</c:v>
                </c:pt>
                <c:pt idx="11753">
                  <c:v>32.647222222222226</c:v>
                </c:pt>
                <c:pt idx="11754">
                  <c:v>32.65</c:v>
                </c:pt>
                <c:pt idx="11755">
                  <c:v>32.652777777777779</c:v>
                </c:pt>
                <c:pt idx="11756">
                  <c:v>32.655555555555559</c:v>
                </c:pt>
                <c:pt idx="11757">
                  <c:v>32.658333333333331</c:v>
                </c:pt>
                <c:pt idx="11758">
                  <c:v>32.661111111111111</c:v>
                </c:pt>
                <c:pt idx="11759">
                  <c:v>32.663888888888891</c:v>
                </c:pt>
                <c:pt idx="11760">
                  <c:v>32.666666666666664</c:v>
                </c:pt>
                <c:pt idx="11761">
                  <c:v>32.669444444444444</c:v>
                </c:pt>
                <c:pt idx="11762">
                  <c:v>32.672222222222224</c:v>
                </c:pt>
                <c:pt idx="11763">
                  <c:v>32.674999999999997</c:v>
                </c:pt>
                <c:pt idx="11764">
                  <c:v>32.677777777777777</c:v>
                </c:pt>
                <c:pt idx="11765">
                  <c:v>32.680555555555557</c:v>
                </c:pt>
                <c:pt idx="11766">
                  <c:v>32.68333333333333</c:v>
                </c:pt>
                <c:pt idx="11767">
                  <c:v>32.68611111111111</c:v>
                </c:pt>
                <c:pt idx="11768">
                  <c:v>32.68888888888889</c:v>
                </c:pt>
                <c:pt idx="11769">
                  <c:v>32.69166666666667</c:v>
                </c:pt>
                <c:pt idx="11770">
                  <c:v>32.694444444444443</c:v>
                </c:pt>
                <c:pt idx="11771">
                  <c:v>32.697222222222223</c:v>
                </c:pt>
                <c:pt idx="11772">
                  <c:v>32.700000000000003</c:v>
                </c:pt>
                <c:pt idx="11773">
                  <c:v>32.702777777777776</c:v>
                </c:pt>
                <c:pt idx="11774">
                  <c:v>32.705555555555556</c:v>
                </c:pt>
                <c:pt idx="11775">
                  <c:v>32.708333333333336</c:v>
                </c:pt>
                <c:pt idx="11776">
                  <c:v>32.711111111111109</c:v>
                </c:pt>
                <c:pt idx="11777">
                  <c:v>32.713888888888889</c:v>
                </c:pt>
                <c:pt idx="11778">
                  <c:v>32.716666666666669</c:v>
                </c:pt>
                <c:pt idx="11779">
                  <c:v>32.719444444444441</c:v>
                </c:pt>
                <c:pt idx="11780">
                  <c:v>32.722222222222221</c:v>
                </c:pt>
                <c:pt idx="11781">
                  <c:v>32.725000000000001</c:v>
                </c:pt>
                <c:pt idx="11782">
                  <c:v>32.727777777777774</c:v>
                </c:pt>
                <c:pt idx="11783">
                  <c:v>32.730555555555554</c:v>
                </c:pt>
                <c:pt idx="11784">
                  <c:v>32.733333333333334</c:v>
                </c:pt>
                <c:pt idx="11785">
                  <c:v>32.736111111111114</c:v>
                </c:pt>
                <c:pt idx="11786">
                  <c:v>32.738888888888887</c:v>
                </c:pt>
                <c:pt idx="11787">
                  <c:v>32.741666666666667</c:v>
                </c:pt>
                <c:pt idx="11788">
                  <c:v>32.744444444444447</c:v>
                </c:pt>
                <c:pt idx="11789">
                  <c:v>32.74722222222222</c:v>
                </c:pt>
                <c:pt idx="11790">
                  <c:v>32.75</c:v>
                </c:pt>
                <c:pt idx="11791">
                  <c:v>32.75277777777778</c:v>
                </c:pt>
                <c:pt idx="11792">
                  <c:v>32.755555555555553</c:v>
                </c:pt>
                <c:pt idx="11793">
                  <c:v>32.758333333333333</c:v>
                </c:pt>
                <c:pt idx="11794">
                  <c:v>32.761111111111113</c:v>
                </c:pt>
                <c:pt idx="11795">
                  <c:v>32.763888888888886</c:v>
                </c:pt>
                <c:pt idx="11796">
                  <c:v>32.766666666666666</c:v>
                </c:pt>
                <c:pt idx="11797">
                  <c:v>32.769444444444446</c:v>
                </c:pt>
                <c:pt idx="11798">
                  <c:v>32.772222222222226</c:v>
                </c:pt>
                <c:pt idx="11799">
                  <c:v>32.774999999999999</c:v>
                </c:pt>
                <c:pt idx="11800">
                  <c:v>32.777777777777779</c:v>
                </c:pt>
                <c:pt idx="11801">
                  <c:v>32.780555555555559</c:v>
                </c:pt>
                <c:pt idx="11802">
                  <c:v>32.783333333333331</c:v>
                </c:pt>
                <c:pt idx="11803">
                  <c:v>32.786111111111111</c:v>
                </c:pt>
                <c:pt idx="11804">
                  <c:v>32.788888888888891</c:v>
                </c:pt>
                <c:pt idx="11805">
                  <c:v>32.791666666666664</c:v>
                </c:pt>
                <c:pt idx="11806">
                  <c:v>32.794444444444444</c:v>
                </c:pt>
                <c:pt idx="11807">
                  <c:v>32.797222222222224</c:v>
                </c:pt>
                <c:pt idx="11808">
                  <c:v>32.799999999999997</c:v>
                </c:pt>
                <c:pt idx="11809">
                  <c:v>32.802777777777777</c:v>
                </c:pt>
                <c:pt idx="11810">
                  <c:v>32.805555555555557</c:v>
                </c:pt>
                <c:pt idx="11811">
                  <c:v>32.80833333333333</c:v>
                </c:pt>
                <c:pt idx="11812">
                  <c:v>32.81111111111111</c:v>
                </c:pt>
                <c:pt idx="11813">
                  <c:v>32.81388888888889</c:v>
                </c:pt>
                <c:pt idx="11814">
                  <c:v>32.81666666666667</c:v>
                </c:pt>
                <c:pt idx="11815">
                  <c:v>32.819444444444443</c:v>
                </c:pt>
                <c:pt idx="11816">
                  <c:v>32.822222222222223</c:v>
                </c:pt>
                <c:pt idx="11817">
                  <c:v>32.825000000000003</c:v>
                </c:pt>
                <c:pt idx="11818">
                  <c:v>32.827777777777776</c:v>
                </c:pt>
                <c:pt idx="11819">
                  <c:v>32.830555555555556</c:v>
                </c:pt>
                <c:pt idx="11820">
                  <c:v>32.833333333333336</c:v>
                </c:pt>
                <c:pt idx="11821">
                  <c:v>32.836111111111109</c:v>
                </c:pt>
                <c:pt idx="11822">
                  <c:v>32.838888888888889</c:v>
                </c:pt>
                <c:pt idx="11823">
                  <c:v>32.841666666666669</c:v>
                </c:pt>
                <c:pt idx="11824">
                  <c:v>32.844444444444441</c:v>
                </c:pt>
                <c:pt idx="11825">
                  <c:v>32.847222222222221</c:v>
                </c:pt>
                <c:pt idx="11826">
                  <c:v>32.85</c:v>
                </c:pt>
                <c:pt idx="11827">
                  <c:v>32.852777777777774</c:v>
                </c:pt>
                <c:pt idx="11828">
                  <c:v>32.855555555555554</c:v>
                </c:pt>
                <c:pt idx="11829">
                  <c:v>32.858333333333334</c:v>
                </c:pt>
                <c:pt idx="11830">
                  <c:v>32.861111111111114</c:v>
                </c:pt>
                <c:pt idx="11831">
                  <c:v>32.863888888888887</c:v>
                </c:pt>
                <c:pt idx="11832">
                  <c:v>32.866666666666667</c:v>
                </c:pt>
                <c:pt idx="11833">
                  <c:v>32.869444444444447</c:v>
                </c:pt>
                <c:pt idx="11834">
                  <c:v>32.87222222222222</c:v>
                </c:pt>
                <c:pt idx="11835">
                  <c:v>32.875</c:v>
                </c:pt>
                <c:pt idx="11836">
                  <c:v>32.87777777777778</c:v>
                </c:pt>
                <c:pt idx="11837">
                  <c:v>32.880555555555553</c:v>
                </c:pt>
                <c:pt idx="11838">
                  <c:v>32.883333333333333</c:v>
                </c:pt>
                <c:pt idx="11839">
                  <c:v>32.886111111111113</c:v>
                </c:pt>
                <c:pt idx="11840">
                  <c:v>32.888888888888886</c:v>
                </c:pt>
                <c:pt idx="11841">
                  <c:v>32.891666666666666</c:v>
                </c:pt>
                <c:pt idx="11842">
                  <c:v>32.894444444444446</c:v>
                </c:pt>
                <c:pt idx="11843">
                  <c:v>32.897222222222226</c:v>
                </c:pt>
                <c:pt idx="11844">
                  <c:v>32.9</c:v>
                </c:pt>
                <c:pt idx="11845">
                  <c:v>32.902777777777779</c:v>
                </c:pt>
                <c:pt idx="11846">
                  <c:v>32.905555555555559</c:v>
                </c:pt>
                <c:pt idx="11847">
                  <c:v>32.908333333333331</c:v>
                </c:pt>
                <c:pt idx="11848">
                  <c:v>32.911111111111111</c:v>
                </c:pt>
                <c:pt idx="11849">
                  <c:v>32.913888888888891</c:v>
                </c:pt>
                <c:pt idx="11850">
                  <c:v>32.916666666666664</c:v>
                </c:pt>
                <c:pt idx="11851">
                  <c:v>32.919444444444444</c:v>
                </c:pt>
                <c:pt idx="11852">
                  <c:v>32.922222222222224</c:v>
                </c:pt>
                <c:pt idx="11853">
                  <c:v>32.924999999999997</c:v>
                </c:pt>
                <c:pt idx="11854">
                  <c:v>32.927777777777777</c:v>
                </c:pt>
                <c:pt idx="11855">
                  <c:v>32.930555555555557</c:v>
                </c:pt>
                <c:pt idx="11856">
                  <c:v>32.93333333333333</c:v>
                </c:pt>
                <c:pt idx="11857">
                  <c:v>32.93611111111111</c:v>
                </c:pt>
                <c:pt idx="11858">
                  <c:v>32.93888888888889</c:v>
                </c:pt>
                <c:pt idx="11859">
                  <c:v>32.94166666666667</c:v>
                </c:pt>
                <c:pt idx="11860">
                  <c:v>32.944444444444443</c:v>
                </c:pt>
                <c:pt idx="11861">
                  <c:v>32.947222222222223</c:v>
                </c:pt>
                <c:pt idx="11862">
                  <c:v>32.950000000000003</c:v>
                </c:pt>
                <c:pt idx="11863">
                  <c:v>32.952777777777776</c:v>
                </c:pt>
                <c:pt idx="11864">
                  <c:v>32.955555555555556</c:v>
                </c:pt>
                <c:pt idx="11865">
                  <c:v>32.958333333333336</c:v>
                </c:pt>
                <c:pt idx="11866">
                  <c:v>32.961111111111109</c:v>
                </c:pt>
                <c:pt idx="11867">
                  <c:v>32.963888888888889</c:v>
                </c:pt>
                <c:pt idx="11868">
                  <c:v>32.966666666666669</c:v>
                </c:pt>
                <c:pt idx="11869">
                  <c:v>32.969444444444441</c:v>
                </c:pt>
                <c:pt idx="11870">
                  <c:v>32.972222222222221</c:v>
                </c:pt>
                <c:pt idx="11871">
                  <c:v>32.975000000000001</c:v>
                </c:pt>
                <c:pt idx="11872">
                  <c:v>32.977777777777774</c:v>
                </c:pt>
                <c:pt idx="11873">
                  <c:v>32.980555555555554</c:v>
                </c:pt>
                <c:pt idx="11874">
                  <c:v>32.983333333333334</c:v>
                </c:pt>
                <c:pt idx="11875">
                  <c:v>32.986111111111114</c:v>
                </c:pt>
                <c:pt idx="11876">
                  <c:v>32.988888888888887</c:v>
                </c:pt>
                <c:pt idx="11877">
                  <c:v>32.991666666666667</c:v>
                </c:pt>
                <c:pt idx="11878">
                  <c:v>32.994444444444447</c:v>
                </c:pt>
                <c:pt idx="11879">
                  <c:v>32.99722222222222</c:v>
                </c:pt>
                <c:pt idx="11880">
                  <c:v>33</c:v>
                </c:pt>
                <c:pt idx="11881">
                  <c:v>33.00277777777778</c:v>
                </c:pt>
                <c:pt idx="11882">
                  <c:v>33.005555555555553</c:v>
                </c:pt>
                <c:pt idx="11883">
                  <c:v>33.008333333333333</c:v>
                </c:pt>
                <c:pt idx="11884">
                  <c:v>33.011111111111113</c:v>
                </c:pt>
                <c:pt idx="11885">
                  <c:v>33.013888888888886</c:v>
                </c:pt>
                <c:pt idx="11886">
                  <c:v>33.016666666666666</c:v>
                </c:pt>
                <c:pt idx="11887">
                  <c:v>33.019444444444446</c:v>
                </c:pt>
                <c:pt idx="11888">
                  <c:v>33.022222222222226</c:v>
                </c:pt>
                <c:pt idx="11889">
                  <c:v>33.024999999999999</c:v>
                </c:pt>
                <c:pt idx="11890">
                  <c:v>33.027777777777779</c:v>
                </c:pt>
                <c:pt idx="11891">
                  <c:v>33.030555555555559</c:v>
                </c:pt>
                <c:pt idx="11892">
                  <c:v>33.033333333333331</c:v>
                </c:pt>
                <c:pt idx="11893">
                  <c:v>33.036111111111111</c:v>
                </c:pt>
                <c:pt idx="11894">
                  <c:v>33.038888888888891</c:v>
                </c:pt>
                <c:pt idx="11895">
                  <c:v>33.041666666666664</c:v>
                </c:pt>
                <c:pt idx="11896">
                  <c:v>33.044444444444444</c:v>
                </c:pt>
                <c:pt idx="11897">
                  <c:v>33.047222222222224</c:v>
                </c:pt>
                <c:pt idx="11898">
                  <c:v>33.049999999999997</c:v>
                </c:pt>
                <c:pt idx="11899">
                  <c:v>33.052777777777777</c:v>
                </c:pt>
                <c:pt idx="11900">
                  <c:v>33.055555555555557</c:v>
                </c:pt>
                <c:pt idx="11901">
                  <c:v>33.05833333333333</c:v>
                </c:pt>
                <c:pt idx="11902">
                  <c:v>33.06111111111111</c:v>
                </c:pt>
                <c:pt idx="11903">
                  <c:v>33.06388888888889</c:v>
                </c:pt>
                <c:pt idx="11904">
                  <c:v>33.06666666666667</c:v>
                </c:pt>
                <c:pt idx="11905">
                  <c:v>33.069444444444443</c:v>
                </c:pt>
                <c:pt idx="11906">
                  <c:v>33.072222222222223</c:v>
                </c:pt>
                <c:pt idx="11907">
                  <c:v>33.075000000000003</c:v>
                </c:pt>
                <c:pt idx="11908">
                  <c:v>33.077777777777776</c:v>
                </c:pt>
                <c:pt idx="11909">
                  <c:v>33.080555555555556</c:v>
                </c:pt>
                <c:pt idx="11910">
                  <c:v>33.083333333333336</c:v>
                </c:pt>
                <c:pt idx="11911">
                  <c:v>33.086111111111109</c:v>
                </c:pt>
                <c:pt idx="11912">
                  <c:v>33.088888888888889</c:v>
                </c:pt>
                <c:pt idx="11913">
                  <c:v>33.091666666666669</c:v>
                </c:pt>
                <c:pt idx="11914">
                  <c:v>33.094444444444441</c:v>
                </c:pt>
                <c:pt idx="11915">
                  <c:v>33.097222222222221</c:v>
                </c:pt>
                <c:pt idx="11916">
                  <c:v>33.1</c:v>
                </c:pt>
                <c:pt idx="11917">
                  <c:v>33.102777777777774</c:v>
                </c:pt>
                <c:pt idx="11918">
                  <c:v>33.105555555555554</c:v>
                </c:pt>
                <c:pt idx="11919">
                  <c:v>33.108333333333334</c:v>
                </c:pt>
                <c:pt idx="11920">
                  <c:v>33.111111111111114</c:v>
                </c:pt>
                <c:pt idx="11921">
                  <c:v>33.113888888888887</c:v>
                </c:pt>
                <c:pt idx="11922">
                  <c:v>33.116666666666667</c:v>
                </c:pt>
                <c:pt idx="11923">
                  <c:v>33.119444444444447</c:v>
                </c:pt>
                <c:pt idx="11924">
                  <c:v>33.12222222222222</c:v>
                </c:pt>
                <c:pt idx="11925">
                  <c:v>33.125</c:v>
                </c:pt>
                <c:pt idx="11926">
                  <c:v>33.12777777777778</c:v>
                </c:pt>
                <c:pt idx="11927">
                  <c:v>33.130555555555553</c:v>
                </c:pt>
                <c:pt idx="11928">
                  <c:v>33.133333333333333</c:v>
                </c:pt>
                <c:pt idx="11929">
                  <c:v>33.136111111111113</c:v>
                </c:pt>
                <c:pt idx="11930">
                  <c:v>33.138888888888886</c:v>
                </c:pt>
                <c:pt idx="11931">
                  <c:v>33.141666666666666</c:v>
                </c:pt>
                <c:pt idx="11932">
                  <c:v>33.144444444444446</c:v>
                </c:pt>
                <c:pt idx="11933">
                  <c:v>33.147222222222226</c:v>
                </c:pt>
                <c:pt idx="11934">
                  <c:v>33.15</c:v>
                </c:pt>
                <c:pt idx="11935">
                  <c:v>33.152777777777779</c:v>
                </c:pt>
                <c:pt idx="11936">
                  <c:v>33.155555555555559</c:v>
                </c:pt>
                <c:pt idx="11937">
                  <c:v>33.158333333333331</c:v>
                </c:pt>
                <c:pt idx="11938">
                  <c:v>33.161111111111111</c:v>
                </c:pt>
                <c:pt idx="11939">
                  <c:v>33.163888888888891</c:v>
                </c:pt>
                <c:pt idx="11940">
                  <c:v>33.166666666666664</c:v>
                </c:pt>
                <c:pt idx="11941">
                  <c:v>33.169444444444444</c:v>
                </c:pt>
                <c:pt idx="11942">
                  <c:v>33.172222222222224</c:v>
                </c:pt>
                <c:pt idx="11943">
                  <c:v>33.174999999999997</c:v>
                </c:pt>
                <c:pt idx="11944">
                  <c:v>33.177777777777777</c:v>
                </c:pt>
                <c:pt idx="11945">
                  <c:v>33.180555555555557</c:v>
                </c:pt>
                <c:pt idx="11946">
                  <c:v>33.18333333333333</c:v>
                </c:pt>
                <c:pt idx="11947">
                  <c:v>33.18611111111111</c:v>
                </c:pt>
                <c:pt idx="11948">
                  <c:v>33.18888888888889</c:v>
                </c:pt>
                <c:pt idx="11949">
                  <c:v>33.19166666666667</c:v>
                </c:pt>
                <c:pt idx="11950">
                  <c:v>33.194444444444443</c:v>
                </c:pt>
                <c:pt idx="11951">
                  <c:v>33.197222222222223</c:v>
                </c:pt>
                <c:pt idx="11952">
                  <c:v>33.200000000000003</c:v>
                </c:pt>
                <c:pt idx="11953">
                  <c:v>33.202777777777776</c:v>
                </c:pt>
                <c:pt idx="11954">
                  <c:v>33.205555555555556</c:v>
                </c:pt>
                <c:pt idx="11955">
                  <c:v>33.208333333333336</c:v>
                </c:pt>
                <c:pt idx="11956">
                  <c:v>33.211111111111109</c:v>
                </c:pt>
                <c:pt idx="11957">
                  <c:v>33.213888888888889</c:v>
                </c:pt>
                <c:pt idx="11958">
                  <c:v>33.216666666666669</c:v>
                </c:pt>
                <c:pt idx="11959">
                  <c:v>33.219444444444441</c:v>
                </c:pt>
                <c:pt idx="11960">
                  <c:v>33.222222222222221</c:v>
                </c:pt>
                <c:pt idx="11961">
                  <c:v>33.225000000000001</c:v>
                </c:pt>
                <c:pt idx="11962">
                  <c:v>33.227777777777774</c:v>
                </c:pt>
                <c:pt idx="11963">
                  <c:v>33.230555555555554</c:v>
                </c:pt>
                <c:pt idx="11964">
                  <c:v>33.233333333333334</c:v>
                </c:pt>
                <c:pt idx="11965">
                  <c:v>33.236111111111114</c:v>
                </c:pt>
                <c:pt idx="11966">
                  <c:v>33.238888888888887</c:v>
                </c:pt>
                <c:pt idx="11967">
                  <c:v>33.241666666666667</c:v>
                </c:pt>
                <c:pt idx="11968">
                  <c:v>33.244444444444447</c:v>
                </c:pt>
                <c:pt idx="11969">
                  <c:v>33.24722222222222</c:v>
                </c:pt>
                <c:pt idx="11970">
                  <c:v>33.25</c:v>
                </c:pt>
                <c:pt idx="11971">
                  <c:v>33.25277777777778</c:v>
                </c:pt>
                <c:pt idx="11972">
                  <c:v>33.255555555555553</c:v>
                </c:pt>
                <c:pt idx="11973">
                  <c:v>33.258333333333333</c:v>
                </c:pt>
                <c:pt idx="11974">
                  <c:v>33.261111111111113</c:v>
                </c:pt>
                <c:pt idx="11975">
                  <c:v>33.263888888888886</c:v>
                </c:pt>
                <c:pt idx="11976">
                  <c:v>33.266666666666666</c:v>
                </c:pt>
                <c:pt idx="11977">
                  <c:v>33.269444444444446</c:v>
                </c:pt>
                <c:pt idx="11978">
                  <c:v>33.272222222222226</c:v>
                </c:pt>
                <c:pt idx="11979">
                  <c:v>33.274999999999999</c:v>
                </c:pt>
                <c:pt idx="11980">
                  <c:v>33.277777777777779</c:v>
                </c:pt>
                <c:pt idx="11981">
                  <c:v>33.280555555555559</c:v>
                </c:pt>
                <c:pt idx="11982">
                  <c:v>33.283333333333331</c:v>
                </c:pt>
                <c:pt idx="11983">
                  <c:v>33.286111111111111</c:v>
                </c:pt>
                <c:pt idx="11984">
                  <c:v>33.288888888888891</c:v>
                </c:pt>
                <c:pt idx="11985">
                  <c:v>33.291666666666664</c:v>
                </c:pt>
                <c:pt idx="11986">
                  <c:v>33.294444444444444</c:v>
                </c:pt>
                <c:pt idx="11987">
                  <c:v>33.297222222222224</c:v>
                </c:pt>
                <c:pt idx="11988">
                  <c:v>33.299999999999997</c:v>
                </c:pt>
                <c:pt idx="11989">
                  <c:v>33.302777777777777</c:v>
                </c:pt>
                <c:pt idx="11990">
                  <c:v>33.305555555555557</c:v>
                </c:pt>
                <c:pt idx="11991">
                  <c:v>33.30833333333333</c:v>
                </c:pt>
                <c:pt idx="11992">
                  <c:v>33.31111111111111</c:v>
                </c:pt>
                <c:pt idx="11993">
                  <c:v>33.31388888888889</c:v>
                </c:pt>
                <c:pt idx="11994">
                  <c:v>33.31666666666667</c:v>
                </c:pt>
                <c:pt idx="11995">
                  <c:v>33.319444444444443</c:v>
                </c:pt>
                <c:pt idx="11996">
                  <c:v>33.322222222222223</c:v>
                </c:pt>
                <c:pt idx="11997">
                  <c:v>33.325000000000003</c:v>
                </c:pt>
                <c:pt idx="11998">
                  <c:v>33.327777777777776</c:v>
                </c:pt>
                <c:pt idx="11999">
                  <c:v>33.330555555555556</c:v>
                </c:pt>
                <c:pt idx="12000">
                  <c:v>33.333333333333336</c:v>
                </c:pt>
                <c:pt idx="12001">
                  <c:v>33.336111111111109</c:v>
                </c:pt>
                <c:pt idx="12002">
                  <c:v>33.338888888888889</c:v>
                </c:pt>
                <c:pt idx="12003">
                  <c:v>33.341666666666669</c:v>
                </c:pt>
                <c:pt idx="12004">
                  <c:v>33.344444444444441</c:v>
                </c:pt>
                <c:pt idx="12005">
                  <c:v>33.347222222222221</c:v>
                </c:pt>
                <c:pt idx="12006">
                  <c:v>33.35</c:v>
                </c:pt>
                <c:pt idx="12007">
                  <c:v>33.352777777777774</c:v>
                </c:pt>
                <c:pt idx="12008">
                  <c:v>33.355555555555554</c:v>
                </c:pt>
                <c:pt idx="12009">
                  <c:v>33.358333333333334</c:v>
                </c:pt>
                <c:pt idx="12010">
                  <c:v>33.361111111111114</c:v>
                </c:pt>
                <c:pt idx="12011">
                  <c:v>33.363888888888887</c:v>
                </c:pt>
                <c:pt idx="12012">
                  <c:v>33.366666666666667</c:v>
                </c:pt>
                <c:pt idx="12013">
                  <c:v>33.369444444444447</c:v>
                </c:pt>
                <c:pt idx="12014">
                  <c:v>33.37222222222222</c:v>
                </c:pt>
                <c:pt idx="12015">
                  <c:v>33.375</c:v>
                </c:pt>
                <c:pt idx="12016">
                  <c:v>33.37777777777778</c:v>
                </c:pt>
                <c:pt idx="12017">
                  <c:v>33.380555555555553</c:v>
                </c:pt>
                <c:pt idx="12018">
                  <c:v>33.383333333333333</c:v>
                </c:pt>
                <c:pt idx="12019">
                  <c:v>33.386111111111113</c:v>
                </c:pt>
                <c:pt idx="12020">
                  <c:v>33.388888888888886</c:v>
                </c:pt>
                <c:pt idx="12021">
                  <c:v>33.391666666666666</c:v>
                </c:pt>
                <c:pt idx="12022">
                  <c:v>33.394444444444446</c:v>
                </c:pt>
                <c:pt idx="12023">
                  <c:v>33.397222222222226</c:v>
                </c:pt>
                <c:pt idx="12024">
                  <c:v>33.4</c:v>
                </c:pt>
                <c:pt idx="12025">
                  <c:v>33.402777777777779</c:v>
                </c:pt>
                <c:pt idx="12026">
                  <c:v>33.405555555555559</c:v>
                </c:pt>
                <c:pt idx="12027">
                  <c:v>33.408333333333331</c:v>
                </c:pt>
                <c:pt idx="12028">
                  <c:v>33.411111111111111</c:v>
                </c:pt>
                <c:pt idx="12029">
                  <c:v>33.413888888888891</c:v>
                </c:pt>
                <c:pt idx="12030">
                  <c:v>33.416666666666664</c:v>
                </c:pt>
                <c:pt idx="12031">
                  <c:v>33.419444444444444</c:v>
                </c:pt>
                <c:pt idx="12032">
                  <c:v>33.422222222222224</c:v>
                </c:pt>
                <c:pt idx="12033">
                  <c:v>33.424999999999997</c:v>
                </c:pt>
                <c:pt idx="12034">
                  <c:v>33.427777777777777</c:v>
                </c:pt>
                <c:pt idx="12035">
                  <c:v>33.430555555555557</c:v>
                </c:pt>
                <c:pt idx="12036">
                  <c:v>33.43333333333333</c:v>
                </c:pt>
                <c:pt idx="12037">
                  <c:v>33.43611111111111</c:v>
                </c:pt>
                <c:pt idx="12038">
                  <c:v>33.43888888888889</c:v>
                </c:pt>
                <c:pt idx="12039">
                  <c:v>33.44166666666667</c:v>
                </c:pt>
                <c:pt idx="12040">
                  <c:v>33.444444444444443</c:v>
                </c:pt>
                <c:pt idx="12041">
                  <c:v>33.447222222222223</c:v>
                </c:pt>
                <c:pt idx="12042">
                  <c:v>33.450000000000003</c:v>
                </c:pt>
                <c:pt idx="12043">
                  <c:v>33.452777777777776</c:v>
                </c:pt>
                <c:pt idx="12044">
                  <c:v>33.455555555555556</c:v>
                </c:pt>
                <c:pt idx="12045">
                  <c:v>33.458333333333336</c:v>
                </c:pt>
                <c:pt idx="12046">
                  <c:v>33.461111111111109</c:v>
                </c:pt>
                <c:pt idx="12047">
                  <c:v>33.463888888888889</c:v>
                </c:pt>
                <c:pt idx="12048">
                  <c:v>33.466666666666669</c:v>
                </c:pt>
                <c:pt idx="12049">
                  <c:v>33.469444444444441</c:v>
                </c:pt>
                <c:pt idx="12050">
                  <c:v>33.472222222222221</c:v>
                </c:pt>
                <c:pt idx="12051">
                  <c:v>33.475000000000001</c:v>
                </c:pt>
                <c:pt idx="12052">
                  <c:v>33.477777777777774</c:v>
                </c:pt>
                <c:pt idx="12053">
                  <c:v>33.480555555555554</c:v>
                </c:pt>
                <c:pt idx="12054">
                  <c:v>33.483333333333334</c:v>
                </c:pt>
                <c:pt idx="12055">
                  <c:v>33.486111111111114</c:v>
                </c:pt>
                <c:pt idx="12056">
                  <c:v>33.488888888888887</c:v>
                </c:pt>
                <c:pt idx="12057">
                  <c:v>33.491666666666667</c:v>
                </c:pt>
                <c:pt idx="12058">
                  <c:v>33.494444444444447</c:v>
                </c:pt>
                <c:pt idx="12059">
                  <c:v>33.49722222222222</c:v>
                </c:pt>
                <c:pt idx="12060">
                  <c:v>33.5</c:v>
                </c:pt>
                <c:pt idx="12061">
                  <c:v>33.50277777777778</c:v>
                </c:pt>
                <c:pt idx="12062">
                  <c:v>33.505555555555553</c:v>
                </c:pt>
                <c:pt idx="12063">
                  <c:v>33.508333333333333</c:v>
                </c:pt>
                <c:pt idx="12064">
                  <c:v>33.511111111111113</c:v>
                </c:pt>
                <c:pt idx="12065">
                  <c:v>33.513888888888886</c:v>
                </c:pt>
                <c:pt idx="12066">
                  <c:v>33.516666666666666</c:v>
                </c:pt>
                <c:pt idx="12067">
                  <c:v>33.519444444444446</c:v>
                </c:pt>
                <c:pt idx="12068">
                  <c:v>33.522222222222226</c:v>
                </c:pt>
                <c:pt idx="12069">
                  <c:v>33.524999999999999</c:v>
                </c:pt>
                <c:pt idx="12070">
                  <c:v>33.527777777777779</c:v>
                </c:pt>
                <c:pt idx="12071">
                  <c:v>33.530555555555559</c:v>
                </c:pt>
                <c:pt idx="12072">
                  <c:v>33.533333333333331</c:v>
                </c:pt>
                <c:pt idx="12073">
                  <c:v>33.536111111111111</c:v>
                </c:pt>
                <c:pt idx="12074">
                  <c:v>33.538888888888891</c:v>
                </c:pt>
                <c:pt idx="12075">
                  <c:v>33.541666666666664</c:v>
                </c:pt>
                <c:pt idx="12076">
                  <c:v>33.544444444444444</c:v>
                </c:pt>
                <c:pt idx="12077">
                  <c:v>33.547222222222224</c:v>
                </c:pt>
                <c:pt idx="12078">
                  <c:v>33.549999999999997</c:v>
                </c:pt>
                <c:pt idx="12079">
                  <c:v>33.552777777777777</c:v>
                </c:pt>
                <c:pt idx="12080">
                  <c:v>33.555555555555557</c:v>
                </c:pt>
                <c:pt idx="12081">
                  <c:v>33.55833333333333</c:v>
                </c:pt>
                <c:pt idx="12082">
                  <c:v>33.56111111111111</c:v>
                </c:pt>
                <c:pt idx="12083">
                  <c:v>33.56388888888889</c:v>
                </c:pt>
                <c:pt idx="12084">
                  <c:v>33.56666666666667</c:v>
                </c:pt>
                <c:pt idx="12085">
                  <c:v>33.569444444444443</c:v>
                </c:pt>
                <c:pt idx="12086">
                  <c:v>33.572222222222223</c:v>
                </c:pt>
                <c:pt idx="12087">
                  <c:v>33.575000000000003</c:v>
                </c:pt>
                <c:pt idx="12088">
                  <c:v>33.577777777777776</c:v>
                </c:pt>
                <c:pt idx="12089">
                  <c:v>33.580555555555556</c:v>
                </c:pt>
                <c:pt idx="12090">
                  <c:v>33.583333333333336</c:v>
                </c:pt>
                <c:pt idx="12091">
                  <c:v>33.586111111111109</c:v>
                </c:pt>
                <c:pt idx="12092">
                  <c:v>33.588888888888889</c:v>
                </c:pt>
                <c:pt idx="12093">
                  <c:v>33.591666666666669</c:v>
                </c:pt>
                <c:pt idx="12094">
                  <c:v>33.594444444444441</c:v>
                </c:pt>
                <c:pt idx="12095">
                  <c:v>33.597222222222221</c:v>
                </c:pt>
                <c:pt idx="12096">
                  <c:v>33.6</c:v>
                </c:pt>
                <c:pt idx="12097">
                  <c:v>33.602777777777774</c:v>
                </c:pt>
                <c:pt idx="12098">
                  <c:v>33.605555555555554</c:v>
                </c:pt>
                <c:pt idx="12099">
                  <c:v>33.608333333333334</c:v>
                </c:pt>
                <c:pt idx="12100">
                  <c:v>33.611111111111114</c:v>
                </c:pt>
                <c:pt idx="12101">
                  <c:v>33.613888888888887</c:v>
                </c:pt>
                <c:pt idx="12102">
                  <c:v>33.616666666666667</c:v>
                </c:pt>
                <c:pt idx="12103">
                  <c:v>33.619444444444447</c:v>
                </c:pt>
                <c:pt idx="12104">
                  <c:v>33.62222222222222</c:v>
                </c:pt>
                <c:pt idx="12105">
                  <c:v>33.625</c:v>
                </c:pt>
                <c:pt idx="12106">
                  <c:v>33.62777777777778</c:v>
                </c:pt>
                <c:pt idx="12107">
                  <c:v>33.630555555555553</c:v>
                </c:pt>
                <c:pt idx="12108">
                  <c:v>33.633333333333333</c:v>
                </c:pt>
                <c:pt idx="12109">
                  <c:v>33.636111111111113</c:v>
                </c:pt>
                <c:pt idx="12110">
                  <c:v>33.638888888888886</c:v>
                </c:pt>
                <c:pt idx="12111">
                  <c:v>33.641666666666666</c:v>
                </c:pt>
                <c:pt idx="12112">
                  <c:v>33.644444444444446</c:v>
                </c:pt>
                <c:pt idx="12113">
                  <c:v>33.647222222222226</c:v>
                </c:pt>
                <c:pt idx="12114">
                  <c:v>33.65</c:v>
                </c:pt>
                <c:pt idx="12115">
                  <c:v>33.652777777777779</c:v>
                </c:pt>
                <c:pt idx="12116">
                  <c:v>33.655555555555559</c:v>
                </c:pt>
                <c:pt idx="12117">
                  <c:v>33.658333333333331</c:v>
                </c:pt>
                <c:pt idx="12118">
                  <c:v>33.661111111111111</c:v>
                </c:pt>
                <c:pt idx="12119">
                  <c:v>33.663888888888891</c:v>
                </c:pt>
                <c:pt idx="12120">
                  <c:v>33.666666666666664</c:v>
                </c:pt>
                <c:pt idx="12121">
                  <c:v>33.669444444444444</c:v>
                </c:pt>
                <c:pt idx="12122">
                  <c:v>33.672222222222224</c:v>
                </c:pt>
                <c:pt idx="12123">
                  <c:v>33.674999999999997</c:v>
                </c:pt>
                <c:pt idx="12124">
                  <c:v>33.677777777777777</c:v>
                </c:pt>
                <c:pt idx="12125">
                  <c:v>33.680555555555557</c:v>
                </c:pt>
                <c:pt idx="12126">
                  <c:v>33.68333333333333</c:v>
                </c:pt>
                <c:pt idx="12127">
                  <c:v>33.68611111111111</c:v>
                </c:pt>
                <c:pt idx="12128">
                  <c:v>33.68888888888889</c:v>
                </c:pt>
                <c:pt idx="12129">
                  <c:v>33.69166666666667</c:v>
                </c:pt>
                <c:pt idx="12130">
                  <c:v>33.694444444444443</c:v>
                </c:pt>
                <c:pt idx="12131">
                  <c:v>33.697222222222223</c:v>
                </c:pt>
                <c:pt idx="12132">
                  <c:v>33.700000000000003</c:v>
                </c:pt>
                <c:pt idx="12133">
                  <c:v>33.702777777777776</c:v>
                </c:pt>
                <c:pt idx="12134">
                  <c:v>33.705555555555556</c:v>
                </c:pt>
                <c:pt idx="12135">
                  <c:v>33.708333333333336</c:v>
                </c:pt>
                <c:pt idx="12136">
                  <c:v>33.711111111111109</c:v>
                </c:pt>
                <c:pt idx="12137">
                  <c:v>33.713888888888889</c:v>
                </c:pt>
                <c:pt idx="12138">
                  <c:v>33.716666666666669</c:v>
                </c:pt>
                <c:pt idx="12139">
                  <c:v>33.719444444444441</c:v>
                </c:pt>
                <c:pt idx="12140">
                  <c:v>33.722222222222221</c:v>
                </c:pt>
                <c:pt idx="12141">
                  <c:v>33.725000000000001</c:v>
                </c:pt>
                <c:pt idx="12142">
                  <c:v>33.727777777777774</c:v>
                </c:pt>
                <c:pt idx="12143">
                  <c:v>33.730555555555554</c:v>
                </c:pt>
                <c:pt idx="12144">
                  <c:v>33.733333333333334</c:v>
                </c:pt>
                <c:pt idx="12145">
                  <c:v>33.736111111111114</c:v>
                </c:pt>
                <c:pt idx="12146">
                  <c:v>33.738888888888887</c:v>
                </c:pt>
                <c:pt idx="12147">
                  <c:v>33.741666666666667</c:v>
                </c:pt>
                <c:pt idx="12148">
                  <c:v>33.744444444444447</c:v>
                </c:pt>
                <c:pt idx="12149">
                  <c:v>33.74722222222222</c:v>
                </c:pt>
                <c:pt idx="12150">
                  <c:v>33.75</c:v>
                </c:pt>
                <c:pt idx="12151">
                  <c:v>33.75277777777778</c:v>
                </c:pt>
                <c:pt idx="12152">
                  <c:v>33.755555555555553</c:v>
                </c:pt>
                <c:pt idx="12153">
                  <c:v>33.758333333333333</c:v>
                </c:pt>
                <c:pt idx="12154">
                  <c:v>33.761111111111113</c:v>
                </c:pt>
                <c:pt idx="12155">
                  <c:v>33.763888888888886</c:v>
                </c:pt>
                <c:pt idx="12156">
                  <c:v>33.766666666666666</c:v>
                </c:pt>
                <c:pt idx="12157">
                  <c:v>33.769444444444446</c:v>
                </c:pt>
                <c:pt idx="12158">
                  <c:v>33.772222222222226</c:v>
                </c:pt>
                <c:pt idx="12159">
                  <c:v>33.774999999999999</c:v>
                </c:pt>
                <c:pt idx="12160">
                  <c:v>33.777777777777779</c:v>
                </c:pt>
                <c:pt idx="12161">
                  <c:v>33.780555555555559</c:v>
                </c:pt>
                <c:pt idx="12162">
                  <c:v>33.783333333333331</c:v>
                </c:pt>
                <c:pt idx="12163">
                  <c:v>33.786111111111111</c:v>
                </c:pt>
                <c:pt idx="12164">
                  <c:v>33.788888888888891</c:v>
                </c:pt>
                <c:pt idx="12165">
                  <c:v>33.791666666666664</c:v>
                </c:pt>
                <c:pt idx="12166">
                  <c:v>33.794444444444444</c:v>
                </c:pt>
                <c:pt idx="12167">
                  <c:v>33.797222222222224</c:v>
                </c:pt>
                <c:pt idx="12168">
                  <c:v>33.799999999999997</c:v>
                </c:pt>
                <c:pt idx="12169">
                  <c:v>33.802777777777777</c:v>
                </c:pt>
                <c:pt idx="12170">
                  <c:v>33.805555555555557</c:v>
                </c:pt>
                <c:pt idx="12171">
                  <c:v>33.80833333333333</c:v>
                </c:pt>
                <c:pt idx="12172">
                  <c:v>33.81111111111111</c:v>
                </c:pt>
                <c:pt idx="12173">
                  <c:v>33.81388888888889</c:v>
                </c:pt>
                <c:pt idx="12174">
                  <c:v>33.81666666666667</c:v>
                </c:pt>
                <c:pt idx="12175">
                  <c:v>33.819444444444443</c:v>
                </c:pt>
                <c:pt idx="12176">
                  <c:v>33.822222222222223</c:v>
                </c:pt>
                <c:pt idx="12177">
                  <c:v>33.825000000000003</c:v>
                </c:pt>
                <c:pt idx="12178">
                  <c:v>33.827777777777776</c:v>
                </c:pt>
                <c:pt idx="12179">
                  <c:v>33.830555555555556</c:v>
                </c:pt>
                <c:pt idx="12180">
                  <c:v>33.833333333333336</c:v>
                </c:pt>
                <c:pt idx="12181">
                  <c:v>33.836111111111109</c:v>
                </c:pt>
                <c:pt idx="12182">
                  <c:v>33.838888888888889</c:v>
                </c:pt>
                <c:pt idx="12183">
                  <c:v>33.841666666666669</c:v>
                </c:pt>
                <c:pt idx="12184">
                  <c:v>33.844444444444441</c:v>
                </c:pt>
                <c:pt idx="12185">
                  <c:v>33.847222222222221</c:v>
                </c:pt>
                <c:pt idx="12186">
                  <c:v>33.85</c:v>
                </c:pt>
                <c:pt idx="12187">
                  <c:v>33.852777777777774</c:v>
                </c:pt>
                <c:pt idx="12188">
                  <c:v>33.855555555555554</c:v>
                </c:pt>
                <c:pt idx="12189">
                  <c:v>33.858333333333334</c:v>
                </c:pt>
                <c:pt idx="12190">
                  <c:v>33.861111111111114</c:v>
                </c:pt>
                <c:pt idx="12191">
                  <c:v>33.863888888888887</c:v>
                </c:pt>
                <c:pt idx="12192">
                  <c:v>33.866666666666667</c:v>
                </c:pt>
                <c:pt idx="12193">
                  <c:v>33.869444444444447</c:v>
                </c:pt>
                <c:pt idx="12194">
                  <c:v>33.87222222222222</c:v>
                </c:pt>
                <c:pt idx="12195">
                  <c:v>33.875</c:v>
                </c:pt>
                <c:pt idx="12196">
                  <c:v>33.87777777777778</c:v>
                </c:pt>
                <c:pt idx="12197">
                  <c:v>33.880555555555553</c:v>
                </c:pt>
                <c:pt idx="12198">
                  <c:v>33.883333333333333</c:v>
                </c:pt>
                <c:pt idx="12199">
                  <c:v>33.886111111111113</c:v>
                </c:pt>
                <c:pt idx="12200">
                  <c:v>33.888888888888886</c:v>
                </c:pt>
                <c:pt idx="12201">
                  <c:v>33.891666666666666</c:v>
                </c:pt>
                <c:pt idx="12202">
                  <c:v>33.894444444444446</c:v>
                </c:pt>
                <c:pt idx="12203">
                  <c:v>33.897222222222226</c:v>
                </c:pt>
                <c:pt idx="12204">
                  <c:v>33.9</c:v>
                </c:pt>
                <c:pt idx="12205">
                  <c:v>33.902777777777779</c:v>
                </c:pt>
                <c:pt idx="12206">
                  <c:v>33.905555555555559</c:v>
                </c:pt>
                <c:pt idx="12207">
                  <c:v>33.908333333333331</c:v>
                </c:pt>
                <c:pt idx="12208">
                  <c:v>33.911111111111111</c:v>
                </c:pt>
                <c:pt idx="12209">
                  <c:v>33.913888888888891</c:v>
                </c:pt>
                <c:pt idx="12210">
                  <c:v>33.916666666666664</c:v>
                </c:pt>
                <c:pt idx="12211">
                  <c:v>33.919444444444444</c:v>
                </c:pt>
                <c:pt idx="12212">
                  <c:v>33.922222222222224</c:v>
                </c:pt>
                <c:pt idx="12213">
                  <c:v>33.924999999999997</c:v>
                </c:pt>
                <c:pt idx="12214">
                  <c:v>33.927777777777777</c:v>
                </c:pt>
                <c:pt idx="12215">
                  <c:v>33.930555555555557</c:v>
                </c:pt>
                <c:pt idx="12216">
                  <c:v>33.93333333333333</c:v>
                </c:pt>
                <c:pt idx="12217">
                  <c:v>33.93611111111111</c:v>
                </c:pt>
                <c:pt idx="12218">
                  <c:v>33.93888888888889</c:v>
                </c:pt>
                <c:pt idx="12219">
                  <c:v>33.94166666666667</c:v>
                </c:pt>
                <c:pt idx="12220">
                  <c:v>33.944444444444443</c:v>
                </c:pt>
                <c:pt idx="12221">
                  <c:v>33.947222222222223</c:v>
                </c:pt>
                <c:pt idx="12222">
                  <c:v>33.950000000000003</c:v>
                </c:pt>
                <c:pt idx="12223">
                  <c:v>33.952777777777776</c:v>
                </c:pt>
                <c:pt idx="12224">
                  <c:v>33.955555555555556</c:v>
                </c:pt>
                <c:pt idx="12225">
                  <c:v>33.958333333333336</c:v>
                </c:pt>
                <c:pt idx="12226">
                  <c:v>33.961111111111109</c:v>
                </c:pt>
                <c:pt idx="12227">
                  <c:v>33.963888888888889</c:v>
                </c:pt>
                <c:pt idx="12228">
                  <c:v>33.966666666666669</c:v>
                </c:pt>
                <c:pt idx="12229">
                  <c:v>33.969444444444441</c:v>
                </c:pt>
                <c:pt idx="12230">
                  <c:v>33.972222222222221</c:v>
                </c:pt>
                <c:pt idx="12231">
                  <c:v>33.975000000000001</c:v>
                </c:pt>
                <c:pt idx="12232">
                  <c:v>33.977777777777774</c:v>
                </c:pt>
                <c:pt idx="12233">
                  <c:v>33.980555555555554</c:v>
                </c:pt>
                <c:pt idx="12234">
                  <c:v>33.983333333333334</c:v>
                </c:pt>
                <c:pt idx="12235">
                  <c:v>33.986111111111114</c:v>
                </c:pt>
                <c:pt idx="12236">
                  <c:v>33.988888888888887</c:v>
                </c:pt>
                <c:pt idx="12237">
                  <c:v>33.991666666666667</c:v>
                </c:pt>
                <c:pt idx="12238">
                  <c:v>33.994444444444447</c:v>
                </c:pt>
                <c:pt idx="12239">
                  <c:v>33.99722222222222</c:v>
                </c:pt>
                <c:pt idx="12240">
                  <c:v>34</c:v>
                </c:pt>
                <c:pt idx="12241">
                  <c:v>34.00277777777778</c:v>
                </c:pt>
                <c:pt idx="12242">
                  <c:v>34.005555555555553</c:v>
                </c:pt>
                <c:pt idx="12243">
                  <c:v>34.008333333333333</c:v>
                </c:pt>
                <c:pt idx="12244">
                  <c:v>34.011111111111113</c:v>
                </c:pt>
                <c:pt idx="12245">
                  <c:v>34.013888888888886</c:v>
                </c:pt>
                <c:pt idx="12246">
                  <c:v>34.016666666666666</c:v>
                </c:pt>
                <c:pt idx="12247">
                  <c:v>34.019444444444446</c:v>
                </c:pt>
                <c:pt idx="12248">
                  <c:v>34.022222222222226</c:v>
                </c:pt>
                <c:pt idx="12249">
                  <c:v>34.024999999999999</c:v>
                </c:pt>
                <c:pt idx="12250">
                  <c:v>34.027777777777779</c:v>
                </c:pt>
                <c:pt idx="12251">
                  <c:v>34.030555555555559</c:v>
                </c:pt>
                <c:pt idx="12252">
                  <c:v>34.033333333333331</c:v>
                </c:pt>
                <c:pt idx="12253">
                  <c:v>34.036111111111111</c:v>
                </c:pt>
                <c:pt idx="12254">
                  <c:v>34.038888888888891</c:v>
                </c:pt>
                <c:pt idx="12255">
                  <c:v>34.041666666666664</c:v>
                </c:pt>
                <c:pt idx="12256">
                  <c:v>34.044444444444444</c:v>
                </c:pt>
                <c:pt idx="12257">
                  <c:v>34.047222222222224</c:v>
                </c:pt>
                <c:pt idx="12258">
                  <c:v>34.049999999999997</c:v>
                </c:pt>
                <c:pt idx="12259">
                  <c:v>34.052777777777777</c:v>
                </c:pt>
                <c:pt idx="12260">
                  <c:v>34.055555555555557</c:v>
                </c:pt>
                <c:pt idx="12261">
                  <c:v>34.05833333333333</c:v>
                </c:pt>
                <c:pt idx="12262">
                  <c:v>34.06111111111111</c:v>
                </c:pt>
                <c:pt idx="12263">
                  <c:v>34.06388888888889</c:v>
                </c:pt>
                <c:pt idx="12264">
                  <c:v>34.06666666666667</c:v>
                </c:pt>
                <c:pt idx="12265">
                  <c:v>34.069444444444443</c:v>
                </c:pt>
                <c:pt idx="12266">
                  <c:v>34.072222222222223</c:v>
                </c:pt>
                <c:pt idx="12267">
                  <c:v>34.075000000000003</c:v>
                </c:pt>
                <c:pt idx="12268">
                  <c:v>34.077777777777776</c:v>
                </c:pt>
                <c:pt idx="12269">
                  <c:v>34.080555555555556</c:v>
                </c:pt>
                <c:pt idx="12270">
                  <c:v>34.083333333333336</c:v>
                </c:pt>
                <c:pt idx="12271">
                  <c:v>34.086111111111109</c:v>
                </c:pt>
                <c:pt idx="12272">
                  <c:v>34.088888888888889</c:v>
                </c:pt>
                <c:pt idx="12273">
                  <c:v>34.091666666666669</c:v>
                </c:pt>
                <c:pt idx="12274">
                  <c:v>34.094444444444441</c:v>
                </c:pt>
                <c:pt idx="12275">
                  <c:v>34.097222222222221</c:v>
                </c:pt>
                <c:pt idx="12276">
                  <c:v>34.1</c:v>
                </c:pt>
                <c:pt idx="12277">
                  <c:v>34.102777777777774</c:v>
                </c:pt>
                <c:pt idx="12278">
                  <c:v>34.105555555555554</c:v>
                </c:pt>
                <c:pt idx="12279">
                  <c:v>34.108333333333334</c:v>
                </c:pt>
                <c:pt idx="12280">
                  <c:v>34.111111111111114</c:v>
                </c:pt>
                <c:pt idx="12281">
                  <c:v>34.113888888888887</c:v>
                </c:pt>
                <c:pt idx="12282">
                  <c:v>34.116666666666667</c:v>
                </c:pt>
                <c:pt idx="12283">
                  <c:v>34.119444444444447</c:v>
                </c:pt>
                <c:pt idx="12284">
                  <c:v>34.12222222222222</c:v>
                </c:pt>
                <c:pt idx="12285">
                  <c:v>34.125</c:v>
                </c:pt>
                <c:pt idx="12286">
                  <c:v>34.12777777777778</c:v>
                </c:pt>
                <c:pt idx="12287">
                  <c:v>34.130555555555553</c:v>
                </c:pt>
                <c:pt idx="12288">
                  <c:v>34.133333333333333</c:v>
                </c:pt>
                <c:pt idx="12289">
                  <c:v>34.136111111111113</c:v>
                </c:pt>
                <c:pt idx="12290">
                  <c:v>34.138888888888886</c:v>
                </c:pt>
                <c:pt idx="12291">
                  <c:v>34.141666666666666</c:v>
                </c:pt>
                <c:pt idx="12292">
                  <c:v>34.144444444444446</c:v>
                </c:pt>
                <c:pt idx="12293">
                  <c:v>34.147222222222226</c:v>
                </c:pt>
                <c:pt idx="12294">
                  <c:v>34.15</c:v>
                </c:pt>
                <c:pt idx="12295">
                  <c:v>34.152777777777779</c:v>
                </c:pt>
                <c:pt idx="12296">
                  <c:v>34.155555555555559</c:v>
                </c:pt>
                <c:pt idx="12297">
                  <c:v>34.158333333333331</c:v>
                </c:pt>
                <c:pt idx="12298">
                  <c:v>34.161111111111111</c:v>
                </c:pt>
                <c:pt idx="12299">
                  <c:v>34.163888888888891</c:v>
                </c:pt>
                <c:pt idx="12300">
                  <c:v>34.166666666666664</c:v>
                </c:pt>
                <c:pt idx="12301">
                  <c:v>34.169444444444444</c:v>
                </c:pt>
                <c:pt idx="12302">
                  <c:v>34.172222222222224</c:v>
                </c:pt>
                <c:pt idx="12303">
                  <c:v>34.174999999999997</c:v>
                </c:pt>
                <c:pt idx="12304">
                  <c:v>34.177777777777777</c:v>
                </c:pt>
                <c:pt idx="12305">
                  <c:v>34.180555555555557</c:v>
                </c:pt>
                <c:pt idx="12306">
                  <c:v>34.18333333333333</c:v>
                </c:pt>
                <c:pt idx="12307">
                  <c:v>34.18611111111111</c:v>
                </c:pt>
                <c:pt idx="12308">
                  <c:v>34.18888888888889</c:v>
                </c:pt>
                <c:pt idx="12309">
                  <c:v>34.19166666666667</c:v>
                </c:pt>
                <c:pt idx="12310">
                  <c:v>34.194444444444443</c:v>
                </c:pt>
                <c:pt idx="12311">
                  <c:v>34.197222222222223</c:v>
                </c:pt>
                <c:pt idx="12312">
                  <c:v>34.200000000000003</c:v>
                </c:pt>
                <c:pt idx="12313">
                  <c:v>34.202777777777776</c:v>
                </c:pt>
                <c:pt idx="12314">
                  <c:v>34.205555555555556</c:v>
                </c:pt>
                <c:pt idx="12315">
                  <c:v>34.208333333333336</c:v>
                </c:pt>
                <c:pt idx="12316">
                  <c:v>34.211111111111109</c:v>
                </c:pt>
                <c:pt idx="12317">
                  <c:v>34.213888888888889</c:v>
                </c:pt>
                <c:pt idx="12318">
                  <c:v>34.216666666666669</c:v>
                </c:pt>
                <c:pt idx="12319">
                  <c:v>34.219444444444441</c:v>
                </c:pt>
                <c:pt idx="12320">
                  <c:v>34.222222222222221</c:v>
                </c:pt>
                <c:pt idx="12321">
                  <c:v>34.225000000000001</c:v>
                </c:pt>
                <c:pt idx="12322">
                  <c:v>34.227777777777774</c:v>
                </c:pt>
                <c:pt idx="12323">
                  <c:v>34.230555555555554</c:v>
                </c:pt>
                <c:pt idx="12324">
                  <c:v>34.233333333333334</c:v>
                </c:pt>
                <c:pt idx="12325">
                  <c:v>34.236111111111114</c:v>
                </c:pt>
                <c:pt idx="12326">
                  <c:v>34.238888888888887</c:v>
                </c:pt>
                <c:pt idx="12327">
                  <c:v>34.241666666666667</c:v>
                </c:pt>
                <c:pt idx="12328">
                  <c:v>34.244444444444447</c:v>
                </c:pt>
                <c:pt idx="12329">
                  <c:v>34.24722222222222</c:v>
                </c:pt>
                <c:pt idx="12330">
                  <c:v>34.25</c:v>
                </c:pt>
                <c:pt idx="12331">
                  <c:v>34.25277777777778</c:v>
                </c:pt>
                <c:pt idx="12332">
                  <c:v>34.255555555555553</c:v>
                </c:pt>
                <c:pt idx="12333">
                  <c:v>34.258333333333333</c:v>
                </c:pt>
                <c:pt idx="12334">
                  <c:v>34.261111111111113</c:v>
                </c:pt>
                <c:pt idx="12335">
                  <c:v>34.263888888888886</c:v>
                </c:pt>
                <c:pt idx="12336">
                  <c:v>34.266666666666666</c:v>
                </c:pt>
                <c:pt idx="12337">
                  <c:v>34.269444444444446</c:v>
                </c:pt>
                <c:pt idx="12338">
                  <c:v>34.272222222222226</c:v>
                </c:pt>
                <c:pt idx="12339">
                  <c:v>34.274999999999999</c:v>
                </c:pt>
                <c:pt idx="12340">
                  <c:v>34.277777777777779</c:v>
                </c:pt>
                <c:pt idx="12341">
                  <c:v>34.280555555555559</c:v>
                </c:pt>
                <c:pt idx="12342">
                  <c:v>34.283333333333331</c:v>
                </c:pt>
                <c:pt idx="12343">
                  <c:v>34.286111111111111</c:v>
                </c:pt>
                <c:pt idx="12344">
                  <c:v>34.288888888888891</c:v>
                </c:pt>
                <c:pt idx="12345">
                  <c:v>34.291666666666664</c:v>
                </c:pt>
                <c:pt idx="12346">
                  <c:v>34.294444444444444</c:v>
                </c:pt>
                <c:pt idx="12347">
                  <c:v>34.297222222222224</c:v>
                </c:pt>
                <c:pt idx="12348">
                  <c:v>34.299999999999997</c:v>
                </c:pt>
                <c:pt idx="12349">
                  <c:v>34.302777777777777</c:v>
                </c:pt>
                <c:pt idx="12350">
                  <c:v>34.305555555555557</c:v>
                </c:pt>
                <c:pt idx="12351">
                  <c:v>34.30833333333333</c:v>
                </c:pt>
                <c:pt idx="12352">
                  <c:v>34.31111111111111</c:v>
                </c:pt>
                <c:pt idx="12353">
                  <c:v>34.31388888888889</c:v>
                </c:pt>
                <c:pt idx="12354">
                  <c:v>34.31666666666667</c:v>
                </c:pt>
                <c:pt idx="12355">
                  <c:v>34.319444444444443</c:v>
                </c:pt>
                <c:pt idx="12356">
                  <c:v>34.322222222222223</c:v>
                </c:pt>
                <c:pt idx="12357">
                  <c:v>34.325000000000003</c:v>
                </c:pt>
                <c:pt idx="12358">
                  <c:v>34.327777777777776</c:v>
                </c:pt>
                <c:pt idx="12359">
                  <c:v>34.330555555555556</c:v>
                </c:pt>
                <c:pt idx="12360">
                  <c:v>34.333333333333336</c:v>
                </c:pt>
                <c:pt idx="12361">
                  <c:v>34.336111111111109</c:v>
                </c:pt>
                <c:pt idx="12362">
                  <c:v>34.338888888888889</c:v>
                </c:pt>
                <c:pt idx="12363">
                  <c:v>34.341666666666669</c:v>
                </c:pt>
                <c:pt idx="12364">
                  <c:v>34.344444444444441</c:v>
                </c:pt>
                <c:pt idx="12365">
                  <c:v>34.347222222222221</c:v>
                </c:pt>
                <c:pt idx="12366">
                  <c:v>34.35</c:v>
                </c:pt>
                <c:pt idx="12367">
                  <c:v>34.352777777777774</c:v>
                </c:pt>
                <c:pt idx="12368">
                  <c:v>34.355555555555554</c:v>
                </c:pt>
                <c:pt idx="12369">
                  <c:v>34.358333333333334</c:v>
                </c:pt>
                <c:pt idx="12370">
                  <c:v>34.361111111111114</c:v>
                </c:pt>
                <c:pt idx="12371">
                  <c:v>34.363888888888887</c:v>
                </c:pt>
                <c:pt idx="12372">
                  <c:v>34.366666666666667</c:v>
                </c:pt>
                <c:pt idx="12373">
                  <c:v>34.369444444444447</c:v>
                </c:pt>
                <c:pt idx="12374">
                  <c:v>34.37222222222222</c:v>
                </c:pt>
                <c:pt idx="12375">
                  <c:v>34.375</c:v>
                </c:pt>
                <c:pt idx="12376">
                  <c:v>34.37777777777778</c:v>
                </c:pt>
                <c:pt idx="12377">
                  <c:v>34.380555555555553</c:v>
                </c:pt>
                <c:pt idx="12378">
                  <c:v>34.383333333333333</c:v>
                </c:pt>
                <c:pt idx="12379">
                  <c:v>34.386111111111113</c:v>
                </c:pt>
                <c:pt idx="12380">
                  <c:v>34.388888888888886</c:v>
                </c:pt>
                <c:pt idx="12381">
                  <c:v>34.391666666666666</c:v>
                </c:pt>
                <c:pt idx="12382">
                  <c:v>34.394444444444446</c:v>
                </c:pt>
                <c:pt idx="12383">
                  <c:v>34.397222222222226</c:v>
                </c:pt>
                <c:pt idx="12384">
                  <c:v>34.4</c:v>
                </c:pt>
                <c:pt idx="12385">
                  <c:v>34.402777777777779</c:v>
                </c:pt>
                <c:pt idx="12386">
                  <c:v>34.405555555555559</c:v>
                </c:pt>
                <c:pt idx="12387">
                  <c:v>34.408333333333331</c:v>
                </c:pt>
                <c:pt idx="12388">
                  <c:v>34.411111111111111</c:v>
                </c:pt>
                <c:pt idx="12389">
                  <c:v>34.413888888888891</c:v>
                </c:pt>
                <c:pt idx="12390">
                  <c:v>34.416666666666664</c:v>
                </c:pt>
                <c:pt idx="12391">
                  <c:v>34.419444444444444</c:v>
                </c:pt>
                <c:pt idx="12392">
                  <c:v>34.422222222222224</c:v>
                </c:pt>
                <c:pt idx="12393">
                  <c:v>34.424999999999997</c:v>
                </c:pt>
                <c:pt idx="12394">
                  <c:v>34.427777777777777</c:v>
                </c:pt>
                <c:pt idx="12395">
                  <c:v>34.430555555555557</c:v>
                </c:pt>
                <c:pt idx="12396">
                  <c:v>34.43333333333333</c:v>
                </c:pt>
                <c:pt idx="12397">
                  <c:v>34.43611111111111</c:v>
                </c:pt>
                <c:pt idx="12398">
                  <c:v>34.43888888888889</c:v>
                </c:pt>
                <c:pt idx="12399">
                  <c:v>34.44166666666667</c:v>
                </c:pt>
                <c:pt idx="12400">
                  <c:v>34.444444444444443</c:v>
                </c:pt>
                <c:pt idx="12401">
                  <c:v>34.447222222222223</c:v>
                </c:pt>
                <c:pt idx="12402">
                  <c:v>34.450000000000003</c:v>
                </c:pt>
                <c:pt idx="12403">
                  <c:v>34.452777777777776</c:v>
                </c:pt>
                <c:pt idx="12404">
                  <c:v>34.455555555555556</c:v>
                </c:pt>
                <c:pt idx="12405">
                  <c:v>34.458333333333336</c:v>
                </c:pt>
                <c:pt idx="12406">
                  <c:v>34.461111111111109</c:v>
                </c:pt>
                <c:pt idx="12407">
                  <c:v>34.463888888888889</c:v>
                </c:pt>
                <c:pt idx="12408">
                  <c:v>34.466666666666669</c:v>
                </c:pt>
                <c:pt idx="12409">
                  <c:v>34.469444444444441</c:v>
                </c:pt>
                <c:pt idx="12410">
                  <c:v>34.472222222222221</c:v>
                </c:pt>
                <c:pt idx="12411">
                  <c:v>34.475000000000001</c:v>
                </c:pt>
                <c:pt idx="12412">
                  <c:v>34.477777777777774</c:v>
                </c:pt>
                <c:pt idx="12413">
                  <c:v>34.480555555555554</c:v>
                </c:pt>
                <c:pt idx="12414">
                  <c:v>34.483333333333334</c:v>
                </c:pt>
                <c:pt idx="12415">
                  <c:v>34.486111111111114</c:v>
                </c:pt>
                <c:pt idx="12416">
                  <c:v>34.488888888888887</c:v>
                </c:pt>
                <c:pt idx="12417">
                  <c:v>34.491666666666667</c:v>
                </c:pt>
                <c:pt idx="12418">
                  <c:v>34.494444444444447</c:v>
                </c:pt>
                <c:pt idx="12419">
                  <c:v>34.49722222222222</c:v>
                </c:pt>
                <c:pt idx="12420">
                  <c:v>34.5</c:v>
                </c:pt>
                <c:pt idx="12421">
                  <c:v>34.50277777777778</c:v>
                </c:pt>
                <c:pt idx="12422">
                  <c:v>34.505555555555553</c:v>
                </c:pt>
                <c:pt idx="12423">
                  <c:v>34.508333333333333</c:v>
                </c:pt>
                <c:pt idx="12424">
                  <c:v>34.511111111111113</c:v>
                </c:pt>
                <c:pt idx="12425">
                  <c:v>34.513888888888886</c:v>
                </c:pt>
                <c:pt idx="12426">
                  <c:v>34.516666666666666</c:v>
                </c:pt>
                <c:pt idx="12427">
                  <c:v>34.519444444444446</c:v>
                </c:pt>
                <c:pt idx="12428">
                  <c:v>34.522222222222226</c:v>
                </c:pt>
                <c:pt idx="12429">
                  <c:v>34.524999999999999</c:v>
                </c:pt>
                <c:pt idx="12430">
                  <c:v>34.527777777777779</c:v>
                </c:pt>
                <c:pt idx="12431">
                  <c:v>34.530555555555559</c:v>
                </c:pt>
                <c:pt idx="12432">
                  <c:v>34.533333333333331</c:v>
                </c:pt>
                <c:pt idx="12433">
                  <c:v>34.536111111111111</c:v>
                </c:pt>
                <c:pt idx="12434">
                  <c:v>34.538888888888891</c:v>
                </c:pt>
                <c:pt idx="12435">
                  <c:v>34.541666666666664</c:v>
                </c:pt>
                <c:pt idx="12436">
                  <c:v>34.544444444444444</c:v>
                </c:pt>
                <c:pt idx="12437">
                  <c:v>34.547222222222224</c:v>
                </c:pt>
                <c:pt idx="12438">
                  <c:v>34.549999999999997</c:v>
                </c:pt>
                <c:pt idx="12439">
                  <c:v>34.552777777777777</c:v>
                </c:pt>
                <c:pt idx="12440">
                  <c:v>34.555555555555557</c:v>
                </c:pt>
                <c:pt idx="12441">
                  <c:v>34.55833333333333</c:v>
                </c:pt>
                <c:pt idx="12442">
                  <c:v>34.56111111111111</c:v>
                </c:pt>
                <c:pt idx="12443">
                  <c:v>34.56388888888889</c:v>
                </c:pt>
                <c:pt idx="12444">
                  <c:v>34.56666666666667</c:v>
                </c:pt>
                <c:pt idx="12445">
                  <c:v>34.569444444444443</c:v>
                </c:pt>
                <c:pt idx="12446">
                  <c:v>34.572222222222223</c:v>
                </c:pt>
                <c:pt idx="12447">
                  <c:v>34.575000000000003</c:v>
                </c:pt>
                <c:pt idx="12448">
                  <c:v>34.577777777777776</c:v>
                </c:pt>
                <c:pt idx="12449">
                  <c:v>34.580555555555556</c:v>
                </c:pt>
                <c:pt idx="12450">
                  <c:v>34.583333333333336</c:v>
                </c:pt>
                <c:pt idx="12451">
                  <c:v>34.586111111111109</c:v>
                </c:pt>
                <c:pt idx="12452">
                  <c:v>34.588888888888889</c:v>
                </c:pt>
                <c:pt idx="12453">
                  <c:v>34.591666666666669</c:v>
                </c:pt>
                <c:pt idx="12454">
                  <c:v>34.594444444444441</c:v>
                </c:pt>
                <c:pt idx="12455">
                  <c:v>34.597222222222221</c:v>
                </c:pt>
                <c:pt idx="12456">
                  <c:v>34.6</c:v>
                </c:pt>
                <c:pt idx="12457">
                  <c:v>34.602777777777774</c:v>
                </c:pt>
                <c:pt idx="12458">
                  <c:v>34.605555555555554</c:v>
                </c:pt>
                <c:pt idx="12459">
                  <c:v>34.608333333333334</c:v>
                </c:pt>
                <c:pt idx="12460">
                  <c:v>34.611111111111114</c:v>
                </c:pt>
                <c:pt idx="12461">
                  <c:v>34.613888888888887</c:v>
                </c:pt>
                <c:pt idx="12462">
                  <c:v>34.616666666666667</c:v>
                </c:pt>
                <c:pt idx="12463">
                  <c:v>34.619444444444447</c:v>
                </c:pt>
                <c:pt idx="12464">
                  <c:v>34.62222222222222</c:v>
                </c:pt>
                <c:pt idx="12465">
                  <c:v>34.625</c:v>
                </c:pt>
                <c:pt idx="12466">
                  <c:v>34.62777777777778</c:v>
                </c:pt>
                <c:pt idx="12467">
                  <c:v>34.630555555555553</c:v>
                </c:pt>
                <c:pt idx="12468">
                  <c:v>34.633333333333333</c:v>
                </c:pt>
                <c:pt idx="12469">
                  <c:v>34.636111111111113</c:v>
                </c:pt>
                <c:pt idx="12470">
                  <c:v>34.638888888888886</c:v>
                </c:pt>
                <c:pt idx="12471">
                  <c:v>34.641666666666666</c:v>
                </c:pt>
                <c:pt idx="12472">
                  <c:v>34.644444444444446</c:v>
                </c:pt>
                <c:pt idx="12473">
                  <c:v>34.647222222222226</c:v>
                </c:pt>
                <c:pt idx="12474">
                  <c:v>34.65</c:v>
                </c:pt>
                <c:pt idx="12475">
                  <c:v>34.652777777777779</c:v>
                </c:pt>
                <c:pt idx="12476">
                  <c:v>34.655555555555559</c:v>
                </c:pt>
                <c:pt idx="12477">
                  <c:v>34.658333333333331</c:v>
                </c:pt>
                <c:pt idx="12478">
                  <c:v>34.661111111111111</c:v>
                </c:pt>
                <c:pt idx="12479">
                  <c:v>34.663888888888891</c:v>
                </c:pt>
                <c:pt idx="12480">
                  <c:v>34.666666666666664</c:v>
                </c:pt>
                <c:pt idx="12481">
                  <c:v>34.669444444444444</c:v>
                </c:pt>
                <c:pt idx="12482">
                  <c:v>34.672222222222224</c:v>
                </c:pt>
                <c:pt idx="12483">
                  <c:v>34.674999999999997</c:v>
                </c:pt>
                <c:pt idx="12484">
                  <c:v>34.677777777777777</c:v>
                </c:pt>
                <c:pt idx="12485">
                  <c:v>34.680555555555557</c:v>
                </c:pt>
                <c:pt idx="12486">
                  <c:v>34.68333333333333</c:v>
                </c:pt>
                <c:pt idx="12487">
                  <c:v>34.68611111111111</c:v>
                </c:pt>
                <c:pt idx="12488">
                  <c:v>34.68888888888889</c:v>
                </c:pt>
                <c:pt idx="12489">
                  <c:v>34.69166666666667</c:v>
                </c:pt>
                <c:pt idx="12490">
                  <c:v>34.694444444444443</c:v>
                </c:pt>
                <c:pt idx="12491">
                  <c:v>34.697222222222223</c:v>
                </c:pt>
                <c:pt idx="12492">
                  <c:v>34.700000000000003</c:v>
                </c:pt>
                <c:pt idx="12493">
                  <c:v>34.702777777777776</c:v>
                </c:pt>
                <c:pt idx="12494">
                  <c:v>34.705555555555556</c:v>
                </c:pt>
                <c:pt idx="12495">
                  <c:v>34.708333333333336</c:v>
                </c:pt>
                <c:pt idx="12496">
                  <c:v>34.711111111111109</c:v>
                </c:pt>
                <c:pt idx="12497">
                  <c:v>34.713888888888889</c:v>
                </c:pt>
                <c:pt idx="12498">
                  <c:v>34.716666666666669</c:v>
                </c:pt>
                <c:pt idx="12499">
                  <c:v>34.719444444444441</c:v>
                </c:pt>
                <c:pt idx="12500">
                  <c:v>34.722222222222221</c:v>
                </c:pt>
                <c:pt idx="12501">
                  <c:v>34.725000000000001</c:v>
                </c:pt>
                <c:pt idx="12502">
                  <c:v>34.727777777777774</c:v>
                </c:pt>
                <c:pt idx="12503">
                  <c:v>34.730555555555554</c:v>
                </c:pt>
                <c:pt idx="12504">
                  <c:v>34.733333333333334</c:v>
                </c:pt>
                <c:pt idx="12505">
                  <c:v>34.736111111111114</c:v>
                </c:pt>
                <c:pt idx="12506">
                  <c:v>34.738888888888887</c:v>
                </c:pt>
                <c:pt idx="12507">
                  <c:v>34.741666666666667</c:v>
                </c:pt>
                <c:pt idx="12508">
                  <c:v>34.744444444444447</c:v>
                </c:pt>
                <c:pt idx="12509">
                  <c:v>34.74722222222222</c:v>
                </c:pt>
                <c:pt idx="12510">
                  <c:v>34.75</c:v>
                </c:pt>
                <c:pt idx="12511">
                  <c:v>34.75277777777778</c:v>
                </c:pt>
                <c:pt idx="12512">
                  <c:v>34.755555555555553</c:v>
                </c:pt>
                <c:pt idx="12513">
                  <c:v>34.758333333333333</c:v>
                </c:pt>
                <c:pt idx="12514">
                  <c:v>34.761111111111113</c:v>
                </c:pt>
                <c:pt idx="12515">
                  <c:v>34.763888888888886</c:v>
                </c:pt>
                <c:pt idx="12516">
                  <c:v>34.766666666666666</c:v>
                </c:pt>
                <c:pt idx="12517">
                  <c:v>34.769444444444446</c:v>
                </c:pt>
                <c:pt idx="12518">
                  <c:v>34.772222222222226</c:v>
                </c:pt>
                <c:pt idx="12519">
                  <c:v>34.774999999999999</c:v>
                </c:pt>
                <c:pt idx="12520">
                  <c:v>34.777777777777779</c:v>
                </c:pt>
                <c:pt idx="12521">
                  <c:v>34.780555555555559</c:v>
                </c:pt>
                <c:pt idx="12522">
                  <c:v>34.783333333333331</c:v>
                </c:pt>
                <c:pt idx="12523">
                  <c:v>34.786111111111111</c:v>
                </c:pt>
                <c:pt idx="12524">
                  <c:v>34.788888888888891</c:v>
                </c:pt>
                <c:pt idx="12525">
                  <c:v>34.791666666666664</c:v>
                </c:pt>
                <c:pt idx="12526">
                  <c:v>34.794444444444444</c:v>
                </c:pt>
                <c:pt idx="12527">
                  <c:v>34.797222222222224</c:v>
                </c:pt>
                <c:pt idx="12528">
                  <c:v>34.799999999999997</c:v>
                </c:pt>
                <c:pt idx="12529">
                  <c:v>34.802777777777777</c:v>
                </c:pt>
                <c:pt idx="12530">
                  <c:v>34.805555555555557</c:v>
                </c:pt>
                <c:pt idx="12531">
                  <c:v>34.80833333333333</c:v>
                </c:pt>
                <c:pt idx="12532">
                  <c:v>34.81111111111111</c:v>
                </c:pt>
                <c:pt idx="12533">
                  <c:v>34.81388888888889</c:v>
                </c:pt>
                <c:pt idx="12534">
                  <c:v>34.81666666666667</c:v>
                </c:pt>
                <c:pt idx="12535">
                  <c:v>34.819444444444443</c:v>
                </c:pt>
                <c:pt idx="12536">
                  <c:v>34.822222222222223</c:v>
                </c:pt>
                <c:pt idx="12537">
                  <c:v>34.825000000000003</c:v>
                </c:pt>
                <c:pt idx="12538">
                  <c:v>34.827777777777776</c:v>
                </c:pt>
                <c:pt idx="12539">
                  <c:v>34.830555555555556</c:v>
                </c:pt>
                <c:pt idx="12540">
                  <c:v>34.833333333333336</c:v>
                </c:pt>
                <c:pt idx="12541">
                  <c:v>34.836111111111109</c:v>
                </c:pt>
                <c:pt idx="12542">
                  <c:v>34.838888888888889</c:v>
                </c:pt>
                <c:pt idx="12543">
                  <c:v>34.841666666666669</c:v>
                </c:pt>
                <c:pt idx="12544">
                  <c:v>34.844444444444441</c:v>
                </c:pt>
                <c:pt idx="12545">
                  <c:v>34.847222222222221</c:v>
                </c:pt>
                <c:pt idx="12546">
                  <c:v>34.85</c:v>
                </c:pt>
                <c:pt idx="12547">
                  <c:v>34.852777777777774</c:v>
                </c:pt>
                <c:pt idx="12548">
                  <c:v>34.855555555555554</c:v>
                </c:pt>
                <c:pt idx="12549">
                  <c:v>34.858333333333334</c:v>
                </c:pt>
                <c:pt idx="12550">
                  <c:v>34.861111111111114</c:v>
                </c:pt>
                <c:pt idx="12551">
                  <c:v>34.863888888888887</c:v>
                </c:pt>
                <c:pt idx="12552">
                  <c:v>34.866666666666667</c:v>
                </c:pt>
                <c:pt idx="12553">
                  <c:v>34.869444444444447</c:v>
                </c:pt>
                <c:pt idx="12554">
                  <c:v>34.87222222222222</c:v>
                </c:pt>
                <c:pt idx="12555">
                  <c:v>34.875</c:v>
                </c:pt>
                <c:pt idx="12556">
                  <c:v>34.87777777777778</c:v>
                </c:pt>
                <c:pt idx="12557">
                  <c:v>34.880555555555553</c:v>
                </c:pt>
                <c:pt idx="12558">
                  <c:v>34.883333333333333</c:v>
                </c:pt>
                <c:pt idx="12559">
                  <c:v>34.886111111111113</c:v>
                </c:pt>
                <c:pt idx="12560">
                  <c:v>34.888888888888886</c:v>
                </c:pt>
                <c:pt idx="12561">
                  <c:v>34.891666666666666</c:v>
                </c:pt>
                <c:pt idx="12562">
                  <c:v>34.894444444444446</c:v>
                </c:pt>
                <c:pt idx="12563">
                  <c:v>34.897222222222226</c:v>
                </c:pt>
                <c:pt idx="12564">
                  <c:v>34.9</c:v>
                </c:pt>
                <c:pt idx="12565">
                  <c:v>34.902777777777779</c:v>
                </c:pt>
                <c:pt idx="12566">
                  <c:v>34.905555555555559</c:v>
                </c:pt>
                <c:pt idx="12567">
                  <c:v>34.908333333333331</c:v>
                </c:pt>
                <c:pt idx="12568">
                  <c:v>34.911111111111111</c:v>
                </c:pt>
                <c:pt idx="12569">
                  <c:v>34.913888888888891</c:v>
                </c:pt>
                <c:pt idx="12570">
                  <c:v>34.916666666666664</c:v>
                </c:pt>
                <c:pt idx="12571">
                  <c:v>34.919444444444444</c:v>
                </c:pt>
                <c:pt idx="12572">
                  <c:v>34.922222222222224</c:v>
                </c:pt>
                <c:pt idx="12573">
                  <c:v>34.924999999999997</c:v>
                </c:pt>
                <c:pt idx="12574">
                  <c:v>34.927777777777777</c:v>
                </c:pt>
                <c:pt idx="12575">
                  <c:v>34.930555555555557</c:v>
                </c:pt>
                <c:pt idx="12576">
                  <c:v>34.93333333333333</c:v>
                </c:pt>
                <c:pt idx="12577">
                  <c:v>34.93611111111111</c:v>
                </c:pt>
                <c:pt idx="12578">
                  <c:v>34.93888888888889</c:v>
                </c:pt>
                <c:pt idx="12579">
                  <c:v>34.94166666666667</c:v>
                </c:pt>
                <c:pt idx="12580">
                  <c:v>34.944444444444443</c:v>
                </c:pt>
                <c:pt idx="12581">
                  <c:v>34.947222222222223</c:v>
                </c:pt>
                <c:pt idx="12582">
                  <c:v>34.950000000000003</c:v>
                </c:pt>
                <c:pt idx="12583">
                  <c:v>34.952777777777776</c:v>
                </c:pt>
                <c:pt idx="12584">
                  <c:v>34.955555555555556</c:v>
                </c:pt>
                <c:pt idx="12585">
                  <c:v>34.958333333333336</c:v>
                </c:pt>
                <c:pt idx="12586">
                  <c:v>34.961111111111109</c:v>
                </c:pt>
                <c:pt idx="12587">
                  <c:v>34.963888888888889</c:v>
                </c:pt>
                <c:pt idx="12588">
                  <c:v>34.966666666666669</c:v>
                </c:pt>
                <c:pt idx="12589">
                  <c:v>34.969444444444441</c:v>
                </c:pt>
                <c:pt idx="12590">
                  <c:v>34.972222222222221</c:v>
                </c:pt>
                <c:pt idx="12591">
                  <c:v>34.975000000000001</c:v>
                </c:pt>
                <c:pt idx="12592">
                  <c:v>34.977777777777774</c:v>
                </c:pt>
                <c:pt idx="12593">
                  <c:v>34.980555555555554</c:v>
                </c:pt>
                <c:pt idx="12594">
                  <c:v>34.983333333333334</c:v>
                </c:pt>
                <c:pt idx="12595">
                  <c:v>34.986111111111114</c:v>
                </c:pt>
                <c:pt idx="12596">
                  <c:v>34.988888888888887</c:v>
                </c:pt>
                <c:pt idx="12597">
                  <c:v>34.991666666666667</c:v>
                </c:pt>
                <c:pt idx="12598">
                  <c:v>34.994444444444447</c:v>
                </c:pt>
                <c:pt idx="12599">
                  <c:v>34.99722222222222</c:v>
                </c:pt>
                <c:pt idx="12600">
                  <c:v>35</c:v>
                </c:pt>
                <c:pt idx="12601">
                  <c:v>35.00277777777778</c:v>
                </c:pt>
                <c:pt idx="12602">
                  <c:v>35.005555555555553</c:v>
                </c:pt>
                <c:pt idx="12603">
                  <c:v>35.008333333333333</c:v>
                </c:pt>
                <c:pt idx="12604">
                  <c:v>35.011111111111113</c:v>
                </c:pt>
                <c:pt idx="12605">
                  <c:v>35.013888888888886</c:v>
                </c:pt>
                <c:pt idx="12606">
                  <c:v>35.016666666666666</c:v>
                </c:pt>
                <c:pt idx="12607">
                  <c:v>35.019444444444446</c:v>
                </c:pt>
                <c:pt idx="12608">
                  <c:v>35.022222222222226</c:v>
                </c:pt>
                <c:pt idx="12609">
                  <c:v>35.024999999999999</c:v>
                </c:pt>
                <c:pt idx="12610">
                  <c:v>35.027777777777779</c:v>
                </c:pt>
                <c:pt idx="12611">
                  <c:v>35.030555555555559</c:v>
                </c:pt>
                <c:pt idx="12612">
                  <c:v>35.033333333333331</c:v>
                </c:pt>
                <c:pt idx="12613">
                  <c:v>35.036111111111111</c:v>
                </c:pt>
                <c:pt idx="12614">
                  <c:v>35.038888888888891</c:v>
                </c:pt>
                <c:pt idx="12615">
                  <c:v>35.041666666666664</c:v>
                </c:pt>
                <c:pt idx="12616">
                  <c:v>35.044444444444444</c:v>
                </c:pt>
                <c:pt idx="12617">
                  <c:v>35.047222222222224</c:v>
                </c:pt>
                <c:pt idx="12618">
                  <c:v>35.049999999999997</c:v>
                </c:pt>
                <c:pt idx="12619">
                  <c:v>35.052777777777777</c:v>
                </c:pt>
                <c:pt idx="12620">
                  <c:v>35.055555555555557</c:v>
                </c:pt>
                <c:pt idx="12621">
                  <c:v>35.05833333333333</c:v>
                </c:pt>
                <c:pt idx="12622">
                  <c:v>35.06111111111111</c:v>
                </c:pt>
                <c:pt idx="12623">
                  <c:v>35.06388888888889</c:v>
                </c:pt>
                <c:pt idx="12624">
                  <c:v>35.06666666666667</c:v>
                </c:pt>
                <c:pt idx="12625">
                  <c:v>35.069444444444443</c:v>
                </c:pt>
                <c:pt idx="12626">
                  <c:v>35.072222222222223</c:v>
                </c:pt>
                <c:pt idx="12627">
                  <c:v>35.075000000000003</c:v>
                </c:pt>
                <c:pt idx="12628">
                  <c:v>35.077777777777776</c:v>
                </c:pt>
                <c:pt idx="12629">
                  <c:v>35.080555555555556</c:v>
                </c:pt>
                <c:pt idx="12630">
                  <c:v>35.083333333333336</c:v>
                </c:pt>
                <c:pt idx="12631">
                  <c:v>35.086111111111109</c:v>
                </c:pt>
                <c:pt idx="12632">
                  <c:v>35.088888888888889</c:v>
                </c:pt>
                <c:pt idx="12633">
                  <c:v>35.091666666666669</c:v>
                </c:pt>
                <c:pt idx="12634">
                  <c:v>35.094444444444441</c:v>
                </c:pt>
                <c:pt idx="12635">
                  <c:v>35.097222222222221</c:v>
                </c:pt>
                <c:pt idx="12636">
                  <c:v>35.1</c:v>
                </c:pt>
                <c:pt idx="12637">
                  <c:v>35.102777777777774</c:v>
                </c:pt>
                <c:pt idx="12638">
                  <c:v>35.105555555555554</c:v>
                </c:pt>
                <c:pt idx="12639">
                  <c:v>35.108333333333334</c:v>
                </c:pt>
                <c:pt idx="12640">
                  <c:v>35.111111111111114</c:v>
                </c:pt>
                <c:pt idx="12641">
                  <c:v>35.113888888888887</c:v>
                </c:pt>
                <c:pt idx="12642">
                  <c:v>35.116666666666667</c:v>
                </c:pt>
                <c:pt idx="12643">
                  <c:v>35.119444444444447</c:v>
                </c:pt>
                <c:pt idx="12644">
                  <c:v>35.12222222222222</c:v>
                </c:pt>
                <c:pt idx="12645">
                  <c:v>35.125</c:v>
                </c:pt>
                <c:pt idx="12646">
                  <c:v>35.12777777777778</c:v>
                </c:pt>
                <c:pt idx="12647">
                  <c:v>35.130555555555553</c:v>
                </c:pt>
                <c:pt idx="12648">
                  <c:v>35.133333333333333</c:v>
                </c:pt>
                <c:pt idx="12649">
                  <c:v>35.136111111111113</c:v>
                </c:pt>
                <c:pt idx="12650">
                  <c:v>35.138888888888886</c:v>
                </c:pt>
                <c:pt idx="12651">
                  <c:v>35.141666666666666</c:v>
                </c:pt>
                <c:pt idx="12652">
                  <c:v>35.144444444444446</c:v>
                </c:pt>
                <c:pt idx="12653">
                  <c:v>35.147222222222226</c:v>
                </c:pt>
                <c:pt idx="12654">
                  <c:v>35.15</c:v>
                </c:pt>
                <c:pt idx="12655">
                  <c:v>35.152777777777779</c:v>
                </c:pt>
                <c:pt idx="12656">
                  <c:v>35.155555555555559</c:v>
                </c:pt>
                <c:pt idx="12657">
                  <c:v>35.158333333333331</c:v>
                </c:pt>
                <c:pt idx="12658">
                  <c:v>35.161111111111111</c:v>
                </c:pt>
                <c:pt idx="12659">
                  <c:v>35.163888888888891</c:v>
                </c:pt>
                <c:pt idx="12660">
                  <c:v>35.166666666666664</c:v>
                </c:pt>
                <c:pt idx="12661">
                  <c:v>35.169444444444444</c:v>
                </c:pt>
                <c:pt idx="12662">
                  <c:v>35.172222222222224</c:v>
                </c:pt>
                <c:pt idx="12663">
                  <c:v>35.174999999999997</c:v>
                </c:pt>
                <c:pt idx="12664">
                  <c:v>35.177777777777777</c:v>
                </c:pt>
                <c:pt idx="12665">
                  <c:v>35.180555555555557</c:v>
                </c:pt>
                <c:pt idx="12666">
                  <c:v>35.18333333333333</c:v>
                </c:pt>
                <c:pt idx="12667">
                  <c:v>35.18611111111111</c:v>
                </c:pt>
                <c:pt idx="12668">
                  <c:v>35.18888888888889</c:v>
                </c:pt>
                <c:pt idx="12669">
                  <c:v>35.19166666666667</c:v>
                </c:pt>
                <c:pt idx="12670">
                  <c:v>35.194444444444443</c:v>
                </c:pt>
                <c:pt idx="12671">
                  <c:v>35.197222222222223</c:v>
                </c:pt>
                <c:pt idx="12672">
                  <c:v>35.200000000000003</c:v>
                </c:pt>
                <c:pt idx="12673">
                  <c:v>35.202777777777776</c:v>
                </c:pt>
                <c:pt idx="12674">
                  <c:v>35.205555555555556</c:v>
                </c:pt>
                <c:pt idx="12675">
                  <c:v>35.208333333333336</c:v>
                </c:pt>
                <c:pt idx="12676">
                  <c:v>35.211111111111109</c:v>
                </c:pt>
                <c:pt idx="12677">
                  <c:v>35.213888888888889</c:v>
                </c:pt>
                <c:pt idx="12678">
                  <c:v>35.216666666666669</c:v>
                </c:pt>
                <c:pt idx="12679">
                  <c:v>35.219444444444441</c:v>
                </c:pt>
                <c:pt idx="12680">
                  <c:v>35.222222222222221</c:v>
                </c:pt>
                <c:pt idx="12681">
                  <c:v>35.225000000000001</c:v>
                </c:pt>
                <c:pt idx="12682">
                  <c:v>35.227777777777774</c:v>
                </c:pt>
                <c:pt idx="12683">
                  <c:v>35.230555555555554</c:v>
                </c:pt>
                <c:pt idx="12684">
                  <c:v>35.233333333333334</c:v>
                </c:pt>
                <c:pt idx="12685">
                  <c:v>35.236111111111114</c:v>
                </c:pt>
                <c:pt idx="12686">
                  <c:v>35.238888888888887</c:v>
                </c:pt>
                <c:pt idx="12687">
                  <c:v>35.241666666666667</c:v>
                </c:pt>
                <c:pt idx="12688">
                  <c:v>35.244444444444447</c:v>
                </c:pt>
                <c:pt idx="12689">
                  <c:v>35.24722222222222</c:v>
                </c:pt>
                <c:pt idx="12690">
                  <c:v>35.25</c:v>
                </c:pt>
                <c:pt idx="12691">
                  <c:v>35.25277777777778</c:v>
                </c:pt>
                <c:pt idx="12692">
                  <c:v>35.255555555555553</c:v>
                </c:pt>
                <c:pt idx="12693">
                  <c:v>35.258333333333333</c:v>
                </c:pt>
                <c:pt idx="12694">
                  <c:v>35.261111111111113</c:v>
                </c:pt>
                <c:pt idx="12695">
                  <c:v>35.263888888888886</c:v>
                </c:pt>
                <c:pt idx="12696">
                  <c:v>35.266666666666666</c:v>
                </c:pt>
                <c:pt idx="12697">
                  <c:v>35.269444444444446</c:v>
                </c:pt>
                <c:pt idx="12698">
                  <c:v>35.272222222222226</c:v>
                </c:pt>
                <c:pt idx="12699">
                  <c:v>35.274999999999999</c:v>
                </c:pt>
                <c:pt idx="12700">
                  <c:v>35.277777777777779</c:v>
                </c:pt>
                <c:pt idx="12701">
                  <c:v>35.280555555555559</c:v>
                </c:pt>
                <c:pt idx="12702">
                  <c:v>35.283333333333331</c:v>
                </c:pt>
                <c:pt idx="12703">
                  <c:v>35.286111111111111</c:v>
                </c:pt>
                <c:pt idx="12704">
                  <c:v>35.288888888888891</c:v>
                </c:pt>
                <c:pt idx="12705">
                  <c:v>35.291666666666664</c:v>
                </c:pt>
                <c:pt idx="12706">
                  <c:v>35.294444444444444</c:v>
                </c:pt>
                <c:pt idx="12707">
                  <c:v>35.297222222222224</c:v>
                </c:pt>
                <c:pt idx="12708">
                  <c:v>35.299999999999997</c:v>
                </c:pt>
                <c:pt idx="12709">
                  <c:v>35.302777777777777</c:v>
                </c:pt>
                <c:pt idx="12710">
                  <c:v>35.305555555555557</c:v>
                </c:pt>
                <c:pt idx="12711">
                  <c:v>35.30833333333333</c:v>
                </c:pt>
                <c:pt idx="12712">
                  <c:v>35.31111111111111</c:v>
                </c:pt>
                <c:pt idx="12713">
                  <c:v>35.31388888888889</c:v>
                </c:pt>
                <c:pt idx="12714">
                  <c:v>35.31666666666667</c:v>
                </c:pt>
                <c:pt idx="12715">
                  <c:v>35.319444444444443</c:v>
                </c:pt>
                <c:pt idx="12716">
                  <c:v>35.322222222222223</c:v>
                </c:pt>
                <c:pt idx="12717">
                  <c:v>35.325000000000003</c:v>
                </c:pt>
                <c:pt idx="12718">
                  <c:v>35.327777777777776</c:v>
                </c:pt>
                <c:pt idx="12719">
                  <c:v>35.330555555555556</c:v>
                </c:pt>
                <c:pt idx="12720">
                  <c:v>35.333333333333336</c:v>
                </c:pt>
                <c:pt idx="12721">
                  <c:v>35.336111111111109</c:v>
                </c:pt>
                <c:pt idx="12722">
                  <c:v>35.338888888888889</c:v>
                </c:pt>
                <c:pt idx="12723">
                  <c:v>35.341666666666669</c:v>
                </c:pt>
                <c:pt idx="12724">
                  <c:v>35.344444444444441</c:v>
                </c:pt>
                <c:pt idx="12725">
                  <c:v>35.347222222222221</c:v>
                </c:pt>
                <c:pt idx="12726">
                  <c:v>35.35</c:v>
                </c:pt>
                <c:pt idx="12727">
                  <c:v>35.352777777777774</c:v>
                </c:pt>
                <c:pt idx="12728">
                  <c:v>35.355555555555554</c:v>
                </c:pt>
                <c:pt idx="12729">
                  <c:v>35.358333333333334</c:v>
                </c:pt>
                <c:pt idx="12730">
                  <c:v>35.361111111111114</c:v>
                </c:pt>
                <c:pt idx="12731">
                  <c:v>35.363888888888887</c:v>
                </c:pt>
                <c:pt idx="12732">
                  <c:v>35.366666666666667</c:v>
                </c:pt>
                <c:pt idx="12733">
                  <c:v>35.369444444444447</c:v>
                </c:pt>
                <c:pt idx="12734">
                  <c:v>35.37222222222222</c:v>
                </c:pt>
                <c:pt idx="12735">
                  <c:v>35.375</c:v>
                </c:pt>
                <c:pt idx="12736">
                  <c:v>35.37777777777778</c:v>
                </c:pt>
                <c:pt idx="12737">
                  <c:v>35.380555555555553</c:v>
                </c:pt>
                <c:pt idx="12738">
                  <c:v>35.383333333333333</c:v>
                </c:pt>
                <c:pt idx="12739">
                  <c:v>35.386111111111113</c:v>
                </c:pt>
                <c:pt idx="12740">
                  <c:v>35.388888888888886</c:v>
                </c:pt>
                <c:pt idx="12741">
                  <c:v>35.391666666666666</c:v>
                </c:pt>
                <c:pt idx="12742">
                  <c:v>35.394444444444446</c:v>
                </c:pt>
                <c:pt idx="12743">
                  <c:v>35.397222222222226</c:v>
                </c:pt>
                <c:pt idx="12744">
                  <c:v>35.4</c:v>
                </c:pt>
                <c:pt idx="12745">
                  <c:v>35.402777777777779</c:v>
                </c:pt>
                <c:pt idx="12746">
                  <c:v>35.405555555555559</c:v>
                </c:pt>
                <c:pt idx="12747">
                  <c:v>35.408333333333331</c:v>
                </c:pt>
                <c:pt idx="12748">
                  <c:v>35.411111111111111</c:v>
                </c:pt>
                <c:pt idx="12749">
                  <c:v>35.413888888888891</c:v>
                </c:pt>
                <c:pt idx="12750">
                  <c:v>35.416666666666664</c:v>
                </c:pt>
                <c:pt idx="12751">
                  <c:v>35.419444444444444</c:v>
                </c:pt>
                <c:pt idx="12752">
                  <c:v>35.422222222222224</c:v>
                </c:pt>
                <c:pt idx="12753">
                  <c:v>35.424999999999997</c:v>
                </c:pt>
                <c:pt idx="12754">
                  <c:v>35.427777777777777</c:v>
                </c:pt>
                <c:pt idx="12755">
                  <c:v>35.430555555555557</c:v>
                </c:pt>
                <c:pt idx="12756">
                  <c:v>35.43333333333333</c:v>
                </c:pt>
                <c:pt idx="12757">
                  <c:v>35.43611111111111</c:v>
                </c:pt>
                <c:pt idx="12758">
                  <c:v>35.43888888888889</c:v>
                </c:pt>
                <c:pt idx="12759">
                  <c:v>35.44166666666667</c:v>
                </c:pt>
                <c:pt idx="12760">
                  <c:v>35.444444444444443</c:v>
                </c:pt>
                <c:pt idx="12761">
                  <c:v>35.447222222222223</c:v>
                </c:pt>
                <c:pt idx="12762">
                  <c:v>35.450000000000003</c:v>
                </c:pt>
                <c:pt idx="12763">
                  <c:v>35.452777777777776</c:v>
                </c:pt>
                <c:pt idx="12764">
                  <c:v>35.455555555555556</c:v>
                </c:pt>
                <c:pt idx="12765">
                  <c:v>35.458333333333336</c:v>
                </c:pt>
                <c:pt idx="12766">
                  <c:v>35.461111111111109</c:v>
                </c:pt>
                <c:pt idx="12767">
                  <c:v>35.463888888888889</c:v>
                </c:pt>
                <c:pt idx="12768">
                  <c:v>35.466666666666669</c:v>
                </c:pt>
                <c:pt idx="12769">
                  <c:v>35.469444444444441</c:v>
                </c:pt>
                <c:pt idx="12770">
                  <c:v>35.472222222222221</c:v>
                </c:pt>
                <c:pt idx="12771">
                  <c:v>35.475000000000001</c:v>
                </c:pt>
                <c:pt idx="12772">
                  <c:v>35.477777777777774</c:v>
                </c:pt>
                <c:pt idx="12773">
                  <c:v>35.480555555555554</c:v>
                </c:pt>
                <c:pt idx="12774">
                  <c:v>35.483333333333334</c:v>
                </c:pt>
                <c:pt idx="12775">
                  <c:v>35.486111111111114</c:v>
                </c:pt>
                <c:pt idx="12776">
                  <c:v>35.488888888888887</c:v>
                </c:pt>
                <c:pt idx="12777">
                  <c:v>35.491666666666667</c:v>
                </c:pt>
                <c:pt idx="12778">
                  <c:v>35.494444444444447</c:v>
                </c:pt>
                <c:pt idx="12779">
                  <c:v>35.49722222222222</c:v>
                </c:pt>
                <c:pt idx="12780">
                  <c:v>35.5</c:v>
                </c:pt>
                <c:pt idx="12781">
                  <c:v>35.50277777777778</c:v>
                </c:pt>
                <c:pt idx="12782">
                  <c:v>35.505555555555553</c:v>
                </c:pt>
                <c:pt idx="12783">
                  <c:v>35.508333333333333</c:v>
                </c:pt>
                <c:pt idx="12784">
                  <c:v>35.511111111111113</c:v>
                </c:pt>
                <c:pt idx="12785">
                  <c:v>35.513888888888886</c:v>
                </c:pt>
                <c:pt idx="12786">
                  <c:v>35.516666666666666</c:v>
                </c:pt>
                <c:pt idx="12787">
                  <c:v>35.519444444444446</c:v>
                </c:pt>
                <c:pt idx="12788">
                  <c:v>35.522222222222226</c:v>
                </c:pt>
                <c:pt idx="12789">
                  <c:v>35.524999999999999</c:v>
                </c:pt>
                <c:pt idx="12790">
                  <c:v>35.527777777777779</c:v>
                </c:pt>
                <c:pt idx="12791">
                  <c:v>35.530555555555559</c:v>
                </c:pt>
                <c:pt idx="12792">
                  <c:v>35.533333333333331</c:v>
                </c:pt>
                <c:pt idx="12793">
                  <c:v>35.536111111111111</c:v>
                </c:pt>
                <c:pt idx="12794">
                  <c:v>35.538888888888891</c:v>
                </c:pt>
                <c:pt idx="12795">
                  <c:v>35.541666666666664</c:v>
                </c:pt>
                <c:pt idx="12796">
                  <c:v>35.544444444444444</c:v>
                </c:pt>
                <c:pt idx="12797">
                  <c:v>35.547222222222224</c:v>
                </c:pt>
                <c:pt idx="12798">
                  <c:v>35.549999999999997</c:v>
                </c:pt>
                <c:pt idx="12799">
                  <c:v>35.552777777777777</c:v>
                </c:pt>
                <c:pt idx="12800">
                  <c:v>35.555555555555557</c:v>
                </c:pt>
                <c:pt idx="12801">
                  <c:v>35.55833333333333</c:v>
                </c:pt>
                <c:pt idx="12802">
                  <c:v>35.56111111111111</c:v>
                </c:pt>
                <c:pt idx="12803">
                  <c:v>35.56388888888889</c:v>
                </c:pt>
                <c:pt idx="12804">
                  <c:v>35.56666666666667</c:v>
                </c:pt>
                <c:pt idx="12805">
                  <c:v>35.569444444444443</c:v>
                </c:pt>
                <c:pt idx="12806">
                  <c:v>35.572222222222223</c:v>
                </c:pt>
                <c:pt idx="12807">
                  <c:v>35.575000000000003</c:v>
                </c:pt>
                <c:pt idx="12808">
                  <c:v>35.577777777777776</c:v>
                </c:pt>
                <c:pt idx="12809">
                  <c:v>35.580555555555556</c:v>
                </c:pt>
                <c:pt idx="12810">
                  <c:v>35.583333333333336</c:v>
                </c:pt>
                <c:pt idx="12811">
                  <c:v>35.586111111111109</c:v>
                </c:pt>
                <c:pt idx="12812">
                  <c:v>35.588888888888889</c:v>
                </c:pt>
                <c:pt idx="12813">
                  <c:v>35.591666666666669</c:v>
                </c:pt>
                <c:pt idx="12814">
                  <c:v>35.594444444444441</c:v>
                </c:pt>
                <c:pt idx="12815">
                  <c:v>35.597222222222221</c:v>
                </c:pt>
                <c:pt idx="12816">
                  <c:v>35.6</c:v>
                </c:pt>
                <c:pt idx="12817">
                  <c:v>35.602777777777774</c:v>
                </c:pt>
                <c:pt idx="12818">
                  <c:v>35.605555555555554</c:v>
                </c:pt>
                <c:pt idx="12819">
                  <c:v>35.608333333333334</c:v>
                </c:pt>
                <c:pt idx="12820">
                  <c:v>35.611111111111114</c:v>
                </c:pt>
                <c:pt idx="12821">
                  <c:v>35.613888888888887</c:v>
                </c:pt>
                <c:pt idx="12822">
                  <c:v>35.616666666666667</c:v>
                </c:pt>
                <c:pt idx="12823">
                  <c:v>35.619444444444447</c:v>
                </c:pt>
                <c:pt idx="12824">
                  <c:v>35.62222222222222</c:v>
                </c:pt>
                <c:pt idx="12825">
                  <c:v>35.625</c:v>
                </c:pt>
                <c:pt idx="12826">
                  <c:v>35.62777777777778</c:v>
                </c:pt>
                <c:pt idx="12827">
                  <c:v>35.630555555555553</c:v>
                </c:pt>
                <c:pt idx="12828">
                  <c:v>35.633333333333333</c:v>
                </c:pt>
                <c:pt idx="12829">
                  <c:v>35.636111111111113</c:v>
                </c:pt>
                <c:pt idx="12830">
                  <c:v>35.638888888888886</c:v>
                </c:pt>
                <c:pt idx="12831">
                  <c:v>35.641666666666666</c:v>
                </c:pt>
                <c:pt idx="12832">
                  <c:v>35.644444444444446</c:v>
                </c:pt>
                <c:pt idx="12833">
                  <c:v>35.647222222222226</c:v>
                </c:pt>
                <c:pt idx="12834">
                  <c:v>35.65</c:v>
                </c:pt>
                <c:pt idx="12835">
                  <c:v>35.652777777777779</c:v>
                </c:pt>
                <c:pt idx="12836">
                  <c:v>35.655555555555559</c:v>
                </c:pt>
                <c:pt idx="12837">
                  <c:v>35.658333333333331</c:v>
                </c:pt>
                <c:pt idx="12838">
                  <c:v>35.661111111111111</c:v>
                </c:pt>
                <c:pt idx="12839">
                  <c:v>35.663888888888891</c:v>
                </c:pt>
                <c:pt idx="12840">
                  <c:v>35.666666666666664</c:v>
                </c:pt>
                <c:pt idx="12841">
                  <c:v>35.669444444444444</c:v>
                </c:pt>
                <c:pt idx="12842">
                  <c:v>35.672222222222224</c:v>
                </c:pt>
                <c:pt idx="12843">
                  <c:v>35.674999999999997</c:v>
                </c:pt>
                <c:pt idx="12844">
                  <c:v>35.677777777777777</c:v>
                </c:pt>
                <c:pt idx="12845">
                  <c:v>35.680555555555557</c:v>
                </c:pt>
                <c:pt idx="12846">
                  <c:v>35.68333333333333</c:v>
                </c:pt>
                <c:pt idx="12847">
                  <c:v>35.68611111111111</c:v>
                </c:pt>
                <c:pt idx="12848">
                  <c:v>35.68888888888889</c:v>
                </c:pt>
                <c:pt idx="12849">
                  <c:v>35.69166666666667</c:v>
                </c:pt>
                <c:pt idx="12850">
                  <c:v>35.694444444444443</c:v>
                </c:pt>
                <c:pt idx="12851">
                  <c:v>35.697222222222223</c:v>
                </c:pt>
                <c:pt idx="12852">
                  <c:v>35.700000000000003</c:v>
                </c:pt>
                <c:pt idx="12853">
                  <c:v>35.702777777777776</c:v>
                </c:pt>
                <c:pt idx="12854">
                  <c:v>35.705555555555556</c:v>
                </c:pt>
                <c:pt idx="12855">
                  <c:v>35.708333333333336</c:v>
                </c:pt>
                <c:pt idx="12856">
                  <c:v>35.711111111111109</c:v>
                </c:pt>
                <c:pt idx="12857">
                  <c:v>35.713888888888889</c:v>
                </c:pt>
                <c:pt idx="12858">
                  <c:v>35.716666666666669</c:v>
                </c:pt>
                <c:pt idx="12859">
                  <c:v>35.719444444444441</c:v>
                </c:pt>
                <c:pt idx="12860">
                  <c:v>35.722222222222221</c:v>
                </c:pt>
                <c:pt idx="12861">
                  <c:v>35.725000000000001</c:v>
                </c:pt>
                <c:pt idx="12862">
                  <c:v>35.727777777777774</c:v>
                </c:pt>
                <c:pt idx="12863">
                  <c:v>35.730555555555554</c:v>
                </c:pt>
                <c:pt idx="12864">
                  <c:v>35.733333333333334</c:v>
                </c:pt>
                <c:pt idx="12865">
                  <c:v>35.736111111111114</c:v>
                </c:pt>
                <c:pt idx="12866">
                  <c:v>35.738888888888887</c:v>
                </c:pt>
                <c:pt idx="12867">
                  <c:v>35.741666666666667</c:v>
                </c:pt>
                <c:pt idx="12868">
                  <c:v>35.744444444444447</c:v>
                </c:pt>
                <c:pt idx="12869">
                  <c:v>35.74722222222222</c:v>
                </c:pt>
                <c:pt idx="12870">
                  <c:v>35.75</c:v>
                </c:pt>
                <c:pt idx="12871">
                  <c:v>35.75277777777778</c:v>
                </c:pt>
                <c:pt idx="12872">
                  <c:v>35.755555555555553</c:v>
                </c:pt>
                <c:pt idx="12873">
                  <c:v>35.758333333333333</c:v>
                </c:pt>
                <c:pt idx="12874">
                  <c:v>35.761111111111113</c:v>
                </c:pt>
                <c:pt idx="12875">
                  <c:v>35.763888888888886</c:v>
                </c:pt>
                <c:pt idx="12876">
                  <c:v>35.766666666666666</c:v>
                </c:pt>
                <c:pt idx="12877">
                  <c:v>35.769444444444446</c:v>
                </c:pt>
                <c:pt idx="12878">
                  <c:v>35.772222222222226</c:v>
                </c:pt>
                <c:pt idx="12879">
                  <c:v>35.774999999999999</c:v>
                </c:pt>
                <c:pt idx="12880">
                  <c:v>35.777777777777779</c:v>
                </c:pt>
                <c:pt idx="12881">
                  <c:v>35.780555555555559</c:v>
                </c:pt>
                <c:pt idx="12882">
                  <c:v>35.783333333333331</c:v>
                </c:pt>
                <c:pt idx="12883">
                  <c:v>35.786111111111111</c:v>
                </c:pt>
                <c:pt idx="12884">
                  <c:v>35.788888888888891</c:v>
                </c:pt>
                <c:pt idx="12885">
                  <c:v>35.791666666666664</c:v>
                </c:pt>
                <c:pt idx="12886">
                  <c:v>35.794444444444444</c:v>
                </c:pt>
                <c:pt idx="12887">
                  <c:v>35.797222222222224</c:v>
                </c:pt>
                <c:pt idx="12888">
                  <c:v>35.799999999999997</c:v>
                </c:pt>
                <c:pt idx="12889">
                  <c:v>35.802777777777777</c:v>
                </c:pt>
                <c:pt idx="12890">
                  <c:v>35.805555555555557</c:v>
                </c:pt>
                <c:pt idx="12891">
                  <c:v>35.80833333333333</c:v>
                </c:pt>
                <c:pt idx="12892">
                  <c:v>35.81111111111111</c:v>
                </c:pt>
                <c:pt idx="12893">
                  <c:v>35.81388888888889</c:v>
                </c:pt>
                <c:pt idx="12894">
                  <c:v>35.81666666666667</c:v>
                </c:pt>
                <c:pt idx="12895">
                  <c:v>35.819444444444443</c:v>
                </c:pt>
                <c:pt idx="12896">
                  <c:v>35.822222222222223</c:v>
                </c:pt>
                <c:pt idx="12897">
                  <c:v>35.825000000000003</c:v>
                </c:pt>
                <c:pt idx="12898">
                  <c:v>35.827777777777776</c:v>
                </c:pt>
                <c:pt idx="12899">
                  <c:v>35.830555555555556</c:v>
                </c:pt>
                <c:pt idx="12900">
                  <c:v>35.833333333333336</c:v>
                </c:pt>
                <c:pt idx="12901">
                  <c:v>35.836111111111109</c:v>
                </c:pt>
                <c:pt idx="12902">
                  <c:v>35.838888888888889</c:v>
                </c:pt>
                <c:pt idx="12903">
                  <c:v>35.841666666666669</c:v>
                </c:pt>
                <c:pt idx="12904">
                  <c:v>35.844444444444441</c:v>
                </c:pt>
                <c:pt idx="12905">
                  <c:v>35.847222222222221</c:v>
                </c:pt>
                <c:pt idx="12906">
                  <c:v>35.85</c:v>
                </c:pt>
                <c:pt idx="12907">
                  <c:v>35.852777777777774</c:v>
                </c:pt>
                <c:pt idx="12908">
                  <c:v>35.855555555555554</c:v>
                </c:pt>
                <c:pt idx="12909">
                  <c:v>35.858333333333334</c:v>
                </c:pt>
                <c:pt idx="12910">
                  <c:v>35.861111111111114</c:v>
                </c:pt>
                <c:pt idx="12911">
                  <c:v>35.863888888888887</c:v>
                </c:pt>
                <c:pt idx="12912">
                  <c:v>35.866666666666667</c:v>
                </c:pt>
                <c:pt idx="12913">
                  <c:v>35.869444444444447</c:v>
                </c:pt>
                <c:pt idx="12914">
                  <c:v>35.87222222222222</c:v>
                </c:pt>
                <c:pt idx="12915">
                  <c:v>35.875</c:v>
                </c:pt>
                <c:pt idx="12916">
                  <c:v>35.87777777777778</c:v>
                </c:pt>
                <c:pt idx="12917">
                  <c:v>35.880555555555553</c:v>
                </c:pt>
                <c:pt idx="12918">
                  <c:v>35.883333333333333</c:v>
                </c:pt>
                <c:pt idx="12919">
                  <c:v>35.886111111111113</c:v>
                </c:pt>
                <c:pt idx="12920">
                  <c:v>35.888888888888886</c:v>
                </c:pt>
                <c:pt idx="12921">
                  <c:v>35.891666666666666</c:v>
                </c:pt>
                <c:pt idx="12922">
                  <c:v>35.894444444444446</c:v>
                </c:pt>
                <c:pt idx="12923">
                  <c:v>35.897222222222226</c:v>
                </c:pt>
                <c:pt idx="12924">
                  <c:v>35.9</c:v>
                </c:pt>
                <c:pt idx="12925">
                  <c:v>35.902777777777779</c:v>
                </c:pt>
                <c:pt idx="12926">
                  <c:v>35.905555555555559</c:v>
                </c:pt>
                <c:pt idx="12927">
                  <c:v>35.908333333333331</c:v>
                </c:pt>
                <c:pt idx="12928">
                  <c:v>35.911111111111111</c:v>
                </c:pt>
                <c:pt idx="12929">
                  <c:v>35.913888888888891</c:v>
                </c:pt>
                <c:pt idx="12930">
                  <c:v>35.916666666666664</c:v>
                </c:pt>
                <c:pt idx="12931">
                  <c:v>35.919444444444444</c:v>
                </c:pt>
                <c:pt idx="12932">
                  <c:v>35.922222222222224</c:v>
                </c:pt>
                <c:pt idx="12933">
                  <c:v>35.924999999999997</c:v>
                </c:pt>
                <c:pt idx="12934">
                  <c:v>35.927777777777777</c:v>
                </c:pt>
                <c:pt idx="12935">
                  <c:v>35.930555555555557</c:v>
                </c:pt>
                <c:pt idx="12936">
                  <c:v>35.93333333333333</c:v>
                </c:pt>
                <c:pt idx="12937">
                  <c:v>35.93611111111111</c:v>
                </c:pt>
                <c:pt idx="12938">
                  <c:v>35.93888888888889</c:v>
                </c:pt>
                <c:pt idx="12939">
                  <c:v>35.94166666666667</c:v>
                </c:pt>
                <c:pt idx="12940">
                  <c:v>35.944444444444443</c:v>
                </c:pt>
                <c:pt idx="12941">
                  <c:v>35.947222222222223</c:v>
                </c:pt>
                <c:pt idx="12942">
                  <c:v>35.950000000000003</c:v>
                </c:pt>
                <c:pt idx="12943">
                  <c:v>35.952777777777776</c:v>
                </c:pt>
                <c:pt idx="12944">
                  <c:v>35.955555555555556</c:v>
                </c:pt>
                <c:pt idx="12945">
                  <c:v>35.958333333333336</c:v>
                </c:pt>
                <c:pt idx="12946">
                  <c:v>35.961111111111109</c:v>
                </c:pt>
                <c:pt idx="12947">
                  <c:v>35.963888888888889</c:v>
                </c:pt>
                <c:pt idx="12948">
                  <c:v>35.966666666666669</c:v>
                </c:pt>
                <c:pt idx="12949">
                  <c:v>35.969444444444441</c:v>
                </c:pt>
                <c:pt idx="12950">
                  <c:v>35.972222222222221</c:v>
                </c:pt>
                <c:pt idx="12951">
                  <c:v>35.975000000000001</c:v>
                </c:pt>
                <c:pt idx="12952">
                  <c:v>35.977777777777774</c:v>
                </c:pt>
                <c:pt idx="12953">
                  <c:v>35.980555555555554</c:v>
                </c:pt>
                <c:pt idx="12954">
                  <c:v>35.983333333333334</c:v>
                </c:pt>
                <c:pt idx="12955">
                  <c:v>35.986111111111114</c:v>
                </c:pt>
                <c:pt idx="12956">
                  <c:v>35.988888888888887</c:v>
                </c:pt>
                <c:pt idx="12957">
                  <c:v>35.991666666666667</c:v>
                </c:pt>
                <c:pt idx="12958">
                  <c:v>35.994444444444447</c:v>
                </c:pt>
                <c:pt idx="12959">
                  <c:v>35.99722222222222</c:v>
                </c:pt>
                <c:pt idx="12960">
                  <c:v>36</c:v>
                </c:pt>
                <c:pt idx="12961">
                  <c:v>36.00277777777778</c:v>
                </c:pt>
                <c:pt idx="12962">
                  <c:v>36.005555555555553</c:v>
                </c:pt>
                <c:pt idx="12963">
                  <c:v>36.008333333333333</c:v>
                </c:pt>
                <c:pt idx="12964">
                  <c:v>36.011111111111113</c:v>
                </c:pt>
                <c:pt idx="12965">
                  <c:v>36.013888888888886</c:v>
                </c:pt>
                <c:pt idx="12966">
                  <c:v>36.016666666666666</c:v>
                </c:pt>
                <c:pt idx="12967">
                  <c:v>36.019444444444446</c:v>
                </c:pt>
                <c:pt idx="12968">
                  <c:v>36.022222222222226</c:v>
                </c:pt>
                <c:pt idx="12969">
                  <c:v>36.024999999999999</c:v>
                </c:pt>
                <c:pt idx="12970">
                  <c:v>36.027777777777779</c:v>
                </c:pt>
                <c:pt idx="12971">
                  <c:v>36.030555555555559</c:v>
                </c:pt>
                <c:pt idx="12972">
                  <c:v>36.033333333333331</c:v>
                </c:pt>
                <c:pt idx="12973">
                  <c:v>36.036111111111111</c:v>
                </c:pt>
                <c:pt idx="12974">
                  <c:v>36.038888888888891</c:v>
                </c:pt>
                <c:pt idx="12975">
                  <c:v>36.041666666666664</c:v>
                </c:pt>
                <c:pt idx="12976">
                  <c:v>36.044444444444444</c:v>
                </c:pt>
                <c:pt idx="12977">
                  <c:v>36.047222222222224</c:v>
                </c:pt>
                <c:pt idx="12978">
                  <c:v>36.049999999999997</c:v>
                </c:pt>
                <c:pt idx="12979">
                  <c:v>36.052777777777777</c:v>
                </c:pt>
                <c:pt idx="12980">
                  <c:v>36.055555555555557</c:v>
                </c:pt>
                <c:pt idx="12981">
                  <c:v>36.05833333333333</c:v>
                </c:pt>
                <c:pt idx="12982">
                  <c:v>36.06111111111111</c:v>
                </c:pt>
                <c:pt idx="12983">
                  <c:v>36.06388888888889</c:v>
                </c:pt>
                <c:pt idx="12984">
                  <c:v>36.06666666666667</c:v>
                </c:pt>
                <c:pt idx="12985">
                  <c:v>36.069444444444443</c:v>
                </c:pt>
                <c:pt idx="12986">
                  <c:v>36.072222222222223</c:v>
                </c:pt>
                <c:pt idx="12987">
                  <c:v>36.075000000000003</c:v>
                </c:pt>
                <c:pt idx="12988">
                  <c:v>36.077777777777776</c:v>
                </c:pt>
                <c:pt idx="12989">
                  <c:v>36.080555555555556</c:v>
                </c:pt>
                <c:pt idx="12990">
                  <c:v>36.083333333333336</c:v>
                </c:pt>
                <c:pt idx="12991">
                  <c:v>36.086111111111109</c:v>
                </c:pt>
                <c:pt idx="12992">
                  <c:v>36.088888888888889</c:v>
                </c:pt>
                <c:pt idx="12993">
                  <c:v>36.091666666666669</c:v>
                </c:pt>
                <c:pt idx="12994">
                  <c:v>36.094444444444441</c:v>
                </c:pt>
                <c:pt idx="12995">
                  <c:v>36.097222222222221</c:v>
                </c:pt>
                <c:pt idx="12996">
                  <c:v>36.1</c:v>
                </c:pt>
                <c:pt idx="12997">
                  <c:v>36.102777777777774</c:v>
                </c:pt>
                <c:pt idx="12998">
                  <c:v>36.105555555555554</c:v>
                </c:pt>
                <c:pt idx="12999">
                  <c:v>36.108333333333334</c:v>
                </c:pt>
                <c:pt idx="13000">
                  <c:v>36.111111111111114</c:v>
                </c:pt>
                <c:pt idx="13001">
                  <c:v>36.113888888888887</c:v>
                </c:pt>
                <c:pt idx="13002">
                  <c:v>36.116666666666667</c:v>
                </c:pt>
                <c:pt idx="13003">
                  <c:v>36.119444444444447</c:v>
                </c:pt>
                <c:pt idx="13004">
                  <c:v>36.12222222222222</c:v>
                </c:pt>
                <c:pt idx="13005">
                  <c:v>36.125</c:v>
                </c:pt>
                <c:pt idx="13006">
                  <c:v>36.12777777777778</c:v>
                </c:pt>
                <c:pt idx="13007">
                  <c:v>36.130555555555553</c:v>
                </c:pt>
                <c:pt idx="13008">
                  <c:v>36.133333333333333</c:v>
                </c:pt>
                <c:pt idx="13009">
                  <c:v>36.136111111111113</c:v>
                </c:pt>
                <c:pt idx="13010">
                  <c:v>36.138888888888886</c:v>
                </c:pt>
                <c:pt idx="13011">
                  <c:v>36.141666666666666</c:v>
                </c:pt>
                <c:pt idx="13012">
                  <c:v>36.144444444444446</c:v>
                </c:pt>
                <c:pt idx="13013">
                  <c:v>36.147222222222226</c:v>
                </c:pt>
                <c:pt idx="13014">
                  <c:v>36.15</c:v>
                </c:pt>
                <c:pt idx="13015">
                  <c:v>36.152777777777779</c:v>
                </c:pt>
                <c:pt idx="13016">
                  <c:v>36.155555555555559</c:v>
                </c:pt>
                <c:pt idx="13017">
                  <c:v>36.158333333333331</c:v>
                </c:pt>
                <c:pt idx="13018">
                  <c:v>36.161111111111111</c:v>
                </c:pt>
                <c:pt idx="13019">
                  <c:v>36.163888888888891</c:v>
                </c:pt>
                <c:pt idx="13020">
                  <c:v>36.166666666666664</c:v>
                </c:pt>
                <c:pt idx="13021">
                  <c:v>36.169444444444444</c:v>
                </c:pt>
                <c:pt idx="13022">
                  <c:v>36.172222222222224</c:v>
                </c:pt>
                <c:pt idx="13023">
                  <c:v>36.174999999999997</c:v>
                </c:pt>
                <c:pt idx="13024">
                  <c:v>36.177777777777777</c:v>
                </c:pt>
                <c:pt idx="13025">
                  <c:v>36.180555555555557</c:v>
                </c:pt>
                <c:pt idx="13026">
                  <c:v>36.18333333333333</c:v>
                </c:pt>
                <c:pt idx="13027">
                  <c:v>36.18611111111111</c:v>
                </c:pt>
                <c:pt idx="13028">
                  <c:v>36.18888888888889</c:v>
                </c:pt>
                <c:pt idx="13029">
                  <c:v>36.19166666666667</c:v>
                </c:pt>
                <c:pt idx="13030">
                  <c:v>36.194444444444443</c:v>
                </c:pt>
                <c:pt idx="13031">
                  <c:v>36.197222222222223</c:v>
                </c:pt>
                <c:pt idx="13032">
                  <c:v>36.200000000000003</c:v>
                </c:pt>
                <c:pt idx="13033">
                  <c:v>36.202777777777776</c:v>
                </c:pt>
                <c:pt idx="13034">
                  <c:v>36.205555555555556</c:v>
                </c:pt>
                <c:pt idx="13035">
                  <c:v>36.208333333333336</c:v>
                </c:pt>
                <c:pt idx="13036">
                  <c:v>36.211111111111109</c:v>
                </c:pt>
                <c:pt idx="13037">
                  <c:v>36.213888888888889</c:v>
                </c:pt>
                <c:pt idx="13038">
                  <c:v>36.216666666666669</c:v>
                </c:pt>
                <c:pt idx="13039">
                  <c:v>36.219444444444441</c:v>
                </c:pt>
                <c:pt idx="13040">
                  <c:v>36.222222222222221</c:v>
                </c:pt>
                <c:pt idx="13041">
                  <c:v>36.225000000000001</c:v>
                </c:pt>
                <c:pt idx="13042">
                  <c:v>36.227777777777774</c:v>
                </c:pt>
                <c:pt idx="13043">
                  <c:v>36.230555555555554</c:v>
                </c:pt>
                <c:pt idx="13044">
                  <c:v>36.233333333333334</c:v>
                </c:pt>
                <c:pt idx="13045">
                  <c:v>36.236111111111114</c:v>
                </c:pt>
                <c:pt idx="13046">
                  <c:v>36.238888888888887</c:v>
                </c:pt>
                <c:pt idx="13047">
                  <c:v>36.241666666666667</c:v>
                </c:pt>
                <c:pt idx="13048">
                  <c:v>36.244444444444447</c:v>
                </c:pt>
                <c:pt idx="13049">
                  <c:v>36.24722222222222</c:v>
                </c:pt>
                <c:pt idx="13050">
                  <c:v>36.25</c:v>
                </c:pt>
                <c:pt idx="13051">
                  <c:v>36.25277777777778</c:v>
                </c:pt>
                <c:pt idx="13052">
                  <c:v>36.255555555555553</c:v>
                </c:pt>
                <c:pt idx="13053">
                  <c:v>36.258333333333333</c:v>
                </c:pt>
                <c:pt idx="13054">
                  <c:v>36.261111111111113</c:v>
                </c:pt>
                <c:pt idx="13055">
                  <c:v>36.263888888888886</c:v>
                </c:pt>
                <c:pt idx="13056">
                  <c:v>36.266666666666666</c:v>
                </c:pt>
                <c:pt idx="13057">
                  <c:v>36.269444444444446</c:v>
                </c:pt>
                <c:pt idx="13058">
                  <c:v>36.272222222222226</c:v>
                </c:pt>
                <c:pt idx="13059">
                  <c:v>36.274999999999999</c:v>
                </c:pt>
                <c:pt idx="13060">
                  <c:v>36.277777777777779</c:v>
                </c:pt>
                <c:pt idx="13061">
                  <c:v>36.280555555555559</c:v>
                </c:pt>
                <c:pt idx="13062">
                  <c:v>36.283333333333331</c:v>
                </c:pt>
                <c:pt idx="13063">
                  <c:v>36.286111111111111</c:v>
                </c:pt>
                <c:pt idx="13064">
                  <c:v>36.288888888888891</c:v>
                </c:pt>
                <c:pt idx="13065">
                  <c:v>36.291666666666664</c:v>
                </c:pt>
                <c:pt idx="13066">
                  <c:v>36.294444444444444</c:v>
                </c:pt>
                <c:pt idx="13067">
                  <c:v>36.297222222222224</c:v>
                </c:pt>
                <c:pt idx="13068">
                  <c:v>36.299999999999997</c:v>
                </c:pt>
                <c:pt idx="13069">
                  <c:v>36.302777777777777</c:v>
                </c:pt>
                <c:pt idx="13070">
                  <c:v>36.305555555555557</c:v>
                </c:pt>
                <c:pt idx="13071">
                  <c:v>36.30833333333333</c:v>
                </c:pt>
                <c:pt idx="13072">
                  <c:v>36.31111111111111</c:v>
                </c:pt>
                <c:pt idx="13073">
                  <c:v>36.31388888888889</c:v>
                </c:pt>
                <c:pt idx="13074">
                  <c:v>36.31666666666667</c:v>
                </c:pt>
                <c:pt idx="13075">
                  <c:v>36.319444444444443</c:v>
                </c:pt>
                <c:pt idx="13076">
                  <c:v>36.322222222222223</c:v>
                </c:pt>
                <c:pt idx="13077">
                  <c:v>36.325000000000003</c:v>
                </c:pt>
                <c:pt idx="13078">
                  <c:v>36.327777777777776</c:v>
                </c:pt>
                <c:pt idx="13079">
                  <c:v>36.330555555555556</c:v>
                </c:pt>
                <c:pt idx="13080">
                  <c:v>36.333333333333336</c:v>
                </c:pt>
                <c:pt idx="13081">
                  <c:v>36.336111111111109</c:v>
                </c:pt>
                <c:pt idx="13082">
                  <c:v>36.338888888888889</c:v>
                </c:pt>
                <c:pt idx="13083">
                  <c:v>36.341666666666669</c:v>
                </c:pt>
                <c:pt idx="13084">
                  <c:v>36.344444444444441</c:v>
                </c:pt>
                <c:pt idx="13085">
                  <c:v>36.347222222222221</c:v>
                </c:pt>
                <c:pt idx="13086">
                  <c:v>36.35</c:v>
                </c:pt>
                <c:pt idx="13087">
                  <c:v>36.352777777777774</c:v>
                </c:pt>
                <c:pt idx="13088">
                  <c:v>36.355555555555554</c:v>
                </c:pt>
                <c:pt idx="13089">
                  <c:v>36.358333333333334</c:v>
                </c:pt>
                <c:pt idx="13090">
                  <c:v>36.361111111111114</c:v>
                </c:pt>
                <c:pt idx="13091">
                  <c:v>36.363888888888887</c:v>
                </c:pt>
                <c:pt idx="13092">
                  <c:v>36.366666666666667</c:v>
                </c:pt>
                <c:pt idx="13093">
                  <c:v>36.369444444444447</c:v>
                </c:pt>
                <c:pt idx="13094">
                  <c:v>36.37222222222222</c:v>
                </c:pt>
                <c:pt idx="13095">
                  <c:v>36.375</c:v>
                </c:pt>
                <c:pt idx="13096">
                  <c:v>36.37777777777778</c:v>
                </c:pt>
                <c:pt idx="13097">
                  <c:v>36.380555555555553</c:v>
                </c:pt>
                <c:pt idx="13098">
                  <c:v>36.383333333333333</c:v>
                </c:pt>
                <c:pt idx="13099">
                  <c:v>36.386111111111113</c:v>
                </c:pt>
                <c:pt idx="13100">
                  <c:v>36.388888888888886</c:v>
                </c:pt>
                <c:pt idx="13101">
                  <c:v>36.391666666666666</c:v>
                </c:pt>
                <c:pt idx="13102">
                  <c:v>36.394444444444446</c:v>
                </c:pt>
                <c:pt idx="13103">
                  <c:v>36.397222222222226</c:v>
                </c:pt>
                <c:pt idx="13104">
                  <c:v>36.4</c:v>
                </c:pt>
                <c:pt idx="13105">
                  <c:v>36.402777777777779</c:v>
                </c:pt>
                <c:pt idx="13106">
                  <c:v>36.405555555555559</c:v>
                </c:pt>
                <c:pt idx="13107">
                  <c:v>36.408333333333331</c:v>
                </c:pt>
                <c:pt idx="13108">
                  <c:v>36.411111111111111</c:v>
                </c:pt>
                <c:pt idx="13109">
                  <c:v>36.413888888888891</c:v>
                </c:pt>
                <c:pt idx="13110">
                  <c:v>36.416666666666664</c:v>
                </c:pt>
                <c:pt idx="13111">
                  <c:v>36.419444444444444</c:v>
                </c:pt>
                <c:pt idx="13112">
                  <c:v>36.422222222222224</c:v>
                </c:pt>
                <c:pt idx="13113">
                  <c:v>36.424999999999997</c:v>
                </c:pt>
                <c:pt idx="13114">
                  <c:v>36.427777777777777</c:v>
                </c:pt>
                <c:pt idx="13115">
                  <c:v>36.430555555555557</c:v>
                </c:pt>
                <c:pt idx="13116">
                  <c:v>36.43333333333333</c:v>
                </c:pt>
                <c:pt idx="13117">
                  <c:v>36.43611111111111</c:v>
                </c:pt>
                <c:pt idx="13118">
                  <c:v>36.43888888888889</c:v>
                </c:pt>
                <c:pt idx="13119">
                  <c:v>36.44166666666667</c:v>
                </c:pt>
                <c:pt idx="13120">
                  <c:v>36.444444444444443</c:v>
                </c:pt>
                <c:pt idx="13121">
                  <c:v>36.447222222222223</c:v>
                </c:pt>
                <c:pt idx="13122">
                  <c:v>36.450000000000003</c:v>
                </c:pt>
                <c:pt idx="13123">
                  <c:v>36.452777777777776</c:v>
                </c:pt>
                <c:pt idx="13124">
                  <c:v>36.455555555555556</c:v>
                </c:pt>
                <c:pt idx="13125">
                  <c:v>36.458333333333336</c:v>
                </c:pt>
                <c:pt idx="13126">
                  <c:v>36.461111111111109</c:v>
                </c:pt>
                <c:pt idx="13127">
                  <c:v>36.463888888888889</c:v>
                </c:pt>
                <c:pt idx="13128">
                  <c:v>36.466666666666669</c:v>
                </c:pt>
                <c:pt idx="13129">
                  <c:v>36.469444444444441</c:v>
                </c:pt>
                <c:pt idx="13130">
                  <c:v>36.472222222222221</c:v>
                </c:pt>
                <c:pt idx="13131">
                  <c:v>36.475000000000001</c:v>
                </c:pt>
                <c:pt idx="13132">
                  <c:v>36.477777777777774</c:v>
                </c:pt>
                <c:pt idx="13133">
                  <c:v>36.480555555555554</c:v>
                </c:pt>
                <c:pt idx="13134">
                  <c:v>36.483333333333334</c:v>
                </c:pt>
                <c:pt idx="13135">
                  <c:v>36.486111111111114</c:v>
                </c:pt>
                <c:pt idx="13136">
                  <c:v>36.488888888888887</c:v>
                </c:pt>
                <c:pt idx="13137">
                  <c:v>36.491666666666667</c:v>
                </c:pt>
                <c:pt idx="13138">
                  <c:v>36.494444444444447</c:v>
                </c:pt>
                <c:pt idx="13139">
                  <c:v>36.49722222222222</c:v>
                </c:pt>
                <c:pt idx="13140">
                  <c:v>36.5</c:v>
                </c:pt>
                <c:pt idx="13141">
                  <c:v>36.50277777777778</c:v>
                </c:pt>
                <c:pt idx="13142">
                  <c:v>36.505555555555553</c:v>
                </c:pt>
                <c:pt idx="13143">
                  <c:v>36.508333333333333</c:v>
                </c:pt>
                <c:pt idx="13144">
                  <c:v>36.511111111111113</c:v>
                </c:pt>
                <c:pt idx="13145">
                  <c:v>36.513888888888886</c:v>
                </c:pt>
                <c:pt idx="13146">
                  <c:v>36.516666666666666</c:v>
                </c:pt>
                <c:pt idx="13147">
                  <c:v>36.519444444444446</c:v>
                </c:pt>
                <c:pt idx="13148">
                  <c:v>36.522222222222226</c:v>
                </c:pt>
                <c:pt idx="13149">
                  <c:v>36.524999999999999</c:v>
                </c:pt>
                <c:pt idx="13150">
                  <c:v>36.527777777777779</c:v>
                </c:pt>
                <c:pt idx="13151">
                  <c:v>36.530555555555559</c:v>
                </c:pt>
                <c:pt idx="13152">
                  <c:v>36.533333333333331</c:v>
                </c:pt>
                <c:pt idx="13153">
                  <c:v>36.536111111111111</c:v>
                </c:pt>
                <c:pt idx="13154">
                  <c:v>36.538888888888891</c:v>
                </c:pt>
                <c:pt idx="13155">
                  <c:v>36.541666666666664</c:v>
                </c:pt>
                <c:pt idx="13156">
                  <c:v>36.544444444444444</c:v>
                </c:pt>
                <c:pt idx="13157">
                  <c:v>36.547222222222224</c:v>
                </c:pt>
                <c:pt idx="13158">
                  <c:v>36.549999999999997</c:v>
                </c:pt>
                <c:pt idx="13159">
                  <c:v>36.552777777777777</c:v>
                </c:pt>
                <c:pt idx="13160">
                  <c:v>36.555555555555557</c:v>
                </c:pt>
                <c:pt idx="13161">
                  <c:v>36.55833333333333</c:v>
                </c:pt>
                <c:pt idx="13162">
                  <c:v>36.56111111111111</c:v>
                </c:pt>
                <c:pt idx="13163">
                  <c:v>36.56388888888889</c:v>
                </c:pt>
                <c:pt idx="13164">
                  <c:v>36.56666666666667</c:v>
                </c:pt>
                <c:pt idx="13165">
                  <c:v>36.569444444444443</c:v>
                </c:pt>
                <c:pt idx="13166">
                  <c:v>36.572222222222223</c:v>
                </c:pt>
                <c:pt idx="13167">
                  <c:v>36.575000000000003</c:v>
                </c:pt>
                <c:pt idx="13168">
                  <c:v>36.577777777777776</c:v>
                </c:pt>
                <c:pt idx="13169">
                  <c:v>36.580555555555556</c:v>
                </c:pt>
                <c:pt idx="13170">
                  <c:v>36.583333333333336</c:v>
                </c:pt>
                <c:pt idx="13171">
                  <c:v>36.586111111111109</c:v>
                </c:pt>
                <c:pt idx="13172">
                  <c:v>36.588888888888889</c:v>
                </c:pt>
                <c:pt idx="13173">
                  <c:v>36.591666666666669</c:v>
                </c:pt>
                <c:pt idx="13174">
                  <c:v>36.594444444444441</c:v>
                </c:pt>
                <c:pt idx="13175">
                  <c:v>36.597222222222221</c:v>
                </c:pt>
                <c:pt idx="13176">
                  <c:v>36.6</c:v>
                </c:pt>
                <c:pt idx="13177">
                  <c:v>36.602777777777774</c:v>
                </c:pt>
                <c:pt idx="13178">
                  <c:v>36.605555555555554</c:v>
                </c:pt>
                <c:pt idx="13179">
                  <c:v>36.608333333333334</c:v>
                </c:pt>
                <c:pt idx="13180">
                  <c:v>36.611111111111114</c:v>
                </c:pt>
                <c:pt idx="13181">
                  <c:v>36.613888888888887</c:v>
                </c:pt>
                <c:pt idx="13182">
                  <c:v>36.616666666666667</c:v>
                </c:pt>
                <c:pt idx="13183">
                  <c:v>36.619444444444447</c:v>
                </c:pt>
                <c:pt idx="13184">
                  <c:v>36.62222222222222</c:v>
                </c:pt>
                <c:pt idx="13185">
                  <c:v>36.625</c:v>
                </c:pt>
                <c:pt idx="13186">
                  <c:v>36.62777777777778</c:v>
                </c:pt>
                <c:pt idx="13187">
                  <c:v>36.630555555555553</c:v>
                </c:pt>
                <c:pt idx="13188">
                  <c:v>36.633333333333333</c:v>
                </c:pt>
                <c:pt idx="13189">
                  <c:v>36.636111111111113</c:v>
                </c:pt>
                <c:pt idx="13190">
                  <c:v>36.638888888888886</c:v>
                </c:pt>
                <c:pt idx="13191">
                  <c:v>36.641666666666666</c:v>
                </c:pt>
                <c:pt idx="13192">
                  <c:v>36.644444444444446</c:v>
                </c:pt>
                <c:pt idx="13193">
                  <c:v>36.647222222222226</c:v>
                </c:pt>
                <c:pt idx="13194">
                  <c:v>36.65</c:v>
                </c:pt>
                <c:pt idx="13195">
                  <c:v>36.652777777777779</c:v>
                </c:pt>
                <c:pt idx="13196">
                  <c:v>36.655555555555559</c:v>
                </c:pt>
                <c:pt idx="13197">
                  <c:v>36.658333333333331</c:v>
                </c:pt>
                <c:pt idx="13198">
                  <c:v>36.661111111111111</c:v>
                </c:pt>
                <c:pt idx="13199">
                  <c:v>36.663888888888891</c:v>
                </c:pt>
                <c:pt idx="13200">
                  <c:v>36.666666666666664</c:v>
                </c:pt>
                <c:pt idx="13201">
                  <c:v>36.669444444444444</c:v>
                </c:pt>
                <c:pt idx="13202">
                  <c:v>36.672222222222224</c:v>
                </c:pt>
                <c:pt idx="13203">
                  <c:v>36.674999999999997</c:v>
                </c:pt>
                <c:pt idx="13204">
                  <c:v>36.677777777777777</c:v>
                </c:pt>
                <c:pt idx="13205">
                  <c:v>36.680555555555557</c:v>
                </c:pt>
                <c:pt idx="13206">
                  <c:v>36.68333333333333</c:v>
                </c:pt>
                <c:pt idx="13207">
                  <c:v>36.68611111111111</c:v>
                </c:pt>
                <c:pt idx="13208">
                  <c:v>36.68888888888889</c:v>
                </c:pt>
                <c:pt idx="13209">
                  <c:v>36.69166666666667</c:v>
                </c:pt>
                <c:pt idx="13210">
                  <c:v>36.694444444444443</c:v>
                </c:pt>
                <c:pt idx="13211">
                  <c:v>36.697222222222223</c:v>
                </c:pt>
                <c:pt idx="13212">
                  <c:v>36.700000000000003</c:v>
                </c:pt>
                <c:pt idx="13213">
                  <c:v>36.702777777777776</c:v>
                </c:pt>
                <c:pt idx="13214">
                  <c:v>36.705555555555556</c:v>
                </c:pt>
                <c:pt idx="13215">
                  <c:v>36.708333333333336</c:v>
                </c:pt>
                <c:pt idx="13216">
                  <c:v>36.711111111111109</c:v>
                </c:pt>
                <c:pt idx="13217">
                  <c:v>36.713888888888889</c:v>
                </c:pt>
                <c:pt idx="13218">
                  <c:v>36.716666666666669</c:v>
                </c:pt>
                <c:pt idx="13219">
                  <c:v>36.719444444444441</c:v>
                </c:pt>
                <c:pt idx="13220">
                  <c:v>36.722222222222221</c:v>
                </c:pt>
                <c:pt idx="13221">
                  <c:v>36.725000000000001</c:v>
                </c:pt>
                <c:pt idx="13222">
                  <c:v>36.727777777777774</c:v>
                </c:pt>
                <c:pt idx="13223">
                  <c:v>36.730555555555554</c:v>
                </c:pt>
                <c:pt idx="13224">
                  <c:v>36.733333333333334</c:v>
                </c:pt>
                <c:pt idx="13225">
                  <c:v>36.736111111111114</c:v>
                </c:pt>
                <c:pt idx="13226">
                  <c:v>36.738888888888887</c:v>
                </c:pt>
                <c:pt idx="13227">
                  <c:v>36.741666666666667</c:v>
                </c:pt>
                <c:pt idx="13228">
                  <c:v>36.744444444444447</c:v>
                </c:pt>
                <c:pt idx="13229">
                  <c:v>36.74722222222222</c:v>
                </c:pt>
                <c:pt idx="13230">
                  <c:v>36.75</c:v>
                </c:pt>
                <c:pt idx="13231">
                  <c:v>36.75277777777778</c:v>
                </c:pt>
                <c:pt idx="13232">
                  <c:v>36.755555555555553</c:v>
                </c:pt>
                <c:pt idx="13233">
                  <c:v>36.758333333333333</c:v>
                </c:pt>
                <c:pt idx="13234">
                  <c:v>36.761111111111113</c:v>
                </c:pt>
                <c:pt idx="13235">
                  <c:v>36.763888888888886</c:v>
                </c:pt>
                <c:pt idx="13236">
                  <c:v>36.766666666666666</c:v>
                </c:pt>
                <c:pt idx="13237">
                  <c:v>36.769444444444446</c:v>
                </c:pt>
                <c:pt idx="13238">
                  <c:v>36.772222222222226</c:v>
                </c:pt>
                <c:pt idx="13239">
                  <c:v>36.774999999999999</c:v>
                </c:pt>
                <c:pt idx="13240">
                  <c:v>36.777777777777779</c:v>
                </c:pt>
                <c:pt idx="13241">
                  <c:v>36.780555555555559</c:v>
                </c:pt>
                <c:pt idx="13242">
                  <c:v>36.783333333333331</c:v>
                </c:pt>
                <c:pt idx="13243">
                  <c:v>36.786111111111111</c:v>
                </c:pt>
                <c:pt idx="13244">
                  <c:v>36.788888888888891</c:v>
                </c:pt>
                <c:pt idx="13245">
                  <c:v>36.791666666666664</c:v>
                </c:pt>
                <c:pt idx="13246">
                  <c:v>36.794444444444444</c:v>
                </c:pt>
                <c:pt idx="13247">
                  <c:v>36.797222222222224</c:v>
                </c:pt>
                <c:pt idx="13248">
                  <c:v>36.799999999999997</c:v>
                </c:pt>
                <c:pt idx="13249">
                  <c:v>36.802777777777777</c:v>
                </c:pt>
                <c:pt idx="13250">
                  <c:v>36.805555555555557</c:v>
                </c:pt>
                <c:pt idx="13251">
                  <c:v>36.80833333333333</c:v>
                </c:pt>
                <c:pt idx="13252">
                  <c:v>36.81111111111111</c:v>
                </c:pt>
                <c:pt idx="13253">
                  <c:v>36.81388888888889</c:v>
                </c:pt>
                <c:pt idx="13254">
                  <c:v>36.81666666666667</c:v>
                </c:pt>
                <c:pt idx="13255">
                  <c:v>36.819444444444443</c:v>
                </c:pt>
                <c:pt idx="13256">
                  <c:v>36.822222222222223</c:v>
                </c:pt>
                <c:pt idx="13257">
                  <c:v>36.825000000000003</c:v>
                </c:pt>
                <c:pt idx="13258">
                  <c:v>36.827777777777776</c:v>
                </c:pt>
                <c:pt idx="13259">
                  <c:v>36.830555555555556</c:v>
                </c:pt>
                <c:pt idx="13260">
                  <c:v>36.833333333333336</c:v>
                </c:pt>
                <c:pt idx="13261">
                  <c:v>36.836111111111109</c:v>
                </c:pt>
                <c:pt idx="13262">
                  <c:v>36.838888888888889</c:v>
                </c:pt>
                <c:pt idx="13263">
                  <c:v>36.841666666666669</c:v>
                </c:pt>
                <c:pt idx="13264">
                  <c:v>36.844444444444441</c:v>
                </c:pt>
                <c:pt idx="13265">
                  <c:v>36.847222222222221</c:v>
                </c:pt>
                <c:pt idx="13266">
                  <c:v>36.85</c:v>
                </c:pt>
                <c:pt idx="13267">
                  <c:v>36.852777777777774</c:v>
                </c:pt>
                <c:pt idx="13268">
                  <c:v>36.855555555555554</c:v>
                </c:pt>
                <c:pt idx="13269">
                  <c:v>36.858333333333334</c:v>
                </c:pt>
                <c:pt idx="13270">
                  <c:v>36.861111111111114</c:v>
                </c:pt>
                <c:pt idx="13271">
                  <c:v>36.863888888888887</c:v>
                </c:pt>
                <c:pt idx="13272">
                  <c:v>36.866666666666667</c:v>
                </c:pt>
                <c:pt idx="13273">
                  <c:v>36.869444444444447</c:v>
                </c:pt>
                <c:pt idx="13274">
                  <c:v>36.87222222222222</c:v>
                </c:pt>
                <c:pt idx="13275">
                  <c:v>36.875</c:v>
                </c:pt>
                <c:pt idx="13276">
                  <c:v>36.87777777777778</c:v>
                </c:pt>
                <c:pt idx="13277">
                  <c:v>36.880555555555553</c:v>
                </c:pt>
                <c:pt idx="13278">
                  <c:v>36.883333333333333</c:v>
                </c:pt>
                <c:pt idx="13279">
                  <c:v>36.886111111111113</c:v>
                </c:pt>
                <c:pt idx="13280">
                  <c:v>36.888888888888886</c:v>
                </c:pt>
                <c:pt idx="13281">
                  <c:v>36.891666666666666</c:v>
                </c:pt>
                <c:pt idx="13282">
                  <c:v>36.894444444444446</c:v>
                </c:pt>
                <c:pt idx="13283">
                  <c:v>36.897222222222226</c:v>
                </c:pt>
                <c:pt idx="13284">
                  <c:v>36.9</c:v>
                </c:pt>
                <c:pt idx="13285">
                  <c:v>36.902777777777779</c:v>
                </c:pt>
                <c:pt idx="13286">
                  <c:v>36.905555555555559</c:v>
                </c:pt>
                <c:pt idx="13287">
                  <c:v>36.908333333333331</c:v>
                </c:pt>
                <c:pt idx="13288">
                  <c:v>36.911111111111111</c:v>
                </c:pt>
                <c:pt idx="13289">
                  <c:v>36.913888888888891</c:v>
                </c:pt>
                <c:pt idx="13290">
                  <c:v>36.916666666666664</c:v>
                </c:pt>
                <c:pt idx="13291">
                  <c:v>36.919444444444444</c:v>
                </c:pt>
                <c:pt idx="13292">
                  <c:v>36.922222222222224</c:v>
                </c:pt>
                <c:pt idx="13293">
                  <c:v>36.924999999999997</c:v>
                </c:pt>
                <c:pt idx="13294">
                  <c:v>36.927777777777777</c:v>
                </c:pt>
                <c:pt idx="13295">
                  <c:v>36.930555555555557</c:v>
                </c:pt>
                <c:pt idx="13296">
                  <c:v>36.93333333333333</c:v>
                </c:pt>
                <c:pt idx="13297">
                  <c:v>36.93611111111111</c:v>
                </c:pt>
                <c:pt idx="13298">
                  <c:v>36.93888888888889</c:v>
                </c:pt>
                <c:pt idx="13299">
                  <c:v>36.94166666666667</c:v>
                </c:pt>
                <c:pt idx="13300">
                  <c:v>36.944444444444443</c:v>
                </c:pt>
                <c:pt idx="13301">
                  <c:v>36.947222222222223</c:v>
                </c:pt>
                <c:pt idx="13302">
                  <c:v>36.950000000000003</c:v>
                </c:pt>
                <c:pt idx="13303">
                  <c:v>36.952777777777776</c:v>
                </c:pt>
                <c:pt idx="13304">
                  <c:v>36.955555555555556</c:v>
                </c:pt>
                <c:pt idx="13305">
                  <c:v>36.958333333333336</c:v>
                </c:pt>
                <c:pt idx="13306">
                  <c:v>36.961111111111109</c:v>
                </c:pt>
                <c:pt idx="13307">
                  <c:v>36.963888888888889</c:v>
                </c:pt>
                <c:pt idx="13308">
                  <c:v>36.966666666666669</c:v>
                </c:pt>
                <c:pt idx="13309">
                  <c:v>36.969444444444441</c:v>
                </c:pt>
                <c:pt idx="13310">
                  <c:v>36.972222222222221</c:v>
                </c:pt>
                <c:pt idx="13311">
                  <c:v>36.975000000000001</c:v>
                </c:pt>
                <c:pt idx="13312">
                  <c:v>36.977777777777774</c:v>
                </c:pt>
                <c:pt idx="13313">
                  <c:v>36.980555555555554</c:v>
                </c:pt>
                <c:pt idx="13314">
                  <c:v>36.983333333333334</c:v>
                </c:pt>
                <c:pt idx="13315">
                  <c:v>36.986111111111114</c:v>
                </c:pt>
                <c:pt idx="13316">
                  <c:v>36.988888888888887</c:v>
                </c:pt>
                <c:pt idx="13317">
                  <c:v>36.991666666666667</c:v>
                </c:pt>
                <c:pt idx="13318">
                  <c:v>36.994444444444447</c:v>
                </c:pt>
                <c:pt idx="13319">
                  <c:v>36.99722222222222</c:v>
                </c:pt>
                <c:pt idx="13320">
                  <c:v>37</c:v>
                </c:pt>
                <c:pt idx="13321">
                  <c:v>37.00277777777778</c:v>
                </c:pt>
                <c:pt idx="13322">
                  <c:v>37.005555555555553</c:v>
                </c:pt>
                <c:pt idx="13323">
                  <c:v>37.008333333333333</c:v>
                </c:pt>
                <c:pt idx="13324">
                  <c:v>37.011111111111113</c:v>
                </c:pt>
                <c:pt idx="13325">
                  <c:v>37.013888888888886</c:v>
                </c:pt>
                <c:pt idx="13326">
                  <c:v>37.016666666666666</c:v>
                </c:pt>
                <c:pt idx="13327">
                  <c:v>37.019444444444446</c:v>
                </c:pt>
                <c:pt idx="13328">
                  <c:v>37.022222222222226</c:v>
                </c:pt>
                <c:pt idx="13329">
                  <c:v>37.024999999999999</c:v>
                </c:pt>
                <c:pt idx="13330">
                  <c:v>37.027777777777779</c:v>
                </c:pt>
                <c:pt idx="13331">
                  <c:v>37.030555555555559</c:v>
                </c:pt>
                <c:pt idx="13332">
                  <c:v>37.033333333333331</c:v>
                </c:pt>
                <c:pt idx="13333">
                  <c:v>37.036111111111111</c:v>
                </c:pt>
                <c:pt idx="13334">
                  <c:v>37.038888888888891</c:v>
                </c:pt>
                <c:pt idx="13335">
                  <c:v>37.041666666666664</c:v>
                </c:pt>
                <c:pt idx="13336">
                  <c:v>37.044444444444444</c:v>
                </c:pt>
                <c:pt idx="13337">
                  <c:v>37.047222222222224</c:v>
                </c:pt>
                <c:pt idx="13338">
                  <c:v>37.049999999999997</c:v>
                </c:pt>
                <c:pt idx="13339">
                  <c:v>37.052777777777777</c:v>
                </c:pt>
                <c:pt idx="13340">
                  <c:v>37.055555555555557</c:v>
                </c:pt>
                <c:pt idx="13341">
                  <c:v>37.05833333333333</c:v>
                </c:pt>
                <c:pt idx="13342">
                  <c:v>37.06111111111111</c:v>
                </c:pt>
                <c:pt idx="13343">
                  <c:v>37.06388888888889</c:v>
                </c:pt>
                <c:pt idx="13344">
                  <c:v>37.06666666666667</c:v>
                </c:pt>
                <c:pt idx="13345">
                  <c:v>37.069444444444443</c:v>
                </c:pt>
                <c:pt idx="13346">
                  <c:v>37.072222222222223</c:v>
                </c:pt>
                <c:pt idx="13347">
                  <c:v>37.075000000000003</c:v>
                </c:pt>
                <c:pt idx="13348">
                  <c:v>37.077777777777776</c:v>
                </c:pt>
                <c:pt idx="13349">
                  <c:v>37.080555555555556</c:v>
                </c:pt>
                <c:pt idx="13350">
                  <c:v>37.083333333333336</c:v>
                </c:pt>
                <c:pt idx="13351">
                  <c:v>37.086111111111109</c:v>
                </c:pt>
                <c:pt idx="13352">
                  <c:v>37.088888888888889</c:v>
                </c:pt>
                <c:pt idx="13353">
                  <c:v>37.091666666666669</c:v>
                </c:pt>
                <c:pt idx="13354">
                  <c:v>37.094444444444441</c:v>
                </c:pt>
                <c:pt idx="13355">
                  <c:v>37.097222222222221</c:v>
                </c:pt>
                <c:pt idx="13356">
                  <c:v>37.1</c:v>
                </c:pt>
                <c:pt idx="13357">
                  <c:v>37.102777777777774</c:v>
                </c:pt>
                <c:pt idx="13358">
                  <c:v>37.105555555555554</c:v>
                </c:pt>
                <c:pt idx="13359">
                  <c:v>37.108333333333334</c:v>
                </c:pt>
                <c:pt idx="13360">
                  <c:v>37.111111111111114</c:v>
                </c:pt>
                <c:pt idx="13361">
                  <c:v>37.113888888888887</c:v>
                </c:pt>
                <c:pt idx="13362">
                  <c:v>37.116666666666667</c:v>
                </c:pt>
                <c:pt idx="13363">
                  <c:v>37.119444444444447</c:v>
                </c:pt>
                <c:pt idx="13364">
                  <c:v>37.12222222222222</c:v>
                </c:pt>
                <c:pt idx="13365">
                  <c:v>37.125</c:v>
                </c:pt>
                <c:pt idx="13366">
                  <c:v>37.12777777777778</c:v>
                </c:pt>
                <c:pt idx="13367">
                  <c:v>37.130555555555553</c:v>
                </c:pt>
                <c:pt idx="13368">
                  <c:v>37.133333333333333</c:v>
                </c:pt>
                <c:pt idx="13369">
                  <c:v>37.136111111111113</c:v>
                </c:pt>
                <c:pt idx="13370">
                  <c:v>37.138888888888886</c:v>
                </c:pt>
                <c:pt idx="13371">
                  <c:v>37.141666666666666</c:v>
                </c:pt>
                <c:pt idx="13372">
                  <c:v>37.144444444444446</c:v>
                </c:pt>
                <c:pt idx="13373">
                  <c:v>37.147222222222226</c:v>
                </c:pt>
                <c:pt idx="13374">
                  <c:v>37.15</c:v>
                </c:pt>
                <c:pt idx="13375">
                  <c:v>37.152777777777779</c:v>
                </c:pt>
                <c:pt idx="13376">
                  <c:v>37.155555555555559</c:v>
                </c:pt>
                <c:pt idx="13377">
                  <c:v>37.158333333333331</c:v>
                </c:pt>
                <c:pt idx="13378">
                  <c:v>37.161111111111111</c:v>
                </c:pt>
                <c:pt idx="13379">
                  <c:v>37.163888888888891</c:v>
                </c:pt>
                <c:pt idx="13380">
                  <c:v>37.166666666666664</c:v>
                </c:pt>
                <c:pt idx="13381">
                  <c:v>37.169444444444444</c:v>
                </c:pt>
                <c:pt idx="13382">
                  <c:v>37.172222222222224</c:v>
                </c:pt>
                <c:pt idx="13383">
                  <c:v>37.174999999999997</c:v>
                </c:pt>
                <c:pt idx="13384">
                  <c:v>37.177777777777777</c:v>
                </c:pt>
                <c:pt idx="13385">
                  <c:v>37.180555555555557</c:v>
                </c:pt>
                <c:pt idx="13386">
                  <c:v>37.18333333333333</c:v>
                </c:pt>
                <c:pt idx="13387">
                  <c:v>37.18611111111111</c:v>
                </c:pt>
                <c:pt idx="13388">
                  <c:v>37.18888888888889</c:v>
                </c:pt>
                <c:pt idx="13389">
                  <c:v>37.19166666666667</c:v>
                </c:pt>
                <c:pt idx="13390">
                  <c:v>37.194444444444443</c:v>
                </c:pt>
                <c:pt idx="13391">
                  <c:v>37.197222222222223</c:v>
                </c:pt>
                <c:pt idx="13392">
                  <c:v>37.200000000000003</c:v>
                </c:pt>
                <c:pt idx="13393">
                  <c:v>37.202777777777776</c:v>
                </c:pt>
                <c:pt idx="13394">
                  <c:v>37.205555555555556</c:v>
                </c:pt>
                <c:pt idx="13395">
                  <c:v>37.208333333333336</c:v>
                </c:pt>
                <c:pt idx="13396">
                  <c:v>37.211111111111109</c:v>
                </c:pt>
                <c:pt idx="13397">
                  <c:v>37.213888888888889</c:v>
                </c:pt>
                <c:pt idx="13398">
                  <c:v>37.216666666666669</c:v>
                </c:pt>
                <c:pt idx="13399">
                  <c:v>37.219444444444441</c:v>
                </c:pt>
                <c:pt idx="13400">
                  <c:v>37.222222222222221</c:v>
                </c:pt>
                <c:pt idx="13401">
                  <c:v>37.225000000000001</c:v>
                </c:pt>
                <c:pt idx="13402">
                  <c:v>37.227777777777774</c:v>
                </c:pt>
                <c:pt idx="13403">
                  <c:v>37.230555555555554</c:v>
                </c:pt>
                <c:pt idx="13404">
                  <c:v>37.233333333333334</c:v>
                </c:pt>
                <c:pt idx="13405">
                  <c:v>37.236111111111114</c:v>
                </c:pt>
                <c:pt idx="13406">
                  <c:v>37.238888888888887</c:v>
                </c:pt>
                <c:pt idx="13407">
                  <c:v>37.241666666666667</c:v>
                </c:pt>
                <c:pt idx="13408">
                  <c:v>37.244444444444447</c:v>
                </c:pt>
                <c:pt idx="13409">
                  <c:v>37.24722222222222</c:v>
                </c:pt>
                <c:pt idx="13410">
                  <c:v>37.25</c:v>
                </c:pt>
                <c:pt idx="13411">
                  <c:v>37.25277777777778</c:v>
                </c:pt>
                <c:pt idx="13412">
                  <c:v>37.255555555555553</c:v>
                </c:pt>
                <c:pt idx="13413">
                  <c:v>37.258333333333333</c:v>
                </c:pt>
                <c:pt idx="13414">
                  <c:v>37.261111111111113</c:v>
                </c:pt>
                <c:pt idx="13415">
                  <c:v>37.263888888888886</c:v>
                </c:pt>
                <c:pt idx="13416">
                  <c:v>37.266666666666666</c:v>
                </c:pt>
                <c:pt idx="13417">
                  <c:v>37.269444444444446</c:v>
                </c:pt>
                <c:pt idx="13418">
                  <c:v>37.272222222222226</c:v>
                </c:pt>
                <c:pt idx="13419">
                  <c:v>37.274999999999999</c:v>
                </c:pt>
                <c:pt idx="13420">
                  <c:v>37.277777777777779</c:v>
                </c:pt>
                <c:pt idx="13421">
                  <c:v>37.280555555555559</c:v>
                </c:pt>
                <c:pt idx="13422">
                  <c:v>37.283333333333331</c:v>
                </c:pt>
                <c:pt idx="13423">
                  <c:v>37.286111111111111</c:v>
                </c:pt>
                <c:pt idx="13424">
                  <c:v>37.288888888888891</c:v>
                </c:pt>
                <c:pt idx="13425">
                  <c:v>37.291666666666664</c:v>
                </c:pt>
                <c:pt idx="13426">
                  <c:v>37.294444444444444</c:v>
                </c:pt>
                <c:pt idx="13427">
                  <c:v>37.297222222222224</c:v>
                </c:pt>
                <c:pt idx="13428">
                  <c:v>37.299999999999997</c:v>
                </c:pt>
                <c:pt idx="13429">
                  <c:v>37.302777777777777</c:v>
                </c:pt>
                <c:pt idx="13430">
                  <c:v>37.305555555555557</c:v>
                </c:pt>
                <c:pt idx="13431">
                  <c:v>37.30833333333333</c:v>
                </c:pt>
                <c:pt idx="13432">
                  <c:v>37.31111111111111</c:v>
                </c:pt>
                <c:pt idx="13433">
                  <c:v>37.31388888888889</c:v>
                </c:pt>
                <c:pt idx="13434">
                  <c:v>37.31666666666667</c:v>
                </c:pt>
                <c:pt idx="13435">
                  <c:v>37.319444444444443</c:v>
                </c:pt>
                <c:pt idx="13436">
                  <c:v>37.322222222222223</c:v>
                </c:pt>
                <c:pt idx="13437">
                  <c:v>37.325000000000003</c:v>
                </c:pt>
                <c:pt idx="13438">
                  <c:v>37.327777777777776</c:v>
                </c:pt>
                <c:pt idx="13439">
                  <c:v>37.330555555555556</c:v>
                </c:pt>
                <c:pt idx="13440">
                  <c:v>37.333333333333336</c:v>
                </c:pt>
                <c:pt idx="13441">
                  <c:v>37.336111111111109</c:v>
                </c:pt>
                <c:pt idx="13442">
                  <c:v>37.338888888888889</c:v>
                </c:pt>
                <c:pt idx="13443">
                  <c:v>37.341666666666669</c:v>
                </c:pt>
                <c:pt idx="13444">
                  <c:v>37.344444444444441</c:v>
                </c:pt>
                <c:pt idx="13445">
                  <c:v>37.347222222222221</c:v>
                </c:pt>
                <c:pt idx="13446">
                  <c:v>37.35</c:v>
                </c:pt>
                <c:pt idx="13447">
                  <c:v>37.352777777777774</c:v>
                </c:pt>
                <c:pt idx="13448">
                  <c:v>37.355555555555554</c:v>
                </c:pt>
                <c:pt idx="13449">
                  <c:v>37.358333333333334</c:v>
                </c:pt>
                <c:pt idx="13450">
                  <c:v>37.361111111111114</c:v>
                </c:pt>
                <c:pt idx="13451">
                  <c:v>37.363888888888887</c:v>
                </c:pt>
                <c:pt idx="13452">
                  <c:v>37.366666666666667</c:v>
                </c:pt>
                <c:pt idx="13453">
                  <c:v>37.369444444444447</c:v>
                </c:pt>
                <c:pt idx="13454">
                  <c:v>37.37222222222222</c:v>
                </c:pt>
                <c:pt idx="13455">
                  <c:v>37.375</c:v>
                </c:pt>
                <c:pt idx="13456">
                  <c:v>37.37777777777778</c:v>
                </c:pt>
                <c:pt idx="13457">
                  <c:v>37.380555555555553</c:v>
                </c:pt>
                <c:pt idx="13458">
                  <c:v>37.383333333333333</c:v>
                </c:pt>
                <c:pt idx="13459">
                  <c:v>37.386111111111113</c:v>
                </c:pt>
                <c:pt idx="13460">
                  <c:v>37.388888888888886</c:v>
                </c:pt>
                <c:pt idx="13461">
                  <c:v>37.391666666666666</c:v>
                </c:pt>
                <c:pt idx="13462">
                  <c:v>37.394444444444446</c:v>
                </c:pt>
                <c:pt idx="13463">
                  <c:v>37.397222222222226</c:v>
                </c:pt>
                <c:pt idx="13464">
                  <c:v>37.4</c:v>
                </c:pt>
                <c:pt idx="13465">
                  <c:v>37.402777777777779</c:v>
                </c:pt>
                <c:pt idx="13466">
                  <c:v>37.405555555555559</c:v>
                </c:pt>
                <c:pt idx="13467">
                  <c:v>37.408333333333331</c:v>
                </c:pt>
                <c:pt idx="13468">
                  <c:v>37.411111111111111</c:v>
                </c:pt>
                <c:pt idx="13469">
                  <c:v>37.413888888888891</c:v>
                </c:pt>
                <c:pt idx="13470">
                  <c:v>37.416666666666664</c:v>
                </c:pt>
                <c:pt idx="13471">
                  <c:v>37.419444444444444</c:v>
                </c:pt>
                <c:pt idx="13472">
                  <c:v>37.422222222222224</c:v>
                </c:pt>
                <c:pt idx="13473">
                  <c:v>37.424999999999997</c:v>
                </c:pt>
                <c:pt idx="13474">
                  <c:v>37.427777777777777</c:v>
                </c:pt>
                <c:pt idx="13475">
                  <c:v>37.430555555555557</c:v>
                </c:pt>
                <c:pt idx="13476">
                  <c:v>37.43333333333333</c:v>
                </c:pt>
                <c:pt idx="13477">
                  <c:v>37.43611111111111</c:v>
                </c:pt>
                <c:pt idx="13478">
                  <c:v>37.43888888888889</c:v>
                </c:pt>
                <c:pt idx="13479">
                  <c:v>37.44166666666667</c:v>
                </c:pt>
                <c:pt idx="13480">
                  <c:v>37.444444444444443</c:v>
                </c:pt>
                <c:pt idx="13481">
                  <c:v>37.447222222222223</c:v>
                </c:pt>
                <c:pt idx="13482">
                  <c:v>37.450000000000003</c:v>
                </c:pt>
                <c:pt idx="13483">
                  <c:v>37.452777777777776</c:v>
                </c:pt>
                <c:pt idx="13484">
                  <c:v>37.455555555555556</c:v>
                </c:pt>
                <c:pt idx="13485">
                  <c:v>37.458333333333336</c:v>
                </c:pt>
                <c:pt idx="13486">
                  <c:v>37.461111111111109</c:v>
                </c:pt>
                <c:pt idx="13487">
                  <c:v>37.463888888888889</c:v>
                </c:pt>
                <c:pt idx="13488">
                  <c:v>37.466666666666669</c:v>
                </c:pt>
                <c:pt idx="13489">
                  <c:v>37.469444444444441</c:v>
                </c:pt>
                <c:pt idx="13490">
                  <c:v>37.472222222222221</c:v>
                </c:pt>
                <c:pt idx="13491">
                  <c:v>37.475000000000001</c:v>
                </c:pt>
                <c:pt idx="13492">
                  <c:v>37.477777777777774</c:v>
                </c:pt>
                <c:pt idx="13493">
                  <c:v>37.480555555555554</c:v>
                </c:pt>
                <c:pt idx="13494">
                  <c:v>37.483333333333334</c:v>
                </c:pt>
                <c:pt idx="13495">
                  <c:v>37.486111111111114</c:v>
                </c:pt>
                <c:pt idx="13496">
                  <c:v>37.488888888888887</c:v>
                </c:pt>
                <c:pt idx="13497">
                  <c:v>37.491666666666667</c:v>
                </c:pt>
                <c:pt idx="13498">
                  <c:v>37.494444444444447</c:v>
                </c:pt>
                <c:pt idx="13499">
                  <c:v>37.49722222222222</c:v>
                </c:pt>
                <c:pt idx="13500">
                  <c:v>37.5</c:v>
                </c:pt>
                <c:pt idx="13501">
                  <c:v>37.50277777777778</c:v>
                </c:pt>
                <c:pt idx="13502">
                  <c:v>37.505555555555553</c:v>
                </c:pt>
                <c:pt idx="13503">
                  <c:v>37.508333333333333</c:v>
                </c:pt>
                <c:pt idx="13504">
                  <c:v>37.511111111111113</c:v>
                </c:pt>
                <c:pt idx="13505">
                  <c:v>37.513888888888886</c:v>
                </c:pt>
                <c:pt idx="13506">
                  <c:v>37.516666666666666</c:v>
                </c:pt>
                <c:pt idx="13507">
                  <c:v>37.519444444444446</c:v>
                </c:pt>
                <c:pt idx="13508">
                  <c:v>37.522222222222226</c:v>
                </c:pt>
                <c:pt idx="13509">
                  <c:v>37.524999999999999</c:v>
                </c:pt>
                <c:pt idx="13510">
                  <c:v>37.527777777777779</c:v>
                </c:pt>
                <c:pt idx="13511">
                  <c:v>37.530555555555559</c:v>
                </c:pt>
                <c:pt idx="13512">
                  <c:v>37.533333333333331</c:v>
                </c:pt>
                <c:pt idx="13513">
                  <c:v>37.536111111111111</c:v>
                </c:pt>
                <c:pt idx="13514">
                  <c:v>37.538888888888891</c:v>
                </c:pt>
                <c:pt idx="13515">
                  <c:v>37.541666666666664</c:v>
                </c:pt>
                <c:pt idx="13516">
                  <c:v>37.544444444444444</c:v>
                </c:pt>
                <c:pt idx="13517">
                  <c:v>37.547222222222224</c:v>
                </c:pt>
                <c:pt idx="13518">
                  <c:v>37.549999999999997</c:v>
                </c:pt>
                <c:pt idx="13519">
                  <c:v>37.552777777777777</c:v>
                </c:pt>
                <c:pt idx="13520">
                  <c:v>37.555555555555557</c:v>
                </c:pt>
                <c:pt idx="13521">
                  <c:v>37.55833333333333</c:v>
                </c:pt>
                <c:pt idx="13522">
                  <c:v>37.56111111111111</c:v>
                </c:pt>
                <c:pt idx="13523">
                  <c:v>37.56388888888889</c:v>
                </c:pt>
                <c:pt idx="13524">
                  <c:v>37.56666666666667</c:v>
                </c:pt>
                <c:pt idx="13525">
                  <c:v>37.569444444444443</c:v>
                </c:pt>
                <c:pt idx="13526">
                  <c:v>37.572222222222223</c:v>
                </c:pt>
                <c:pt idx="13527">
                  <c:v>37.575000000000003</c:v>
                </c:pt>
                <c:pt idx="13528">
                  <c:v>37.577777777777776</c:v>
                </c:pt>
                <c:pt idx="13529">
                  <c:v>37.580555555555556</c:v>
                </c:pt>
                <c:pt idx="13530">
                  <c:v>37.583333333333336</c:v>
                </c:pt>
                <c:pt idx="13531">
                  <c:v>37.586111111111109</c:v>
                </c:pt>
                <c:pt idx="13532">
                  <c:v>37.588888888888889</c:v>
                </c:pt>
                <c:pt idx="13533">
                  <c:v>37.591666666666669</c:v>
                </c:pt>
                <c:pt idx="13534">
                  <c:v>37.594444444444441</c:v>
                </c:pt>
                <c:pt idx="13535">
                  <c:v>37.597222222222221</c:v>
                </c:pt>
                <c:pt idx="13536">
                  <c:v>37.6</c:v>
                </c:pt>
                <c:pt idx="13537">
                  <c:v>37.602777777777774</c:v>
                </c:pt>
                <c:pt idx="13538">
                  <c:v>37.605555555555554</c:v>
                </c:pt>
                <c:pt idx="13539">
                  <c:v>37.608333333333334</c:v>
                </c:pt>
                <c:pt idx="13540">
                  <c:v>37.611111111111114</c:v>
                </c:pt>
                <c:pt idx="13541">
                  <c:v>37.613888888888887</c:v>
                </c:pt>
                <c:pt idx="13542">
                  <c:v>37.616666666666667</c:v>
                </c:pt>
                <c:pt idx="13543">
                  <c:v>37.619444444444447</c:v>
                </c:pt>
                <c:pt idx="13544">
                  <c:v>37.62222222222222</c:v>
                </c:pt>
                <c:pt idx="13545">
                  <c:v>37.625</c:v>
                </c:pt>
                <c:pt idx="13546">
                  <c:v>37.62777777777778</c:v>
                </c:pt>
                <c:pt idx="13547">
                  <c:v>37.630555555555553</c:v>
                </c:pt>
                <c:pt idx="13548">
                  <c:v>37.633333333333333</c:v>
                </c:pt>
                <c:pt idx="13549">
                  <c:v>37.636111111111113</c:v>
                </c:pt>
                <c:pt idx="13550">
                  <c:v>37.638888888888886</c:v>
                </c:pt>
                <c:pt idx="13551">
                  <c:v>37.641666666666666</c:v>
                </c:pt>
                <c:pt idx="13552">
                  <c:v>37.644444444444446</c:v>
                </c:pt>
                <c:pt idx="13553">
                  <c:v>37.647222222222226</c:v>
                </c:pt>
                <c:pt idx="13554">
                  <c:v>37.65</c:v>
                </c:pt>
                <c:pt idx="13555">
                  <c:v>37.652777777777779</c:v>
                </c:pt>
                <c:pt idx="13556">
                  <c:v>37.655555555555559</c:v>
                </c:pt>
                <c:pt idx="13557">
                  <c:v>37.658333333333331</c:v>
                </c:pt>
                <c:pt idx="13558">
                  <c:v>37.661111111111111</c:v>
                </c:pt>
                <c:pt idx="13559">
                  <c:v>37.663888888888891</c:v>
                </c:pt>
                <c:pt idx="13560">
                  <c:v>37.666666666666664</c:v>
                </c:pt>
                <c:pt idx="13561">
                  <c:v>37.669444444444444</c:v>
                </c:pt>
                <c:pt idx="13562">
                  <c:v>37.672222222222224</c:v>
                </c:pt>
                <c:pt idx="13563">
                  <c:v>37.674999999999997</c:v>
                </c:pt>
                <c:pt idx="13564">
                  <c:v>37.677777777777777</c:v>
                </c:pt>
                <c:pt idx="13565">
                  <c:v>37.680555555555557</c:v>
                </c:pt>
                <c:pt idx="13566">
                  <c:v>37.68333333333333</c:v>
                </c:pt>
                <c:pt idx="13567">
                  <c:v>37.68611111111111</c:v>
                </c:pt>
                <c:pt idx="13568">
                  <c:v>37.68888888888889</c:v>
                </c:pt>
                <c:pt idx="13569">
                  <c:v>37.69166666666667</c:v>
                </c:pt>
                <c:pt idx="13570">
                  <c:v>37.694444444444443</c:v>
                </c:pt>
                <c:pt idx="13571">
                  <c:v>37.697222222222223</c:v>
                </c:pt>
                <c:pt idx="13572">
                  <c:v>37.700000000000003</c:v>
                </c:pt>
                <c:pt idx="13573">
                  <c:v>37.702777777777776</c:v>
                </c:pt>
                <c:pt idx="13574">
                  <c:v>37.705555555555556</c:v>
                </c:pt>
                <c:pt idx="13575">
                  <c:v>37.708333333333336</c:v>
                </c:pt>
                <c:pt idx="13576">
                  <c:v>37.711111111111109</c:v>
                </c:pt>
                <c:pt idx="13577">
                  <c:v>37.713888888888889</c:v>
                </c:pt>
                <c:pt idx="13578">
                  <c:v>37.716666666666669</c:v>
                </c:pt>
                <c:pt idx="13579">
                  <c:v>37.719444444444441</c:v>
                </c:pt>
                <c:pt idx="13580">
                  <c:v>37.722222222222221</c:v>
                </c:pt>
                <c:pt idx="13581">
                  <c:v>37.725000000000001</c:v>
                </c:pt>
                <c:pt idx="13582">
                  <c:v>37.727777777777774</c:v>
                </c:pt>
                <c:pt idx="13583">
                  <c:v>37.730555555555554</c:v>
                </c:pt>
                <c:pt idx="13584">
                  <c:v>37.733333333333334</c:v>
                </c:pt>
                <c:pt idx="13585">
                  <c:v>37.736111111111114</c:v>
                </c:pt>
                <c:pt idx="13586">
                  <c:v>37.738888888888887</c:v>
                </c:pt>
                <c:pt idx="13587">
                  <c:v>37.741666666666667</c:v>
                </c:pt>
                <c:pt idx="13588">
                  <c:v>37.744444444444447</c:v>
                </c:pt>
                <c:pt idx="13589">
                  <c:v>37.74722222222222</c:v>
                </c:pt>
                <c:pt idx="13590">
                  <c:v>37.75</c:v>
                </c:pt>
                <c:pt idx="13591">
                  <c:v>37.75277777777778</c:v>
                </c:pt>
                <c:pt idx="13592">
                  <c:v>37.755555555555553</c:v>
                </c:pt>
                <c:pt idx="13593">
                  <c:v>37.758333333333333</c:v>
                </c:pt>
                <c:pt idx="13594">
                  <c:v>37.761111111111113</c:v>
                </c:pt>
                <c:pt idx="13595">
                  <c:v>37.763888888888886</c:v>
                </c:pt>
                <c:pt idx="13596">
                  <c:v>37.766666666666666</c:v>
                </c:pt>
                <c:pt idx="13597">
                  <c:v>37.769444444444446</c:v>
                </c:pt>
                <c:pt idx="13598">
                  <c:v>37.772222222222226</c:v>
                </c:pt>
                <c:pt idx="13599">
                  <c:v>37.774999999999999</c:v>
                </c:pt>
                <c:pt idx="13600">
                  <c:v>37.777777777777779</c:v>
                </c:pt>
                <c:pt idx="13601">
                  <c:v>37.780555555555559</c:v>
                </c:pt>
                <c:pt idx="13602">
                  <c:v>37.783333333333331</c:v>
                </c:pt>
                <c:pt idx="13603">
                  <c:v>37.786111111111111</c:v>
                </c:pt>
                <c:pt idx="13604">
                  <c:v>37.788888888888891</c:v>
                </c:pt>
                <c:pt idx="13605">
                  <c:v>37.791666666666664</c:v>
                </c:pt>
                <c:pt idx="13606">
                  <c:v>37.794444444444444</c:v>
                </c:pt>
                <c:pt idx="13607">
                  <c:v>37.797222222222224</c:v>
                </c:pt>
                <c:pt idx="13608">
                  <c:v>37.799999999999997</c:v>
                </c:pt>
                <c:pt idx="13609">
                  <c:v>37.802777777777777</c:v>
                </c:pt>
                <c:pt idx="13610">
                  <c:v>37.805555555555557</c:v>
                </c:pt>
                <c:pt idx="13611">
                  <c:v>37.80833333333333</c:v>
                </c:pt>
                <c:pt idx="13612">
                  <c:v>37.81111111111111</c:v>
                </c:pt>
                <c:pt idx="13613">
                  <c:v>37.81388888888889</c:v>
                </c:pt>
                <c:pt idx="13614">
                  <c:v>37.81666666666667</c:v>
                </c:pt>
                <c:pt idx="13615">
                  <c:v>37.819444444444443</c:v>
                </c:pt>
                <c:pt idx="13616">
                  <c:v>37.822222222222223</c:v>
                </c:pt>
                <c:pt idx="13617">
                  <c:v>37.825000000000003</c:v>
                </c:pt>
                <c:pt idx="13618">
                  <c:v>37.827777777777776</c:v>
                </c:pt>
                <c:pt idx="13619">
                  <c:v>37.830555555555556</c:v>
                </c:pt>
                <c:pt idx="13620">
                  <c:v>37.833333333333336</c:v>
                </c:pt>
                <c:pt idx="13621">
                  <c:v>37.836111111111109</c:v>
                </c:pt>
                <c:pt idx="13622">
                  <c:v>37.838888888888889</c:v>
                </c:pt>
                <c:pt idx="13623">
                  <c:v>37.841666666666669</c:v>
                </c:pt>
                <c:pt idx="13624">
                  <c:v>37.844444444444441</c:v>
                </c:pt>
                <c:pt idx="13625">
                  <c:v>37.847222222222221</c:v>
                </c:pt>
                <c:pt idx="13626">
                  <c:v>37.85</c:v>
                </c:pt>
                <c:pt idx="13627">
                  <c:v>37.852777777777774</c:v>
                </c:pt>
                <c:pt idx="13628">
                  <c:v>37.855555555555554</c:v>
                </c:pt>
                <c:pt idx="13629">
                  <c:v>37.858333333333334</c:v>
                </c:pt>
                <c:pt idx="13630">
                  <c:v>37.861111111111114</c:v>
                </c:pt>
                <c:pt idx="13631">
                  <c:v>37.863888888888887</c:v>
                </c:pt>
                <c:pt idx="13632">
                  <c:v>37.866666666666667</c:v>
                </c:pt>
                <c:pt idx="13633">
                  <c:v>37.869444444444447</c:v>
                </c:pt>
                <c:pt idx="13634">
                  <c:v>37.87222222222222</c:v>
                </c:pt>
                <c:pt idx="13635">
                  <c:v>37.875</c:v>
                </c:pt>
                <c:pt idx="13636">
                  <c:v>37.87777777777778</c:v>
                </c:pt>
                <c:pt idx="13637">
                  <c:v>37.880555555555553</c:v>
                </c:pt>
                <c:pt idx="13638">
                  <c:v>37.883333333333333</c:v>
                </c:pt>
                <c:pt idx="13639">
                  <c:v>37.886111111111113</c:v>
                </c:pt>
                <c:pt idx="13640">
                  <c:v>37.888888888888886</c:v>
                </c:pt>
                <c:pt idx="13641">
                  <c:v>37.891666666666666</c:v>
                </c:pt>
                <c:pt idx="13642">
                  <c:v>37.894444444444446</c:v>
                </c:pt>
                <c:pt idx="13643">
                  <c:v>37.897222222222226</c:v>
                </c:pt>
                <c:pt idx="13644">
                  <c:v>37.9</c:v>
                </c:pt>
                <c:pt idx="13645">
                  <c:v>37.902777777777779</c:v>
                </c:pt>
                <c:pt idx="13646">
                  <c:v>37.905555555555559</c:v>
                </c:pt>
                <c:pt idx="13647">
                  <c:v>37.908333333333331</c:v>
                </c:pt>
                <c:pt idx="13648">
                  <c:v>37.911111111111111</c:v>
                </c:pt>
                <c:pt idx="13649">
                  <c:v>37.913888888888891</c:v>
                </c:pt>
                <c:pt idx="13650">
                  <c:v>37.916666666666664</c:v>
                </c:pt>
                <c:pt idx="13651">
                  <c:v>37.919444444444444</c:v>
                </c:pt>
                <c:pt idx="13652">
                  <c:v>37.922222222222224</c:v>
                </c:pt>
                <c:pt idx="13653">
                  <c:v>37.924999999999997</c:v>
                </c:pt>
                <c:pt idx="13654">
                  <c:v>37.927777777777777</c:v>
                </c:pt>
                <c:pt idx="13655">
                  <c:v>37.930555555555557</c:v>
                </c:pt>
                <c:pt idx="13656">
                  <c:v>37.93333333333333</c:v>
                </c:pt>
                <c:pt idx="13657">
                  <c:v>37.93611111111111</c:v>
                </c:pt>
                <c:pt idx="13658">
                  <c:v>37.93888888888889</c:v>
                </c:pt>
                <c:pt idx="13659">
                  <c:v>37.94166666666667</c:v>
                </c:pt>
                <c:pt idx="13660">
                  <c:v>37.944444444444443</c:v>
                </c:pt>
                <c:pt idx="13661">
                  <c:v>37.947222222222223</c:v>
                </c:pt>
                <c:pt idx="13662">
                  <c:v>37.950000000000003</c:v>
                </c:pt>
                <c:pt idx="13663">
                  <c:v>37.952777777777776</c:v>
                </c:pt>
                <c:pt idx="13664">
                  <c:v>37.955555555555556</c:v>
                </c:pt>
                <c:pt idx="13665">
                  <c:v>37.958333333333336</c:v>
                </c:pt>
                <c:pt idx="13666">
                  <c:v>37.961111111111109</c:v>
                </c:pt>
                <c:pt idx="13667">
                  <c:v>37.963888888888889</c:v>
                </c:pt>
                <c:pt idx="13668">
                  <c:v>37.966666666666669</c:v>
                </c:pt>
                <c:pt idx="13669">
                  <c:v>37.969444444444441</c:v>
                </c:pt>
                <c:pt idx="13670">
                  <c:v>37.972222222222221</c:v>
                </c:pt>
                <c:pt idx="13671">
                  <c:v>37.975000000000001</c:v>
                </c:pt>
                <c:pt idx="13672">
                  <c:v>37.977777777777774</c:v>
                </c:pt>
                <c:pt idx="13673">
                  <c:v>37.980555555555554</c:v>
                </c:pt>
                <c:pt idx="13674">
                  <c:v>37.983333333333334</c:v>
                </c:pt>
                <c:pt idx="13675">
                  <c:v>37.986111111111114</c:v>
                </c:pt>
                <c:pt idx="13676">
                  <c:v>37.988888888888887</c:v>
                </c:pt>
                <c:pt idx="13677">
                  <c:v>37.991666666666667</c:v>
                </c:pt>
                <c:pt idx="13678">
                  <c:v>37.994444444444447</c:v>
                </c:pt>
                <c:pt idx="13679">
                  <c:v>37.99722222222222</c:v>
                </c:pt>
                <c:pt idx="13680">
                  <c:v>38</c:v>
                </c:pt>
                <c:pt idx="13681">
                  <c:v>38.00277777777778</c:v>
                </c:pt>
                <c:pt idx="13682">
                  <c:v>38.005555555555553</c:v>
                </c:pt>
                <c:pt idx="13683">
                  <c:v>38.008333333333333</c:v>
                </c:pt>
                <c:pt idx="13684">
                  <c:v>38.011111111111113</c:v>
                </c:pt>
                <c:pt idx="13685">
                  <c:v>38.013888888888886</c:v>
                </c:pt>
                <c:pt idx="13686">
                  <c:v>38.016666666666666</c:v>
                </c:pt>
                <c:pt idx="13687">
                  <c:v>38.019444444444446</c:v>
                </c:pt>
                <c:pt idx="13688">
                  <c:v>38.022222222222226</c:v>
                </c:pt>
                <c:pt idx="13689">
                  <c:v>38.024999999999999</c:v>
                </c:pt>
                <c:pt idx="13690">
                  <c:v>38.027777777777779</c:v>
                </c:pt>
                <c:pt idx="13691">
                  <c:v>38.030555555555559</c:v>
                </c:pt>
                <c:pt idx="13692">
                  <c:v>38.033333333333331</c:v>
                </c:pt>
                <c:pt idx="13693">
                  <c:v>38.036111111111111</c:v>
                </c:pt>
                <c:pt idx="13694">
                  <c:v>38.038888888888891</c:v>
                </c:pt>
                <c:pt idx="13695">
                  <c:v>38.041666666666664</c:v>
                </c:pt>
                <c:pt idx="13696">
                  <c:v>38.044444444444444</c:v>
                </c:pt>
                <c:pt idx="13697">
                  <c:v>38.047222222222224</c:v>
                </c:pt>
                <c:pt idx="13698">
                  <c:v>38.049999999999997</c:v>
                </c:pt>
                <c:pt idx="13699">
                  <c:v>38.052777777777777</c:v>
                </c:pt>
                <c:pt idx="13700">
                  <c:v>38.055555555555557</c:v>
                </c:pt>
                <c:pt idx="13701">
                  <c:v>38.05833333333333</c:v>
                </c:pt>
                <c:pt idx="13702">
                  <c:v>38.06111111111111</c:v>
                </c:pt>
                <c:pt idx="13703">
                  <c:v>38.06388888888889</c:v>
                </c:pt>
                <c:pt idx="13704">
                  <c:v>38.06666666666667</c:v>
                </c:pt>
                <c:pt idx="13705">
                  <c:v>38.069444444444443</c:v>
                </c:pt>
                <c:pt idx="13706">
                  <c:v>38.072222222222223</c:v>
                </c:pt>
                <c:pt idx="13707">
                  <c:v>38.075000000000003</c:v>
                </c:pt>
                <c:pt idx="13708">
                  <c:v>38.077777777777776</c:v>
                </c:pt>
                <c:pt idx="13709">
                  <c:v>38.080555555555556</c:v>
                </c:pt>
                <c:pt idx="13710">
                  <c:v>38.083333333333336</c:v>
                </c:pt>
                <c:pt idx="13711">
                  <c:v>38.086111111111109</c:v>
                </c:pt>
                <c:pt idx="13712">
                  <c:v>38.088888888888889</c:v>
                </c:pt>
                <c:pt idx="13713">
                  <c:v>38.091666666666669</c:v>
                </c:pt>
                <c:pt idx="13714">
                  <c:v>38.094444444444441</c:v>
                </c:pt>
                <c:pt idx="13715">
                  <c:v>38.097222222222221</c:v>
                </c:pt>
                <c:pt idx="13716">
                  <c:v>38.1</c:v>
                </c:pt>
                <c:pt idx="13717">
                  <c:v>38.102777777777774</c:v>
                </c:pt>
                <c:pt idx="13718">
                  <c:v>38.105555555555554</c:v>
                </c:pt>
                <c:pt idx="13719">
                  <c:v>38.108333333333334</c:v>
                </c:pt>
                <c:pt idx="13720">
                  <c:v>38.111111111111114</c:v>
                </c:pt>
                <c:pt idx="13721">
                  <c:v>38.113888888888887</c:v>
                </c:pt>
                <c:pt idx="13722">
                  <c:v>38.116666666666667</c:v>
                </c:pt>
                <c:pt idx="13723">
                  <c:v>38.119444444444447</c:v>
                </c:pt>
                <c:pt idx="13724">
                  <c:v>38.12222222222222</c:v>
                </c:pt>
                <c:pt idx="13725">
                  <c:v>38.125</c:v>
                </c:pt>
                <c:pt idx="13726">
                  <c:v>38.12777777777778</c:v>
                </c:pt>
                <c:pt idx="13727">
                  <c:v>38.130555555555553</c:v>
                </c:pt>
                <c:pt idx="13728">
                  <c:v>38.133333333333333</c:v>
                </c:pt>
                <c:pt idx="13729">
                  <c:v>38.136111111111113</c:v>
                </c:pt>
                <c:pt idx="13730">
                  <c:v>38.138888888888886</c:v>
                </c:pt>
                <c:pt idx="13731">
                  <c:v>38.141666666666666</c:v>
                </c:pt>
                <c:pt idx="13732">
                  <c:v>38.144444444444446</c:v>
                </c:pt>
                <c:pt idx="13733">
                  <c:v>38.147222222222226</c:v>
                </c:pt>
                <c:pt idx="13734">
                  <c:v>38.15</c:v>
                </c:pt>
                <c:pt idx="13735">
                  <c:v>38.152777777777779</c:v>
                </c:pt>
                <c:pt idx="13736">
                  <c:v>38.155555555555559</c:v>
                </c:pt>
                <c:pt idx="13737">
                  <c:v>38.158333333333331</c:v>
                </c:pt>
                <c:pt idx="13738">
                  <c:v>38.161111111111111</c:v>
                </c:pt>
                <c:pt idx="13739">
                  <c:v>38.163888888888891</c:v>
                </c:pt>
                <c:pt idx="13740">
                  <c:v>38.166666666666664</c:v>
                </c:pt>
                <c:pt idx="13741">
                  <c:v>38.169444444444444</c:v>
                </c:pt>
                <c:pt idx="13742">
                  <c:v>38.172222222222224</c:v>
                </c:pt>
                <c:pt idx="13743">
                  <c:v>38.174999999999997</c:v>
                </c:pt>
                <c:pt idx="13744">
                  <c:v>38.177777777777777</c:v>
                </c:pt>
                <c:pt idx="13745">
                  <c:v>38.180555555555557</c:v>
                </c:pt>
                <c:pt idx="13746">
                  <c:v>38.18333333333333</c:v>
                </c:pt>
                <c:pt idx="13747">
                  <c:v>38.18611111111111</c:v>
                </c:pt>
                <c:pt idx="13748">
                  <c:v>38.18888888888889</c:v>
                </c:pt>
                <c:pt idx="13749">
                  <c:v>38.19166666666667</c:v>
                </c:pt>
                <c:pt idx="13750">
                  <c:v>38.194444444444443</c:v>
                </c:pt>
                <c:pt idx="13751">
                  <c:v>38.197222222222223</c:v>
                </c:pt>
                <c:pt idx="13752">
                  <c:v>38.200000000000003</c:v>
                </c:pt>
                <c:pt idx="13753">
                  <c:v>38.202777777777776</c:v>
                </c:pt>
                <c:pt idx="13754">
                  <c:v>38.205555555555556</c:v>
                </c:pt>
                <c:pt idx="13755">
                  <c:v>38.208333333333336</c:v>
                </c:pt>
                <c:pt idx="13756">
                  <c:v>38.211111111111109</c:v>
                </c:pt>
                <c:pt idx="13757">
                  <c:v>38.213888888888889</c:v>
                </c:pt>
                <c:pt idx="13758">
                  <c:v>38.216666666666669</c:v>
                </c:pt>
                <c:pt idx="13759">
                  <c:v>38.219444444444441</c:v>
                </c:pt>
                <c:pt idx="13760">
                  <c:v>38.222222222222221</c:v>
                </c:pt>
                <c:pt idx="13761">
                  <c:v>38.225000000000001</c:v>
                </c:pt>
                <c:pt idx="13762">
                  <c:v>38.227777777777774</c:v>
                </c:pt>
                <c:pt idx="13763">
                  <c:v>38.230555555555554</c:v>
                </c:pt>
                <c:pt idx="13764">
                  <c:v>38.233333333333334</c:v>
                </c:pt>
                <c:pt idx="13765">
                  <c:v>38.236111111111114</c:v>
                </c:pt>
                <c:pt idx="13766">
                  <c:v>38.238888888888887</c:v>
                </c:pt>
                <c:pt idx="13767">
                  <c:v>38.241666666666667</c:v>
                </c:pt>
                <c:pt idx="13768">
                  <c:v>38.244444444444447</c:v>
                </c:pt>
                <c:pt idx="13769">
                  <c:v>38.24722222222222</c:v>
                </c:pt>
                <c:pt idx="13770">
                  <c:v>38.25</c:v>
                </c:pt>
                <c:pt idx="13771">
                  <c:v>38.25277777777778</c:v>
                </c:pt>
                <c:pt idx="13772">
                  <c:v>38.255555555555553</c:v>
                </c:pt>
                <c:pt idx="13773">
                  <c:v>38.258333333333333</c:v>
                </c:pt>
                <c:pt idx="13774">
                  <c:v>38.261111111111113</c:v>
                </c:pt>
                <c:pt idx="13775">
                  <c:v>38.263888888888886</c:v>
                </c:pt>
                <c:pt idx="13776">
                  <c:v>38.266666666666666</c:v>
                </c:pt>
                <c:pt idx="13777">
                  <c:v>38.269444444444446</c:v>
                </c:pt>
                <c:pt idx="13778">
                  <c:v>38.272222222222226</c:v>
                </c:pt>
                <c:pt idx="13779">
                  <c:v>38.274999999999999</c:v>
                </c:pt>
                <c:pt idx="13780">
                  <c:v>38.277777777777779</c:v>
                </c:pt>
                <c:pt idx="13781">
                  <c:v>38.280555555555559</c:v>
                </c:pt>
                <c:pt idx="13782">
                  <c:v>38.283333333333331</c:v>
                </c:pt>
                <c:pt idx="13783">
                  <c:v>38.286111111111111</c:v>
                </c:pt>
                <c:pt idx="13784">
                  <c:v>38.288888888888891</c:v>
                </c:pt>
                <c:pt idx="13785">
                  <c:v>38.291666666666664</c:v>
                </c:pt>
                <c:pt idx="13786">
                  <c:v>38.294444444444444</c:v>
                </c:pt>
                <c:pt idx="13787">
                  <c:v>38.297222222222224</c:v>
                </c:pt>
                <c:pt idx="13788">
                  <c:v>38.299999999999997</c:v>
                </c:pt>
                <c:pt idx="13789">
                  <c:v>38.302777777777777</c:v>
                </c:pt>
                <c:pt idx="13790">
                  <c:v>38.305555555555557</c:v>
                </c:pt>
                <c:pt idx="13791">
                  <c:v>38.30833333333333</c:v>
                </c:pt>
                <c:pt idx="13792">
                  <c:v>38.31111111111111</c:v>
                </c:pt>
                <c:pt idx="13793">
                  <c:v>38.31388888888889</c:v>
                </c:pt>
                <c:pt idx="13794">
                  <c:v>38.31666666666667</c:v>
                </c:pt>
                <c:pt idx="13795">
                  <c:v>38.319444444444443</c:v>
                </c:pt>
                <c:pt idx="13796">
                  <c:v>38.322222222222223</c:v>
                </c:pt>
                <c:pt idx="13797">
                  <c:v>38.325000000000003</c:v>
                </c:pt>
                <c:pt idx="13798">
                  <c:v>38.327777777777776</c:v>
                </c:pt>
                <c:pt idx="13799">
                  <c:v>38.330555555555556</c:v>
                </c:pt>
                <c:pt idx="13800">
                  <c:v>38.333333333333336</c:v>
                </c:pt>
                <c:pt idx="13801">
                  <c:v>38.336111111111109</c:v>
                </c:pt>
                <c:pt idx="13802">
                  <c:v>38.338888888888889</c:v>
                </c:pt>
                <c:pt idx="13803">
                  <c:v>38.341666666666669</c:v>
                </c:pt>
                <c:pt idx="13804">
                  <c:v>38.344444444444441</c:v>
                </c:pt>
                <c:pt idx="13805">
                  <c:v>38.347222222222221</c:v>
                </c:pt>
                <c:pt idx="13806">
                  <c:v>38.35</c:v>
                </c:pt>
                <c:pt idx="13807">
                  <c:v>38.352777777777774</c:v>
                </c:pt>
                <c:pt idx="13808">
                  <c:v>38.355555555555554</c:v>
                </c:pt>
                <c:pt idx="13809">
                  <c:v>38.358333333333334</c:v>
                </c:pt>
                <c:pt idx="13810">
                  <c:v>38.361111111111114</c:v>
                </c:pt>
                <c:pt idx="13811">
                  <c:v>38.363888888888887</c:v>
                </c:pt>
                <c:pt idx="13812">
                  <c:v>38.366666666666667</c:v>
                </c:pt>
                <c:pt idx="13813">
                  <c:v>38.369444444444447</c:v>
                </c:pt>
                <c:pt idx="13814">
                  <c:v>38.37222222222222</c:v>
                </c:pt>
                <c:pt idx="13815">
                  <c:v>38.375</c:v>
                </c:pt>
                <c:pt idx="13816">
                  <c:v>38.37777777777778</c:v>
                </c:pt>
                <c:pt idx="13817">
                  <c:v>38.380555555555553</c:v>
                </c:pt>
                <c:pt idx="13818">
                  <c:v>38.383333333333333</c:v>
                </c:pt>
                <c:pt idx="13819">
                  <c:v>38.386111111111113</c:v>
                </c:pt>
                <c:pt idx="13820">
                  <c:v>38.388888888888886</c:v>
                </c:pt>
                <c:pt idx="13821">
                  <c:v>38.391666666666666</c:v>
                </c:pt>
                <c:pt idx="13822">
                  <c:v>38.394444444444446</c:v>
                </c:pt>
                <c:pt idx="13823">
                  <c:v>38.397222222222226</c:v>
                </c:pt>
                <c:pt idx="13824">
                  <c:v>38.4</c:v>
                </c:pt>
                <c:pt idx="13825">
                  <c:v>38.402777777777779</c:v>
                </c:pt>
                <c:pt idx="13826">
                  <c:v>38.405555555555559</c:v>
                </c:pt>
                <c:pt idx="13827">
                  <c:v>38.408333333333331</c:v>
                </c:pt>
                <c:pt idx="13828">
                  <c:v>38.411111111111111</c:v>
                </c:pt>
                <c:pt idx="13829">
                  <c:v>38.413888888888891</c:v>
                </c:pt>
                <c:pt idx="13830">
                  <c:v>38.416666666666664</c:v>
                </c:pt>
                <c:pt idx="13831">
                  <c:v>38.419444444444444</c:v>
                </c:pt>
                <c:pt idx="13832">
                  <c:v>38.422222222222224</c:v>
                </c:pt>
                <c:pt idx="13833">
                  <c:v>38.424999999999997</c:v>
                </c:pt>
                <c:pt idx="13834">
                  <c:v>38.427777777777777</c:v>
                </c:pt>
                <c:pt idx="13835">
                  <c:v>38.430555555555557</c:v>
                </c:pt>
                <c:pt idx="13836">
                  <c:v>38.43333333333333</c:v>
                </c:pt>
                <c:pt idx="13837">
                  <c:v>38.43611111111111</c:v>
                </c:pt>
                <c:pt idx="13838">
                  <c:v>38.43888888888889</c:v>
                </c:pt>
                <c:pt idx="13839">
                  <c:v>38.44166666666667</c:v>
                </c:pt>
                <c:pt idx="13840">
                  <c:v>38.444444444444443</c:v>
                </c:pt>
                <c:pt idx="13841">
                  <c:v>38.447222222222223</c:v>
                </c:pt>
                <c:pt idx="13842">
                  <c:v>38.450000000000003</c:v>
                </c:pt>
                <c:pt idx="13843">
                  <c:v>38.452777777777776</c:v>
                </c:pt>
                <c:pt idx="13844">
                  <c:v>38.455555555555556</c:v>
                </c:pt>
                <c:pt idx="13845">
                  <c:v>38.458333333333336</c:v>
                </c:pt>
                <c:pt idx="13846">
                  <c:v>38.461111111111109</c:v>
                </c:pt>
                <c:pt idx="13847">
                  <c:v>38.463888888888889</c:v>
                </c:pt>
                <c:pt idx="13848">
                  <c:v>38.466666666666669</c:v>
                </c:pt>
                <c:pt idx="13849">
                  <c:v>38.469444444444441</c:v>
                </c:pt>
                <c:pt idx="13850">
                  <c:v>38.472222222222221</c:v>
                </c:pt>
                <c:pt idx="13851">
                  <c:v>38.475000000000001</c:v>
                </c:pt>
                <c:pt idx="13852">
                  <c:v>38.477777777777774</c:v>
                </c:pt>
                <c:pt idx="13853">
                  <c:v>38.480555555555554</c:v>
                </c:pt>
                <c:pt idx="13854">
                  <c:v>38.483333333333334</c:v>
                </c:pt>
                <c:pt idx="13855">
                  <c:v>38.486111111111114</c:v>
                </c:pt>
                <c:pt idx="13856">
                  <c:v>38.488888888888887</c:v>
                </c:pt>
                <c:pt idx="13857">
                  <c:v>38.491666666666667</c:v>
                </c:pt>
                <c:pt idx="13858">
                  <c:v>38.494444444444447</c:v>
                </c:pt>
                <c:pt idx="13859">
                  <c:v>38.49722222222222</c:v>
                </c:pt>
                <c:pt idx="13860">
                  <c:v>38.5</c:v>
                </c:pt>
                <c:pt idx="13861">
                  <c:v>38.50277777777778</c:v>
                </c:pt>
                <c:pt idx="13862">
                  <c:v>38.505555555555553</c:v>
                </c:pt>
                <c:pt idx="13863">
                  <c:v>38.508333333333333</c:v>
                </c:pt>
                <c:pt idx="13864">
                  <c:v>38.511111111111113</c:v>
                </c:pt>
                <c:pt idx="13865">
                  <c:v>38.513888888888886</c:v>
                </c:pt>
                <c:pt idx="13866">
                  <c:v>38.516666666666666</c:v>
                </c:pt>
                <c:pt idx="13867">
                  <c:v>38.519444444444446</c:v>
                </c:pt>
                <c:pt idx="13868">
                  <c:v>38.522222222222226</c:v>
                </c:pt>
                <c:pt idx="13869">
                  <c:v>38.524999999999999</c:v>
                </c:pt>
                <c:pt idx="13870">
                  <c:v>38.527777777777779</c:v>
                </c:pt>
                <c:pt idx="13871">
                  <c:v>38.530555555555559</c:v>
                </c:pt>
                <c:pt idx="13872">
                  <c:v>38.533333333333331</c:v>
                </c:pt>
                <c:pt idx="13873">
                  <c:v>38.536111111111111</c:v>
                </c:pt>
                <c:pt idx="13874">
                  <c:v>38.538888888888891</c:v>
                </c:pt>
                <c:pt idx="13875">
                  <c:v>38.541666666666664</c:v>
                </c:pt>
                <c:pt idx="13876">
                  <c:v>38.544444444444444</c:v>
                </c:pt>
                <c:pt idx="13877">
                  <c:v>38.547222222222224</c:v>
                </c:pt>
                <c:pt idx="13878">
                  <c:v>38.549999999999997</c:v>
                </c:pt>
                <c:pt idx="13879">
                  <c:v>38.552777777777777</c:v>
                </c:pt>
                <c:pt idx="13880">
                  <c:v>38.555555555555557</c:v>
                </c:pt>
                <c:pt idx="13881">
                  <c:v>38.55833333333333</c:v>
                </c:pt>
                <c:pt idx="13882">
                  <c:v>38.56111111111111</c:v>
                </c:pt>
                <c:pt idx="13883">
                  <c:v>38.56388888888889</c:v>
                </c:pt>
                <c:pt idx="13884">
                  <c:v>38.56666666666667</c:v>
                </c:pt>
                <c:pt idx="13885">
                  <c:v>38.569444444444443</c:v>
                </c:pt>
                <c:pt idx="13886">
                  <c:v>38.572222222222223</c:v>
                </c:pt>
                <c:pt idx="13887">
                  <c:v>38.575000000000003</c:v>
                </c:pt>
                <c:pt idx="13888">
                  <c:v>38.577777777777776</c:v>
                </c:pt>
                <c:pt idx="13889">
                  <c:v>38.580555555555556</c:v>
                </c:pt>
                <c:pt idx="13890">
                  <c:v>38.583333333333336</c:v>
                </c:pt>
                <c:pt idx="13891">
                  <c:v>38.586111111111109</c:v>
                </c:pt>
                <c:pt idx="13892">
                  <c:v>38.588888888888889</c:v>
                </c:pt>
                <c:pt idx="13893">
                  <c:v>38.591666666666669</c:v>
                </c:pt>
                <c:pt idx="13894">
                  <c:v>38.594444444444441</c:v>
                </c:pt>
                <c:pt idx="13895">
                  <c:v>38.597222222222221</c:v>
                </c:pt>
                <c:pt idx="13896">
                  <c:v>38.6</c:v>
                </c:pt>
                <c:pt idx="13897">
                  <c:v>38.602777777777774</c:v>
                </c:pt>
                <c:pt idx="13898">
                  <c:v>38.605555555555554</c:v>
                </c:pt>
                <c:pt idx="13899">
                  <c:v>38.608333333333334</c:v>
                </c:pt>
                <c:pt idx="13900">
                  <c:v>38.611111111111114</c:v>
                </c:pt>
                <c:pt idx="13901">
                  <c:v>38.613888888888887</c:v>
                </c:pt>
                <c:pt idx="13902">
                  <c:v>38.616666666666667</c:v>
                </c:pt>
                <c:pt idx="13903">
                  <c:v>38.619444444444447</c:v>
                </c:pt>
                <c:pt idx="13904">
                  <c:v>38.62222222222222</c:v>
                </c:pt>
                <c:pt idx="13905">
                  <c:v>38.625</c:v>
                </c:pt>
                <c:pt idx="13906">
                  <c:v>38.62777777777778</c:v>
                </c:pt>
                <c:pt idx="13907">
                  <c:v>38.630555555555553</c:v>
                </c:pt>
                <c:pt idx="13908">
                  <c:v>38.633333333333333</c:v>
                </c:pt>
                <c:pt idx="13909">
                  <c:v>38.636111111111113</c:v>
                </c:pt>
                <c:pt idx="13910">
                  <c:v>38.638888888888886</c:v>
                </c:pt>
                <c:pt idx="13911">
                  <c:v>38.641666666666666</c:v>
                </c:pt>
                <c:pt idx="13912">
                  <c:v>38.644444444444446</c:v>
                </c:pt>
                <c:pt idx="13913">
                  <c:v>38.647222222222226</c:v>
                </c:pt>
                <c:pt idx="13914">
                  <c:v>38.65</c:v>
                </c:pt>
                <c:pt idx="13915">
                  <c:v>38.652777777777779</c:v>
                </c:pt>
                <c:pt idx="13916">
                  <c:v>38.655555555555559</c:v>
                </c:pt>
                <c:pt idx="13917">
                  <c:v>38.658333333333331</c:v>
                </c:pt>
                <c:pt idx="13918">
                  <c:v>38.661111111111111</c:v>
                </c:pt>
                <c:pt idx="13919">
                  <c:v>38.663888888888891</c:v>
                </c:pt>
                <c:pt idx="13920">
                  <c:v>38.666666666666664</c:v>
                </c:pt>
                <c:pt idx="13921">
                  <c:v>38.669444444444444</c:v>
                </c:pt>
                <c:pt idx="13922">
                  <c:v>38.672222222222224</c:v>
                </c:pt>
                <c:pt idx="13923">
                  <c:v>38.674999999999997</c:v>
                </c:pt>
                <c:pt idx="13924">
                  <c:v>38.677777777777777</c:v>
                </c:pt>
                <c:pt idx="13925">
                  <c:v>38.680555555555557</c:v>
                </c:pt>
                <c:pt idx="13926">
                  <c:v>38.68333333333333</c:v>
                </c:pt>
                <c:pt idx="13927">
                  <c:v>38.68611111111111</c:v>
                </c:pt>
                <c:pt idx="13928">
                  <c:v>38.68888888888889</c:v>
                </c:pt>
                <c:pt idx="13929">
                  <c:v>38.69166666666667</c:v>
                </c:pt>
                <c:pt idx="13930">
                  <c:v>38.694444444444443</c:v>
                </c:pt>
                <c:pt idx="13931">
                  <c:v>38.697222222222223</c:v>
                </c:pt>
                <c:pt idx="13932">
                  <c:v>38.700000000000003</c:v>
                </c:pt>
                <c:pt idx="13933">
                  <c:v>38.702777777777776</c:v>
                </c:pt>
                <c:pt idx="13934">
                  <c:v>38.705555555555556</c:v>
                </c:pt>
                <c:pt idx="13935">
                  <c:v>38.708333333333336</c:v>
                </c:pt>
                <c:pt idx="13936">
                  <c:v>38.711111111111109</c:v>
                </c:pt>
                <c:pt idx="13937">
                  <c:v>38.713888888888889</c:v>
                </c:pt>
                <c:pt idx="13938">
                  <c:v>38.716666666666669</c:v>
                </c:pt>
                <c:pt idx="13939">
                  <c:v>38.719444444444441</c:v>
                </c:pt>
                <c:pt idx="13940">
                  <c:v>38.722222222222221</c:v>
                </c:pt>
                <c:pt idx="13941">
                  <c:v>38.725000000000001</c:v>
                </c:pt>
                <c:pt idx="13942">
                  <c:v>38.727777777777774</c:v>
                </c:pt>
                <c:pt idx="13943">
                  <c:v>38.730555555555554</c:v>
                </c:pt>
                <c:pt idx="13944">
                  <c:v>38.733333333333334</c:v>
                </c:pt>
                <c:pt idx="13945">
                  <c:v>38.736111111111114</c:v>
                </c:pt>
                <c:pt idx="13946">
                  <c:v>38.738888888888887</c:v>
                </c:pt>
                <c:pt idx="13947">
                  <c:v>38.741666666666667</c:v>
                </c:pt>
                <c:pt idx="13948">
                  <c:v>38.744444444444447</c:v>
                </c:pt>
                <c:pt idx="13949">
                  <c:v>38.74722222222222</c:v>
                </c:pt>
                <c:pt idx="13950">
                  <c:v>38.75</c:v>
                </c:pt>
                <c:pt idx="13951">
                  <c:v>38.75277777777778</c:v>
                </c:pt>
                <c:pt idx="13952">
                  <c:v>38.755555555555553</c:v>
                </c:pt>
                <c:pt idx="13953">
                  <c:v>38.758333333333333</c:v>
                </c:pt>
                <c:pt idx="13954">
                  <c:v>38.761111111111113</c:v>
                </c:pt>
                <c:pt idx="13955">
                  <c:v>38.763888888888886</c:v>
                </c:pt>
                <c:pt idx="13956">
                  <c:v>38.766666666666666</c:v>
                </c:pt>
                <c:pt idx="13957">
                  <c:v>38.769444444444446</c:v>
                </c:pt>
                <c:pt idx="13958">
                  <c:v>38.772222222222226</c:v>
                </c:pt>
                <c:pt idx="13959">
                  <c:v>38.774999999999999</c:v>
                </c:pt>
                <c:pt idx="13960">
                  <c:v>38.777777777777779</c:v>
                </c:pt>
                <c:pt idx="13961">
                  <c:v>38.780555555555559</c:v>
                </c:pt>
                <c:pt idx="13962">
                  <c:v>38.783333333333331</c:v>
                </c:pt>
                <c:pt idx="13963">
                  <c:v>38.786111111111111</c:v>
                </c:pt>
                <c:pt idx="13964">
                  <c:v>38.788888888888891</c:v>
                </c:pt>
                <c:pt idx="13965">
                  <c:v>38.791666666666664</c:v>
                </c:pt>
                <c:pt idx="13966">
                  <c:v>38.794444444444444</c:v>
                </c:pt>
                <c:pt idx="13967">
                  <c:v>38.797222222222224</c:v>
                </c:pt>
                <c:pt idx="13968">
                  <c:v>38.799999999999997</c:v>
                </c:pt>
                <c:pt idx="13969">
                  <c:v>38.802777777777777</c:v>
                </c:pt>
                <c:pt idx="13970">
                  <c:v>38.805555555555557</c:v>
                </c:pt>
                <c:pt idx="13971">
                  <c:v>38.80833333333333</c:v>
                </c:pt>
                <c:pt idx="13972">
                  <c:v>38.81111111111111</c:v>
                </c:pt>
                <c:pt idx="13973">
                  <c:v>38.81388888888889</c:v>
                </c:pt>
                <c:pt idx="13974">
                  <c:v>38.81666666666667</c:v>
                </c:pt>
                <c:pt idx="13975">
                  <c:v>38.819444444444443</c:v>
                </c:pt>
                <c:pt idx="13976">
                  <c:v>38.822222222222223</c:v>
                </c:pt>
                <c:pt idx="13977">
                  <c:v>38.825000000000003</c:v>
                </c:pt>
                <c:pt idx="13978">
                  <c:v>38.827777777777776</c:v>
                </c:pt>
                <c:pt idx="13979">
                  <c:v>38.830555555555556</c:v>
                </c:pt>
                <c:pt idx="13980">
                  <c:v>38.833333333333336</c:v>
                </c:pt>
                <c:pt idx="13981">
                  <c:v>38.836111111111109</c:v>
                </c:pt>
                <c:pt idx="13982">
                  <c:v>38.838888888888889</c:v>
                </c:pt>
                <c:pt idx="13983">
                  <c:v>38.841666666666669</c:v>
                </c:pt>
                <c:pt idx="13984">
                  <c:v>38.844444444444441</c:v>
                </c:pt>
                <c:pt idx="13985">
                  <c:v>38.847222222222221</c:v>
                </c:pt>
                <c:pt idx="13986">
                  <c:v>38.85</c:v>
                </c:pt>
                <c:pt idx="13987">
                  <c:v>38.852777777777774</c:v>
                </c:pt>
                <c:pt idx="13988">
                  <c:v>38.855555555555554</c:v>
                </c:pt>
                <c:pt idx="13989">
                  <c:v>38.858333333333334</c:v>
                </c:pt>
                <c:pt idx="13990">
                  <c:v>38.861111111111114</c:v>
                </c:pt>
                <c:pt idx="13991">
                  <c:v>38.863888888888887</c:v>
                </c:pt>
                <c:pt idx="13992">
                  <c:v>38.866666666666667</c:v>
                </c:pt>
                <c:pt idx="13993">
                  <c:v>38.869444444444447</c:v>
                </c:pt>
                <c:pt idx="13994">
                  <c:v>38.87222222222222</c:v>
                </c:pt>
                <c:pt idx="13995">
                  <c:v>38.875</c:v>
                </c:pt>
                <c:pt idx="13996">
                  <c:v>38.87777777777778</c:v>
                </c:pt>
                <c:pt idx="13997">
                  <c:v>38.880555555555553</c:v>
                </c:pt>
                <c:pt idx="13998">
                  <c:v>38.883333333333333</c:v>
                </c:pt>
                <c:pt idx="13999">
                  <c:v>38.886111111111113</c:v>
                </c:pt>
                <c:pt idx="14000">
                  <c:v>38.888888888888886</c:v>
                </c:pt>
                <c:pt idx="14001">
                  <c:v>38.891666666666666</c:v>
                </c:pt>
                <c:pt idx="14002">
                  <c:v>38.894444444444446</c:v>
                </c:pt>
                <c:pt idx="14003">
                  <c:v>38.897222222222226</c:v>
                </c:pt>
                <c:pt idx="14004">
                  <c:v>38.9</c:v>
                </c:pt>
                <c:pt idx="14005">
                  <c:v>38.902777777777779</c:v>
                </c:pt>
                <c:pt idx="14006">
                  <c:v>38.905555555555559</c:v>
                </c:pt>
                <c:pt idx="14007">
                  <c:v>38.908333333333331</c:v>
                </c:pt>
                <c:pt idx="14008">
                  <c:v>38.911111111111111</c:v>
                </c:pt>
                <c:pt idx="14009">
                  <c:v>38.913888888888891</c:v>
                </c:pt>
                <c:pt idx="14010">
                  <c:v>38.916666666666664</c:v>
                </c:pt>
                <c:pt idx="14011">
                  <c:v>38.919444444444444</c:v>
                </c:pt>
                <c:pt idx="14012">
                  <c:v>38.922222222222224</c:v>
                </c:pt>
                <c:pt idx="14013">
                  <c:v>38.924999999999997</c:v>
                </c:pt>
                <c:pt idx="14014">
                  <c:v>38.927777777777777</c:v>
                </c:pt>
                <c:pt idx="14015">
                  <c:v>38.930555555555557</c:v>
                </c:pt>
                <c:pt idx="14016">
                  <c:v>38.93333333333333</c:v>
                </c:pt>
                <c:pt idx="14017">
                  <c:v>38.93611111111111</c:v>
                </c:pt>
                <c:pt idx="14018">
                  <c:v>38.93888888888889</c:v>
                </c:pt>
                <c:pt idx="14019">
                  <c:v>38.94166666666667</c:v>
                </c:pt>
                <c:pt idx="14020">
                  <c:v>38.944444444444443</c:v>
                </c:pt>
                <c:pt idx="14021">
                  <c:v>38.947222222222223</c:v>
                </c:pt>
                <c:pt idx="14022">
                  <c:v>38.950000000000003</c:v>
                </c:pt>
                <c:pt idx="14023">
                  <c:v>38.952777777777776</c:v>
                </c:pt>
                <c:pt idx="14024">
                  <c:v>38.955555555555556</c:v>
                </c:pt>
                <c:pt idx="14025">
                  <c:v>38.958333333333336</c:v>
                </c:pt>
                <c:pt idx="14026">
                  <c:v>38.961111111111109</c:v>
                </c:pt>
                <c:pt idx="14027">
                  <c:v>38.963888888888889</c:v>
                </c:pt>
                <c:pt idx="14028">
                  <c:v>38.966666666666669</c:v>
                </c:pt>
                <c:pt idx="14029">
                  <c:v>38.969444444444441</c:v>
                </c:pt>
                <c:pt idx="14030">
                  <c:v>38.972222222222221</c:v>
                </c:pt>
                <c:pt idx="14031">
                  <c:v>38.975000000000001</c:v>
                </c:pt>
                <c:pt idx="14032">
                  <c:v>38.977777777777774</c:v>
                </c:pt>
                <c:pt idx="14033">
                  <c:v>38.980555555555554</c:v>
                </c:pt>
                <c:pt idx="14034">
                  <c:v>38.983333333333334</c:v>
                </c:pt>
                <c:pt idx="14035">
                  <c:v>38.986111111111114</c:v>
                </c:pt>
                <c:pt idx="14036">
                  <c:v>38.988888888888887</c:v>
                </c:pt>
                <c:pt idx="14037">
                  <c:v>38.991666666666667</c:v>
                </c:pt>
                <c:pt idx="14038">
                  <c:v>38.994444444444447</c:v>
                </c:pt>
                <c:pt idx="14039">
                  <c:v>38.99722222222222</c:v>
                </c:pt>
                <c:pt idx="14040">
                  <c:v>39</c:v>
                </c:pt>
                <c:pt idx="14041">
                  <c:v>39.00277777777778</c:v>
                </c:pt>
                <c:pt idx="14042">
                  <c:v>39.005555555555553</c:v>
                </c:pt>
                <c:pt idx="14043">
                  <c:v>39.008333333333333</c:v>
                </c:pt>
                <c:pt idx="14044">
                  <c:v>39.011111111111113</c:v>
                </c:pt>
                <c:pt idx="14045">
                  <c:v>39.013888888888886</c:v>
                </c:pt>
                <c:pt idx="14046">
                  <c:v>39.016666666666666</c:v>
                </c:pt>
                <c:pt idx="14047">
                  <c:v>39.019444444444446</c:v>
                </c:pt>
                <c:pt idx="14048">
                  <c:v>39.022222222222226</c:v>
                </c:pt>
                <c:pt idx="14049">
                  <c:v>39.024999999999999</c:v>
                </c:pt>
                <c:pt idx="14050">
                  <c:v>39.027777777777779</c:v>
                </c:pt>
                <c:pt idx="14051">
                  <c:v>39.030555555555559</c:v>
                </c:pt>
                <c:pt idx="14052">
                  <c:v>39.033333333333331</c:v>
                </c:pt>
                <c:pt idx="14053">
                  <c:v>39.036111111111111</c:v>
                </c:pt>
                <c:pt idx="14054">
                  <c:v>39.038888888888891</c:v>
                </c:pt>
                <c:pt idx="14055">
                  <c:v>39.041666666666664</c:v>
                </c:pt>
                <c:pt idx="14056">
                  <c:v>39.044444444444444</c:v>
                </c:pt>
                <c:pt idx="14057">
                  <c:v>39.047222222222224</c:v>
                </c:pt>
                <c:pt idx="14058">
                  <c:v>39.049999999999997</c:v>
                </c:pt>
                <c:pt idx="14059">
                  <c:v>39.052777777777777</c:v>
                </c:pt>
                <c:pt idx="14060">
                  <c:v>39.055555555555557</c:v>
                </c:pt>
                <c:pt idx="14061">
                  <c:v>39.05833333333333</c:v>
                </c:pt>
                <c:pt idx="14062">
                  <c:v>39.06111111111111</c:v>
                </c:pt>
                <c:pt idx="14063">
                  <c:v>39.06388888888889</c:v>
                </c:pt>
                <c:pt idx="14064">
                  <c:v>39.06666666666667</c:v>
                </c:pt>
                <c:pt idx="14065">
                  <c:v>39.069444444444443</c:v>
                </c:pt>
                <c:pt idx="14066">
                  <c:v>39.072222222222223</c:v>
                </c:pt>
                <c:pt idx="14067">
                  <c:v>39.075000000000003</c:v>
                </c:pt>
                <c:pt idx="14068">
                  <c:v>39.077777777777776</c:v>
                </c:pt>
                <c:pt idx="14069">
                  <c:v>39.080555555555556</c:v>
                </c:pt>
                <c:pt idx="14070">
                  <c:v>39.083333333333336</c:v>
                </c:pt>
                <c:pt idx="14071">
                  <c:v>39.086111111111109</c:v>
                </c:pt>
                <c:pt idx="14072">
                  <c:v>39.088888888888889</c:v>
                </c:pt>
                <c:pt idx="14073">
                  <c:v>39.091666666666669</c:v>
                </c:pt>
                <c:pt idx="14074">
                  <c:v>39.094444444444441</c:v>
                </c:pt>
                <c:pt idx="14075">
                  <c:v>39.097222222222221</c:v>
                </c:pt>
                <c:pt idx="14076">
                  <c:v>39.1</c:v>
                </c:pt>
                <c:pt idx="14077">
                  <c:v>39.102777777777774</c:v>
                </c:pt>
                <c:pt idx="14078">
                  <c:v>39.105555555555554</c:v>
                </c:pt>
                <c:pt idx="14079">
                  <c:v>39.108333333333334</c:v>
                </c:pt>
                <c:pt idx="14080">
                  <c:v>39.111111111111114</c:v>
                </c:pt>
                <c:pt idx="14081">
                  <c:v>39.113888888888887</c:v>
                </c:pt>
                <c:pt idx="14082">
                  <c:v>39.116666666666667</c:v>
                </c:pt>
                <c:pt idx="14083">
                  <c:v>39.119444444444447</c:v>
                </c:pt>
                <c:pt idx="14084">
                  <c:v>39.12222222222222</c:v>
                </c:pt>
                <c:pt idx="14085">
                  <c:v>39.125</c:v>
                </c:pt>
                <c:pt idx="14086">
                  <c:v>39.12777777777778</c:v>
                </c:pt>
                <c:pt idx="14087">
                  <c:v>39.130555555555553</c:v>
                </c:pt>
                <c:pt idx="14088">
                  <c:v>39.133333333333333</c:v>
                </c:pt>
                <c:pt idx="14089">
                  <c:v>39.136111111111113</c:v>
                </c:pt>
                <c:pt idx="14090">
                  <c:v>39.138888888888886</c:v>
                </c:pt>
                <c:pt idx="14091">
                  <c:v>39.141666666666666</c:v>
                </c:pt>
                <c:pt idx="14092">
                  <c:v>39.144444444444446</c:v>
                </c:pt>
                <c:pt idx="14093">
                  <c:v>39.147222222222226</c:v>
                </c:pt>
                <c:pt idx="14094">
                  <c:v>39.15</c:v>
                </c:pt>
                <c:pt idx="14095">
                  <c:v>39.152777777777779</c:v>
                </c:pt>
                <c:pt idx="14096">
                  <c:v>39.155555555555559</c:v>
                </c:pt>
                <c:pt idx="14097">
                  <c:v>39.158333333333331</c:v>
                </c:pt>
                <c:pt idx="14098">
                  <c:v>39.161111111111111</c:v>
                </c:pt>
                <c:pt idx="14099">
                  <c:v>39.163888888888891</c:v>
                </c:pt>
                <c:pt idx="14100">
                  <c:v>39.166666666666664</c:v>
                </c:pt>
                <c:pt idx="14101">
                  <c:v>39.169444444444444</c:v>
                </c:pt>
                <c:pt idx="14102">
                  <c:v>39.172222222222224</c:v>
                </c:pt>
                <c:pt idx="14103">
                  <c:v>39.174999999999997</c:v>
                </c:pt>
                <c:pt idx="14104">
                  <c:v>39.177777777777777</c:v>
                </c:pt>
                <c:pt idx="14105">
                  <c:v>39.180555555555557</c:v>
                </c:pt>
                <c:pt idx="14106">
                  <c:v>39.18333333333333</c:v>
                </c:pt>
                <c:pt idx="14107">
                  <c:v>39.18611111111111</c:v>
                </c:pt>
                <c:pt idx="14108">
                  <c:v>39.18888888888889</c:v>
                </c:pt>
                <c:pt idx="14109">
                  <c:v>39.19166666666667</c:v>
                </c:pt>
                <c:pt idx="14110">
                  <c:v>39.194444444444443</c:v>
                </c:pt>
                <c:pt idx="14111">
                  <c:v>39.197222222222223</c:v>
                </c:pt>
                <c:pt idx="14112">
                  <c:v>39.200000000000003</c:v>
                </c:pt>
                <c:pt idx="14113">
                  <c:v>39.202777777777776</c:v>
                </c:pt>
                <c:pt idx="14114">
                  <c:v>39.205555555555556</c:v>
                </c:pt>
                <c:pt idx="14115">
                  <c:v>39.208333333333336</c:v>
                </c:pt>
                <c:pt idx="14116">
                  <c:v>39.211111111111109</c:v>
                </c:pt>
                <c:pt idx="14117">
                  <c:v>39.213888888888889</c:v>
                </c:pt>
                <c:pt idx="14118">
                  <c:v>39.216666666666669</c:v>
                </c:pt>
                <c:pt idx="14119">
                  <c:v>39.219444444444441</c:v>
                </c:pt>
                <c:pt idx="14120">
                  <c:v>39.222222222222221</c:v>
                </c:pt>
                <c:pt idx="14121">
                  <c:v>39.225000000000001</c:v>
                </c:pt>
                <c:pt idx="14122">
                  <c:v>39.227777777777774</c:v>
                </c:pt>
                <c:pt idx="14123">
                  <c:v>39.230555555555554</c:v>
                </c:pt>
                <c:pt idx="14124">
                  <c:v>39.233333333333334</c:v>
                </c:pt>
                <c:pt idx="14125">
                  <c:v>39.236111111111114</c:v>
                </c:pt>
                <c:pt idx="14126">
                  <c:v>39.238888888888887</c:v>
                </c:pt>
                <c:pt idx="14127">
                  <c:v>39.241666666666667</c:v>
                </c:pt>
                <c:pt idx="14128">
                  <c:v>39.244444444444447</c:v>
                </c:pt>
                <c:pt idx="14129">
                  <c:v>39.24722222222222</c:v>
                </c:pt>
                <c:pt idx="14130">
                  <c:v>39.25</c:v>
                </c:pt>
                <c:pt idx="14131">
                  <c:v>39.25277777777778</c:v>
                </c:pt>
                <c:pt idx="14132">
                  <c:v>39.255555555555553</c:v>
                </c:pt>
                <c:pt idx="14133">
                  <c:v>39.258333333333333</c:v>
                </c:pt>
                <c:pt idx="14134">
                  <c:v>39.261111111111113</c:v>
                </c:pt>
                <c:pt idx="14135">
                  <c:v>39.263888888888886</c:v>
                </c:pt>
                <c:pt idx="14136">
                  <c:v>39.266666666666666</c:v>
                </c:pt>
                <c:pt idx="14137">
                  <c:v>39.269444444444446</c:v>
                </c:pt>
                <c:pt idx="14138">
                  <c:v>39.272222222222226</c:v>
                </c:pt>
                <c:pt idx="14139">
                  <c:v>39.274999999999999</c:v>
                </c:pt>
                <c:pt idx="14140">
                  <c:v>39.277777777777779</c:v>
                </c:pt>
                <c:pt idx="14141">
                  <c:v>39.280555555555559</c:v>
                </c:pt>
                <c:pt idx="14142">
                  <c:v>39.283333333333331</c:v>
                </c:pt>
                <c:pt idx="14143">
                  <c:v>39.286111111111111</c:v>
                </c:pt>
                <c:pt idx="14144">
                  <c:v>39.288888888888891</c:v>
                </c:pt>
                <c:pt idx="14145">
                  <c:v>39.291666666666664</c:v>
                </c:pt>
                <c:pt idx="14146">
                  <c:v>39.294444444444444</c:v>
                </c:pt>
                <c:pt idx="14147">
                  <c:v>39.297222222222224</c:v>
                </c:pt>
                <c:pt idx="14148">
                  <c:v>39.299999999999997</c:v>
                </c:pt>
                <c:pt idx="14149">
                  <c:v>39.302777777777777</c:v>
                </c:pt>
                <c:pt idx="14150">
                  <c:v>39.305555555555557</c:v>
                </c:pt>
                <c:pt idx="14151">
                  <c:v>39.30833333333333</c:v>
                </c:pt>
                <c:pt idx="14152">
                  <c:v>39.31111111111111</c:v>
                </c:pt>
                <c:pt idx="14153">
                  <c:v>39.31388888888889</c:v>
                </c:pt>
                <c:pt idx="14154">
                  <c:v>39.31666666666667</c:v>
                </c:pt>
                <c:pt idx="14155">
                  <c:v>39.319444444444443</c:v>
                </c:pt>
                <c:pt idx="14156">
                  <c:v>39.322222222222223</c:v>
                </c:pt>
                <c:pt idx="14157">
                  <c:v>39.325000000000003</c:v>
                </c:pt>
                <c:pt idx="14158">
                  <c:v>39.327777777777776</c:v>
                </c:pt>
                <c:pt idx="14159">
                  <c:v>39.330555555555556</c:v>
                </c:pt>
                <c:pt idx="14160">
                  <c:v>39.333333333333336</c:v>
                </c:pt>
                <c:pt idx="14161">
                  <c:v>39.336111111111109</c:v>
                </c:pt>
                <c:pt idx="14162">
                  <c:v>39.338888888888889</c:v>
                </c:pt>
                <c:pt idx="14163">
                  <c:v>39.341666666666669</c:v>
                </c:pt>
                <c:pt idx="14164">
                  <c:v>39.344444444444441</c:v>
                </c:pt>
                <c:pt idx="14165">
                  <c:v>39.347222222222221</c:v>
                </c:pt>
                <c:pt idx="14166">
                  <c:v>39.35</c:v>
                </c:pt>
                <c:pt idx="14167">
                  <c:v>39.352777777777774</c:v>
                </c:pt>
                <c:pt idx="14168">
                  <c:v>39.355555555555554</c:v>
                </c:pt>
                <c:pt idx="14169">
                  <c:v>39.358333333333334</c:v>
                </c:pt>
                <c:pt idx="14170">
                  <c:v>39.361111111111114</c:v>
                </c:pt>
                <c:pt idx="14171">
                  <c:v>39.363888888888887</c:v>
                </c:pt>
                <c:pt idx="14172">
                  <c:v>39.366666666666667</c:v>
                </c:pt>
                <c:pt idx="14173">
                  <c:v>39.369444444444447</c:v>
                </c:pt>
                <c:pt idx="14174">
                  <c:v>39.37222222222222</c:v>
                </c:pt>
                <c:pt idx="14175">
                  <c:v>39.375</c:v>
                </c:pt>
                <c:pt idx="14176">
                  <c:v>39.37777777777778</c:v>
                </c:pt>
                <c:pt idx="14177">
                  <c:v>39.380555555555553</c:v>
                </c:pt>
                <c:pt idx="14178">
                  <c:v>39.383333333333333</c:v>
                </c:pt>
                <c:pt idx="14179">
                  <c:v>39.386111111111113</c:v>
                </c:pt>
                <c:pt idx="14180">
                  <c:v>39.388888888888886</c:v>
                </c:pt>
                <c:pt idx="14181">
                  <c:v>39.391666666666666</c:v>
                </c:pt>
                <c:pt idx="14182">
                  <c:v>39.394444444444446</c:v>
                </c:pt>
                <c:pt idx="14183">
                  <c:v>39.397222222222226</c:v>
                </c:pt>
                <c:pt idx="14184">
                  <c:v>39.4</c:v>
                </c:pt>
                <c:pt idx="14185">
                  <c:v>39.402777777777779</c:v>
                </c:pt>
                <c:pt idx="14186">
                  <c:v>39.405555555555559</c:v>
                </c:pt>
                <c:pt idx="14187">
                  <c:v>39.408333333333331</c:v>
                </c:pt>
                <c:pt idx="14188">
                  <c:v>39.411111111111111</c:v>
                </c:pt>
                <c:pt idx="14189">
                  <c:v>39.413888888888891</c:v>
                </c:pt>
                <c:pt idx="14190">
                  <c:v>39.416666666666664</c:v>
                </c:pt>
                <c:pt idx="14191">
                  <c:v>39.419444444444444</c:v>
                </c:pt>
                <c:pt idx="14192">
                  <c:v>39.422222222222224</c:v>
                </c:pt>
                <c:pt idx="14193">
                  <c:v>39.424999999999997</c:v>
                </c:pt>
                <c:pt idx="14194">
                  <c:v>39.427777777777777</c:v>
                </c:pt>
                <c:pt idx="14195">
                  <c:v>39.430555555555557</c:v>
                </c:pt>
                <c:pt idx="14196">
                  <c:v>39.43333333333333</c:v>
                </c:pt>
                <c:pt idx="14197">
                  <c:v>39.43611111111111</c:v>
                </c:pt>
                <c:pt idx="14198">
                  <c:v>39.43888888888889</c:v>
                </c:pt>
                <c:pt idx="14199">
                  <c:v>39.44166666666667</c:v>
                </c:pt>
                <c:pt idx="14200">
                  <c:v>39.444444444444443</c:v>
                </c:pt>
                <c:pt idx="14201">
                  <c:v>39.447222222222223</c:v>
                </c:pt>
                <c:pt idx="14202">
                  <c:v>39.450000000000003</c:v>
                </c:pt>
                <c:pt idx="14203">
                  <c:v>39.452777777777776</c:v>
                </c:pt>
                <c:pt idx="14204">
                  <c:v>39.455555555555556</c:v>
                </c:pt>
                <c:pt idx="14205">
                  <c:v>39.458333333333336</c:v>
                </c:pt>
                <c:pt idx="14206">
                  <c:v>39.461111111111109</c:v>
                </c:pt>
                <c:pt idx="14207">
                  <c:v>39.463888888888889</c:v>
                </c:pt>
                <c:pt idx="14208">
                  <c:v>39.466666666666669</c:v>
                </c:pt>
                <c:pt idx="14209">
                  <c:v>39.469444444444441</c:v>
                </c:pt>
                <c:pt idx="14210">
                  <c:v>39.472222222222221</c:v>
                </c:pt>
                <c:pt idx="14211">
                  <c:v>39.475000000000001</c:v>
                </c:pt>
                <c:pt idx="14212">
                  <c:v>39.477777777777774</c:v>
                </c:pt>
                <c:pt idx="14213">
                  <c:v>39.480555555555554</c:v>
                </c:pt>
                <c:pt idx="14214">
                  <c:v>39.483333333333334</c:v>
                </c:pt>
                <c:pt idx="14215">
                  <c:v>39.486111111111114</c:v>
                </c:pt>
                <c:pt idx="14216">
                  <c:v>39.488888888888887</c:v>
                </c:pt>
                <c:pt idx="14217">
                  <c:v>39.491666666666667</c:v>
                </c:pt>
                <c:pt idx="14218">
                  <c:v>39.494444444444447</c:v>
                </c:pt>
                <c:pt idx="14219">
                  <c:v>39.49722222222222</c:v>
                </c:pt>
                <c:pt idx="14220">
                  <c:v>39.5</c:v>
                </c:pt>
                <c:pt idx="14221">
                  <c:v>39.50277777777778</c:v>
                </c:pt>
                <c:pt idx="14222">
                  <c:v>39.505555555555553</c:v>
                </c:pt>
                <c:pt idx="14223">
                  <c:v>39.508333333333333</c:v>
                </c:pt>
                <c:pt idx="14224">
                  <c:v>39.511111111111113</c:v>
                </c:pt>
                <c:pt idx="14225">
                  <c:v>39.513888888888886</c:v>
                </c:pt>
                <c:pt idx="14226">
                  <c:v>39.516666666666666</c:v>
                </c:pt>
                <c:pt idx="14227">
                  <c:v>39.519444444444446</c:v>
                </c:pt>
                <c:pt idx="14228">
                  <c:v>39.522222222222226</c:v>
                </c:pt>
                <c:pt idx="14229">
                  <c:v>39.524999999999999</c:v>
                </c:pt>
                <c:pt idx="14230">
                  <c:v>39.527777777777779</c:v>
                </c:pt>
                <c:pt idx="14231">
                  <c:v>39.530555555555559</c:v>
                </c:pt>
                <c:pt idx="14232">
                  <c:v>39.533333333333331</c:v>
                </c:pt>
                <c:pt idx="14233">
                  <c:v>39.536111111111111</c:v>
                </c:pt>
                <c:pt idx="14234">
                  <c:v>39.538888888888891</c:v>
                </c:pt>
                <c:pt idx="14235">
                  <c:v>39.541666666666664</c:v>
                </c:pt>
                <c:pt idx="14236">
                  <c:v>39.544444444444444</c:v>
                </c:pt>
                <c:pt idx="14237">
                  <c:v>39.547222222222224</c:v>
                </c:pt>
                <c:pt idx="14238">
                  <c:v>39.549999999999997</c:v>
                </c:pt>
                <c:pt idx="14239">
                  <c:v>39.552777777777777</c:v>
                </c:pt>
                <c:pt idx="14240">
                  <c:v>39.555555555555557</c:v>
                </c:pt>
                <c:pt idx="14241">
                  <c:v>39.55833333333333</c:v>
                </c:pt>
                <c:pt idx="14242">
                  <c:v>39.56111111111111</c:v>
                </c:pt>
                <c:pt idx="14243">
                  <c:v>39.56388888888889</c:v>
                </c:pt>
                <c:pt idx="14244">
                  <c:v>39.56666666666667</c:v>
                </c:pt>
                <c:pt idx="14245">
                  <c:v>39.569444444444443</c:v>
                </c:pt>
                <c:pt idx="14246">
                  <c:v>39.572222222222223</c:v>
                </c:pt>
                <c:pt idx="14247">
                  <c:v>39.575000000000003</c:v>
                </c:pt>
                <c:pt idx="14248">
                  <c:v>39.577777777777776</c:v>
                </c:pt>
                <c:pt idx="14249">
                  <c:v>39.580555555555556</c:v>
                </c:pt>
                <c:pt idx="14250">
                  <c:v>39.583333333333336</c:v>
                </c:pt>
                <c:pt idx="14251">
                  <c:v>39.586111111111109</c:v>
                </c:pt>
                <c:pt idx="14252">
                  <c:v>39.588888888888889</c:v>
                </c:pt>
                <c:pt idx="14253">
                  <c:v>39.591666666666669</c:v>
                </c:pt>
                <c:pt idx="14254">
                  <c:v>39.594444444444441</c:v>
                </c:pt>
                <c:pt idx="14255">
                  <c:v>39.597222222222221</c:v>
                </c:pt>
                <c:pt idx="14256">
                  <c:v>39.6</c:v>
                </c:pt>
                <c:pt idx="14257">
                  <c:v>39.602777777777774</c:v>
                </c:pt>
                <c:pt idx="14258">
                  <c:v>39.605555555555554</c:v>
                </c:pt>
                <c:pt idx="14259">
                  <c:v>39.608333333333334</c:v>
                </c:pt>
                <c:pt idx="14260">
                  <c:v>39.611111111111114</c:v>
                </c:pt>
                <c:pt idx="14261">
                  <c:v>39.613888888888887</c:v>
                </c:pt>
                <c:pt idx="14262">
                  <c:v>39.616666666666667</c:v>
                </c:pt>
                <c:pt idx="14263">
                  <c:v>39.619444444444447</c:v>
                </c:pt>
                <c:pt idx="14264">
                  <c:v>39.62222222222222</c:v>
                </c:pt>
                <c:pt idx="14265">
                  <c:v>39.625</c:v>
                </c:pt>
                <c:pt idx="14266">
                  <c:v>39.62777777777778</c:v>
                </c:pt>
                <c:pt idx="14267">
                  <c:v>39.630555555555553</c:v>
                </c:pt>
                <c:pt idx="14268">
                  <c:v>39.633333333333333</c:v>
                </c:pt>
                <c:pt idx="14269">
                  <c:v>39.636111111111113</c:v>
                </c:pt>
                <c:pt idx="14270">
                  <c:v>39.638888888888886</c:v>
                </c:pt>
                <c:pt idx="14271">
                  <c:v>39.641666666666666</c:v>
                </c:pt>
                <c:pt idx="14272">
                  <c:v>39.644444444444446</c:v>
                </c:pt>
                <c:pt idx="14273">
                  <c:v>39.647222222222226</c:v>
                </c:pt>
                <c:pt idx="14274">
                  <c:v>39.65</c:v>
                </c:pt>
                <c:pt idx="14275">
                  <c:v>39.652777777777779</c:v>
                </c:pt>
                <c:pt idx="14276">
                  <c:v>39.655555555555559</c:v>
                </c:pt>
                <c:pt idx="14277">
                  <c:v>39.658333333333331</c:v>
                </c:pt>
                <c:pt idx="14278">
                  <c:v>39.661111111111111</c:v>
                </c:pt>
                <c:pt idx="14279">
                  <c:v>39.663888888888891</c:v>
                </c:pt>
                <c:pt idx="14280">
                  <c:v>39.666666666666664</c:v>
                </c:pt>
                <c:pt idx="14281">
                  <c:v>39.669444444444444</c:v>
                </c:pt>
                <c:pt idx="14282">
                  <c:v>39.672222222222224</c:v>
                </c:pt>
                <c:pt idx="14283">
                  <c:v>39.674999999999997</c:v>
                </c:pt>
                <c:pt idx="14284">
                  <c:v>39.677777777777777</c:v>
                </c:pt>
                <c:pt idx="14285">
                  <c:v>39.680555555555557</c:v>
                </c:pt>
                <c:pt idx="14286">
                  <c:v>39.68333333333333</c:v>
                </c:pt>
                <c:pt idx="14287">
                  <c:v>39.68611111111111</c:v>
                </c:pt>
                <c:pt idx="14288">
                  <c:v>39.68888888888889</c:v>
                </c:pt>
                <c:pt idx="14289">
                  <c:v>39.69166666666667</c:v>
                </c:pt>
                <c:pt idx="14290">
                  <c:v>39.694444444444443</c:v>
                </c:pt>
                <c:pt idx="14291">
                  <c:v>39.697222222222223</c:v>
                </c:pt>
                <c:pt idx="14292">
                  <c:v>39.700000000000003</c:v>
                </c:pt>
                <c:pt idx="14293">
                  <c:v>39.702777777777776</c:v>
                </c:pt>
                <c:pt idx="14294">
                  <c:v>39.705555555555556</c:v>
                </c:pt>
                <c:pt idx="14295">
                  <c:v>39.708333333333336</c:v>
                </c:pt>
                <c:pt idx="14296">
                  <c:v>39.711111111111109</c:v>
                </c:pt>
                <c:pt idx="14297">
                  <c:v>39.713888888888889</c:v>
                </c:pt>
                <c:pt idx="14298">
                  <c:v>39.716666666666669</c:v>
                </c:pt>
                <c:pt idx="14299">
                  <c:v>39.719444444444441</c:v>
                </c:pt>
                <c:pt idx="14300">
                  <c:v>39.722222222222221</c:v>
                </c:pt>
                <c:pt idx="14301">
                  <c:v>39.725000000000001</c:v>
                </c:pt>
                <c:pt idx="14302">
                  <c:v>39.727777777777774</c:v>
                </c:pt>
                <c:pt idx="14303">
                  <c:v>39.730555555555554</c:v>
                </c:pt>
                <c:pt idx="14304">
                  <c:v>39.733333333333334</c:v>
                </c:pt>
                <c:pt idx="14305">
                  <c:v>39.736111111111114</c:v>
                </c:pt>
                <c:pt idx="14306">
                  <c:v>39.738888888888887</c:v>
                </c:pt>
                <c:pt idx="14307">
                  <c:v>39.741666666666667</c:v>
                </c:pt>
                <c:pt idx="14308">
                  <c:v>39.744444444444447</c:v>
                </c:pt>
                <c:pt idx="14309">
                  <c:v>39.74722222222222</c:v>
                </c:pt>
                <c:pt idx="14310">
                  <c:v>39.75</c:v>
                </c:pt>
                <c:pt idx="14311">
                  <c:v>39.75277777777778</c:v>
                </c:pt>
                <c:pt idx="14312">
                  <c:v>39.755555555555553</c:v>
                </c:pt>
                <c:pt idx="14313">
                  <c:v>39.758333333333333</c:v>
                </c:pt>
                <c:pt idx="14314">
                  <c:v>39.761111111111113</c:v>
                </c:pt>
                <c:pt idx="14315">
                  <c:v>39.763888888888886</c:v>
                </c:pt>
                <c:pt idx="14316">
                  <c:v>39.766666666666666</c:v>
                </c:pt>
                <c:pt idx="14317">
                  <c:v>39.769444444444446</c:v>
                </c:pt>
                <c:pt idx="14318">
                  <c:v>39.772222222222226</c:v>
                </c:pt>
                <c:pt idx="14319">
                  <c:v>39.774999999999999</c:v>
                </c:pt>
                <c:pt idx="14320">
                  <c:v>39.777777777777779</c:v>
                </c:pt>
                <c:pt idx="14321">
                  <c:v>39.780555555555559</c:v>
                </c:pt>
                <c:pt idx="14322">
                  <c:v>39.783333333333331</c:v>
                </c:pt>
                <c:pt idx="14323">
                  <c:v>39.786111111111111</c:v>
                </c:pt>
                <c:pt idx="14324">
                  <c:v>39.788888888888891</c:v>
                </c:pt>
                <c:pt idx="14325">
                  <c:v>39.791666666666664</c:v>
                </c:pt>
                <c:pt idx="14326">
                  <c:v>39.794444444444444</c:v>
                </c:pt>
                <c:pt idx="14327">
                  <c:v>39.797222222222224</c:v>
                </c:pt>
                <c:pt idx="14328">
                  <c:v>39.799999999999997</c:v>
                </c:pt>
                <c:pt idx="14329">
                  <c:v>39.802777777777777</c:v>
                </c:pt>
                <c:pt idx="14330">
                  <c:v>39.805555555555557</c:v>
                </c:pt>
                <c:pt idx="14331">
                  <c:v>39.80833333333333</c:v>
                </c:pt>
                <c:pt idx="14332">
                  <c:v>39.81111111111111</c:v>
                </c:pt>
                <c:pt idx="14333">
                  <c:v>39.81388888888889</c:v>
                </c:pt>
                <c:pt idx="14334">
                  <c:v>39.81666666666667</c:v>
                </c:pt>
                <c:pt idx="14335">
                  <c:v>39.819444444444443</c:v>
                </c:pt>
                <c:pt idx="14336">
                  <c:v>39.822222222222223</c:v>
                </c:pt>
                <c:pt idx="14337">
                  <c:v>39.825000000000003</c:v>
                </c:pt>
                <c:pt idx="14338">
                  <c:v>39.827777777777776</c:v>
                </c:pt>
                <c:pt idx="14339">
                  <c:v>39.830555555555556</c:v>
                </c:pt>
                <c:pt idx="14340">
                  <c:v>39.833333333333336</c:v>
                </c:pt>
                <c:pt idx="14341">
                  <c:v>39.836111111111109</c:v>
                </c:pt>
                <c:pt idx="14342">
                  <c:v>39.838888888888889</c:v>
                </c:pt>
                <c:pt idx="14343">
                  <c:v>39.841666666666669</c:v>
                </c:pt>
                <c:pt idx="14344">
                  <c:v>39.844444444444441</c:v>
                </c:pt>
                <c:pt idx="14345">
                  <c:v>39.847222222222221</c:v>
                </c:pt>
                <c:pt idx="14346">
                  <c:v>39.85</c:v>
                </c:pt>
                <c:pt idx="14347">
                  <c:v>39.852777777777774</c:v>
                </c:pt>
                <c:pt idx="14348">
                  <c:v>39.855555555555554</c:v>
                </c:pt>
                <c:pt idx="14349">
                  <c:v>39.858333333333334</c:v>
                </c:pt>
                <c:pt idx="14350">
                  <c:v>39.861111111111114</c:v>
                </c:pt>
                <c:pt idx="14351">
                  <c:v>39.863888888888887</c:v>
                </c:pt>
                <c:pt idx="14352">
                  <c:v>39.866666666666667</c:v>
                </c:pt>
                <c:pt idx="14353">
                  <c:v>39.869444444444447</c:v>
                </c:pt>
                <c:pt idx="14354">
                  <c:v>39.87222222222222</c:v>
                </c:pt>
                <c:pt idx="14355">
                  <c:v>39.875</c:v>
                </c:pt>
                <c:pt idx="14356">
                  <c:v>39.87777777777778</c:v>
                </c:pt>
                <c:pt idx="14357">
                  <c:v>39.880555555555553</c:v>
                </c:pt>
                <c:pt idx="14358">
                  <c:v>39.883333333333333</c:v>
                </c:pt>
                <c:pt idx="14359">
                  <c:v>39.886111111111113</c:v>
                </c:pt>
                <c:pt idx="14360">
                  <c:v>39.888888888888886</c:v>
                </c:pt>
                <c:pt idx="14361">
                  <c:v>39.891666666666666</c:v>
                </c:pt>
                <c:pt idx="14362">
                  <c:v>39.894444444444446</c:v>
                </c:pt>
                <c:pt idx="14363">
                  <c:v>39.897222222222226</c:v>
                </c:pt>
                <c:pt idx="14364">
                  <c:v>39.9</c:v>
                </c:pt>
                <c:pt idx="14365">
                  <c:v>39.902777777777779</c:v>
                </c:pt>
                <c:pt idx="14366">
                  <c:v>39.905555555555559</c:v>
                </c:pt>
                <c:pt idx="14367">
                  <c:v>39.908333333333331</c:v>
                </c:pt>
                <c:pt idx="14368">
                  <c:v>39.911111111111111</c:v>
                </c:pt>
                <c:pt idx="14369">
                  <c:v>39.913888888888891</c:v>
                </c:pt>
                <c:pt idx="14370">
                  <c:v>39.916666666666664</c:v>
                </c:pt>
                <c:pt idx="14371">
                  <c:v>39.919444444444444</c:v>
                </c:pt>
                <c:pt idx="14372">
                  <c:v>39.922222222222224</c:v>
                </c:pt>
                <c:pt idx="14373">
                  <c:v>39.924999999999997</c:v>
                </c:pt>
                <c:pt idx="14374">
                  <c:v>39.927777777777777</c:v>
                </c:pt>
                <c:pt idx="14375">
                  <c:v>39.930555555555557</c:v>
                </c:pt>
                <c:pt idx="14376">
                  <c:v>39.93333333333333</c:v>
                </c:pt>
                <c:pt idx="14377">
                  <c:v>39.93611111111111</c:v>
                </c:pt>
                <c:pt idx="14378">
                  <c:v>39.93888888888889</c:v>
                </c:pt>
                <c:pt idx="14379">
                  <c:v>39.94166666666667</c:v>
                </c:pt>
                <c:pt idx="14380">
                  <c:v>39.944444444444443</c:v>
                </c:pt>
                <c:pt idx="14381">
                  <c:v>39.947222222222223</c:v>
                </c:pt>
                <c:pt idx="14382">
                  <c:v>39.950000000000003</c:v>
                </c:pt>
                <c:pt idx="14383">
                  <c:v>39.952777777777776</c:v>
                </c:pt>
                <c:pt idx="14384">
                  <c:v>39.955555555555556</c:v>
                </c:pt>
                <c:pt idx="14385">
                  <c:v>39.958333333333336</c:v>
                </c:pt>
                <c:pt idx="14386">
                  <c:v>39.961111111111109</c:v>
                </c:pt>
                <c:pt idx="14387">
                  <c:v>39.963888888888889</c:v>
                </c:pt>
                <c:pt idx="14388">
                  <c:v>39.966666666666669</c:v>
                </c:pt>
                <c:pt idx="14389">
                  <c:v>39.969444444444441</c:v>
                </c:pt>
                <c:pt idx="14390">
                  <c:v>39.972222222222221</c:v>
                </c:pt>
                <c:pt idx="14391">
                  <c:v>39.975000000000001</c:v>
                </c:pt>
                <c:pt idx="14392">
                  <c:v>39.977777777777774</c:v>
                </c:pt>
                <c:pt idx="14393">
                  <c:v>39.980555555555554</c:v>
                </c:pt>
                <c:pt idx="14394">
                  <c:v>39.983333333333334</c:v>
                </c:pt>
                <c:pt idx="14395">
                  <c:v>39.986111111111114</c:v>
                </c:pt>
                <c:pt idx="14396">
                  <c:v>39.988888888888887</c:v>
                </c:pt>
                <c:pt idx="14397">
                  <c:v>39.991666666666667</c:v>
                </c:pt>
                <c:pt idx="14398">
                  <c:v>39.994444444444447</c:v>
                </c:pt>
                <c:pt idx="14399">
                  <c:v>39.99722222222222</c:v>
                </c:pt>
                <c:pt idx="14400">
                  <c:v>40</c:v>
                </c:pt>
                <c:pt idx="14401">
                  <c:v>40.00277777777778</c:v>
                </c:pt>
                <c:pt idx="14402">
                  <c:v>40.005555555555553</c:v>
                </c:pt>
                <c:pt idx="14403">
                  <c:v>40.008333333333333</c:v>
                </c:pt>
                <c:pt idx="14404">
                  <c:v>40.011111111111113</c:v>
                </c:pt>
                <c:pt idx="14405">
                  <c:v>40.013888888888886</c:v>
                </c:pt>
                <c:pt idx="14406">
                  <c:v>40.016666666666666</c:v>
                </c:pt>
                <c:pt idx="14407">
                  <c:v>40.019444444444446</c:v>
                </c:pt>
                <c:pt idx="14408">
                  <c:v>40.022222222222226</c:v>
                </c:pt>
                <c:pt idx="14409">
                  <c:v>40.024999999999999</c:v>
                </c:pt>
                <c:pt idx="14410">
                  <c:v>40.027777777777779</c:v>
                </c:pt>
                <c:pt idx="14411">
                  <c:v>40.030555555555559</c:v>
                </c:pt>
                <c:pt idx="14412">
                  <c:v>40.033333333333331</c:v>
                </c:pt>
                <c:pt idx="14413">
                  <c:v>40.036111111111111</c:v>
                </c:pt>
                <c:pt idx="14414">
                  <c:v>40.038888888888891</c:v>
                </c:pt>
                <c:pt idx="14415">
                  <c:v>40.041666666666664</c:v>
                </c:pt>
                <c:pt idx="14416">
                  <c:v>40.044444444444444</c:v>
                </c:pt>
                <c:pt idx="14417">
                  <c:v>40.047222222222224</c:v>
                </c:pt>
                <c:pt idx="14418">
                  <c:v>40.049999999999997</c:v>
                </c:pt>
                <c:pt idx="14419">
                  <c:v>40.052777777777777</c:v>
                </c:pt>
                <c:pt idx="14420">
                  <c:v>40.055555555555557</c:v>
                </c:pt>
                <c:pt idx="14421">
                  <c:v>40.05833333333333</c:v>
                </c:pt>
                <c:pt idx="14422">
                  <c:v>40.06111111111111</c:v>
                </c:pt>
                <c:pt idx="14423">
                  <c:v>40.06388888888889</c:v>
                </c:pt>
                <c:pt idx="14424">
                  <c:v>40.06666666666667</c:v>
                </c:pt>
                <c:pt idx="14425">
                  <c:v>40.069444444444443</c:v>
                </c:pt>
                <c:pt idx="14426">
                  <c:v>40.072222222222223</c:v>
                </c:pt>
                <c:pt idx="14427">
                  <c:v>40.075000000000003</c:v>
                </c:pt>
                <c:pt idx="14428">
                  <c:v>40.077777777777776</c:v>
                </c:pt>
                <c:pt idx="14429">
                  <c:v>40.080555555555556</c:v>
                </c:pt>
                <c:pt idx="14430">
                  <c:v>40.083333333333336</c:v>
                </c:pt>
                <c:pt idx="14431">
                  <c:v>40.086111111111109</c:v>
                </c:pt>
                <c:pt idx="14432">
                  <c:v>40.088888888888889</c:v>
                </c:pt>
                <c:pt idx="14433">
                  <c:v>40.091666666666669</c:v>
                </c:pt>
                <c:pt idx="14434">
                  <c:v>40.094444444444441</c:v>
                </c:pt>
                <c:pt idx="14435">
                  <c:v>40.097222222222221</c:v>
                </c:pt>
                <c:pt idx="14436">
                  <c:v>40.1</c:v>
                </c:pt>
                <c:pt idx="14437">
                  <c:v>40.102777777777774</c:v>
                </c:pt>
                <c:pt idx="14438">
                  <c:v>40.105555555555554</c:v>
                </c:pt>
                <c:pt idx="14439">
                  <c:v>40.108333333333334</c:v>
                </c:pt>
                <c:pt idx="14440">
                  <c:v>40.111111111111114</c:v>
                </c:pt>
                <c:pt idx="14441">
                  <c:v>40.113888888888887</c:v>
                </c:pt>
                <c:pt idx="14442">
                  <c:v>40.116666666666667</c:v>
                </c:pt>
                <c:pt idx="14443">
                  <c:v>40.119444444444447</c:v>
                </c:pt>
                <c:pt idx="14444">
                  <c:v>40.12222222222222</c:v>
                </c:pt>
                <c:pt idx="14445">
                  <c:v>40.125</c:v>
                </c:pt>
                <c:pt idx="14446">
                  <c:v>40.12777777777778</c:v>
                </c:pt>
                <c:pt idx="14447">
                  <c:v>40.130555555555553</c:v>
                </c:pt>
                <c:pt idx="14448">
                  <c:v>40.133333333333333</c:v>
                </c:pt>
                <c:pt idx="14449">
                  <c:v>40.136111111111113</c:v>
                </c:pt>
                <c:pt idx="14450">
                  <c:v>40.138888888888886</c:v>
                </c:pt>
                <c:pt idx="14451">
                  <c:v>40.141666666666666</c:v>
                </c:pt>
                <c:pt idx="14452">
                  <c:v>40.144444444444446</c:v>
                </c:pt>
                <c:pt idx="14453">
                  <c:v>40.147222222222226</c:v>
                </c:pt>
                <c:pt idx="14454">
                  <c:v>40.15</c:v>
                </c:pt>
                <c:pt idx="14455">
                  <c:v>40.152777777777779</c:v>
                </c:pt>
                <c:pt idx="14456">
                  <c:v>40.155555555555559</c:v>
                </c:pt>
                <c:pt idx="14457">
                  <c:v>40.158333333333331</c:v>
                </c:pt>
                <c:pt idx="14458">
                  <c:v>40.161111111111111</c:v>
                </c:pt>
                <c:pt idx="14459">
                  <c:v>40.163888888888891</c:v>
                </c:pt>
                <c:pt idx="14460">
                  <c:v>40.166666666666664</c:v>
                </c:pt>
                <c:pt idx="14461">
                  <c:v>40.169444444444444</c:v>
                </c:pt>
                <c:pt idx="14462">
                  <c:v>40.172222222222224</c:v>
                </c:pt>
                <c:pt idx="14463">
                  <c:v>40.174999999999997</c:v>
                </c:pt>
                <c:pt idx="14464">
                  <c:v>40.177777777777777</c:v>
                </c:pt>
                <c:pt idx="14465">
                  <c:v>40.180555555555557</c:v>
                </c:pt>
                <c:pt idx="14466">
                  <c:v>40.18333333333333</c:v>
                </c:pt>
                <c:pt idx="14467">
                  <c:v>40.18611111111111</c:v>
                </c:pt>
                <c:pt idx="14468">
                  <c:v>40.18888888888889</c:v>
                </c:pt>
                <c:pt idx="14469">
                  <c:v>40.19166666666667</c:v>
                </c:pt>
                <c:pt idx="14470">
                  <c:v>40.194444444444443</c:v>
                </c:pt>
                <c:pt idx="14471">
                  <c:v>40.197222222222223</c:v>
                </c:pt>
                <c:pt idx="14472">
                  <c:v>40.200000000000003</c:v>
                </c:pt>
                <c:pt idx="14473">
                  <c:v>40.202777777777776</c:v>
                </c:pt>
                <c:pt idx="14474">
                  <c:v>40.205555555555556</c:v>
                </c:pt>
                <c:pt idx="14475">
                  <c:v>40.208333333333336</c:v>
                </c:pt>
                <c:pt idx="14476">
                  <c:v>40.211111111111109</c:v>
                </c:pt>
                <c:pt idx="14477">
                  <c:v>40.213888888888889</c:v>
                </c:pt>
                <c:pt idx="14478">
                  <c:v>40.216666666666669</c:v>
                </c:pt>
                <c:pt idx="14479">
                  <c:v>40.219444444444441</c:v>
                </c:pt>
                <c:pt idx="14480">
                  <c:v>40.222222222222221</c:v>
                </c:pt>
                <c:pt idx="14481">
                  <c:v>40.225000000000001</c:v>
                </c:pt>
                <c:pt idx="14482">
                  <c:v>40.227777777777774</c:v>
                </c:pt>
                <c:pt idx="14483">
                  <c:v>40.230555555555554</c:v>
                </c:pt>
                <c:pt idx="14484">
                  <c:v>40.233333333333334</c:v>
                </c:pt>
                <c:pt idx="14485">
                  <c:v>40.236111111111114</c:v>
                </c:pt>
                <c:pt idx="14486">
                  <c:v>40.238888888888887</c:v>
                </c:pt>
                <c:pt idx="14487">
                  <c:v>40.241666666666667</c:v>
                </c:pt>
                <c:pt idx="14488">
                  <c:v>40.244444444444447</c:v>
                </c:pt>
                <c:pt idx="14489">
                  <c:v>40.24722222222222</c:v>
                </c:pt>
                <c:pt idx="14490">
                  <c:v>40.25</c:v>
                </c:pt>
                <c:pt idx="14491">
                  <c:v>40.25277777777778</c:v>
                </c:pt>
                <c:pt idx="14492">
                  <c:v>40.255555555555553</c:v>
                </c:pt>
                <c:pt idx="14493">
                  <c:v>40.258333333333333</c:v>
                </c:pt>
                <c:pt idx="14494">
                  <c:v>40.261111111111113</c:v>
                </c:pt>
                <c:pt idx="14495">
                  <c:v>40.263888888888886</c:v>
                </c:pt>
                <c:pt idx="14496">
                  <c:v>40.266666666666666</c:v>
                </c:pt>
                <c:pt idx="14497">
                  <c:v>40.269444444444446</c:v>
                </c:pt>
                <c:pt idx="14498">
                  <c:v>40.272222222222226</c:v>
                </c:pt>
                <c:pt idx="14499">
                  <c:v>40.274999999999999</c:v>
                </c:pt>
                <c:pt idx="14500">
                  <c:v>40.277777777777779</c:v>
                </c:pt>
                <c:pt idx="14501">
                  <c:v>40.280555555555559</c:v>
                </c:pt>
                <c:pt idx="14502">
                  <c:v>40.283333333333331</c:v>
                </c:pt>
                <c:pt idx="14503">
                  <c:v>40.286111111111111</c:v>
                </c:pt>
                <c:pt idx="14504">
                  <c:v>40.288888888888891</c:v>
                </c:pt>
                <c:pt idx="14505">
                  <c:v>40.291666666666664</c:v>
                </c:pt>
                <c:pt idx="14506">
                  <c:v>40.294444444444444</c:v>
                </c:pt>
                <c:pt idx="14507">
                  <c:v>40.297222222222224</c:v>
                </c:pt>
                <c:pt idx="14508">
                  <c:v>40.299999999999997</c:v>
                </c:pt>
                <c:pt idx="14509">
                  <c:v>40.302777777777777</c:v>
                </c:pt>
                <c:pt idx="14510">
                  <c:v>40.305555555555557</c:v>
                </c:pt>
                <c:pt idx="14511">
                  <c:v>40.30833333333333</c:v>
                </c:pt>
                <c:pt idx="14512">
                  <c:v>40.31111111111111</c:v>
                </c:pt>
                <c:pt idx="14513">
                  <c:v>40.31388888888889</c:v>
                </c:pt>
                <c:pt idx="14514">
                  <c:v>40.31666666666667</c:v>
                </c:pt>
                <c:pt idx="14515">
                  <c:v>40.319444444444443</c:v>
                </c:pt>
                <c:pt idx="14516">
                  <c:v>40.322222222222223</c:v>
                </c:pt>
                <c:pt idx="14517">
                  <c:v>40.325000000000003</c:v>
                </c:pt>
                <c:pt idx="14518">
                  <c:v>40.327777777777776</c:v>
                </c:pt>
                <c:pt idx="14519">
                  <c:v>40.330555555555556</c:v>
                </c:pt>
                <c:pt idx="14520">
                  <c:v>40.333333333333336</c:v>
                </c:pt>
                <c:pt idx="14521">
                  <c:v>40.336111111111109</c:v>
                </c:pt>
                <c:pt idx="14522">
                  <c:v>40.338888888888889</c:v>
                </c:pt>
                <c:pt idx="14523">
                  <c:v>40.341666666666669</c:v>
                </c:pt>
                <c:pt idx="14524">
                  <c:v>40.344444444444441</c:v>
                </c:pt>
                <c:pt idx="14525">
                  <c:v>40.347222222222221</c:v>
                </c:pt>
                <c:pt idx="14526">
                  <c:v>40.35</c:v>
                </c:pt>
                <c:pt idx="14527">
                  <c:v>40.352777777777774</c:v>
                </c:pt>
                <c:pt idx="14528">
                  <c:v>40.355555555555554</c:v>
                </c:pt>
                <c:pt idx="14529">
                  <c:v>40.358333333333334</c:v>
                </c:pt>
                <c:pt idx="14530">
                  <c:v>40.361111111111114</c:v>
                </c:pt>
                <c:pt idx="14531">
                  <c:v>40.363888888888887</c:v>
                </c:pt>
                <c:pt idx="14532">
                  <c:v>40.366666666666667</c:v>
                </c:pt>
                <c:pt idx="14533">
                  <c:v>40.369444444444447</c:v>
                </c:pt>
                <c:pt idx="14534">
                  <c:v>40.37222222222222</c:v>
                </c:pt>
                <c:pt idx="14535">
                  <c:v>40.375</c:v>
                </c:pt>
                <c:pt idx="14536">
                  <c:v>40.37777777777778</c:v>
                </c:pt>
                <c:pt idx="14537">
                  <c:v>40.380555555555553</c:v>
                </c:pt>
                <c:pt idx="14538">
                  <c:v>40.383333333333333</c:v>
                </c:pt>
                <c:pt idx="14539">
                  <c:v>40.386111111111113</c:v>
                </c:pt>
                <c:pt idx="14540">
                  <c:v>40.388888888888886</c:v>
                </c:pt>
                <c:pt idx="14541">
                  <c:v>40.391666666666666</c:v>
                </c:pt>
                <c:pt idx="14542">
                  <c:v>40.394444444444446</c:v>
                </c:pt>
                <c:pt idx="14543">
                  <c:v>40.397222222222226</c:v>
                </c:pt>
                <c:pt idx="14544">
                  <c:v>40.4</c:v>
                </c:pt>
                <c:pt idx="14545">
                  <c:v>40.402777777777779</c:v>
                </c:pt>
                <c:pt idx="14546">
                  <c:v>40.405555555555559</c:v>
                </c:pt>
                <c:pt idx="14547">
                  <c:v>40.408333333333331</c:v>
                </c:pt>
                <c:pt idx="14548">
                  <c:v>40.411111111111111</c:v>
                </c:pt>
                <c:pt idx="14549">
                  <c:v>40.413888888888891</c:v>
                </c:pt>
                <c:pt idx="14550">
                  <c:v>40.416666666666664</c:v>
                </c:pt>
                <c:pt idx="14551">
                  <c:v>40.419444444444444</c:v>
                </c:pt>
                <c:pt idx="14552">
                  <c:v>40.422222222222224</c:v>
                </c:pt>
                <c:pt idx="14553">
                  <c:v>40.424999999999997</c:v>
                </c:pt>
                <c:pt idx="14554">
                  <c:v>40.427777777777777</c:v>
                </c:pt>
                <c:pt idx="14555">
                  <c:v>40.430555555555557</c:v>
                </c:pt>
                <c:pt idx="14556">
                  <c:v>40.43333333333333</c:v>
                </c:pt>
                <c:pt idx="14557">
                  <c:v>40.43611111111111</c:v>
                </c:pt>
                <c:pt idx="14558">
                  <c:v>40.43888888888889</c:v>
                </c:pt>
                <c:pt idx="14559">
                  <c:v>40.44166666666667</c:v>
                </c:pt>
                <c:pt idx="14560">
                  <c:v>40.444444444444443</c:v>
                </c:pt>
                <c:pt idx="14561">
                  <c:v>40.447222222222223</c:v>
                </c:pt>
                <c:pt idx="14562">
                  <c:v>40.450000000000003</c:v>
                </c:pt>
                <c:pt idx="14563">
                  <c:v>40.452777777777776</c:v>
                </c:pt>
                <c:pt idx="14564">
                  <c:v>40.455555555555556</c:v>
                </c:pt>
                <c:pt idx="14565">
                  <c:v>40.458333333333336</c:v>
                </c:pt>
                <c:pt idx="14566">
                  <c:v>40.461111111111109</c:v>
                </c:pt>
                <c:pt idx="14567">
                  <c:v>40.463888888888889</c:v>
                </c:pt>
                <c:pt idx="14568">
                  <c:v>40.466666666666669</c:v>
                </c:pt>
                <c:pt idx="14569">
                  <c:v>40.469444444444441</c:v>
                </c:pt>
                <c:pt idx="14570">
                  <c:v>40.472222222222221</c:v>
                </c:pt>
                <c:pt idx="14571">
                  <c:v>40.475000000000001</c:v>
                </c:pt>
                <c:pt idx="14572">
                  <c:v>40.477777777777774</c:v>
                </c:pt>
                <c:pt idx="14573">
                  <c:v>40.480555555555554</c:v>
                </c:pt>
                <c:pt idx="14574">
                  <c:v>40.483333333333334</c:v>
                </c:pt>
                <c:pt idx="14575">
                  <c:v>40.486111111111114</c:v>
                </c:pt>
                <c:pt idx="14576">
                  <c:v>40.488888888888887</c:v>
                </c:pt>
                <c:pt idx="14577">
                  <c:v>40.491666666666667</c:v>
                </c:pt>
                <c:pt idx="14578">
                  <c:v>40.494444444444447</c:v>
                </c:pt>
                <c:pt idx="14579">
                  <c:v>40.49722222222222</c:v>
                </c:pt>
                <c:pt idx="14580">
                  <c:v>40.5</c:v>
                </c:pt>
                <c:pt idx="14581">
                  <c:v>40.50277777777778</c:v>
                </c:pt>
                <c:pt idx="14582">
                  <c:v>40.505555555555553</c:v>
                </c:pt>
                <c:pt idx="14583">
                  <c:v>40.508333333333333</c:v>
                </c:pt>
                <c:pt idx="14584">
                  <c:v>40.511111111111113</c:v>
                </c:pt>
                <c:pt idx="14585">
                  <c:v>40.513888888888886</c:v>
                </c:pt>
                <c:pt idx="14586">
                  <c:v>40.516666666666666</c:v>
                </c:pt>
                <c:pt idx="14587">
                  <c:v>40.519444444444446</c:v>
                </c:pt>
                <c:pt idx="14588">
                  <c:v>40.522222222222226</c:v>
                </c:pt>
                <c:pt idx="14589">
                  <c:v>40.524999999999999</c:v>
                </c:pt>
                <c:pt idx="14590">
                  <c:v>40.527777777777779</c:v>
                </c:pt>
                <c:pt idx="14591">
                  <c:v>40.530555555555559</c:v>
                </c:pt>
                <c:pt idx="14592">
                  <c:v>40.533333333333331</c:v>
                </c:pt>
                <c:pt idx="14593">
                  <c:v>40.536111111111111</c:v>
                </c:pt>
                <c:pt idx="14594">
                  <c:v>40.538888888888891</c:v>
                </c:pt>
                <c:pt idx="14595">
                  <c:v>40.541666666666664</c:v>
                </c:pt>
                <c:pt idx="14596">
                  <c:v>40.544444444444444</c:v>
                </c:pt>
                <c:pt idx="14597">
                  <c:v>40.547222222222224</c:v>
                </c:pt>
                <c:pt idx="14598">
                  <c:v>40.549999999999997</c:v>
                </c:pt>
                <c:pt idx="14599">
                  <c:v>40.552777777777777</c:v>
                </c:pt>
                <c:pt idx="14600">
                  <c:v>40.555555555555557</c:v>
                </c:pt>
                <c:pt idx="14601">
                  <c:v>40.55833333333333</c:v>
                </c:pt>
                <c:pt idx="14602">
                  <c:v>40.56111111111111</c:v>
                </c:pt>
                <c:pt idx="14603">
                  <c:v>40.56388888888889</c:v>
                </c:pt>
                <c:pt idx="14604">
                  <c:v>40.56666666666667</c:v>
                </c:pt>
                <c:pt idx="14605">
                  <c:v>40.569444444444443</c:v>
                </c:pt>
                <c:pt idx="14606">
                  <c:v>40.572222222222223</c:v>
                </c:pt>
                <c:pt idx="14607">
                  <c:v>40.575000000000003</c:v>
                </c:pt>
                <c:pt idx="14608">
                  <c:v>40.577777777777776</c:v>
                </c:pt>
                <c:pt idx="14609">
                  <c:v>40.580555555555556</c:v>
                </c:pt>
                <c:pt idx="14610">
                  <c:v>40.583333333333336</c:v>
                </c:pt>
                <c:pt idx="14611">
                  <c:v>40.586111111111109</c:v>
                </c:pt>
                <c:pt idx="14612">
                  <c:v>40.588888888888889</c:v>
                </c:pt>
                <c:pt idx="14613">
                  <c:v>40.591666666666669</c:v>
                </c:pt>
                <c:pt idx="14614">
                  <c:v>40.594444444444441</c:v>
                </c:pt>
                <c:pt idx="14615">
                  <c:v>40.597222222222221</c:v>
                </c:pt>
                <c:pt idx="14616">
                  <c:v>40.6</c:v>
                </c:pt>
                <c:pt idx="14617">
                  <c:v>40.602777777777774</c:v>
                </c:pt>
                <c:pt idx="14618">
                  <c:v>40.605555555555554</c:v>
                </c:pt>
                <c:pt idx="14619">
                  <c:v>40.608333333333334</c:v>
                </c:pt>
                <c:pt idx="14620">
                  <c:v>40.611111111111114</c:v>
                </c:pt>
                <c:pt idx="14621">
                  <c:v>40.613888888888887</c:v>
                </c:pt>
                <c:pt idx="14622">
                  <c:v>40.616666666666667</c:v>
                </c:pt>
                <c:pt idx="14623">
                  <c:v>40.619444444444447</c:v>
                </c:pt>
                <c:pt idx="14624">
                  <c:v>40.62222222222222</c:v>
                </c:pt>
                <c:pt idx="14625">
                  <c:v>40.625</c:v>
                </c:pt>
                <c:pt idx="14626">
                  <c:v>40.62777777777778</c:v>
                </c:pt>
                <c:pt idx="14627">
                  <c:v>40.630555555555553</c:v>
                </c:pt>
                <c:pt idx="14628">
                  <c:v>40.633333333333333</c:v>
                </c:pt>
                <c:pt idx="14629">
                  <c:v>40.636111111111113</c:v>
                </c:pt>
                <c:pt idx="14630">
                  <c:v>40.638888888888886</c:v>
                </c:pt>
                <c:pt idx="14631">
                  <c:v>40.641666666666666</c:v>
                </c:pt>
                <c:pt idx="14632">
                  <c:v>40.644444444444446</c:v>
                </c:pt>
                <c:pt idx="14633">
                  <c:v>40.647222222222226</c:v>
                </c:pt>
                <c:pt idx="14634">
                  <c:v>40.65</c:v>
                </c:pt>
                <c:pt idx="14635">
                  <c:v>40.652777777777779</c:v>
                </c:pt>
                <c:pt idx="14636">
                  <c:v>40.655555555555559</c:v>
                </c:pt>
                <c:pt idx="14637">
                  <c:v>40.658333333333331</c:v>
                </c:pt>
                <c:pt idx="14638">
                  <c:v>40.661111111111111</c:v>
                </c:pt>
                <c:pt idx="14639">
                  <c:v>40.663888888888891</c:v>
                </c:pt>
                <c:pt idx="14640">
                  <c:v>40.666666666666664</c:v>
                </c:pt>
                <c:pt idx="14641">
                  <c:v>40.669444444444444</c:v>
                </c:pt>
                <c:pt idx="14642">
                  <c:v>40.672222222222224</c:v>
                </c:pt>
                <c:pt idx="14643">
                  <c:v>40.674999999999997</c:v>
                </c:pt>
                <c:pt idx="14644">
                  <c:v>40.677777777777777</c:v>
                </c:pt>
                <c:pt idx="14645">
                  <c:v>40.680555555555557</c:v>
                </c:pt>
                <c:pt idx="14646">
                  <c:v>40.68333333333333</c:v>
                </c:pt>
                <c:pt idx="14647">
                  <c:v>40.68611111111111</c:v>
                </c:pt>
                <c:pt idx="14648">
                  <c:v>40.68888888888889</c:v>
                </c:pt>
                <c:pt idx="14649">
                  <c:v>40.69166666666667</c:v>
                </c:pt>
                <c:pt idx="14650">
                  <c:v>40.694444444444443</c:v>
                </c:pt>
                <c:pt idx="14651">
                  <c:v>40.697222222222223</c:v>
                </c:pt>
                <c:pt idx="14652">
                  <c:v>40.700000000000003</c:v>
                </c:pt>
                <c:pt idx="14653">
                  <c:v>40.702777777777776</c:v>
                </c:pt>
                <c:pt idx="14654">
                  <c:v>40.705555555555556</c:v>
                </c:pt>
                <c:pt idx="14655">
                  <c:v>40.708333333333336</c:v>
                </c:pt>
                <c:pt idx="14656">
                  <c:v>40.711111111111109</c:v>
                </c:pt>
                <c:pt idx="14657">
                  <c:v>40.713888888888889</c:v>
                </c:pt>
                <c:pt idx="14658">
                  <c:v>40.716666666666669</c:v>
                </c:pt>
                <c:pt idx="14659">
                  <c:v>40.719444444444441</c:v>
                </c:pt>
                <c:pt idx="14660">
                  <c:v>40.722222222222221</c:v>
                </c:pt>
                <c:pt idx="14661">
                  <c:v>40.725000000000001</c:v>
                </c:pt>
                <c:pt idx="14662">
                  <c:v>40.727777777777774</c:v>
                </c:pt>
                <c:pt idx="14663">
                  <c:v>40.730555555555554</c:v>
                </c:pt>
                <c:pt idx="14664">
                  <c:v>40.733333333333334</c:v>
                </c:pt>
                <c:pt idx="14665">
                  <c:v>40.736111111111114</c:v>
                </c:pt>
                <c:pt idx="14666">
                  <c:v>40.738888888888887</c:v>
                </c:pt>
                <c:pt idx="14667">
                  <c:v>40.741666666666667</c:v>
                </c:pt>
                <c:pt idx="14668">
                  <c:v>40.744444444444447</c:v>
                </c:pt>
                <c:pt idx="14669">
                  <c:v>40.74722222222222</c:v>
                </c:pt>
                <c:pt idx="14670">
                  <c:v>40.75</c:v>
                </c:pt>
                <c:pt idx="14671">
                  <c:v>40.75277777777778</c:v>
                </c:pt>
                <c:pt idx="14672">
                  <c:v>40.755555555555553</c:v>
                </c:pt>
                <c:pt idx="14673">
                  <c:v>40.758333333333333</c:v>
                </c:pt>
                <c:pt idx="14674">
                  <c:v>40.761111111111113</c:v>
                </c:pt>
                <c:pt idx="14675">
                  <c:v>40.763888888888886</c:v>
                </c:pt>
                <c:pt idx="14676">
                  <c:v>40.766666666666666</c:v>
                </c:pt>
                <c:pt idx="14677">
                  <c:v>40.769444444444446</c:v>
                </c:pt>
                <c:pt idx="14678">
                  <c:v>40.772222222222226</c:v>
                </c:pt>
                <c:pt idx="14679">
                  <c:v>40.774999999999999</c:v>
                </c:pt>
                <c:pt idx="14680">
                  <c:v>40.777777777777779</c:v>
                </c:pt>
                <c:pt idx="14681">
                  <c:v>40.780555555555559</c:v>
                </c:pt>
                <c:pt idx="14682">
                  <c:v>40.783333333333331</c:v>
                </c:pt>
                <c:pt idx="14683">
                  <c:v>40.786111111111111</c:v>
                </c:pt>
                <c:pt idx="14684">
                  <c:v>40.788888888888891</c:v>
                </c:pt>
                <c:pt idx="14685">
                  <c:v>40.791666666666664</c:v>
                </c:pt>
                <c:pt idx="14686">
                  <c:v>40.794444444444444</c:v>
                </c:pt>
                <c:pt idx="14687">
                  <c:v>40.797222222222224</c:v>
                </c:pt>
                <c:pt idx="14688">
                  <c:v>40.799999999999997</c:v>
                </c:pt>
                <c:pt idx="14689">
                  <c:v>40.802777777777777</c:v>
                </c:pt>
                <c:pt idx="14690">
                  <c:v>40.805555555555557</c:v>
                </c:pt>
                <c:pt idx="14691">
                  <c:v>40.80833333333333</c:v>
                </c:pt>
                <c:pt idx="14692">
                  <c:v>40.81111111111111</c:v>
                </c:pt>
                <c:pt idx="14693">
                  <c:v>40.81388888888889</c:v>
                </c:pt>
                <c:pt idx="14694">
                  <c:v>40.81666666666667</c:v>
                </c:pt>
                <c:pt idx="14695">
                  <c:v>40.819444444444443</c:v>
                </c:pt>
                <c:pt idx="14696">
                  <c:v>40.822222222222223</c:v>
                </c:pt>
                <c:pt idx="14697">
                  <c:v>40.825000000000003</c:v>
                </c:pt>
                <c:pt idx="14698">
                  <c:v>40.827777777777776</c:v>
                </c:pt>
                <c:pt idx="14699">
                  <c:v>40.830555555555556</c:v>
                </c:pt>
                <c:pt idx="14700">
                  <c:v>40.833333333333336</c:v>
                </c:pt>
                <c:pt idx="14701">
                  <c:v>40.836111111111109</c:v>
                </c:pt>
                <c:pt idx="14702">
                  <c:v>40.838888888888889</c:v>
                </c:pt>
                <c:pt idx="14703">
                  <c:v>40.841666666666669</c:v>
                </c:pt>
                <c:pt idx="14704">
                  <c:v>40.844444444444441</c:v>
                </c:pt>
                <c:pt idx="14705">
                  <c:v>40.847222222222221</c:v>
                </c:pt>
                <c:pt idx="14706">
                  <c:v>40.85</c:v>
                </c:pt>
                <c:pt idx="14707">
                  <c:v>40.852777777777774</c:v>
                </c:pt>
                <c:pt idx="14708">
                  <c:v>40.855555555555554</c:v>
                </c:pt>
                <c:pt idx="14709">
                  <c:v>40.858333333333334</c:v>
                </c:pt>
                <c:pt idx="14710">
                  <c:v>40.861111111111114</c:v>
                </c:pt>
                <c:pt idx="14711">
                  <c:v>40.863888888888887</c:v>
                </c:pt>
                <c:pt idx="14712">
                  <c:v>40.866666666666667</c:v>
                </c:pt>
                <c:pt idx="14713">
                  <c:v>40.869444444444447</c:v>
                </c:pt>
                <c:pt idx="14714">
                  <c:v>40.87222222222222</c:v>
                </c:pt>
                <c:pt idx="14715">
                  <c:v>40.875</c:v>
                </c:pt>
                <c:pt idx="14716">
                  <c:v>40.87777777777778</c:v>
                </c:pt>
                <c:pt idx="14717">
                  <c:v>40.880555555555553</c:v>
                </c:pt>
                <c:pt idx="14718">
                  <c:v>40.883333333333333</c:v>
                </c:pt>
                <c:pt idx="14719">
                  <c:v>40.886111111111113</c:v>
                </c:pt>
                <c:pt idx="14720">
                  <c:v>40.888888888888886</c:v>
                </c:pt>
                <c:pt idx="14721">
                  <c:v>40.891666666666666</c:v>
                </c:pt>
                <c:pt idx="14722">
                  <c:v>40.894444444444446</c:v>
                </c:pt>
                <c:pt idx="14723">
                  <c:v>40.897222222222226</c:v>
                </c:pt>
                <c:pt idx="14724">
                  <c:v>40.9</c:v>
                </c:pt>
                <c:pt idx="14725">
                  <c:v>40.902777777777779</c:v>
                </c:pt>
                <c:pt idx="14726">
                  <c:v>40.905555555555559</c:v>
                </c:pt>
                <c:pt idx="14727">
                  <c:v>40.908333333333331</c:v>
                </c:pt>
                <c:pt idx="14728">
                  <c:v>40.911111111111111</c:v>
                </c:pt>
                <c:pt idx="14729">
                  <c:v>40.913888888888891</c:v>
                </c:pt>
                <c:pt idx="14730">
                  <c:v>40.916666666666664</c:v>
                </c:pt>
                <c:pt idx="14731">
                  <c:v>40.919444444444444</c:v>
                </c:pt>
                <c:pt idx="14732">
                  <c:v>40.922222222222224</c:v>
                </c:pt>
                <c:pt idx="14733">
                  <c:v>40.924999999999997</c:v>
                </c:pt>
                <c:pt idx="14734">
                  <c:v>40.927777777777777</c:v>
                </c:pt>
                <c:pt idx="14735">
                  <c:v>40.930555555555557</c:v>
                </c:pt>
                <c:pt idx="14736">
                  <c:v>40.93333333333333</c:v>
                </c:pt>
                <c:pt idx="14737">
                  <c:v>40.93611111111111</c:v>
                </c:pt>
                <c:pt idx="14738">
                  <c:v>40.93888888888889</c:v>
                </c:pt>
                <c:pt idx="14739">
                  <c:v>40.94166666666667</c:v>
                </c:pt>
                <c:pt idx="14740">
                  <c:v>40.944444444444443</c:v>
                </c:pt>
                <c:pt idx="14741">
                  <c:v>40.947222222222223</c:v>
                </c:pt>
                <c:pt idx="14742">
                  <c:v>40.950000000000003</c:v>
                </c:pt>
                <c:pt idx="14743">
                  <c:v>40.952777777777776</c:v>
                </c:pt>
                <c:pt idx="14744">
                  <c:v>40.955555555555556</c:v>
                </c:pt>
                <c:pt idx="14745">
                  <c:v>40.958333333333336</c:v>
                </c:pt>
                <c:pt idx="14746">
                  <c:v>40.961111111111109</c:v>
                </c:pt>
                <c:pt idx="14747">
                  <c:v>40.963888888888889</c:v>
                </c:pt>
                <c:pt idx="14748">
                  <c:v>40.966666666666669</c:v>
                </c:pt>
                <c:pt idx="14749">
                  <c:v>40.969444444444441</c:v>
                </c:pt>
                <c:pt idx="14750">
                  <c:v>40.972222222222221</c:v>
                </c:pt>
                <c:pt idx="14751">
                  <c:v>40.975000000000001</c:v>
                </c:pt>
                <c:pt idx="14752">
                  <c:v>40.977777777777774</c:v>
                </c:pt>
                <c:pt idx="14753">
                  <c:v>40.980555555555554</c:v>
                </c:pt>
                <c:pt idx="14754">
                  <c:v>40.983333333333334</c:v>
                </c:pt>
                <c:pt idx="14755">
                  <c:v>40.986111111111114</c:v>
                </c:pt>
                <c:pt idx="14756">
                  <c:v>40.988888888888887</c:v>
                </c:pt>
                <c:pt idx="14757">
                  <c:v>40.991666666666667</c:v>
                </c:pt>
                <c:pt idx="14758">
                  <c:v>40.994444444444447</c:v>
                </c:pt>
                <c:pt idx="14759">
                  <c:v>40.99722222222222</c:v>
                </c:pt>
                <c:pt idx="14760">
                  <c:v>41</c:v>
                </c:pt>
                <c:pt idx="14761">
                  <c:v>41.00277777777778</c:v>
                </c:pt>
                <c:pt idx="14762">
                  <c:v>41.005555555555553</c:v>
                </c:pt>
                <c:pt idx="14763">
                  <c:v>41.008333333333333</c:v>
                </c:pt>
                <c:pt idx="14764">
                  <c:v>41.011111111111113</c:v>
                </c:pt>
                <c:pt idx="14765">
                  <c:v>41.013888888888886</c:v>
                </c:pt>
                <c:pt idx="14766">
                  <c:v>41.016666666666666</c:v>
                </c:pt>
                <c:pt idx="14767">
                  <c:v>41.019444444444446</c:v>
                </c:pt>
                <c:pt idx="14768">
                  <c:v>41.022222222222226</c:v>
                </c:pt>
                <c:pt idx="14769">
                  <c:v>41.024999999999999</c:v>
                </c:pt>
                <c:pt idx="14770">
                  <c:v>41.027777777777779</c:v>
                </c:pt>
                <c:pt idx="14771">
                  <c:v>41.030555555555559</c:v>
                </c:pt>
                <c:pt idx="14772">
                  <c:v>41.033333333333331</c:v>
                </c:pt>
                <c:pt idx="14773">
                  <c:v>41.036111111111111</c:v>
                </c:pt>
                <c:pt idx="14774">
                  <c:v>41.038888888888891</c:v>
                </c:pt>
                <c:pt idx="14775">
                  <c:v>41.041666666666664</c:v>
                </c:pt>
                <c:pt idx="14776">
                  <c:v>41.044444444444444</c:v>
                </c:pt>
                <c:pt idx="14777">
                  <c:v>41.047222222222224</c:v>
                </c:pt>
                <c:pt idx="14778">
                  <c:v>41.05</c:v>
                </c:pt>
                <c:pt idx="14779">
                  <c:v>41.052777777777777</c:v>
                </c:pt>
                <c:pt idx="14780">
                  <c:v>41.055555555555557</c:v>
                </c:pt>
                <c:pt idx="14781">
                  <c:v>41.05833333333333</c:v>
                </c:pt>
                <c:pt idx="14782">
                  <c:v>41.06111111111111</c:v>
                </c:pt>
                <c:pt idx="14783">
                  <c:v>41.06388888888889</c:v>
                </c:pt>
                <c:pt idx="14784">
                  <c:v>41.06666666666667</c:v>
                </c:pt>
                <c:pt idx="14785">
                  <c:v>41.069444444444443</c:v>
                </c:pt>
                <c:pt idx="14786">
                  <c:v>41.072222222222223</c:v>
                </c:pt>
                <c:pt idx="14787">
                  <c:v>41.075000000000003</c:v>
                </c:pt>
                <c:pt idx="14788">
                  <c:v>41.077777777777776</c:v>
                </c:pt>
                <c:pt idx="14789">
                  <c:v>41.080555555555556</c:v>
                </c:pt>
                <c:pt idx="14790">
                  <c:v>41.083333333333336</c:v>
                </c:pt>
                <c:pt idx="14791">
                  <c:v>41.086111111111109</c:v>
                </c:pt>
                <c:pt idx="14792">
                  <c:v>41.088888888888889</c:v>
                </c:pt>
                <c:pt idx="14793">
                  <c:v>41.091666666666669</c:v>
                </c:pt>
                <c:pt idx="14794">
                  <c:v>41.094444444444441</c:v>
                </c:pt>
                <c:pt idx="14795">
                  <c:v>41.097222222222221</c:v>
                </c:pt>
                <c:pt idx="14796">
                  <c:v>41.1</c:v>
                </c:pt>
                <c:pt idx="14797">
                  <c:v>41.102777777777774</c:v>
                </c:pt>
                <c:pt idx="14798">
                  <c:v>41.105555555555554</c:v>
                </c:pt>
                <c:pt idx="14799">
                  <c:v>41.108333333333334</c:v>
                </c:pt>
                <c:pt idx="14800">
                  <c:v>41.111111111111114</c:v>
                </c:pt>
                <c:pt idx="14801">
                  <c:v>41.113888888888887</c:v>
                </c:pt>
                <c:pt idx="14802">
                  <c:v>41.116666666666667</c:v>
                </c:pt>
                <c:pt idx="14803">
                  <c:v>41.119444444444447</c:v>
                </c:pt>
                <c:pt idx="14804">
                  <c:v>41.12222222222222</c:v>
                </c:pt>
                <c:pt idx="14805">
                  <c:v>41.125</c:v>
                </c:pt>
                <c:pt idx="14806">
                  <c:v>41.12777777777778</c:v>
                </c:pt>
                <c:pt idx="14807">
                  <c:v>41.130555555555553</c:v>
                </c:pt>
                <c:pt idx="14808">
                  <c:v>41.133333333333333</c:v>
                </c:pt>
                <c:pt idx="14809">
                  <c:v>41.136111111111113</c:v>
                </c:pt>
                <c:pt idx="14810">
                  <c:v>41.138888888888886</c:v>
                </c:pt>
                <c:pt idx="14811">
                  <c:v>41.141666666666666</c:v>
                </c:pt>
                <c:pt idx="14812">
                  <c:v>41.144444444444446</c:v>
                </c:pt>
                <c:pt idx="14813">
                  <c:v>41.147222222222226</c:v>
                </c:pt>
                <c:pt idx="14814">
                  <c:v>41.15</c:v>
                </c:pt>
                <c:pt idx="14815">
                  <c:v>41.152777777777779</c:v>
                </c:pt>
                <c:pt idx="14816">
                  <c:v>41.155555555555559</c:v>
                </c:pt>
                <c:pt idx="14817">
                  <c:v>41.158333333333331</c:v>
                </c:pt>
                <c:pt idx="14818">
                  <c:v>41.161111111111111</c:v>
                </c:pt>
                <c:pt idx="14819">
                  <c:v>41.163888888888891</c:v>
                </c:pt>
                <c:pt idx="14820">
                  <c:v>41.166666666666664</c:v>
                </c:pt>
                <c:pt idx="14821">
                  <c:v>41.169444444444444</c:v>
                </c:pt>
                <c:pt idx="14822">
                  <c:v>41.172222222222224</c:v>
                </c:pt>
                <c:pt idx="14823">
                  <c:v>41.174999999999997</c:v>
                </c:pt>
                <c:pt idx="14824">
                  <c:v>41.177777777777777</c:v>
                </c:pt>
                <c:pt idx="14825">
                  <c:v>41.180555555555557</c:v>
                </c:pt>
                <c:pt idx="14826">
                  <c:v>41.18333333333333</c:v>
                </c:pt>
                <c:pt idx="14827">
                  <c:v>41.18611111111111</c:v>
                </c:pt>
                <c:pt idx="14828">
                  <c:v>41.18888888888889</c:v>
                </c:pt>
                <c:pt idx="14829">
                  <c:v>41.19166666666667</c:v>
                </c:pt>
                <c:pt idx="14830">
                  <c:v>41.194444444444443</c:v>
                </c:pt>
                <c:pt idx="14831">
                  <c:v>41.197222222222223</c:v>
                </c:pt>
                <c:pt idx="14832">
                  <c:v>41.2</c:v>
                </c:pt>
                <c:pt idx="14833">
                  <c:v>41.202777777777776</c:v>
                </c:pt>
                <c:pt idx="14834">
                  <c:v>41.205555555555556</c:v>
                </c:pt>
                <c:pt idx="14835">
                  <c:v>41.208333333333336</c:v>
                </c:pt>
                <c:pt idx="14836">
                  <c:v>41.211111111111109</c:v>
                </c:pt>
                <c:pt idx="14837">
                  <c:v>41.213888888888889</c:v>
                </c:pt>
                <c:pt idx="14838">
                  <c:v>41.216666666666669</c:v>
                </c:pt>
                <c:pt idx="14839">
                  <c:v>41.219444444444441</c:v>
                </c:pt>
                <c:pt idx="14840">
                  <c:v>41.222222222222221</c:v>
                </c:pt>
                <c:pt idx="14841">
                  <c:v>41.225000000000001</c:v>
                </c:pt>
                <c:pt idx="14842">
                  <c:v>41.227777777777774</c:v>
                </c:pt>
                <c:pt idx="14843">
                  <c:v>41.230555555555554</c:v>
                </c:pt>
                <c:pt idx="14844">
                  <c:v>41.233333333333334</c:v>
                </c:pt>
                <c:pt idx="14845">
                  <c:v>41.236111111111114</c:v>
                </c:pt>
                <c:pt idx="14846">
                  <c:v>41.238888888888887</c:v>
                </c:pt>
                <c:pt idx="14847">
                  <c:v>41.241666666666667</c:v>
                </c:pt>
                <c:pt idx="14848">
                  <c:v>41.244444444444447</c:v>
                </c:pt>
                <c:pt idx="14849">
                  <c:v>41.24722222222222</c:v>
                </c:pt>
                <c:pt idx="14850">
                  <c:v>41.25</c:v>
                </c:pt>
                <c:pt idx="14851">
                  <c:v>41.25277777777778</c:v>
                </c:pt>
                <c:pt idx="14852">
                  <c:v>41.255555555555553</c:v>
                </c:pt>
                <c:pt idx="14853">
                  <c:v>41.258333333333333</c:v>
                </c:pt>
                <c:pt idx="14854">
                  <c:v>41.261111111111113</c:v>
                </c:pt>
                <c:pt idx="14855">
                  <c:v>41.263888888888886</c:v>
                </c:pt>
                <c:pt idx="14856">
                  <c:v>41.266666666666666</c:v>
                </c:pt>
                <c:pt idx="14857">
                  <c:v>41.269444444444446</c:v>
                </c:pt>
                <c:pt idx="14858">
                  <c:v>41.272222222222226</c:v>
                </c:pt>
                <c:pt idx="14859">
                  <c:v>41.274999999999999</c:v>
                </c:pt>
                <c:pt idx="14860">
                  <c:v>41.277777777777779</c:v>
                </c:pt>
                <c:pt idx="14861">
                  <c:v>41.280555555555559</c:v>
                </c:pt>
                <c:pt idx="14862">
                  <c:v>41.283333333333331</c:v>
                </c:pt>
                <c:pt idx="14863">
                  <c:v>41.286111111111111</c:v>
                </c:pt>
                <c:pt idx="14864">
                  <c:v>41.288888888888891</c:v>
                </c:pt>
                <c:pt idx="14865">
                  <c:v>41.291666666666664</c:v>
                </c:pt>
                <c:pt idx="14866">
                  <c:v>41.294444444444444</c:v>
                </c:pt>
                <c:pt idx="14867">
                  <c:v>41.297222222222224</c:v>
                </c:pt>
                <c:pt idx="14868">
                  <c:v>41.3</c:v>
                </c:pt>
                <c:pt idx="14869">
                  <c:v>41.302777777777777</c:v>
                </c:pt>
                <c:pt idx="14870">
                  <c:v>41.305555555555557</c:v>
                </c:pt>
                <c:pt idx="14871">
                  <c:v>41.30833333333333</c:v>
                </c:pt>
                <c:pt idx="14872">
                  <c:v>41.31111111111111</c:v>
                </c:pt>
                <c:pt idx="14873">
                  <c:v>41.31388888888889</c:v>
                </c:pt>
                <c:pt idx="14874">
                  <c:v>41.31666666666667</c:v>
                </c:pt>
                <c:pt idx="14875">
                  <c:v>41.319444444444443</c:v>
                </c:pt>
                <c:pt idx="14876">
                  <c:v>41.322222222222223</c:v>
                </c:pt>
                <c:pt idx="14877">
                  <c:v>41.325000000000003</c:v>
                </c:pt>
                <c:pt idx="14878">
                  <c:v>41.327777777777776</c:v>
                </c:pt>
                <c:pt idx="14879">
                  <c:v>41.330555555555556</c:v>
                </c:pt>
                <c:pt idx="14880">
                  <c:v>41.333333333333336</c:v>
                </c:pt>
                <c:pt idx="14881">
                  <c:v>41.336111111111109</c:v>
                </c:pt>
                <c:pt idx="14882">
                  <c:v>41.338888888888889</c:v>
                </c:pt>
                <c:pt idx="14883">
                  <c:v>41.341666666666669</c:v>
                </c:pt>
                <c:pt idx="14884">
                  <c:v>41.344444444444441</c:v>
                </c:pt>
                <c:pt idx="14885">
                  <c:v>41.347222222222221</c:v>
                </c:pt>
                <c:pt idx="14886">
                  <c:v>41.35</c:v>
                </c:pt>
                <c:pt idx="14887">
                  <c:v>41.352777777777774</c:v>
                </c:pt>
                <c:pt idx="14888">
                  <c:v>41.355555555555554</c:v>
                </c:pt>
                <c:pt idx="14889">
                  <c:v>41.358333333333334</c:v>
                </c:pt>
                <c:pt idx="14890">
                  <c:v>41.361111111111114</c:v>
                </c:pt>
                <c:pt idx="14891">
                  <c:v>41.363888888888887</c:v>
                </c:pt>
                <c:pt idx="14892">
                  <c:v>41.366666666666667</c:v>
                </c:pt>
                <c:pt idx="14893">
                  <c:v>41.369444444444447</c:v>
                </c:pt>
                <c:pt idx="14894">
                  <c:v>41.37222222222222</c:v>
                </c:pt>
                <c:pt idx="14895">
                  <c:v>41.375</c:v>
                </c:pt>
                <c:pt idx="14896">
                  <c:v>41.37777777777778</c:v>
                </c:pt>
                <c:pt idx="14897">
                  <c:v>41.380555555555553</c:v>
                </c:pt>
                <c:pt idx="14898">
                  <c:v>41.383333333333333</c:v>
                </c:pt>
                <c:pt idx="14899">
                  <c:v>41.386111111111113</c:v>
                </c:pt>
                <c:pt idx="14900">
                  <c:v>41.388888888888886</c:v>
                </c:pt>
                <c:pt idx="14901">
                  <c:v>41.391666666666666</c:v>
                </c:pt>
                <c:pt idx="14902">
                  <c:v>41.394444444444446</c:v>
                </c:pt>
                <c:pt idx="14903">
                  <c:v>41.397222222222226</c:v>
                </c:pt>
                <c:pt idx="14904">
                  <c:v>41.4</c:v>
                </c:pt>
                <c:pt idx="14905">
                  <c:v>41.402777777777779</c:v>
                </c:pt>
                <c:pt idx="14906">
                  <c:v>41.405555555555559</c:v>
                </c:pt>
                <c:pt idx="14907">
                  <c:v>41.408333333333331</c:v>
                </c:pt>
                <c:pt idx="14908">
                  <c:v>41.411111111111111</c:v>
                </c:pt>
                <c:pt idx="14909">
                  <c:v>41.413888888888891</c:v>
                </c:pt>
                <c:pt idx="14910">
                  <c:v>41.416666666666664</c:v>
                </c:pt>
                <c:pt idx="14911">
                  <c:v>41.419444444444444</c:v>
                </c:pt>
                <c:pt idx="14912">
                  <c:v>41.422222222222224</c:v>
                </c:pt>
                <c:pt idx="14913">
                  <c:v>41.424999999999997</c:v>
                </c:pt>
                <c:pt idx="14914">
                  <c:v>41.427777777777777</c:v>
                </c:pt>
                <c:pt idx="14915">
                  <c:v>41.430555555555557</c:v>
                </c:pt>
                <c:pt idx="14916">
                  <c:v>41.43333333333333</c:v>
                </c:pt>
                <c:pt idx="14917">
                  <c:v>41.43611111111111</c:v>
                </c:pt>
                <c:pt idx="14918">
                  <c:v>41.43888888888889</c:v>
                </c:pt>
                <c:pt idx="14919">
                  <c:v>41.44166666666667</c:v>
                </c:pt>
                <c:pt idx="14920">
                  <c:v>41.444444444444443</c:v>
                </c:pt>
                <c:pt idx="14921">
                  <c:v>41.447222222222223</c:v>
                </c:pt>
                <c:pt idx="14922">
                  <c:v>41.45</c:v>
                </c:pt>
                <c:pt idx="14923">
                  <c:v>41.452777777777776</c:v>
                </c:pt>
                <c:pt idx="14924">
                  <c:v>41.455555555555556</c:v>
                </c:pt>
                <c:pt idx="14925">
                  <c:v>41.458333333333336</c:v>
                </c:pt>
                <c:pt idx="14926">
                  <c:v>41.461111111111109</c:v>
                </c:pt>
                <c:pt idx="14927">
                  <c:v>41.463888888888889</c:v>
                </c:pt>
                <c:pt idx="14928">
                  <c:v>41.466666666666669</c:v>
                </c:pt>
                <c:pt idx="14929">
                  <c:v>41.469444444444441</c:v>
                </c:pt>
                <c:pt idx="14930">
                  <c:v>41.472222222222221</c:v>
                </c:pt>
                <c:pt idx="14931">
                  <c:v>41.475000000000001</c:v>
                </c:pt>
                <c:pt idx="14932">
                  <c:v>41.477777777777774</c:v>
                </c:pt>
                <c:pt idx="14933">
                  <c:v>41.480555555555554</c:v>
                </c:pt>
                <c:pt idx="14934">
                  <c:v>41.483333333333334</c:v>
                </c:pt>
                <c:pt idx="14935">
                  <c:v>41.486111111111114</c:v>
                </c:pt>
                <c:pt idx="14936">
                  <c:v>41.488888888888887</c:v>
                </c:pt>
                <c:pt idx="14937">
                  <c:v>41.491666666666667</c:v>
                </c:pt>
                <c:pt idx="14938">
                  <c:v>41.494444444444447</c:v>
                </c:pt>
                <c:pt idx="14939">
                  <c:v>41.49722222222222</c:v>
                </c:pt>
                <c:pt idx="14940">
                  <c:v>41.5</c:v>
                </c:pt>
                <c:pt idx="14941">
                  <c:v>41.50277777777778</c:v>
                </c:pt>
                <c:pt idx="14942">
                  <c:v>41.505555555555553</c:v>
                </c:pt>
                <c:pt idx="14943">
                  <c:v>41.508333333333333</c:v>
                </c:pt>
                <c:pt idx="14944">
                  <c:v>41.511111111111113</c:v>
                </c:pt>
                <c:pt idx="14945">
                  <c:v>41.513888888888886</c:v>
                </c:pt>
                <c:pt idx="14946">
                  <c:v>41.516666666666666</c:v>
                </c:pt>
                <c:pt idx="14947">
                  <c:v>41.519444444444446</c:v>
                </c:pt>
                <c:pt idx="14948">
                  <c:v>41.522222222222226</c:v>
                </c:pt>
                <c:pt idx="14949">
                  <c:v>41.524999999999999</c:v>
                </c:pt>
                <c:pt idx="14950">
                  <c:v>41.527777777777779</c:v>
                </c:pt>
                <c:pt idx="14951">
                  <c:v>41.530555555555559</c:v>
                </c:pt>
                <c:pt idx="14952">
                  <c:v>41.533333333333331</c:v>
                </c:pt>
                <c:pt idx="14953">
                  <c:v>41.536111111111111</c:v>
                </c:pt>
                <c:pt idx="14954">
                  <c:v>41.538888888888891</c:v>
                </c:pt>
                <c:pt idx="14955">
                  <c:v>41.541666666666664</c:v>
                </c:pt>
                <c:pt idx="14956">
                  <c:v>41.544444444444444</c:v>
                </c:pt>
                <c:pt idx="14957">
                  <c:v>41.547222222222224</c:v>
                </c:pt>
                <c:pt idx="14958">
                  <c:v>41.55</c:v>
                </c:pt>
                <c:pt idx="14959">
                  <c:v>41.552777777777777</c:v>
                </c:pt>
                <c:pt idx="14960">
                  <c:v>41.555555555555557</c:v>
                </c:pt>
                <c:pt idx="14961">
                  <c:v>41.55833333333333</c:v>
                </c:pt>
                <c:pt idx="14962">
                  <c:v>41.56111111111111</c:v>
                </c:pt>
                <c:pt idx="14963">
                  <c:v>41.56388888888889</c:v>
                </c:pt>
                <c:pt idx="14964">
                  <c:v>41.56666666666667</c:v>
                </c:pt>
                <c:pt idx="14965">
                  <c:v>41.569444444444443</c:v>
                </c:pt>
                <c:pt idx="14966">
                  <c:v>41.572222222222223</c:v>
                </c:pt>
                <c:pt idx="14967">
                  <c:v>41.575000000000003</c:v>
                </c:pt>
                <c:pt idx="14968">
                  <c:v>41.577777777777776</c:v>
                </c:pt>
                <c:pt idx="14969">
                  <c:v>41.580555555555556</c:v>
                </c:pt>
                <c:pt idx="14970">
                  <c:v>41.583333333333336</c:v>
                </c:pt>
                <c:pt idx="14971">
                  <c:v>41.586111111111109</c:v>
                </c:pt>
                <c:pt idx="14972">
                  <c:v>41.588888888888889</c:v>
                </c:pt>
                <c:pt idx="14973">
                  <c:v>41.591666666666669</c:v>
                </c:pt>
                <c:pt idx="14974">
                  <c:v>41.594444444444441</c:v>
                </c:pt>
                <c:pt idx="14975">
                  <c:v>41.597222222222221</c:v>
                </c:pt>
                <c:pt idx="14976">
                  <c:v>41.6</c:v>
                </c:pt>
                <c:pt idx="14977">
                  <c:v>41.602777777777774</c:v>
                </c:pt>
                <c:pt idx="14978">
                  <c:v>41.605555555555554</c:v>
                </c:pt>
                <c:pt idx="14979">
                  <c:v>41.608333333333334</c:v>
                </c:pt>
                <c:pt idx="14980">
                  <c:v>41.611111111111114</c:v>
                </c:pt>
                <c:pt idx="14981">
                  <c:v>41.613888888888887</c:v>
                </c:pt>
                <c:pt idx="14982">
                  <c:v>41.616666666666667</c:v>
                </c:pt>
                <c:pt idx="14983">
                  <c:v>41.619444444444447</c:v>
                </c:pt>
                <c:pt idx="14984">
                  <c:v>41.62222222222222</c:v>
                </c:pt>
                <c:pt idx="14985">
                  <c:v>41.625</c:v>
                </c:pt>
                <c:pt idx="14986">
                  <c:v>41.62777777777778</c:v>
                </c:pt>
                <c:pt idx="14987">
                  <c:v>41.630555555555553</c:v>
                </c:pt>
                <c:pt idx="14988">
                  <c:v>41.633333333333333</c:v>
                </c:pt>
                <c:pt idx="14989">
                  <c:v>41.636111111111113</c:v>
                </c:pt>
                <c:pt idx="14990">
                  <c:v>41.638888888888886</c:v>
                </c:pt>
                <c:pt idx="14991">
                  <c:v>41.641666666666666</c:v>
                </c:pt>
                <c:pt idx="14992">
                  <c:v>41.644444444444446</c:v>
                </c:pt>
                <c:pt idx="14993">
                  <c:v>41.647222222222226</c:v>
                </c:pt>
                <c:pt idx="14994">
                  <c:v>41.65</c:v>
                </c:pt>
                <c:pt idx="14995">
                  <c:v>41.652777777777779</c:v>
                </c:pt>
                <c:pt idx="14996">
                  <c:v>41.655555555555559</c:v>
                </c:pt>
                <c:pt idx="14997">
                  <c:v>41.658333333333331</c:v>
                </c:pt>
                <c:pt idx="14998">
                  <c:v>41.661111111111111</c:v>
                </c:pt>
                <c:pt idx="14999">
                  <c:v>41.663888888888891</c:v>
                </c:pt>
                <c:pt idx="15000">
                  <c:v>41.666666666666664</c:v>
                </c:pt>
                <c:pt idx="15001">
                  <c:v>41.669444444444444</c:v>
                </c:pt>
                <c:pt idx="15002">
                  <c:v>41.672222222222224</c:v>
                </c:pt>
                <c:pt idx="15003">
                  <c:v>41.674999999999997</c:v>
                </c:pt>
                <c:pt idx="15004">
                  <c:v>41.677777777777777</c:v>
                </c:pt>
                <c:pt idx="15005">
                  <c:v>41.680555555555557</c:v>
                </c:pt>
                <c:pt idx="15006">
                  <c:v>41.68333333333333</c:v>
                </c:pt>
                <c:pt idx="15007">
                  <c:v>41.68611111111111</c:v>
                </c:pt>
                <c:pt idx="15008">
                  <c:v>41.68888888888889</c:v>
                </c:pt>
                <c:pt idx="15009">
                  <c:v>41.69166666666667</c:v>
                </c:pt>
                <c:pt idx="15010">
                  <c:v>41.694444444444443</c:v>
                </c:pt>
                <c:pt idx="15011">
                  <c:v>41.697222222222223</c:v>
                </c:pt>
                <c:pt idx="15012">
                  <c:v>41.7</c:v>
                </c:pt>
                <c:pt idx="15013">
                  <c:v>41.702777777777776</c:v>
                </c:pt>
                <c:pt idx="15014">
                  <c:v>41.705555555555556</c:v>
                </c:pt>
                <c:pt idx="15015">
                  <c:v>41.708333333333336</c:v>
                </c:pt>
                <c:pt idx="15016">
                  <c:v>41.711111111111109</c:v>
                </c:pt>
                <c:pt idx="15017">
                  <c:v>41.713888888888889</c:v>
                </c:pt>
                <c:pt idx="15018">
                  <c:v>41.716666666666669</c:v>
                </c:pt>
                <c:pt idx="15019">
                  <c:v>41.719444444444441</c:v>
                </c:pt>
                <c:pt idx="15020">
                  <c:v>41.722222222222221</c:v>
                </c:pt>
                <c:pt idx="15021">
                  <c:v>41.725000000000001</c:v>
                </c:pt>
                <c:pt idx="15022">
                  <c:v>41.727777777777774</c:v>
                </c:pt>
                <c:pt idx="15023">
                  <c:v>41.730555555555554</c:v>
                </c:pt>
                <c:pt idx="15024">
                  <c:v>41.733333333333334</c:v>
                </c:pt>
                <c:pt idx="15025">
                  <c:v>41.736111111111114</c:v>
                </c:pt>
                <c:pt idx="15026">
                  <c:v>41.738888888888887</c:v>
                </c:pt>
                <c:pt idx="15027">
                  <c:v>41.741666666666667</c:v>
                </c:pt>
                <c:pt idx="15028">
                  <c:v>41.744444444444447</c:v>
                </c:pt>
                <c:pt idx="15029">
                  <c:v>41.74722222222222</c:v>
                </c:pt>
                <c:pt idx="15030">
                  <c:v>41.75</c:v>
                </c:pt>
                <c:pt idx="15031">
                  <c:v>41.75277777777778</c:v>
                </c:pt>
                <c:pt idx="15032">
                  <c:v>41.755555555555553</c:v>
                </c:pt>
                <c:pt idx="15033">
                  <c:v>41.758333333333333</c:v>
                </c:pt>
                <c:pt idx="15034">
                  <c:v>41.761111111111113</c:v>
                </c:pt>
                <c:pt idx="15035">
                  <c:v>41.763888888888886</c:v>
                </c:pt>
                <c:pt idx="15036">
                  <c:v>41.766666666666666</c:v>
                </c:pt>
                <c:pt idx="15037">
                  <c:v>41.769444444444446</c:v>
                </c:pt>
                <c:pt idx="15038">
                  <c:v>41.772222222222226</c:v>
                </c:pt>
                <c:pt idx="15039">
                  <c:v>41.774999999999999</c:v>
                </c:pt>
                <c:pt idx="15040">
                  <c:v>41.777777777777779</c:v>
                </c:pt>
                <c:pt idx="15041">
                  <c:v>41.780555555555559</c:v>
                </c:pt>
                <c:pt idx="15042">
                  <c:v>41.783333333333331</c:v>
                </c:pt>
                <c:pt idx="15043">
                  <c:v>41.786111111111111</c:v>
                </c:pt>
                <c:pt idx="15044">
                  <c:v>41.788888888888891</c:v>
                </c:pt>
                <c:pt idx="15045">
                  <c:v>41.791666666666664</c:v>
                </c:pt>
                <c:pt idx="15046">
                  <c:v>41.794444444444444</c:v>
                </c:pt>
                <c:pt idx="15047">
                  <c:v>41.797222222222224</c:v>
                </c:pt>
                <c:pt idx="15048">
                  <c:v>41.8</c:v>
                </c:pt>
                <c:pt idx="15049">
                  <c:v>41.802777777777777</c:v>
                </c:pt>
                <c:pt idx="15050">
                  <c:v>41.805555555555557</c:v>
                </c:pt>
                <c:pt idx="15051">
                  <c:v>41.80833333333333</c:v>
                </c:pt>
                <c:pt idx="15052">
                  <c:v>41.81111111111111</c:v>
                </c:pt>
                <c:pt idx="15053">
                  <c:v>41.81388888888889</c:v>
                </c:pt>
                <c:pt idx="15054">
                  <c:v>41.81666666666667</c:v>
                </c:pt>
                <c:pt idx="15055">
                  <c:v>41.819444444444443</c:v>
                </c:pt>
                <c:pt idx="15056">
                  <c:v>41.822222222222223</c:v>
                </c:pt>
                <c:pt idx="15057">
                  <c:v>41.825000000000003</c:v>
                </c:pt>
                <c:pt idx="15058">
                  <c:v>41.827777777777776</c:v>
                </c:pt>
                <c:pt idx="15059">
                  <c:v>41.830555555555556</c:v>
                </c:pt>
                <c:pt idx="15060">
                  <c:v>41.833333333333336</c:v>
                </c:pt>
                <c:pt idx="15061">
                  <c:v>41.836111111111109</c:v>
                </c:pt>
                <c:pt idx="15062">
                  <c:v>41.838888888888889</c:v>
                </c:pt>
                <c:pt idx="15063">
                  <c:v>41.841666666666669</c:v>
                </c:pt>
                <c:pt idx="15064">
                  <c:v>41.844444444444441</c:v>
                </c:pt>
                <c:pt idx="15065">
                  <c:v>41.847222222222221</c:v>
                </c:pt>
                <c:pt idx="15066">
                  <c:v>41.85</c:v>
                </c:pt>
                <c:pt idx="15067">
                  <c:v>41.852777777777774</c:v>
                </c:pt>
                <c:pt idx="15068">
                  <c:v>41.855555555555554</c:v>
                </c:pt>
                <c:pt idx="15069">
                  <c:v>41.858333333333334</c:v>
                </c:pt>
                <c:pt idx="15070">
                  <c:v>41.861111111111114</c:v>
                </c:pt>
                <c:pt idx="15071">
                  <c:v>41.863888888888887</c:v>
                </c:pt>
                <c:pt idx="15072">
                  <c:v>41.866666666666667</c:v>
                </c:pt>
                <c:pt idx="15073">
                  <c:v>41.869444444444447</c:v>
                </c:pt>
                <c:pt idx="15074">
                  <c:v>41.87222222222222</c:v>
                </c:pt>
                <c:pt idx="15075">
                  <c:v>41.875</c:v>
                </c:pt>
                <c:pt idx="15076">
                  <c:v>41.87777777777778</c:v>
                </c:pt>
                <c:pt idx="15077">
                  <c:v>41.880555555555553</c:v>
                </c:pt>
                <c:pt idx="15078">
                  <c:v>41.883333333333333</c:v>
                </c:pt>
                <c:pt idx="15079">
                  <c:v>41.886111111111113</c:v>
                </c:pt>
                <c:pt idx="15080">
                  <c:v>41.888888888888886</c:v>
                </c:pt>
                <c:pt idx="15081">
                  <c:v>41.891666666666666</c:v>
                </c:pt>
                <c:pt idx="15082">
                  <c:v>41.894444444444446</c:v>
                </c:pt>
                <c:pt idx="15083">
                  <c:v>41.897222222222226</c:v>
                </c:pt>
                <c:pt idx="15084">
                  <c:v>41.9</c:v>
                </c:pt>
                <c:pt idx="15085">
                  <c:v>41.902777777777779</c:v>
                </c:pt>
                <c:pt idx="15086">
                  <c:v>41.905555555555559</c:v>
                </c:pt>
                <c:pt idx="15087">
                  <c:v>41.908333333333331</c:v>
                </c:pt>
                <c:pt idx="15088">
                  <c:v>41.911111111111111</c:v>
                </c:pt>
                <c:pt idx="15089">
                  <c:v>41.913888888888891</c:v>
                </c:pt>
                <c:pt idx="15090">
                  <c:v>41.916666666666664</c:v>
                </c:pt>
                <c:pt idx="15091">
                  <c:v>41.919444444444444</c:v>
                </c:pt>
                <c:pt idx="15092">
                  <c:v>41.922222222222224</c:v>
                </c:pt>
                <c:pt idx="15093">
                  <c:v>41.924999999999997</c:v>
                </c:pt>
                <c:pt idx="15094">
                  <c:v>41.927777777777777</c:v>
                </c:pt>
                <c:pt idx="15095">
                  <c:v>41.930555555555557</c:v>
                </c:pt>
                <c:pt idx="15096">
                  <c:v>41.93333333333333</c:v>
                </c:pt>
                <c:pt idx="15097">
                  <c:v>41.93611111111111</c:v>
                </c:pt>
                <c:pt idx="15098">
                  <c:v>41.93888888888889</c:v>
                </c:pt>
                <c:pt idx="15099">
                  <c:v>41.94166666666667</c:v>
                </c:pt>
                <c:pt idx="15100">
                  <c:v>41.944444444444443</c:v>
                </c:pt>
                <c:pt idx="15101">
                  <c:v>41.947222222222223</c:v>
                </c:pt>
                <c:pt idx="15102">
                  <c:v>41.95</c:v>
                </c:pt>
                <c:pt idx="15103">
                  <c:v>41.952777777777776</c:v>
                </c:pt>
                <c:pt idx="15104">
                  <c:v>41.955555555555556</c:v>
                </c:pt>
                <c:pt idx="15105">
                  <c:v>41.958333333333336</c:v>
                </c:pt>
                <c:pt idx="15106">
                  <c:v>41.961111111111109</c:v>
                </c:pt>
                <c:pt idx="15107">
                  <c:v>41.963888888888889</c:v>
                </c:pt>
                <c:pt idx="15108">
                  <c:v>41.966666666666669</c:v>
                </c:pt>
                <c:pt idx="15109">
                  <c:v>41.969444444444441</c:v>
                </c:pt>
                <c:pt idx="15110">
                  <c:v>41.972222222222221</c:v>
                </c:pt>
                <c:pt idx="15111">
                  <c:v>41.975000000000001</c:v>
                </c:pt>
                <c:pt idx="15112">
                  <c:v>41.977777777777774</c:v>
                </c:pt>
                <c:pt idx="15113">
                  <c:v>41.980555555555554</c:v>
                </c:pt>
                <c:pt idx="15114">
                  <c:v>41.983333333333334</c:v>
                </c:pt>
                <c:pt idx="15115">
                  <c:v>41.986111111111114</c:v>
                </c:pt>
                <c:pt idx="15116">
                  <c:v>41.988888888888887</c:v>
                </c:pt>
                <c:pt idx="15117">
                  <c:v>41.991666666666667</c:v>
                </c:pt>
                <c:pt idx="15118">
                  <c:v>41.994444444444447</c:v>
                </c:pt>
                <c:pt idx="15119">
                  <c:v>41.99722222222222</c:v>
                </c:pt>
                <c:pt idx="15120">
                  <c:v>42</c:v>
                </c:pt>
                <c:pt idx="15121">
                  <c:v>42.00277777777778</c:v>
                </c:pt>
                <c:pt idx="15122">
                  <c:v>42.005555555555553</c:v>
                </c:pt>
                <c:pt idx="15123">
                  <c:v>42.008333333333333</c:v>
                </c:pt>
                <c:pt idx="15124">
                  <c:v>42.011111111111113</c:v>
                </c:pt>
                <c:pt idx="15125">
                  <c:v>42.013888888888886</c:v>
                </c:pt>
                <c:pt idx="15126">
                  <c:v>42.016666666666666</c:v>
                </c:pt>
                <c:pt idx="15127">
                  <c:v>42.019444444444446</c:v>
                </c:pt>
                <c:pt idx="15128">
                  <c:v>42.022222222222226</c:v>
                </c:pt>
                <c:pt idx="15129">
                  <c:v>42.024999999999999</c:v>
                </c:pt>
                <c:pt idx="15130">
                  <c:v>42.027777777777779</c:v>
                </c:pt>
                <c:pt idx="15131">
                  <c:v>42.030555555555559</c:v>
                </c:pt>
                <c:pt idx="15132">
                  <c:v>42.033333333333331</c:v>
                </c:pt>
                <c:pt idx="15133">
                  <c:v>42.036111111111111</c:v>
                </c:pt>
                <c:pt idx="15134">
                  <c:v>42.038888888888891</c:v>
                </c:pt>
                <c:pt idx="15135">
                  <c:v>42.041666666666664</c:v>
                </c:pt>
                <c:pt idx="15136">
                  <c:v>42.044444444444444</c:v>
                </c:pt>
                <c:pt idx="15137">
                  <c:v>42.047222222222224</c:v>
                </c:pt>
                <c:pt idx="15138">
                  <c:v>42.05</c:v>
                </c:pt>
                <c:pt idx="15139">
                  <c:v>42.052777777777777</c:v>
                </c:pt>
                <c:pt idx="15140">
                  <c:v>42.055555555555557</c:v>
                </c:pt>
                <c:pt idx="15141">
                  <c:v>42.05833333333333</c:v>
                </c:pt>
                <c:pt idx="15142">
                  <c:v>42.06111111111111</c:v>
                </c:pt>
                <c:pt idx="15143">
                  <c:v>42.06388888888889</c:v>
                </c:pt>
                <c:pt idx="15144">
                  <c:v>42.06666666666667</c:v>
                </c:pt>
                <c:pt idx="15145">
                  <c:v>42.069444444444443</c:v>
                </c:pt>
                <c:pt idx="15146">
                  <c:v>42.072222222222223</c:v>
                </c:pt>
                <c:pt idx="15147">
                  <c:v>42.075000000000003</c:v>
                </c:pt>
                <c:pt idx="15148">
                  <c:v>42.077777777777776</c:v>
                </c:pt>
                <c:pt idx="15149">
                  <c:v>42.080555555555556</c:v>
                </c:pt>
                <c:pt idx="15150">
                  <c:v>42.083333333333336</c:v>
                </c:pt>
                <c:pt idx="15151">
                  <c:v>42.086111111111109</c:v>
                </c:pt>
                <c:pt idx="15152">
                  <c:v>42.088888888888889</c:v>
                </c:pt>
                <c:pt idx="15153">
                  <c:v>42.091666666666669</c:v>
                </c:pt>
                <c:pt idx="15154">
                  <c:v>42.094444444444441</c:v>
                </c:pt>
                <c:pt idx="15155">
                  <c:v>42.097222222222221</c:v>
                </c:pt>
                <c:pt idx="15156">
                  <c:v>42.1</c:v>
                </c:pt>
                <c:pt idx="15157">
                  <c:v>42.102777777777774</c:v>
                </c:pt>
                <c:pt idx="15158">
                  <c:v>42.105555555555554</c:v>
                </c:pt>
                <c:pt idx="15159">
                  <c:v>42.108333333333334</c:v>
                </c:pt>
                <c:pt idx="15160">
                  <c:v>42.111111111111114</c:v>
                </c:pt>
                <c:pt idx="15161">
                  <c:v>42.113888888888887</c:v>
                </c:pt>
                <c:pt idx="15162">
                  <c:v>42.116666666666667</c:v>
                </c:pt>
                <c:pt idx="15163">
                  <c:v>42.119444444444447</c:v>
                </c:pt>
                <c:pt idx="15164">
                  <c:v>42.12222222222222</c:v>
                </c:pt>
                <c:pt idx="15165">
                  <c:v>42.125</c:v>
                </c:pt>
                <c:pt idx="15166">
                  <c:v>42.12777777777778</c:v>
                </c:pt>
                <c:pt idx="15167">
                  <c:v>42.130555555555553</c:v>
                </c:pt>
                <c:pt idx="15168">
                  <c:v>42.133333333333333</c:v>
                </c:pt>
                <c:pt idx="15169">
                  <c:v>42.136111111111113</c:v>
                </c:pt>
                <c:pt idx="15170">
                  <c:v>42.138888888888886</c:v>
                </c:pt>
                <c:pt idx="15171">
                  <c:v>42.141666666666666</c:v>
                </c:pt>
                <c:pt idx="15172">
                  <c:v>42.144444444444446</c:v>
                </c:pt>
                <c:pt idx="15173">
                  <c:v>42.147222222222226</c:v>
                </c:pt>
                <c:pt idx="15174">
                  <c:v>42.15</c:v>
                </c:pt>
                <c:pt idx="15175">
                  <c:v>42.152777777777779</c:v>
                </c:pt>
                <c:pt idx="15176">
                  <c:v>42.155555555555559</c:v>
                </c:pt>
                <c:pt idx="15177">
                  <c:v>42.158333333333331</c:v>
                </c:pt>
                <c:pt idx="15178">
                  <c:v>42.161111111111111</c:v>
                </c:pt>
                <c:pt idx="15179">
                  <c:v>42.163888888888891</c:v>
                </c:pt>
                <c:pt idx="15180">
                  <c:v>42.166666666666664</c:v>
                </c:pt>
                <c:pt idx="15181">
                  <c:v>42.169444444444444</c:v>
                </c:pt>
                <c:pt idx="15182">
                  <c:v>42.172222222222224</c:v>
                </c:pt>
                <c:pt idx="15183">
                  <c:v>42.174999999999997</c:v>
                </c:pt>
                <c:pt idx="15184">
                  <c:v>42.177777777777777</c:v>
                </c:pt>
                <c:pt idx="15185">
                  <c:v>42.180555555555557</c:v>
                </c:pt>
                <c:pt idx="15186">
                  <c:v>42.18333333333333</c:v>
                </c:pt>
                <c:pt idx="15187">
                  <c:v>42.18611111111111</c:v>
                </c:pt>
                <c:pt idx="15188">
                  <c:v>42.18888888888889</c:v>
                </c:pt>
                <c:pt idx="15189">
                  <c:v>42.19166666666667</c:v>
                </c:pt>
                <c:pt idx="15190">
                  <c:v>42.194444444444443</c:v>
                </c:pt>
                <c:pt idx="15191">
                  <c:v>42.197222222222223</c:v>
                </c:pt>
                <c:pt idx="15192">
                  <c:v>42.2</c:v>
                </c:pt>
                <c:pt idx="15193">
                  <c:v>42.202777777777776</c:v>
                </c:pt>
                <c:pt idx="15194">
                  <c:v>42.205555555555556</c:v>
                </c:pt>
                <c:pt idx="15195">
                  <c:v>42.208333333333336</c:v>
                </c:pt>
                <c:pt idx="15196">
                  <c:v>42.211111111111109</c:v>
                </c:pt>
                <c:pt idx="15197">
                  <c:v>42.213888888888889</c:v>
                </c:pt>
                <c:pt idx="15198">
                  <c:v>42.216666666666669</c:v>
                </c:pt>
                <c:pt idx="15199">
                  <c:v>42.219444444444441</c:v>
                </c:pt>
                <c:pt idx="15200">
                  <c:v>42.222222222222221</c:v>
                </c:pt>
                <c:pt idx="15201">
                  <c:v>42.225000000000001</c:v>
                </c:pt>
                <c:pt idx="15202">
                  <c:v>42.227777777777774</c:v>
                </c:pt>
                <c:pt idx="15203">
                  <c:v>42.230555555555554</c:v>
                </c:pt>
                <c:pt idx="15204">
                  <c:v>42.233333333333334</c:v>
                </c:pt>
                <c:pt idx="15205">
                  <c:v>42.236111111111114</c:v>
                </c:pt>
                <c:pt idx="15206">
                  <c:v>42.238888888888887</c:v>
                </c:pt>
                <c:pt idx="15207">
                  <c:v>42.241666666666667</c:v>
                </c:pt>
                <c:pt idx="15208">
                  <c:v>42.244444444444447</c:v>
                </c:pt>
                <c:pt idx="15209">
                  <c:v>42.24722222222222</c:v>
                </c:pt>
                <c:pt idx="15210">
                  <c:v>42.25</c:v>
                </c:pt>
                <c:pt idx="15211">
                  <c:v>42.25277777777778</c:v>
                </c:pt>
                <c:pt idx="15212">
                  <c:v>42.255555555555553</c:v>
                </c:pt>
                <c:pt idx="15213">
                  <c:v>42.258333333333333</c:v>
                </c:pt>
                <c:pt idx="15214">
                  <c:v>42.261111111111113</c:v>
                </c:pt>
                <c:pt idx="15215">
                  <c:v>42.263888888888886</c:v>
                </c:pt>
                <c:pt idx="15216">
                  <c:v>42.266666666666666</c:v>
                </c:pt>
                <c:pt idx="15217">
                  <c:v>42.269444444444446</c:v>
                </c:pt>
                <c:pt idx="15218">
                  <c:v>42.272222222222226</c:v>
                </c:pt>
                <c:pt idx="15219">
                  <c:v>42.274999999999999</c:v>
                </c:pt>
                <c:pt idx="15220">
                  <c:v>42.277777777777779</c:v>
                </c:pt>
                <c:pt idx="15221">
                  <c:v>42.280555555555559</c:v>
                </c:pt>
                <c:pt idx="15222">
                  <c:v>42.283333333333331</c:v>
                </c:pt>
                <c:pt idx="15223">
                  <c:v>42.286111111111111</c:v>
                </c:pt>
                <c:pt idx="15224">
                  <c:v>42.288888888888891</c:v>
                </c:pt>
                <c:pt idx="15225">
                  <c:v>42.291666666666664</c:v>
                </c:pt>
                <c:pt idx="15226">
                  <c:v>42.294444444444444</c:v>
                </c:pt>
                <c:pt idx="15227">
                  <c:v>42.297222222222224</c:v>
                </c:pt>
                <c:pt idx="15228">
                  <c:v>42.3</c:v>
                </c:pt>
                <c:pt idx="15229">
                  <c:v>42.302777777777777</c:v>
                </c:pt>
                <c:pt idx="15230">
                  <c:v>42.305555555555557</c:v>
                </c:pt>
                <c:pt idx="15231">
                  <c:v>42.30833333333333</c:v>
                </c:pt>
                <c:pt idx="15232">
                  <c:v>42.31111111111111</c:v>
                </c:pt>
                <c:pt idx="15233">
                  <c:v>42.31388888888889</c:v>
                </c:pt>
                <c:pt idx="15234">
                  <c:v>42.31666666666667</c:v>
                </c:pt>
                <c:pt idx="15235">
                  <c:v>42.319444444444443</c:v>
                </c:pt>
                <c:pt idx="15236">
                  <c:v>42.322222222222223</c:v>
                </c:pt>
                <c:pt idx="15237">
                  <c:v>42.325000000000003</c:v>
                </c:pt>
                <c:pt idx="15238">
                  <c:v>42.327777777777776</c:v>
                </c:pt>
                <c:pt idx="15239">
                  <c:v>42.330555555555556</c:v>
                </c:pt>
                <c:pt idx="15240">
                  <c:v>42.333333333333336</c:v>
                </c:pt>
                <c:pt idx="15241">
                  <c:v>42.336111111111109</c:v>
                </c:pt>
                <c:pt idx="15242">
                  <c:v>42.338888888888889</c:v>
                </c:pt>
                <c:pt idx="15243">
                  <c:v>42.341666666666669</c:v>
                </c:pt>
                <c:pt idx="15244">
                  <c:v>42.344444444444441</c:v>
                </c:pt>
                <c:pt idx="15245">
                  <c:v>42.347222222222221</c:v>
                </c:pt>
                <c:pt idx="15246">
                  <c:v>42.35</c:v>
                </c:pt>
                <c:pt idx="15247">
                  <c:v>42.352777777777774</c:v>
                </c:pt>
                <c:pt idx="15248">
                  <c:v>42.355555555555554</c:v>
                </c:pt>
                <c:pt idx="15249">
                  <c:v>42.358333333333334</c:v>
                </c:pt>
                <c:pt idx="15250">
                  <c:v>42.361111111111114</c:v>
                </c:pt>
                <c:pt idx="15251">
                  <c:v>42.363888888888887</c:v>
                </c:pt>
                <c:pt idx="15252">
                  <c:v>42.366666666666667</c:v>
                </c:pt>
                <c:pt idx="15253">
                  <c:v>42.369444444444447</c:v>
                </c:pt>
                <c:pt idx="15254">
                  <c:v>42.37222222222222</c:v>
                </c:pt>
                <c:pt idx="15255">
                  <c:v>42.375</c:v>
                </c:pt>
                <c:pt idx="15256">
                  <c:v>42.37777777777778</c:v>
                </c:pt>
                <c:pt idx="15257">
                  <c:v>42.380555555555553</c:v>
                </c:pt>
                <c:pt idx="15258">
                  <c:v>42.383333333333333</c:v>
                </c:pt>
                <c:pt idx="15259">
                  <c:v>42.386111111111113</c:v>
                </c:pt>
                <c:pt idx="15260">
                  <c:v>42.388888888888886</c:v>
                </c:pt>
                <c:pt idx="15261">
                  <c:v>42.391666666666666</c:v>
                </c:pt>
                <c:pt idx="15262">
                  <c:v>42.394444444444446</c:v>
                </c:pt>
                <c:pt idx="15263">
                  <c:v>42.397222222222226</c:v>
                </c:pt>
                <c:pt idx="15264">
                  <c:v>42.4</c:v>
                </c:pt>
                <c:pt idx="15265">
                  <c:v>42.402777777777779</c:v>
                </c:pt>
                <c:pt idx="15266">
                  <c:v>42.405555555555559</c:v>
                </c:pt>
                <c:pt idx="15267">
                  <c:v>42.408333333333331</c:v>
                </c:pt>
                <c:pt idx="15268">
                  <c:v>42.411111111111111</c:v>
                </c:pt>
                <c:pt idx="15269">
                  <c:v>42.413888888888891</c:v>
                </c:pt>
                <c:pt idx="15270">
                  <c:v>42.416666666666664</c:v>
                </c:pt>
                <c:pt idx="15271">
                  <c:v>42.419444444444444</c:v>
                </c:pt>
                <c:pt idx="15272">
                  <c:v>42.422222222222224</c:v>
                </c:pt>
                <c:pt idx="15273">
                  <c:v>42.424999999999997</c:v>
                </c:pt>
                <c:pt idx="15274">
                  <c:v>42.427777777777777</c:v>
                </c:pt>
                <c:pt idx="15275">
                  <c:v>42.430555555555557</c:v>
                </c:pt>
                <c:pt idx="15276">
                  <c:v>42.43333333333333</c:v>
                </c:pt>
                <c:pt idx="15277">
                  <c:v>42.43611111111111</c:v>
                </c:pt>
                <c:pt idx="15278">
                  <c:v>42.43888888888889</c:v>
                </c:pt>
                <c:pt idx="15279">
                  <c:v>42.44166666666667</c:v>
                </c:pt>
                <c:pt idx="15280">
                  <c:v>42.444444444444443</c:v>
                </c:pt>
                <c:pt idx="15281">
                  <c:v>42.447222222222223</c:v>
                </c:pt>
                <c:pt idx="15282">
                  <c:v>42.45</c:v>
                </c:pt>
                <c:pt idx="15283">
                  <c:v>42.452777777777776</c:v>
                </c:pt>
                <c:pt idx="15284">
                  <c:v>42.455555555555556</c:v>
                </c:pt>
                <c:pt idx="15285">
                  <c:v>42.458333333333336</c:v>
                </c:pt>
                <c:pt idx="15286">
                  <c:v>42.461111111111109</c:v>
                </c:pt>
                <c:pt idx="15287">
                  <c:v>42.463888888888889</c:v>
                </c:pt>
                <c:pt idx="15288">
                  <c:v>42.466666666666669</c:v>
                </c:pt>
                <c:pt idx="15289">
                  <c:v>42.469444444444441</c:v>
                </c:pt>
                <c:pt idx="15290">
                  <c:v>42.472222222222221</c:v>
                </c:pt>
                <c:pt idx="15291">
                  <c:v>42.475000000000001</c:v>
                </c:pt>
                <c:pt idx="15292">
                  <c:v>42.477777777777774</c:v>
                </c:pt>
                <c:pt idx="15293">
                  <c:v>42.480555555555554</c:v>
                </c:pt>
                <c:pt idx="15294">
                  <c:v>42.483333333333334</c:v>
                </c:pt>
                <c:pt idx="15295">
                  <c:v>42.486111111111114</c:v>
                </c:pt>
                <c:pt idx="15296">
                  <c:v>42.488888888888887</c:v>
                </c:pt>
                <c:pt idx="15297">
                  <c:v>42.491666666666667</c:v>
                </c:pt>
                <c:pt idx="15298">
                  <c:v>42.494444444444447</c:v>
                </c:pt>
                <c:pt idx="15299">
                  <c:v>42.49722222222222</c:v>
                </c:pt>
                <c:pt idx="15300">
                  <c:v>42.5</c:v>
                </c:pt>
                <c:pt idx="15301">
                  <c:v>42.50277777777778</c:v>
                </c:pt>
                <c:pt idx="15302">
                  <c:v>42.505555555555553</c:v>
                </c:pt>
                <c:pt idx="15303">
                  <c:v>42.508333333333333</c:v>
                </c:pt>
                <c:pt idx="15304">
                  <c:v>42.511111111111113</c:v>
                </c:pt>
                <c:pt idx="15305">
                  <c:v>42.513888888888886</c:v>
                </c:pt>
                <c:pt idx="15306">
                  <c:v>42.516666666666666</c:v>
                </c:pt>
                <c:pt idx="15307">
                  <c:v>42.519444444444446</c:v>
                </c:pt>
                <c:pt idx="15308">
                  <c:v>42.522222222222226</c:v>
                </c:pt>
                <c:pt idx="15309">
                  <c:v>42.524999999999999</c:v>
                </c:pt>
                <c:pt idx="15310">
                  <c:v>42.527777777777779</c:v>
                </c:pt>
                <c:pt idx="15311">
                  <c:v>42.530555555555559</c:v>
                </c:pt>
                <c:pt idx="15312">
                  <c:v>42.533333333333331</c:v>
                </c:pt>
                <c:pt idx="15313">
                  <c:v>42.536111111111111</c:v>
                </c:pt>
                <c:pt idx="15314">
                  <c:v>42.538888888888891</c:v>
                </c:pt>
                <c:pt idx="15315">
                  <c:v>42.541666666666664</c:v>
                </c:pt>
                <c:pt idx="15316">
                  <c:v>42.544444444444444</c:v>
                </c:pt>
                <c:pt idx="15317">
                  <c:v>42.547222222222224</c:v>
                </c:pt>
                <c:pt idx="15318">
                  <c:v>42.55</c:v>
                </c:pt>
                <c:pt idx="15319">
                  <c:v>42.552777777777777</c:v>
                </c:pt>
                <c:pt idx="15320">
                  <c:v>42.555555555555557</c:v>
                </c:pt>
                <c:pt idx="15321">
                  <c:v>42.55833333333333</c:v>
                </c:pt>
                <c:pt idx="15322">
                  <c:v>42.56111111111111</c:v>
                </c:pt>
                <c:pt idx="15323">
                  <c:v>42.56388888888889</c:v>
                </c:pt>
                <c:pt idx="15324">
                  <c:v>42.56666666666667</c:v>
                </c:pt>
                <c:pt idx="15325">
                  <c:v>42.569444444444443</c:v>
                </c:pt>
                <c:pt idx="15326">
                  <c:v>42.572222222222223</c:v>
                </c:pt>
                <c:pt idx="15327">
                  <c:v>42.575000000000003</c:v>
                </c:pt>
                <c:pt idx="15328">
                  <c:v>42.577777777777776</c:v>
                </c:pt>
                <c:pt idx="15329">
                  <c:v>42.580555555555556</c:v>
                </c:pt>
                <c:pt idx="15330">
                  <c:v>42.583333333333336</c:v>
                </c:pt>
                <c:pt idx="15331">
                  <c:v>42.586111111111109</c:v>
                </c:pt>
                <c:pt idx="15332">
                  <c:v>42.588888888888889</c:v>
                </c:pt>
                <c:pt idx="15333">
                  <c:v>42.591666666666669</c:v>
                </c:pt>
                <c:pt idx="15334">
                  <c:v>42.594444444444441</c:v>
                </c:pt>
                <c:pt idx="15335">
                  <c:v>42.597222222222221</c:v>
                </c:pt>
                <c:pt idx="15336">
                  <c:v>42.6</c:v>
                </c:pt>
                <c:pt idx="15337">
                  <c:v>42.602777777777774</c:v>
                </c:pt>
                <c:pt idx="15338">
                  <c:v>42.605555555555554</c:v>
                </c:pt>
                <c:pt idx="15339">
                  <c:v>42.608333333333334</c:v>
                </c:pt>
                <c:pt idx="15340">
                  <c:v>42.611111111111114</c:v>
                </c:pt>
                <c:pt idx="15341">
                  <c:v>42.613888888888887</c:v>
                </c:pt>
                <c:pt idx="15342">
                  <c:v>42.616666666666667</c:v>
                </c:pt>
                <c:pt idx="15343">
                  <c:v>42.619444444444447</c:v>
                </c:pt>
                <c:pt idx="15344">
                  <c:v>42.62222222222222</c:v>
                </c:pt>
                <c:pt idx="15345">
                  <c:v>42.625</c:v>
                </c:pt>
                <c:pt idx="15346">
                  <c:v>42.62777777777778</c:v>
                </c:pt>
                <c:pt idx="15347">
                  <c:v>42.630555555555553</c:v>
                </c:pt>
                <c:pt idx="15348">
                  <c:v>42.633333333333333</c:v>
                </c:pt>
                <c:pt idx="15349">
                  <c:v>42.636111111111113</c:v>
                </c:pt>
                <c:pt idx="15350">
                  <c:v>42.638888888888886</c:v>
                </c:pt>
                <c:pt idx="15351">
                  <c:v>42.641666666666666</c:v>
                </c:pt>
                <c:pt idx="15352">
                  <c:v>42.644444444444446</c:v>
                </c:pt>
                <c:pt idx="15353">
                  <c:v>42.647222222222226</c:v>
                </c:pt>
                <c:pt idx="15354">
                  <c:v>42.65</c:v>
                </c:pt>
                <c:pt idx="15355">
                  <c:v>42.652777777777779</c:v>
                </c:pt>
                <c:pt idx="15356">
                  <c:v>42.655555555555559</c:v>
                </c:pt>
                <c:pt idx="15357">
                  <c:v>42.658333333333331</c:v>
                </c:pt>
                <c:pt idx="15358">
                  <c:v>42.661111111111111</c:v>
                </c:pt>
                <c:pt idx="15359">
                  <c:v>42.663888888888891</c:v>
                </c:pt>
                <c:pt idx="15360">
                  <c:v>42.666666666666664</c:v>
                </c:pt>
                <c:pt idx="15361">
                  <c:v>42.669444444444444</c:v>
                </c:pt>
                <c:pt idx="15362">
                  <c:v>42.672222222222224</c:v>
                </c:pt>
                <c:pt idx="15363">
                  <c:v>42.674999999999997</c:v>
                </c:pt>
                <c:pt idx="15364">
                  <c:v>42.677777777777777</c:v>
                </c:pt>
                <c:pt idx="15365">
                  <c:v>42.680555555555557</c:v>
                </c:pt>
                <c:pt idx="15366">
                  <c:v>42.68333333333333</c:v>
                </c:pt>
                <c:pt idx="15367">
                  <c:v>42.68611111111111</c:v>
                </c:pt>
                <c:pt idx="15368">
                  <c:v>42.68888888888889</c:v>
                </c:pt>
                <c:pt idx="15369">
                  <c:v>42.69166666666667</c:v>
                </c:pt>
                <c:pt idx="15370">
                  <c:v>42.694444444444443</c:v>
                </c:pt>
                <c:pt idx="15371">
                  <c:v>42.697222222222223</c:v>
                </c:pt>
                <c:pt idx="15372">
                  <c:v>42.7</c:v>
                </c:pt>
                <c:pt idx="15373">
                  <c:v>42.702777777777776</c:v>
                </c:pt>
                <c:pt idx="15374">
                  <c:v>42.705555555555556</c:v>
                </c:pt>
                <c:pt idx="15375">
                  <c:v>42.708333333333336</c:v>
                </c:pt>
                <c:pt idx="15376">
                  <c:v>42.711111111111109</c:v>
                </c:pt>
                <c:pt idx="15377">
                  <c:v>42.713888888888889</c:v>
                </c:pt>
                <c:pt idx="15378">
                  <c:v>42.716666666666669</c:v>
                </c:pt>
                <c:pt idx="15379">
                  <c:v>42.719444444444441</c:v>
                </c:pt>
                <c:pt idx="15380">
                  <c:v>42.722222222222221</c:v>
                </c:pt>
                <c:pt idx="15381">
                  <c:v>42.725000000000001</c:v>
                </c:pt>
                <c:pt idx="15382">
                  <c:v>42.727777777777774</c:v>
                </c:pt>
                <c:pt idx="15383">
                  <c:v>42.730555555555554</c:v>
                </c:pt>
                <c:pt idx="15384">
                  <c:v>42.733333333333334</c:v>
                </c:pt>
                <c:pt idx="15385">
                  <c:v>42.736111111111114</c:v>
                </c:pt>
                <c:pt idx="15386">
                  <c:v>42.738888888888887</c:v>
                </c:pt>
                <c:pt idx="15387">
                  <c:v>42.741666666666667</c:v>
                </c:pt>
                <c:pt idx="15388">
                  <c:v>42.744444444444447</c:v>
                </c:pt>
                <c:pt idx="15389">
                  <c:v>42.74722222222222</c:v>
                </c:pt>
                <c:pt idx="15390">
                  <c:v>42.75</c:v>
                </c:pt>
                <c:pt idx="15391">
                  <c:v>42.75277777777778</c:v>
                </c:pt>
                <c:pt idx="15392">
                  <c:v>42.755555555555553</c:v>
                </c:pt>
                <c:pt idx="15393">
                  <c:v>42.758333333333333</c:v>
                </c:pt>
                <c:pt idx="15394">
                  <c:v>42.761111111111113</c:v>
                </c:pt>
                <c:pt idx="15395">
                  <c:v>42.763888888888886</c:v>
                </c:pt>
                <c:pt idx="15396">
                  <c:v>42.766666666666666</c:v>
                </c:pt>
                <c:pt idx="15397">
                  <c:v>42.769444444444446</c:v>
                </c:pt>
                <c:pt idx="15398">
                  <c:v>42.772222222222226</c:v>
                </c:pt>
                <c:pt idx="15399">
                  <c:v>42.774999999999999</c:v>
                </c:pt>
                <c:pt idx="15400">
                  <c:v>42.777777777777779</c:v>
                </c:pt>
                <c:pt idx="15401">
                  <c:v>42.780555555555559</c:v>
                </c:pt>
                <c:pt idx="15402">
                  <c:v>42.783333333333331</c:v>
                </c:pt>
                <c:pt idx="15403">
                  <c:v>42.786111111111111</c:v>
                </c:pt>
                <c:pt idx="15404">
                  <c:v>42.788888888888891</c:v>
                </c:pt>
                <c:pt idx="15405">
                  <c:v>42.791666666666664</c:v>
                </c:pt>
                <c:pt idx="15406">
                  <c:v>42.794444444444444</c:v>
                </c:pt>
                <c:pt idx="15407">
                  <c:v>42.797222222222224</c:v>
                </c:pt>
                <c:pt idx="15408">
                  <c:v>42.8</c:v>
                </c:pt>
                <c:pt idx="15409">
                  <c:v>42.802777777777777</c:v>
                </c:pt>
                <c:pt idx="15410">
                  <c:v>42.805555555555557</c:v>
                </c:pt>
                <c:pt idx="15411">
                  <c:v>42.80833333333333</c:v>
                </c:pt>
                <c:pt idx="15412">
                  <c:v>42.81111111111111</c:v>
                </c:pt>
                <c:pt idx="15413">
                  <c:v>42.81388888888889</c:v>
                </c:pt>
                <c:pt idx="15414">
                  <c:v>42.81666666666667</c:v>
                </c:pt>
                <c:pt idx="15415">
                  <c:v>42.819444444444443</c:v>
                </c:pt>
                <c:pt idx="15416">
                  <c:v>42.822222222222223</c:v>
                </c:pt>
                <c:pt idx="15417">
                  <c:v>42.825000000000003</c:v>
                </c:pt>
                <c:pt idx="15418">
                  <c:v>42.827777777777776</c:v>
                </c:pt>
                <c:pt idx="15419">
                  <c:v>42.830555555555556</c:v>
                </c:pt>
                <c:pt idx="15420">
                  <c:v>42.833333333333336</c:v>
                </c:pt>
                <c:pt idx="15421">
                  <c:v>42.836111111111109</c:v>
                </c:pt>
                <c:pt idx="15422">
                  <c:v>42.838888888888889</c:v>
                </c:pt>
                <c:pt idx="15423">
                  <c:v>42.841666666666669</c:v>
                </c:pt>
                <c:pt idx="15424">
                  <c:v>42.844444444444441</c:v>
                </c:pt>
                <c:pt idx="15425">
                  <c:v>42.847222222222221</c:v>
                </c:pt>
                <c:pt idx="15426">
                  <c:v>42.85</c:v>
                </c:pt>
                <c:pt idx="15427">
                  <c:v>42.852777777777774</c:v>
                </c:pt>
                <c:pt idx="15428">
                  <c:v>42.855555555555554</c:v>
                </c:pt>
                <c:pt idx="15429">
                  <c:v>42.858333333333334</c:v>
                </c:pt>
                <c:pt idx="15430">
                  <c:v>42.861111111111114</c:v>
                </c:pt>
                <c:pt idx="15431">
                  <c:v>42.863888888888887</c:v>
                </c:pt>
                <c:pt idx="15432">
                  <c:v>42.866666666666667</c:v>
                </c:pt>
                <c:pt idx="15433">
                  <c:v>42.869444444444447</c:v>
                </c:pt>
                <c:pt idx="15434">
                  <c:v>42.87222222222222</c:v>
                </c:pt>
                <c:pt idx="15435">
                  <c:v>42.875</c:v>
                </c:pt>
                <c:pt idx="15436">
                  <c:v>42.87777777777778</c:v>
                </c:pt>
                <c:pt idx="15437">
                  <c:v>42.880555555555553</c:v>
                </c:pt>
                <c:pt idx="15438">
                  <c:v>42.883333333333333</c:v>
                </c:pt>
                <c:pt idx="15439">
                  <c:v>42.886111111111113</c:v>
                </c:pt>
                <c:pt idx="15440">
                  <c:v>42.888888888888886</c:v>
                </c:pt>
                <c:pt idx="15441">
                  <c:v>42.891666666666666</c:v>
                </c:pt>
                <c:pt idx="15442">
                  <c:v>42.894444444444446</c:v>
                </c:pt>
                <c:pt idx="15443">
                  <c:v>42.897222222222226</c:v>
                </c:pt>
                <c:pt idx="15444">
                  <c:v>42.9</c:v>
                </c:pt>
                <c:pt idx="15445">
                  <c:v>42.902777777777779</c:v>
                </c:pt>
                <c:pt idx="15446">
                  <c:v>42.905555555555559</c:v>
                </c:pt>
                <c:pt idx="15447">
                  <c:v>42.908333333333331</c:v>
                </c:pt>
                <c:pt idx="15448">
                  <c:v>42.911111111111111</c:v>
                </c:pt>
                <c:pt idx="15449">
                  <c:v>42.913888888888891</c:v>
                </c:pt>
                <c:pt idx="15450">
                  <c:v>42.916666666666664</c:v>
                </c:pt>
                <c:pt idx="15451">
                  <c:v>42.919444444444444</c:v>
                </c:pt>
                <c:pt idx="15452">
                  <c:v>42.922222222222224</c:v>
                </c:pt>
                <c:pt idx="15453">
                  <c:v>42.924999999999997</c:v>
                </c:pt>
                <c:pt idx="15454">
                  <c:v>42.927777777777777</c:v>
                </c:pt>
                <c:pt idx="15455">
                  <c:v>42.930555555555557</c:v>
                </c:pt>
                <c:pt idx="15456">
                  <c:v>42.93333333333333</c:v>
                </c:pt>
                <c:pt idx="15457">
                  <c:v>42.93611111111111</c:v>
                </c:pt>
                <c:pt idx="15458">
                  <c:v>42.93888888888889</c:v>
                </c:pt>
                <c:pt idx="15459">
                  <c:v>42.94166666666667</c:v>
                </c:pt>
                <c:pt idx="15460">
                  <c:v>42.944444444444443</c:v>
                </c:pt>
                <c:pt idx="15461">
                  <c:v>42.947222222222223</c:v>
                </c:pt>
                <c:pt idx="15462">
                  <c:v>42.95</c:v>
                </c:pt>
                <c:pt idx="15463">
                  <c:v>42.952777777777776</c:v>
                </c:pt>
                <c:pt idx="15464">
                  <c:v>42.955555555555556</c:v>
                </c:pt>
                <c:pt idx="15465">
                  <c:v>42.958333333333336</c:v>
                </c:pt>
                <c:pt idx="15466">
                  <c:v>42.961111111111109</c:v>
                </c:pt>
                <c:pt idx="15467">
                  <c:v>42.963888888888889</c:v>
                </c:pt>
                <c:pt idx="15468">
                  <c:v>42.966666666666669</c:v>
                </c:pt>
                <c:pt idx="15469">
                  <c:v>42.969444444444441</c:v>
                </c:pt>
                <c:pt idx="15470">
                  <c:v>42.972222222222221</c:v>
                </c:pt>
                <c:pt idx="15471">
                  <c:v>42.975000000000001</c:v>
                </c:pt>
                <c:pt idx="15472">
                  <c:v>42.977777777777774</c:v>
                </c:pt>
                <c:pt idx="15473">
                  <c:v>42.980555555555554</c:v>
                </c:pt>
                <c:pt idx="15474">
                  <c:v>42.983333333333334</c:v>
                </c:pt>
                <c:pt idx="15475">
                  <c:v>42.986111111111114</c:v>
                </c:pt>
                <c:pt idx="15476">
                  <c:v>42.988888888888887</c:v>
                </c:pt>
                <c:pt idx="15477">
                  <c:v>42.991666666666667</c:v>
                </c:pt>
                <c:pt idx="15478">
                  <c:v>42.994444444444447</c:v>
                </c:pt>
                <c:pt idx="15479">
                  <c:v>42.99722222222222</c:v>
                </c:pt>
                <c:pt idx="15480">
                  <c:v>43</c:v>
                </c:pt>
                <c:pt idx="15481">
                  <c:v>43.00277777777778</c:v>
                </c:pt>
                <c:pt idx="15482">
                  <c:v>43.005555555555553</c:v>
                </c:pt>
                <c:pt idx="15483">
                  <c:v>43.008333333333333</c:v>
                </c:pt>
                <c:pt idx="15484">
                  <c:v>43.011111111111113</c:v>
                </c:pt>
                <c:pt idx="15485">
                  <c:v>43.013888888888886</c:v>
                </c:pt>
                <c:pt idx="15486">
                  <c:v>43.016666666666666</c:v>
                </c:pt>
                <c:pt idx="15487">
                  <c:v>43.019444444444446</c:v>
                </c:pt>
                <c:pt idx="15488">
                  <c:v>43.022222222222226</c:v>
                </c:pt>
                <c:pt idx="15489">
                  <c:v>43.024999999999999</c:v>
                </c:pt>
                <c:pt idx="15490">
                  <c:v>43.027777777777779</c:v>
                </c:pt>
                <c:pt idx="15491">
                  <c:v>43.030555555555559</c:v>
                </c:pt>
                <c:pt idx="15492">
                  <c:v>43.033333333333331</c:v>
                </c:pt>
                <c:pt idx="15493">
                  <c:v>43.036111111111111</c:v>
                </c:pt>
                <c:pt idx="15494">
                  <c:v>43.038888888888891</c:v>
                </c:pt>
                <c:pt idx="15495">
                  <c:v>43.041666666666664</c:v>
                </c:pt>
                <c:pt idx="15496">
                  <c:v>43.044444444444444</c:v>
                </c:pt>
                <c:pt idx="15497">
                  <c:v>43.047222222222224</c:v>
                </c:pt>
                <c:pt idx="15498">
                  <c:v>43.05</c:v>
                </c:pt>
                <c:pt idx="15499">
                  <c:v>43.052777777777777</c:v>
                </c:pt>
                <c:pt idx="15500">
                  <c:v>43.055555555555557</c:v>
                </c:pt>
                <c:pt idx="15501">
                  <c:v>43.05833333333333</c:v>
                </c:pt>
                <c:pt idx="15502">
                  <c:v>43.06111111111111</c:v>
                </c:pt>
                <c:pt idx="15503">
                  <c:v>43.06388888888889</c:v>
                </c:pt>
                <c:pt idx="15504">
                  <c:v>43.06666666666667</c:v>
                </c:pt>
                <c:pt idx="15505">
                  <c:v>43.069444444444443</c:v>
                </c:pt>
                <c:pt idx="15506">
                  <c:v>43.072222222222223</c:v>
                </c:pt>
                <c:pt idx="15507">
                  <c:v>43.075000000000003</c:v>
                </c:pt>
                <c:pt idx="15508">
                  <c:v>43.077777777777776</c:v>
                </c:pt>
                <c:pt idx="15509">
                  <c:v>43.080555555555556</c:v>
                </c:pt>
                <c:pt idx="15510">
                  <c:v>43.083333333333336</c:v>
                </c:pt>
                <c:pt idx="15511">
                  <c:v>43.086111111111109</c:v>
                </c:pt>
                <c:pt idx="15512">
                  <c:v>43.088888888888889</c:v>
                </c:pt>
                <c:pt idx="15513">
                  <c:v>43.091666666666669</c:v>
                </c:pt>
                <c:pt idx="15514">
                  <c:v>43.094444444444441</c:v>
                </c:pt>
                <c:pt idx="15515">
                  <c:v>43.097222222222221</c:v>
                </c:pt>
                <c:pt idx="15516">
                  <c:v>43.1</c:v>
                </c:pt>
                <c:pt idx="15517">
                  <c:v>43.102777777777774</c:v>
                </c:pt>
                <c:pt idx="15518">
                  <c:v>43.105555555555554</c:v>
                </c:pt>
                <c:pt idx="15519">
                  <c:v>43.108333333333334</c:v>
                </c:pt>
                <c:pt idx="15520">
                  <c:v>43.111111111111114</c:v>
                </c:pt>
                <c:pt idx="15521">
                  <c:v>43.113888888888887</c:v>
                </c:pt>
                <c:pt idx="15522">
                  <c:v>43.116666666666667</c:v>
                </c:pt>
                <c:pt idx="15523">
                  <c:v>43.119444444444447</c:v>
                </c:pt>
                <c:pt idx="15524">
                  <c:v>43.12222222222222</c:v>
                </c:pt>
                <c:pt idx="15525">
                  <c:v>43.125</c:v>
                </c:pt>
                <c:pt idx="15526">
                  <c:v>43.12777777777778</c:v>
                </c:pt>
                <c:pt idx="15527">
                  <c:v>43.130555555555553</c:v>
                </c:pt>
                <c:pt idx="15528">
                  <c:v>43.133333333333333</c:v>
                </c:pt>
                <c:pt idx="15529">
                  <c:v>43.136111111111113</c:v>
                </c:pt>
                <c:pt idx="15530">
                  <c:v>43.138888888888886</c:v>
                </c:pt>
                <c:pt idx="15531">
                  <c:v>43.141666666666666</c:v>
                </c:pt>
                <c:pt idx="15532">
                  <c:v>43.144444444444446</c:v>
                </c:pt>
                <c:pt idx="15533">
                  <c:v>43.147222222222226</c:v>
                </c:pt>
                <c:pt idx="15534">
                  <c:v>43.15</c:v>
                </c:pt>
                <c:pt idx="15535">
                  <c:v>43.152777777777779</c:v>
                </c:pt>
                <c:pt idx="15536">
                  <c:v>43.155555555555559</c:v>
                </c:pt>
                <c:pt idx="15537">
                  <c:v>43.158333333333331</c:v>
                </c:pt>
                <c:pt idx="15538">
                  <c:v>43.161111111111111</c:v>
                </c:pt>
                <c:pt idx="15539">
                  <c:v>43.163888888888891</c:v>
                </c:pt>
                <c:pt idx="15540">
                  <c:v>43.166666666666664</c:v>
                </c:pt>
                <c:pt idx="15541">
                  <c:v>43.169444444444444</c:v>
                </c:pt>
                <c:pt idx="15542">
                  <c:v>43.172222222222224</c:v>
                </c:pt>
                <c:pt idx="15543">
                  <c:v>43.174999999999997</c:v>
                </c:pt>
                <c:pt idx="15544">
                  <c:v>43.177777777777777</c:v>
                </c:pt>
                <c:pt idx="15545">
                  <c:v>43.180555555555557</c:v>
                </c:pt>
                <c:pt idx="15546">
                  <c:v>43.18333333333333</c:v>
                </c:pt>
                <c:pt idx="15547">
                  <c:v>43.18611111111111</c:v>
                </c:pt>
                <c:pt idx="15548">
                  <c:v>43.18888888888889</c:v>
                </c:pt>
                <c:pt idx="15549">
                  <c:v>43.19166666666667</c:v>
                </c:pt>
                <c:pt idx="15550">
                  <c:v>43.194444444444443</c:v>
                </c:pt>
                <c:pt idx="15551">
                  <c:v>43.197222222222223</c:v>
                </c:pt>
                <c:pt idx="15552">
                  <c:v>43.2</c:v>
                </c:pt>
                <c:pt idx="15553">
                  <c:v>43.202777777777776</c:v>
                </c:pt>
                <c:pt idx="15554">
                  <c:v>43.205555555555556</c:v>
                </c:pt>
                <c:pt idx="15555">
                  <c:v>43.208333333333336</c:v>
                </c:pt>
                <c:pt idx="15556">
                  <c:v>43.211111111111109</c:v>
                </c:pt>
                <c:pt idx="15557">
                  <c:v>43.213888888888889</c:v>
                </c:pt>
                <c:pt idx="15558">
                  <c:v>43.216666666666669</c:v>
                </c:pt>
                <c:pt idx="15559">
                  <c:v>43.219444444444441</c:v>
                </c:pt>
                <c:pt idx="15560">
                  <c:v>43.222222222222221</c:v>
                </c:pt>
                <c:pt idx="15561">
                  <c:v>43.225000000000001</c:v>
                </c:pt>
                <c:pt idx="15562">
                  <c:v>43.227777777777774</c:v>
                </c:pt>
                <c:pt idx="15563">
                  <c:v>43.230555555555554</c:v>
                </c:pt>
                <c:pt idx="15564">
                  <c:v>43.233333333333334</c:v>
                </c:pt>
                <c:pt idx="15565">
                  <c:v>43.236111111111114</c:v>
                </c:pt>
                <c:pt idx="15566">
                  <c:v>43.238888888888887</c:v>
                </c:pt>
                <c:pt idx="15567">
                  <c:v>43.241666666666667</c:v>
                </c:pt>
                <c:pt idx="15568">
                  <c:v>43.244444444444447</c:v>
                </c:pt>
                <c:pt idx="15569">
                  <c:v>43.24722222222222</c:v>
                </c:pt>
                <c:pt idx="15570">
                  <c:v>43.25</c:v>
                </c:pt>
                <c:pt idx="15571">
                  <c:v>43.25277777777778</c:v>
                </c:pt>
                <c:pt idx="15572">
                  <c:v>43.255555555555553</c:v>
                </c:pt>
                <c:pt idx="15573">
                  <c:v>43.258333333333333</c:v>
                </c:pt>
                <c:pt idx="15574">
                  <c:v>43.261111111111113</c:v>
                </c:pt>
                <c:pt idx="15575">
                  <c:v>43.263888888888886</c:v>
                </c:pt>
                <c:pt idx="15576">
                  <c:v>43.266666666666666</c:v>
                </c:pt>
                <c:pt idx="15577">
                  <c:v>43.269444444444446</c:v>
                </c:pt>
                <c:pt idx="15578">
                  <c:v>43.272222222222226</c:v>
                </c:pt>
                <c:pt idx="15579">
                  <c:v>43.274999999999999</c:v>
                </c:pt>
                <c:pt idx="15580">
                  <c:v>43.277777777777779</c:v>
                </c:pt>
                <c:pt idx="15581">
                  <c:v>43.280555555555559</c:v>
                </c:pt>
                <c:pt idx="15582">
                  <c:v>43.283333333333331</c:v>
                </c:pt>
                <c:pt idx="15583">
                  <c:v>43.286111111111111</c:v>
                </c:pt>
                <c:pt idx="15584">
                  <c:v>43.288888888888891</c:v>
                </c:pt>
                <c:pt idx="15585">
                  <c:v>43.291666666666664</c:v>
                </c:pt>
                <c:pt idx="15586">
                  <c:v>43.294444444444444</c:v>
                </c:pt>
                <c:pt idx="15587">
                  <c:v>43.297222222222224</c:v>
                </c:pt>
                <c:pt idx="15588">
                  <c:v>43.3</c:v>
                </c:pt>
                <c:pt idx="15589">
                  <c:v>43.302777777777777</c:v>
                </c:pt>
                <c:pt idx="15590">
                  <c:v>43.305555555555557</c:v>
                </c:pt>
                <c:pt idx="15591">
                  <c:v>43.30833333333333</c:v>
                </c:pt>
                <c:pt idx="15592">
                  <c:v>43.31111111111111</c:v>
                </c:pt>
                <c:pt idx="15593">
                  <c:v>43.31388888888889</c:v>
                </c:pt>
                <c:pt idx="15594">
                  <c:v>43.31666666666667</c:v>
                </c:pt>
                <c:pt idx="15595">
                  <c:v>43.319444444444443</c:v>
                </c:pt>
                <c:pt idx="15596">
                  <c:v>43.322222222222223</c:v>
                </c:pt>
                <c:pt idx="15597">
                  <c:v>43.325000000000003</c:v>
                </c:pt>
                <c:pt idx="15598">
                  <c:v>43.327777777777776</c:v>
                </c:pt>
                <c:pt idx="15599">
                  <c:v>43.330555555555556</c:v>
                </c:pt>
                <c:pt idx="15600">
                  <c:v>43.333333333333336</c:v>
                </c:pt>
                <c:pt idx="15601">
                  <c:v>43.336111111111109</c:v>
                </c:pt>
                <c:pt idx="15602">
                  <c:v>43.338888888888889</c:v>
                </c:pt>
                <c:pt idx="15603">
                  <c:v>43.341666666666669</c:v>
                </c:pt>
                <c:pt idx="15604">
                  <c:v>43.344444444444441</c:v>
                </c:pt>
                <c:pt idx="15605">
                  <c:v>43.347222222222221</c:v>
                </c:pt>
                <c:pt idx="15606">
                  <c:v>43.35</c:v>
                </c:pt>
                <c:pt idx="15607">
                  <c:v>43.352777777777774</c:v>
                </c:pt>
                <c:pt idx="15608">
                  <c:v>43.355555555555554</c:v>
                </c:pt>
                <c:pt idx="15609">
                  <c:v>43.358333333333334</c:v>
                </c:pt>
                <c:pt idx="15610">
                  <c:v>43.361111111111114</c:v>
                </c:pt>
                <c:pt idx="15611">
                  <c:v>43.363888888888887</c:v>
                </c:pt>
                <c:pt idx="15612">
                  <c:v>43.366666666666667</c:v>
                </c:pt>
                <c:pt idx="15613">
                  <c:v>43.369444444444447</c:v>
                </c:pt>
                <c:pt idx="15614">
                  <c:v>43.37222222222222</c:v>
                </c:pt>
                <c:pt idx="15615">
                  <c:v>43.375</c:v>
                </c:pt>
                <c:pt idx="15616">
                  <c:v>43.37777777777778</c:v>
                </c:pt>
                <c:pt idx="15617">
                  <c:v>43.380555555555553</c:v>
                </c:pt>
                <c:pt idx="15618">
                  <c:v>43.383333333333333</c:v>
                </c:pt>
                <c:pt idx="15619">
                  <c:v>43.386111111111113</c:v>
                </c:pt>
                <c:pt idx="15620">
                  <c:v>43.388888888888886</c:v>
                </c:pt>
                <c:pt idx="15621">
                  <c:v>43.391666666666666</c:v>
                </c:pt>
                <c:pt idx="15622">
                  <c:v>43.394444444444446</c:v>
                </c:pt>
                <c:pt idx="15623">
                  <c:v>43.397222222222226</c:v>
                </c:pt>
                <c:pt idx="15624">
                  <c:v>43.4</c:v>
                </c:pt>
                <c:pt idx="15625">
                  <c:v>43.402777777777779</c:v>
                </c:pt>
                <c:pt idx="15626">
                  <c:v>43.405555555555559</c:v>
                </c:pt>
                <c:pt idx="15627">
                  <c:v>43.408333333333331</c:v>
                </c:pt>
                <c:pt idx="15628">
                  <c:v>43.411111111111111</c:v>
                </c:pt>
                <c:pt idx="15629">
                  <c:v>43.413888888888891</c:v>
                </c:pt>
                <c:pt idx="15630">
                  <c:v>43.416666666666664</c:v>
                </c:pt>
                <c:pt idx="15631">
                  <c:v>43.419444444444444</c:v>
                </c:pt>
                <c:pt idx="15632">
                  <c:v>43.422222222222224</c:v>
                </c:pt>
                <c:pt idx="15633">
                  <c:v>43.424999999999997</c:v>
                </c:pt>
                <c:pt idx="15634">
                  <c:v>43.427777777777777</c:v>
                </c:pt>
                <c:pt idx="15635">
                  <c:v>43.430555555555557</c:v>
                </c:pt>
                <c:pt idx="15636">
                  <c:v>43.43333333333333</c:v>
                </c:pt>
                <c:pt idx="15637">
                  <c:v>43.43611111111111</c:v>
                </c:pt>
                <c:pt idx="15638">
                  <c:v>43.43888888888889</c:v>
                </c:pt>
                <c:pt idx="15639">
                  <c:v>43.44166666666667</c:v>
                </c:pt>
                <c:pt idx="15640">
                  <c:v>43.444444444444443</c:v>
                </c:pt>
                <c:pt idx="15641">
                  <c:v>43.447222222222223</c:v>
                </c:pt>
                <c:pt idx="15642">
                  <c:v>43.45</c:v>
                </c:pt>
                <c:pt idx="15643">
                  <c:v>43.452777777777776</c:v>
                </c:pt>
                <c:pt idx="15644">
                  <c:v>43.455555555555556</c:v>
                </c:pt>
                <c:pt idx="15645">
                  <c:v>43.458333333333336</c:v>
                </c:pt>
                <c:pt idx="15646">
                  <c:v>43.461111111111109</c:v>
                </c:pt>
                <c:pt idx="15647">
                  <c:v>43.463888888888889</c:v>
                </c:pt>
                <c:pt idx="15648">
                  <c:v>43.466666666666669</c:v>
                </c:pt>
                <c:pt idx="15649">
                  <c:v>43.469444444444441</c:v>
                </c:pt>
                <c:pt idx="15650">
                  <c:v>43.472222222222221</c:v>
                </c:pt>
                <c:pt idx="15651">
                  <c:v>43.475000000000001</c:v>
                </c:pt>
                <c:pt idx="15652">
                  <c:v>43.477777777777774</c:v>
                </c:pt>
                <c:pt idx="15653">
                  <c:v>43.480555555555554</c:v>
                </c:pt>
                <c:pt idx="15654">
                  <c:v>43.483333333333334</c:v>
                </c:pt>
                <c:pt idx="15655">
                  <c:v>43.486111111111114</c:v>
                </c:pt>
                <c:pt idx="15656">
                  <c:v>43.488888888888887</c:v>
                </c:pt>
                <c:pt idx="15657">
                  <c:v>43.491666666666667</c:v>
                </c:pt>
                <c:pt idx="15658">
                  <c:v>43.494444444444447</c:v>
                </c:pt>
                <c:pt idx="15659">
                  <c:v>43.49722222222222</c:v>
                </c:pt>
                <c:pt idx="15660">
                  <c:v>43.5</c:v>
                </c:pt>
                <c:pt idx="15661">
                  <c:v>43.50277777777778</c:v>
                </c:pt>
                <c:pt idx="15662">
                  <c:v>43.505555555555553</c:v>
                </c:pt>
                <c:pt idx="15663">
                  <c:v>43.508333333333333</c:v>
                </c:pt>
                <c:pt idx="15664">
                  <c:v>43.511111111111113</c:v>
                </c:pt>
                <c:pt idx="15665">
                  <c:v>43.513888888888886</c:v>
                </c:pt>
                <c:pt idx="15666">
                  <c:v>43.516666666666666</c:v>
                </c:pt>
                <c:pt idx="15667">
                  <c:v>43.519444444444446</c:v>
                </c:pt>
                <c:pt idx="15668">
                  <c:v>43.522222222222226</c:v>
                </c:pt>
                <c:pt idx="15669">
                  <c:v>43.524999999999999</c:v>
                </c:pt>
                <c:pt idx="15670">
                  <c:v>43.527777777777779</c:v>
                </c:pt>
                <c:pt idx="15671">
                  <c:v>43.530555555555559</c:v>
                </c:pt>
                <c:pt idx="15672">
                  <c:v>43.533333333333331</c:v>
                </c:pt>
                <c:pt idx="15673">
                  <c:v>43.536111111111111</c:v>
                </c:pt>
                <c:pt idx="15674">
                  <c:v>43.538888888888891</c:v>
                </c:pt>
                <c:pt idx="15675">
                  <c:v>43.541666666666664</c:v>
                </c:pt>
                <c:pt idx="15676">
                  <c:v>43.544444444444444</c:v>
                </c:pt>
                <c:pt idx="15677">
                  <c:v>43.547222222222224</c:v>
                </c:pt>
                <c:pt idx="15678">
                  <c:v>43.55</c:v>
                </c:pt>
                <c:pt idx="15679">
                  <c:v>43.552777777777777</c:v>
                </c:pt>
                <c:pt idx="15680">
                  <c:v>43.555555555555557</c:v>
                </c:pt>
                <c:pt idx="15681">
                  <c:v>43.55833333333333</c:v>
                </c:pt>
                <c:pt idx="15682">
                  <c:v>43.56111111111111</c:v>
                </c:pt>
                <c:pt idx="15683">
                  <c:v>43.56388888888889</c:v>
                </c:pt>
                <c:pt idx="15684">
                  <c:v>43.56666666666667</c:v>
                </c:pt>
                <c:pt idx="15685">
                  <c:v>43.569444444444443</c:v>
                </c:pt>
                <c:pt idx="15686">
                  <c:v>43.572222222222223</c:v>
                </c:pt>
                <c:pt idx="15687">
                  <c:v>43.575000000000003</c:v>
                </c:pt>
                <c:pt idx="15688">
                  <c:v>43.577777777777776</c:v>
                </c:pt>
                <c:pt idx="15689">
                  <c:v>43.580555555555556</c:v>
                </c:pt>
                <c:pt idx="15690">
                  <c:v>43.583333333333336</c:v>
                </c:pt>
                <c:pt idx="15691">
                  <c:v>43.586111111111109</c:v>
                </c:pt>
                <c:pt idx="15692">
                  <c:v>43.588888888888889</c:v>
                </c:pt>
                <c:pt idx="15693">
                  <c:v>43.591666666666669</c:v>
                </c:pt>
                <c:pt idx="15694">
                  <c:v>43.594444444444441</c:v>
                </c:pt>
                <c:pt idx="15695">
                  <c:v>43.597222222222221</c:v>
                </c:pt>
                <c:pt idx="15696">
                  <c:v>43.6</c:v>
                </c:pt>
                <c:pt idx="15697">
                  <c:v>43.602777777777774</c:v>
                </c:pt>
                <c:pt idx="15698">
                  <c:v>43.605555555555554</c:v>
                </c:pt>
                <c:pt idx="15699">
                  <c:v>43.608333333333334</c:v>
                </c:pt>
                <c:pt idx="15700">
                  <c:v>43.611111111111114</c:v>
                </c:pt>
                <c:pt idx="15701">
                  <c:v>43.613888888888887</c:v>
                </c:pt>
                <c:pt idx="15702">
                  <c:v>43.616666666666667</c:v>
                </c:pt>
                <c:pt idx="15703">
                  <c:v>43.619444444444447</c:v>
                </c:pt>
                <c:pt idx="15704">
                  <c:v>43.62222222222222</c:v>
                </c:pt>
                <c:pt idx="15705">
                  <c:v>43.625</c:v>
                </c:pt>
                <c:pt idx="15706">
                  <c:v>43.62777777777778</c:v>
                </c:pt>
                <c:pt idx="15707">
                  <c:v>43.630555555555553</c:v>
                </c:pt>
                <c:pt idx="15708">
                  <c:v>43.633333333333333</c:v>
                </c:pt>
                <c:pt idx="15709">
                  <c:v>43.636111111111113</c:v>
                </c:pt>
                <c:pt idx="15710">
                  <c:v>43.638888888888886</c:v>
                </c:pt>
                <c:pt idx="15711">
                  <c:v>43.641666666666666</c:v>
                </c:pt>
                <c:pt idx="15712">
                  <c:v>43.644444444444446</c:v>
                </c:pt>
                <c:pt idx="15713">
                  <c:v>43.647222222222226</c:v>
                </c:pt>
                <c:pt idx="15714">
                  <c:v>43.65</c:v>
                </c:pt>
                <c:pt idx="15715">
                  <c:v>43.652777777777779</c:v>
                </c:pt>
                <c:pt idx="15716">
                  <c:v>43.655555555555559</c:v>
                </c:pt>
                <c:pt idx="15717">
                  <c:v>43.658333333333331</c:v>
                </c:pt>
                <c:pt idx="15718">
                  <c:v>43.661111111111111</c:v>
                </c:pt>
                <c:pt idx="15719">
                  <c:v>43.663888888888891</c:v>
                </c:pt>
                <c:pt idx="15720">
                  <c:v>43.666666666666664</c:v>
                </c:pt>
                <c:pt idx="15721">
                  <c:v>43.669444444444444</c:v>
                </c:pt>
                <c:pt idx="15722">
                  <c:v>43.672222222222224</c:v>
                </c:pt>
                <c:pt idx="15723">
                  <c:v>43.674999999999997</c:v>
                </c:pt>
                <c:pt idx="15724">
                  <c:v>43.677777777777777</c:v>
                </c:pt>
                <c:pt idx="15725">
                  <c:v>43.680555555555557</c:v>
                </c:pt>
                <c:pt idx="15726">
                  <c:v>43.68333333333333</c:v>
                </c:pt>
                <c:pt idx="15727">
                  <c:v>43.68611111111111</c:v>
                </c:pt>
                <c:pt idx="15728">
                  <c:v>43.68888888888889</c:v>
                </c:pt>
                <c:pt idx="15729">
                  <c:v>43.69166666666667</c:v>
                </c:pt>
                <c:pt idx="15730">
                  <c:v>43.694444444444443</c:v>
                </c:pt>
                <c:pt idx="15731">
                  <c:v>43.697222222222223</c:v>
                </c:pt>
                <c:pt idx="15732">
                  <c:v>43.7</c:v>
                </c:pt>
                <c:pt idx="15733">
                  <c:v>43.702777777777776</c:v>
                </c:pt>
                <c:pt idx="15734">
                  <c:v>43.705555555555556</c:v>
                </c:pt>
                <c:pt idx="15735">
                  <c:v>43.708333333333336</c:v>
                </c:pt>
                <c:pt idx="15736">
                  <c:v>43.711111111111109</c:v>
                </c:pt>
                <c:pt idx="15737">
                  <c:v>43.713888888888889</c:v>
                </c:pt>
                <c:pt idx="15738">
                  <c:v>43.716666666666669</c:v>
                </c:pt>
                <c:pt idx="15739">
                  <c:v>43.719444444444441</c:v>
                </c:pt>
                <c:pt idx="15740">
                  <c:v>43.722222222222221</c:v>
                </c:pt>
                <c:pt idx="15741">
                  <c:v>43.725000000000001</c:v>
                </c:pt>
                <c:pt idx="15742">
                  <c:v>43.727777777777774</c:v>
                </c:pt>
                <c:pt idx="15743">
                  <c:v>43.730555555555554</c:v>
                </c:pt>
                <c:pt idx="15744">
                  <c:v>43.733333333333334</c:v>
                </c:pt>
                <c:pt idx="15745">
                  <c:v>43.736111111111114</c:v>
                </c:pt>
                <c:pt idx="15746">
                  <c:v>43.738888888888887</c:v>
                </c:pt>
                <c:pt idx="15747">
                  <c:v>43.741666666666667</c:v>
                </c:pt>
                <c:pt idx="15748">
                  <c:v>43.744444444444447</c:v>
                </c:pt>
                <c:pt idx="15749">
                  <c:v>43.74722222222222</c:v>
                </c:pt>
                <c:pt idx="15750">
                  <c:v>43.75</c:v>
                </c:pt>
                <c:pt idx="15751">
                  <c:v>43.75277777777778</c:v>
                </c:pt>
                <c:pt idx="15752">
                  <c:v>43.755555555555553</c:v>
                </c:pt>
                <c:pt idx="15753">
                  <c:v>43.758333333333333</c:v>
                </c:pt>
                <c:pt idx="15754">
                  <c:v>43.761111111111113</c:v>
                </c:pt>
                <c:pt idx="15755">
                  <c:v>43.763888888888886</c:v>
                </c:pt>
                <c:pt idx="15756">
                  <c:v>43.766666666666666</c:v>
                </c:pt>
                <c:pt idx="15757">
                  <c:v>43.769444444444446</c:v>
                </c:pt>
                <c:pt idx="15758">
                  <c:v>43.772222222222226</c:v>
                </c:pt>
                <c:pt idx="15759">
                  <c:v>43.774999999999999</c:v>
                </c:pt>
                <c:pt idx="15760">
                  <c:v>43.777777777777779</c:v>
                </c:pt>
                <c:pt idx="15761">
                  <c:v>43.780555555555559</c:v>
                </c:pt>
                <c:pt idx="15762">
                  <c:v>43.783333333333331</c:v>
                </c:pt>
                <c:pt idx="15763">
                  <c:v>43.786111111111111</c:v>
                </c:pt>
                <c:pt idx="15764">
                  <c:v>43.788888888888891</c:v>
                </c:pt>
                <c:pt idx="15765">
                  <c:v>43.791666666666664</c:v>
                </c:pt>
                <c:pt idx="15766">
                  <c:v>43.794444444444444</c:v>
                </c:pt>
                <c:pt idx="15767">
                  <c:v>43.797222222222224</c:v>
                </c:pt>
                <c:pt idx="15768">
                  <c:v>43.8</c:v>
                </c:pt>
                <c:pt idx="15769">
                  <c:v>43.802777777777777</c:v>
                </c:pt>
                <c:pt idx="15770">
                  <c:v>43.805555555555557</c:v>
                </c:pt>
                <c:pt idx="15771">
                  <c:v>43.80833333333333</c:v>
                </c:pt>
                <c:pt idx="15772">
                  <c:v>43.81111111111111</c:v>
                </c:pt>
                <c:pt idx="15773">
                  <c:v>43.81388888888889</c:v>
                </c:pt>
                <c:pt idx="15774">
                  <c:v>43.81666666666667</c:v>
                </c:pt>
                <c:pt idx="15775">
                  <c:v>43.819444444444443</c:v>
                </c:pt>
                <c:pt idx="15776">
                  <c:v>43.822222222222223</c:v>
                </c:pt>
                <c:pt idx="15777">
                  <c:v>43.825000000000003</c:v>
                </c:pt>
                <c:pt idx="15778">
                  <c:v>43.827777777777776</c:v>
                </c:pt>
                <c:pt idx="15779">
                  <c:v>43.830555555555556</c:v>
                </c:pt>
                <c:pt idx="15780">
                  <c:v>43.833333333333336</c:v>
                </c:pt>
                <c:pt idx="15781">
                  <c:v>43.836111111111109</c:v>
                </c:pt>
                <c:pt idx="15782">
                  <c:v>43.838888888888889</c:v>
                </c:pt>
                <c:pt idx="15783">
                  <c:v>43.841666666666669</c:v>
                </c:pt>
                <c:pt idx="15784">
                  <c:v>43.844444444444441</c:v>
                </c:pt>
                <c:pt idx="15785">
                  <c:v>43.847222222222221</c:v>
                </c:pt>
                <c:pt idx="15786">
                  <c:v>43.85</c:v>
                </c:pt>
                <c:pt idx="15787">
                  <c:v>43.852777777777774</c:v>
                </c:pt>
                <c:pt idx="15788">
                  <c:v>43.855555555555554</c:v>
                </c:pt>
                <c:pt idx="15789">
                  <c:v>43.858333333333334</c:v>
                </c:pt>
                <c:pt idx="15790">
                  <c:v>43.861111111111114</c:v>
                </c:pt>
                <c:pt idx="15791">
                  <c:v>43.863888888888887</c:v>
                </c:pt>
                <c:pt idx="15792">
                  <c:v>43.866666666666667</c:v>
                </c:pt>
                <c:pt idx="15793">
                  <c:v>43.869444444444447</c:v>
                </c:pt>
                <c:pt idx="15794">
                  <c:v>43.87222222222222</c:v>
                </c:pt>
                <c:pt idx="15795">
                  <c:v>43.875</c:v>
                </c:pt>
                <c:pt idx="15796">
                  <c:v>43.87777777777778</c:v>
                </c:pt>
                <c:pt idx="15797">
                  <c:v>43.880555555555553</c:v>
                </c:pt>
                <c:pt idx="15798">
                  <c:v>43.883333333333333</c:v>
                </c:pt>
                <c:pt idx="15799">
                  <c:v>43.886111111111113</c:v>
                </c:pt>
                <c:pt idx="15800">
                  <c:v>43.888888888888886</c:v>
                </c:pt>
                <c:pt idx="15801">
                  <c:v>43.891666666666666</c:v>
                </c:pt>
                <c:pt idx="15802">
                  <c:v>43.894444444444446</c:v>
                </c:pt>
                <c:pt idx="15803">
                  <c:v>43.897222222222226</c:v>
                </c:pt>
                <c:pt idx="15804">
                  <c:v>43.9</c:v>
                </c:pt>
                <c:pt idx="15805">
                  <c:v>43.902777777777779</c:v>
                </c:pt>
                <c:pt idx="15806">
                  <c:v>43.905555555555559</c:v>
                </c:pt>
                <c:pt idx="15807">
                  <c:v>43.908333333333331</c:v>
                </c:pt>
                <c:pt idx="15808">
                  <c:v>43.911111111111111</c:v>
                </c:pt>
                <c:pt idx="15809">
                  <c:v>43.913888888888891</c:v>
                </c:pt>
                <c:pt idx="15810">
                  <c:v>43.916666666666664</c:v>
                </c:pt>
                <c:pt idx="15811">
                  <c:v>43.919444444444444</c:v>
                </c:pt>
                <c:pt idx="15812">
                  <c:v>43.922222222222224</c:v>
                </c:pt>
                <c:pt idx="15813">
                  <c:v>43.924999999999997</c:v>
                </c:pt>
                <c:pt idx="15814">
                  <c:v>43.927777777777777</c:v>
                </c:pt>
                <c:pt idx="15815">
                  <c:v>43.930555555555557</c:v>
                </c:pt>
                <c:pt idx="15816">
                  <c:v>43.93333333333333</c:v>
                </c:pt>
                <c:pt idx="15817">
                  <c:v>43.93611111111111</c:v>
                </c:pt>
                <c:pt idx="15818">
                  <c:v>43.93888888888889</c:v>
                </c:pt>
                <c:pt idx="15819">
                  <c:v>43.94166666666667</c:v>
                </c:pt>
                <c:pt idx="15820">
                  <c:v>43.944444444444443</c:v>
                </c:pt>
                <c:pt idx="15821">
                  <c:v>43.947222222222223</c:v>
                </c:pt>
                <c:pt idx="15822">
                  <c:v>43.95</c:v>
                </c:pt>
                <c:pt idx="15823">
                  <c:v>43.952777777777776</c:v>
                </c:pt>
                <c:pt idx="15824">
                  <c:v>43.955555555555556</c:v>
                </c:pt>
                <c:pt idx="15825">
                  <c:v>43.958333333333336</c:v>
                </c:pt>
                <c:pt idx="15826">
                  <c:v>43.961111111111109</c:v>
                </c:pt>
                <c:pt idx="15827">
                  <c:v>43.963888888888889</c:v>
                </c:pt>
                <c:pt idx="15828">
                  <c:v>43.966666666666669</c:v>
                </c:pt>
                <c:pt idx="15829">
                  <c:v>43.969444444444441</c:v>
                </c:pt>
                <c:pt idx="15830">
                  <c:v>43.972222222222221</c:v>
                </c:pt>
                <c:pt idx="15831">
                  <c:v>43.975000000000001</c:v>
                </c:pt>
                <c:pt idx="15832">
                  <c:v>43.977777777777774</c:v>
                </c:pt>
                <c:pt idx="15833">
                  <c:v>43.980555555555554</c:v>
                </c:pt>
                <c:pt idx="15834">
                  <c:v>43.983333333333334</c:v>
                </c:pt>
                <c:pt idx="15835">
                  <c:v>43.986111111111114</c:v>
                </c:pt>
                <c:pt idx="15836">
                  <c:v>43.988888888888887</c:v>
                </c:pt>
                <c:pt idx="15837">
                  <c:v>43.991666666666667</c:v>
                </c:pt>
                <c:pt idx="15838">
                  <c:v>43.994444444444447</c:v>
                </c:pt>
                <c:pt idx="15839">
                  <c:v>43.99722222222222</c:v>
                </c:pt>
                <c:pt idx="15840">
                  <c:v>44</c:v>
                </c:pt>
                <c:pt idx="15841">
                  <c:v>44.00277777777778</c:v>
                </c:pt>
                <c:pt idx="15842">
                  <c:v>44.005555555555553</c:v>
                </c:pt>
                <c:pt idx="15843">
                  <c:v>44.008333333333333</c:v>
                </c:pt>
                <c:pt idx="15844">
                  <c:v>44.011111111111113</c:v>
                </c:pt>
                <c:pt idx="15845">
                  <c:v>44.013888888888886</c:v>
                </c:pt>
                <c:pt idx="15846">
                  <c:v>44.016666666666666</c:v>
                </c:pt>
                <c:pt idx="15847">
                  <c:v>44.019444444444446</c:v>
                </c:pt>
                <c:pt idx="15848">
                  <c:v>44.022222222222226</c:v>
                </c:pt>
                <c:pt idx="15849">
                  <c:v>44.024999999999999</c:v>
                </c:pt>
                <c:pt idx="15850">
                  <c:v>44.027777777777779</c:v>
                </c:pt>
                <c:pt idx="15851">
                  <c:v>44.030555555555559</c:v>
                </c:pt>
                <c:pt idx="15852">
                  <c:v>44.033333333333331</c:v>
                </c:pt>
                <c:pt idx="15853">
                  <c:v>44.036111111111111</c:v>
                </c:pt>
                <c:pt idx="15854">
                  <c:v>44.038888888888891</c:v>
                </c:pt>
                <c:pt idx="15855">
                  <c:v>44.041666666666664</c:v>
                </c:pt>
                <c:pt idx="15856">
                  <c:v>44.044444444444444</c:v>
                </c:pt>
                <c:pt idx="15857">
                  <c:v>44.047222222222224</c:v>
                </c:pt>
                <c:pt idx="15858">
                  <c:v>44.05</c:v>
                </c:pt>
                <c:pt idx="15859">
                  <c:v>44.052777777777777</c:v>
                </c:pt>
                <c:pt idx="15860">
                  <c:v>44.055555555555557</c:v>
                </c:pt>
                <c:pt idx="15861">
                  <c:v>44.05833333333333</c:v>
                </c:pt>
                <c:pt idx="15862">
                  <c:v>44.06111111111111</c:v>
                </c:pt>
                <c:pt idx="15863">
                  <c:v>44.06388888888889</c:v>
                </c:pt>
                <c:pt idx="15864">
                  <c:v>44.06666666666667</c:v>
                </c:pt>
                <c:pt idx="15865">
                  <c:v>44.069444444444443</c:v>
                </c:pt>
                <c:pt idx="15866">
                  <c:v>44.072222222222223</c:v>
                </c:pt>
                <c:pt idx="15867">
                  <c:v>44.075000000000003</c:v>
                </c:pt>
                <c:pt idx="15868">
                  <c:v>44.077777777777776</c:v>
                </c:pt>
                <c:pt idx="15869">
                  <c:v>44.080555555555556</c:v>
                </c:pt>
                <c:pt idx="15870">
                  <c:v>44.083333333333336</c:v>
                </c:pt>
                <c:pt idx="15871">
                  <c:v>44.086111111111109</c:v>
                </c:pt>
                <c:pt idx="15872">
                  <c:v>44.088888888888889</c:v>
                </c:pt>
                <c:pt idx="15873">
                  <c:v>44.091666666666669</c:v>
                </c:pt>
                <c:pt idx="15874">
                  <c:v>44.094444444444441</c:v>
                </c:pt>
                <c:pt idx="15875">
                  <c:v>44.097222222222221</c:v>
                </c:pt>
                <c:pt idx="15876">
                  <c:v>44.1</c:v>
                </c:pt>
                <c:pt idx="15877">
                  <c:v>44.102777777777774</c:v>
                </c:pt>
                <c:pt idx="15878">
                  <c:v>44.105555555555554</c:v>
                </c:pt>
                <c:pt idx="15879">
                  <c:v>44.108333333333334</c:v>
                </c:pt>
                <c:pt idx="15880">
                  <c:v>44.111111111111114</c:v>
                </c:pt>
                <c:pt idx="15881">
                  <c:v>44.113888888888887</c:v>
                </c:pt>
                <c:pt idx="15882">
                  <c:v>44.116666666666667</c:v>
                </c:pt>
                <c:pt idx="15883">
                  <c:v>44.119444444444447</c:v>
                </c:pt>
                <c:pt idx="15884">
                  <c:v>44.12222222222222</c:v>
                </c:pt>
                <c:pt idx="15885">
                  <c:v>44.125</c:v>
                </c:pt>
                <c:pt idx="15886">
                  <c:v>44.12777777777778</c:v>
                </c:pt>
                <c:pt idx="15887">
                  <c:v>44.130555555555553</c:v>
                </c:pt>
                <c:pt idx="15888">
                  <c:v>44.133333333333333</c:v>
                </c:pt>
                <c:pt idx="15889">
                  <c:v>44.136111111111113</c:v>
                </c:pt>
                <c:pt idx="15890">
                  <c:v>44.138888888888886</c:v>
                </c:pt>
                <c:pt idx="15891">
                  <c:v>44.141666666666666</c:v>
                </c:pt>
                <c:pt idx="15892">
                  <c:v>44.144444444444446</c:v>
                </c:pt>
                <c:pt idx="15893">
                  <c:v>44.147222222222226</c:v>
                </c:pt>
                <c:pt idx="15894">
                  <c:v>44.15</c:v>
                </c:pt>
                <c:pt idx="15895">
                  <c:v>44.152777777777779</c:v>
                </c:pt>
                <c:pt idx="15896">
                  <c:v>44.155555555555559</c:v>
                </c:pt>
                <c:pt idx="15897">
                  <c:v>44.158333333333331</c:v>
                </c:pt>
                <c:pt idx="15898">
                  <c:v>44.161111111111111</c:v>
                </c:pt>
                <c:pt idx="15899">
                  <c:v>44.163888888888891</c:v>
                </c:pt>
                <c:pt idx="15900">
                  <c:v>44.166666666666664</c:v>
                </c:pt>
                <c:pt idx="15901">
                  <c:v>44.169444444444444</c:v>
                </c:pt>
                <c:pt idx="15902">
                  <c:v>44.172222222222224</c:v>
                </c:pt>
                <c:pt idx="15903">
                  <c:v>44.174999999999997</c:v>
                </c:pt>
                <c:pt idx="15904">
                  <c:v>44.177777777777777</c:v>
                </c:pt>
                <c:pt idx="15905">
                  <c:v>44.180555555555557</c:v>
                </c:pt>
                <c:pt idx="15906">
                  <c:v>44.18333333333333</c:v>
                </c:pt>
                <c:pt idx="15907">
                  <c:v>44.18611111111111</c:v>
                </c:pt>
                <c:pt idx="15908">
                  <c:v>44.18888888888889</c:v>
                </c:pt>
                <c:pt idx="15909">
                  <c:v>44.19166666666667</c:v>
                </c:pt>
                <c:pt idx="15910">
                  <c:v>44.194444444444443</c:v>
                </c:pt>
                <c:pt idx="15911">
                  <c:v>44.197222222222223</c:v>
                </c:pt>
                <c:pt idx="15912">
                  <c:v>44.2</c:v>
                </c:pt>
                <c:pt idx="15913">
                  <c:v>44.202777777777776</c:v>
                </c:pt>
                <c:pt idx="15914">
                  <c:v>44.205555555555556</c:v>
                </c:pt>
                <c:pt idx="15915">
                  <c:v>44.208333333333336</c:v>
                </c:pt>
                <c:pt idx="15916">
                  <c:v>44.211111111111109</c:v>
                </c:pt>
                <c:pt idx="15917">
                  <c:v>44.213888888888889</c:v>
                </c:pt>
                <c:pt idx="15918">
                  <c:v>44.216666666666669</c:v>
                </c:pt>
                <c:pt idx="15919">
                  <c:v>44.219444444444441</c:v>
                </c:pt>
                <c:pt idx="15920">
                  <c:v>44.222222222222221</c:v>
                </c:pt>
                <c:pt idx="15921">
                  <c:v>44.225000000000001</c:v>
                </c:pt>
                <c:pt idx="15922">
                  <c:v>44.227777777777774</c:v>
                </c:pt>
                <c:pt idx="15923">
                  <c:v>44.230555555555554</c:v>
                </c:pt>
                <c:pt idx="15924">
                  <c:v>44.233333333333334</c:v>
                </c:pt>
                <c:pt idx="15925">
                  <c:v>44.236111111111114</c:v>
                </c:pt>
                <c:pt idx="15926">
                  <c:v>44.238888888888887</c:v>
                </c:pt>
                <c:pt idx="15927">
                  <c:v>44.241666666666667</c:v>
                </c:pt>
                <c:pt idx="15928">
                  <c:v>44.244444444444447</c:v>
                </c:pt>
                <c:pt idx="15929">
                  <c:v>44.24722222222222</c:v>
                </c:pt>
                <c:pt idx="15930">
                  <c:v>44.25</c:v>
                </c:pt>
                <c:pt idx="15931">
                  <c:v>44.25277777777778</c:v>
                </c:pt>
                <c:pt idx="15932">
                  <c:v>44.255555555555553</c:v>
                </c:pt>
                <c:pt idx="15933">
                  <c:v>44.258333333333333</c:v>
                </c:pt>
                <c:pt idx="15934">
                  <c:v>44.261111111111113</c:v>
                </c:pt>
                <c:pt idx="15935">
                  <c:v>44.263888888888886</c:v>
                </c:pt>
                <c:pt idx="15936">
                  <c:v>44.266666666666666</c:v>
                </c:pt>
                <c:pt idx="15937">
                  <c:v>44.269444444444446</c:v>
                </c:pt>
                <c:pt idx="15938">
                  <c:v>44.272222222222226</c:v>
                </c:pt>
                <c:pt idx="15939">
                  <c:v>44.274999999999999</c:v>
                </c:pt>
                <c:pt idx="15940">
                  <c:v>44.277777777777779</c:v>
                </c:pt>
                <c:pt idx="15941">
                  <c:v>44.280555555555559</c:v>
                </c:pt>
                <c:pt idx="15942">
                  <c:v>44.283333333333331</c:v>
                </c:pt>
                <c:pt idx="15943">
                  <c:v>44.286111111111111</c:v>
                </c:pt>
                <c:pt idx="15944">
                  <c:v>44.288888888888891</c:v>
                </c:pt>
                <c:pt idx="15945">
                  <c:v>44.291666666666664</c:v>
                </c:pt>
                <c:pt idx="15946">
                  <c:v>44.294444444444444</c:v>
                </c:pt>
                <c:pt idx="15947">
                  <c:v>44.297222222222224</c:v>
                </c:pt>
                <c:pt idx="15948">
                  <c:v>44.3</c:v>
                </c:pt>
                <c:pt idx="15949">
                  <c:v>44.302777777777777</c:v>
                </c:pt>
                <c:pt idx="15950">
                  <c:v>44.305555555555557</c:v>
                </c:pt>
                <c:pt idx="15951">
                  <c:v>44.30833333333333</c:v>
                </c:pt>
                <c:pt idx="15952">
                  <c:v>44.31111111111111</c:v>
                </c:pt>
                <c:pt idx="15953">
                  <c:v>44.31388888888889</c:v>
                </c:pt>
                <c:pt idx="15954">
                  <c:v>44.31666666666667</c:v>
                </c:pt>
                <c:pt idx="15955">
                  <c:v>44.319444444444443</c:v>
                </c:pt>
                <c:pt idx="15956">
                  <c:v>44.322222222222223</c:v>
                </c:pt>
                <c:pt idx="15957">
                  <c:v>44.325000000000003</c:v>
                </c:pt>
                <c:pt idx="15958">
                  <c:v>44.327777777777776</c:v>
                </c:pt>
                <c:pt idx="15959">
                  <c:v>44.330555555555556</c:v>
                </c:pt>
                <c:pt idx="15960">
                  <c:v>44.333333333333336</c:v>
                </c:pt>
                <c:pt idx="15961">
                  <c:v>44.336111111111109</c:v>
                </c:pt>
                <c:pt idx="15962">
                  <c:v>44.338888888888889</c:v>
                </c:pt>
                <c:pt idx="15963">
                  <c:v>44.341666666666669</c:v>
                </c:pt>
                <c:pt idx="15964">
                  <c:v>44.344444444444441</c:v>
                </c:pt>
                <c:pt idx="15965">
                  <c:v>44.347222222222221</c:v>
                </c:pt>
                <c:pt idx="15966">
                  <c:v>44.35</c:v>
                </c:pt>
                <c:pt idx="15967">
                  <c:v>44.352777777777774</c:v>
                </c:pt>
                <c:pt idx="15968">
                  <c:v>44.355555555555554</c:v>
                </c:pt>
                <c:pt idx="15969">
                  <c:v>44.358333333333334</c:v>
                </c:pt>
                <c:pt idx="15970">
                  <c:v>44.361111111111114</c:v>
                </c:pt>
                <c:pt idx="15971">
                  <c:v>44.363888888888887</c:v>
                </c:pt>
                <c:pt idx="15972">
                  <c:v>44.366666666666667</c:v>
                </c:pt>
                <c:pt idx="15973">
                  <c:v>44.369444444444447</c:v>
                </c:pt>
                <c:pt idx="15974">
                  <c:v>44.37222222222222</c:v>
                </c:pt>
                <c:pt idx="15975">
                  <c:v>44.375</c:v>
                </c:pt>
                <c:pt idx="15976">
                  <c:v>44.37777777777778</c:v>
                </c:pt>
                <c:pt idx="15977">
                  <c:v>44.380555555555553</c:v>
                </c:pt>
                <c:pt idx="15978">
                  <c:v>44.383333333333333</c:v>
                </c:pt>
                <c:pt idx="15979">
                  <c:v>44.386111111111113</c:v>
                </c:pt>
                <c:pt idx="15980">
                  <c:v>44.388888888888886</c:v>
                </c:pt>
                <c:pt idx="15981">
                  <c:v>44.391666666666666</c:v>
                </c:pt>
                <c:pt idx="15982">
                  <c:v>44.394444444444446</c:v>
                </c:pt>
                <c:pt idx="15983">
                  <c:v>44.397222222222226</c:v>
                </c:pt>
                <c:pt idx="15984">
                  <c:v>44.4</c:v>
                </c:pt>
                <c:pt idx="15985">
                  <c:v>44.402777777777779</c:v>
                </c:pt>
                <c:pt idx="15986">
                  <c:v>44.405555555555559</c:v>
                </c:pt>
                <c:pt idx="15987">
                  <c:v>44.408333333333331</c:v>
                </c:pt>
                <c:pt idx="15988">
                  <c:v>44.411111111111111</c:v>
                </c:pt>
                <c:pt idx="15989">
                  <c:v>44.413888888888891</c:v>
                </c:pt>
                <c:pt idx="15990">
                  <c:v>44.416666666666664</c:v>
                </c:pt>
                <c:pt idx="15991">
                  <c:v>44.419444444444444</c:v>
                </c:pt>
                <c:pt idx="15992">
                  <c:v>44.422222222222224</c:v>
                </c:pt>
                <c:pt idx="15993">
                  <c:v>44.424999999999997</c:v>
                </c:pt>
                <c:pt idx="15994">
                  <c:v>44.427777777777777</c:v>
                </c:pt>
                <c:pt idx="15995">
                  <c:v>44.430555555555557</c:v>
                </c:pt>
                <c:pt idx="15996">
                  <c:v>44.43333333333333</c:v>
                </c:pt>
                <c:pt idx="15997">
                  <c:v>44.43611111111111</c:v>
                </c:pt>
                <c:pt idx="15998">
                  <c:v>44.43888888888889</c:v>
                </c:pt>
                <c:pt idx="15999">
                  <c:v>44.44166666666667</c:v>
                </c:pt>
                <c:pt idx="16000">
                  <c:v>44.444444444444443</c:v>
                </c:pt>
                <c:pt idx="16001">
                  <c:v>44.447222222222223</c:v>
                </c:pt>
                <c:pt idx="16002">
                  <c:v>44.45</c:v>
                </c:pt>
                <c:pt idx="16003">
                  <c:v>44.452777777777776</c:v>
                </c:pt>
                <c:pt idx="16004">
                  <c:v>44.455555555555556</c:v>
                </c:pt>
                <c:pt idx="16005">
                  <c:v>44.458333333333336</c:v>
                </c:pt>
                <c:pt idx="16006">
                  <c:v>44.461111111111109</c:v>
                </c:pt>
                <c:pt idx="16007">
                  <c:v>44.463888888888889</c:v>
                </c:pt>
                <c:pt idx="16008">
                  <c:v>44.466666666666669</c:v>
                </c:pt>
                <c:pt idx="16009">
                  <c:v>44.469444444444441</c:v>
                </c:pt>
                <c:pt idx="16010">
                  <c:v>44.472222222222221</c:v>
                </c:pt>
                <c:pt idx="16011">
                  <c:v>44.475000000000001</c:v>
                </c:pt>
                <c:pt idx="16012">
                  <c:v>44.477777777777774</c:v>
                </c:pt>
                <c:pt idx="16013">
                  <c:v>44.480555555555554</c:v>
                </c:pt>
                <c:pt idx="16014">
                  <c:v>44.483333333333334</c:v>
                </c:pt>
                <c:pt idx="16015">
                  <c:v>44.486111111111114</c:v>
                </c:pt>
                <c:pt idx="16016">
                  <c:v>44.488888888888887</c:v>
                </c:pt>
                <c:pt idx="16017">
                  <c:v>44.491666666666667</c:v>
                </c:pt>
                <c:pt idx="16018">
                  <c:v>44.494444444444447</c:v>
                </c:pt>
                <c:pt idx="16019">
                  <c:v>44.49722222222222</c:v>
                </c:pt>
                <c:pt idx="16020">
                  <c:v>44.5</c:v>
                </c:pt>
                <c:pt idx="16021">
                  <c:v>44.50277777777778</c:v>
                </c:pt>
                <c:pt idx="16022">
                  <c:v>44.505555555555553</c:v>
                </c:pt>
                <c:pt idx="16023">
                  <c:v>44.508333333333333</c:v>
                </c:pt>
                <c:pt idx="16024">
                  <c:v>44.511111111111113</c:v>
                </c:pt>
                <c:pt idx="16025">
                  <c:v>44.513888888888886</c:v>
                </c:pt>
                <c:pt idx="16026">
                  <c:v>44.516666666666666</c:v>
                </c:pt>
                <c:pt idx="16027">
                  <c:v>44.519444444444446</c:v>
                </c:pt>
                <c:pt idx="16028">
                  <c:v>44.522222222222226</c:v>
                </c:pt>
                <c:pt idx="16029">
                  <c:v>44.524999999999999</c:v>
                </c:pt>
                <c:pt idx="16030">
                  <c:v>44.527777777777779</c:v>
                </c:pt>
                <c:pt idx="16031">
                  <c:v>44.530555555555559</c:v>
                </c:pt>
                <c:pt idx="16032">
                  <c:v>44.533333333333331</c:v>
                </c:pt>
                <c:pt idx="16033">
                  <c:v>44.536111111111111</c:v>
                </c:pt>
                <c:pt idx="16034">
                  <c:v>44.538888888888891</c:v>
                </c:pt>
                <c:pt idx="16035">
                  <c:v>44.541666666666664</c:v>
                </c:pt>
                <c:pt idx="16036">
                  <c:v>44.544444444444444</c:v>
                </c:pt>
                <c:pt idx="16037">
                  <c:v>44.547222222222224</c:v>
                </c:pt>
                <c:pt idx="16038">
                  <c:v>44.55</c:v>
                </c:pt>
                <c:pt idx="16039">
                  <c:v>44.552777777777777</c:v>
                </c:pt>
                <c:pt idx="16040">
                  <c:v>44.555555555555557</c:v>
                </c:pt>
                <c:pt idx="16041">
                  <c:v>44.55833333333333</c:v>
                </c:pt>
                <c:pt idx="16042">
                  <c:v>44.56111111111111</c:v>
                </c:pt>
                <c:pt idx="16043">
                  <c:v>44.56388888888889</c:v>
                </c:pt>
                <c:pt idx="16044">
                  <c:v>44.56666666666667</c:v>
                </c:pt>
                <c:pt idx="16045">
                  <c:v>44.569444444444443</c:v>
                </c:pt>
                <c:pt idx="16046">
                  <c:v>44.572222222222223</c:v>
                </c:pt>
                <c:pt idx="16047">
                  <c:v>44.575000000000003</c:v>
                </c:pt>
                <c:pt idx="16048">
                  <c:v>44.577777777777776</c:v>
                </c:pt>
                <c:pt idx="16049">
                  <c:v>44.580555555555556</c:v>
                </c:pt>
                <c:pt idx="16050">
                  <c:v>44.583333333333336</c:v>
                </c:pt>
                <c:pt idx="16051">
                  <c:v>44.586111111111109</c:v>
                </c:pt>
                <c:pt idx="16052">
                  <c:v>44.588888888888889</c:v>
                </c:pt>
                <c:pt idx="16053">
                  <c:v>44.591666666666669</c:v>
                </c:pt>
                <c:pt idx="16054">
                  <c:v>44.594444444444441</c:v>
                </c:pt>
                <c:pt idx="16055">
                  <c:v>44.597222222222221</c:v>
                </c:pt>
                <c:pt idx="16056">
                  <c:v>44.6</c:v>
                </c:pt>
                <c:pt idx="16057">
                  <c:v>44.602777777777774</c:v>
                </c:pt>
                <c:pt idx="16058">
                  <c:v>44.605555555555554</c:v>
                </c:pt>
                <c:pt idx="16059">
                  <c:v>44.608333333333334</c:v>
                </c:pt>
                <c:pt idx="16060">
                  <c:v>44.611111111111114</c:v>
                </c:pt>
                <c:pt idx="16061">
                  <c:v>44.613888888888887</c:v>
                </c:pt>
                <c:pt idx="16062">
                  <c:v>44.616666666666667</c:v>
                </c:pt>
                <c:pt idx="16063">
                  <c:v>44.619444444444447</c:v>
                </c:pt>
                <c:pt idx="16064">
                  <c:v>44.62222222222222</c:v>
                </c:pt>
                <c:pt idx="16065">
                  <c:v>44.625</c:v>
                </c:pt>
                <c:pt idx="16066">
                  <c:v>44.62777777777778</c:v>
                </c:pt>
                <c:pt idx="16067">
                  <c:v>44.630555555555553</c:v>
                </c:pt>
                <c:pt idx="16068">
                  <c:v>44.633333333333333</c:v>
                </c:pt>
                <c:pt idx="16069">
                  <c:v>44.636111111111113</c:v>
                </c:pt>
                <c:pt idx="16070">
                  <c:v>44.638888888888886</c:v>
                </c:pt>
                <c:pt idx="16071">
                  <c:v>44.641666666666666</c:v>
                </c:pt>
                <c:pt idx="16072">
                  <c:v>44.644444444444446</c:v>
                </c:pt>
                <c:pt idx="16073">
                  <c:v>44.647222222222226</c:v>
                </c:pt>
                <c:pt idx="16074">
                  <c:v>44.65</c:v>
                </c:pt>
                <c:pt idx="16075">
                  <c:v>44.652777777777779</c:v>
                </c:pt>
                <c:pt idx="16076">
                  <c:v>44.655555555555559</c:v>
                </c:pt>
                <c:pt idx="16077">
                  <c:v>44.658333333333331</c:v>
                </c:pt>
                <c:pt idx="16078">
                  <c:v>44.661111111111111</c:v>
                </c:pt>
                <c:pt idx="16079">
                  <c:v>44.663888888888891</c:v>
                </c:pt>
                <c:pt idx="16080">
                  <c:v>44.666666666666664</c:v>
                </c:pt>
                <c:pt idx="16081">
                  <c:v>44.669444444444444</c:v>
                </c:pt>
                <c:pt idx="16082">
                  <c:v>44.672222222222224</c:v>
                </c:pt>
                <c:pt idx="16083">
                  <c:v>44.674999999999997</c:v>
                </c:pt>
                <c:pt idx="16084">
                  <c:v>44.677777777777777</c:v>
                </c:pt>
                <c:pt idx="16085">
                  <c:v>44.680555555555557</c:v>
                </c:pt>
                <c:pt idx="16086">
                  <c:v>44.68333333333333</c:v>
                </c:pt>
                <c:pt idx="16087">
                  <c:v>44.68611111111111</c:v>
                </c:pt>
                <c:pt idx="16088">
                  <c:v>44.68888888888889</c:v>
                </c:pt>
                <c:pt idx="16089">
                  <c:v>44.69166666666667</c:v>
                </c:pt>
                <c:pt idx="16090">
                  <c:v>44.694444444444443</c:v>
                </c:pt>
                <c:pt idx="16091">
                  <c:v>44.697222222222223</c:v>
                </c:pt>
                <c:pt idx="16092">
                  <c:v>44.7</c:v>
                </c:pt>
                <c:pt idx="16093">
                  <c:v>44.702777777777776</c:v>
                </c:pt>
                <c:pt idx="16094">
                  <c:v>44.705555555555556</c:v>
                </c:pt>
                <c:pt idx="16095">
                  <c:v>44.708333333333336</c:v>
                </c:pt>
                <c:pt idx="16096">
                  <c:v>44.711111111111109</c:v>
                </c:pt>
                <c:pt idx="16097">
                  <c:v>44.713888888888889</c:v>
                </c:pt>
                <c:pt idx="16098">
                  <c:v>44.716666666666669</c:v>
                </c:pt>
                <c:pt idx="16099">
                  <c:v>44.719444444444441</c:v>
                </c:pt>
                <c:pt idx="16100">
                  <c:v>44.722222222222221</c:v>
                </c:pt>
                <c:pt idx="16101">
                  <c:v>44.725000000000001</c:v>
                </c:pt>
                <c:pt idx="16102">
                  <c:v>44.727777777777774</c:v>
                </c:pt>
                <c:pt idx="16103">
                  <c:v>44.730555555555554</c:v>
                </c:pt>
                <c:pt idx="16104">
                  <c:v>44.733333333333334</c:v>
                </c:pt>
                <c:pt idx="16105">
                  <c:v>44.736111111111114</c:v>
                </c:pt>
                <c:pt idx="16106">
                  <c:v>44.738888888888887</c:v>
                </c:pt>
                <c:pt idx="16107">
                  <c:v>44.741666666666667</c:v>
                </c:pt>
                <c:pt idx="16108">
                  <c:v>44.744444444444447</c:v>
                </c:pt>
                <c:pt idx="16109">
                  <c:v>44.74722222222222</c:v>
                </c:pt>
                <c:pt idx="16110">
                  <c:v>44.75</c:v>
                </c:pt>
                <c:pt idx="16111">
                  <c:v>44.75277777777778</c:v>
                </c:pt>
                <c:pt idx="16112">
                  <c:v>44.755555555555553</c:v>
                </c:pt>
                <c:pt idx="16113">
                  <c:v>44.758333333333333</c:v>
                </c:pt>
                <c:pt idx="16114">
                  <c:v>44.761111111111113</c:v>
                </c:pt>
                <c:pt idx="16115">
                  <c:v>44.763888888888886</c:v>
                </c:pt>
                <c:pt idx="16116">
                  <c:v>44.766666666666666</c:v>
                </c:pt>
                <c:pt idx="16117">
                  <c:v>44.769444444444446</c:v>
                </c:pt>
                <c:pt idx="16118">
                  <c:v>44.772222222222226</c:v>
                </c:pt>
                <c:pt idx="16119">
                  <c:v>44.774999999999999</c:v>
                </c:pt>
                <c:pt idx="16120">
                  <c:v>44.777777777777779</c:v>
                </c:pt>
                <c:pt idx="16121">
                  <c:v>44.780555555555559</c:v>
                </c:pt>
                <c:pt idx="16122">
                  <c:v>44.783333333333331</c:v>
                </c:pt>
                <c:pt idx="16123">
                  <c:v>44.786111111111111</c:v>
                </c:pt>
                <c:pt idx="16124">
                  <c:v>44.788888888888891</c:v>
                </c:pt>
                <c:pt idx="16125">
                  <c:v>44.791666666666664</c:v>
                </c:pt>
                <c:pt idx="16126">
                  <c:v>44.794444444444444</c:v>
                </c:pt>
                <c:pt idx="16127">
                  <c:v>44.797222222222224</c:v>
                </c:pt>
                <c:pt idx="16128">
                  <c:v>44.8</c:v>
                </c:pt>
                <c:pt idx="16129">
                  <c:v>44.802777777777777</c:v>
                </c:pt>
                <c:pt idx="16130">
                  <c:v>44.805555555555557</c:v>
                </c:pt>
                <c:pt idx="16131">
                  <c:v>44.80833333333333</c:v>
                </c:pt>
                <c:pt idx="16132">
                  <c:v>44.81111111111111</c:v>
                </c:pt>
                <c:pt idx="16133">
                  <c:v>44.81388888888889</c:v>
                </c:pt>
                <c:pt idx="16134">
                  <c:v>44.81666666666667</c:v>
                </c:pt>
                <c:pt idx="16135">
                  <c:v>44.819444444444443</c:v>
                </c:pt>
                <c:pt idx="16136">
                  <c:v>44.822222222222223</c:v>
                </c:pt>
                <c:pt idx="16137">
                  <c:v>44.825000000000003</c:v>
                </c:pt>
                <c:pt idx="16138">
                  <c:v>44.827777777777776</c:v>
                </c:pt>
                <c:pt idx="16139">
                  <c:v>44.830555555555556</c:v>
                </c:pt>
                <c:pt idx="16140">
                  <c:v>44.833333333333336</c:v>
                </c:pt>
                <c:pt idx="16141">
                  <c:v>44.836111111111109</c:v>
                </c:pt>
                <c:pt idx="16142">
                  <c:v>44.838888888888889</c:v>
                </c:pt>
                <c:pt idx="16143">
                  <c:v>44.841666666666669</c:v>
                </c:pt>
                <c:pt idx="16144">
                  <c:v>44.844444444444441</c:v>
                </c:pt>
                <c:pt idx="16145">
                  <c:v>44.847222222222221</c:v>
                </c:pt>
                <c:pt idx="16146">
                  <c:v>44.85</c:v>
                </c:pt>
                <c:pt idx="16147">
                  <c:v>44.852777777777774</c:v>
                </c:pt>
                <c:pt idx="16148">
                  <c:v>44.855555555555554</c:v>
                </c:pt>
                <c:pt idx="16149">
                  <c:v>44.858333333333334</c:v>
                </c:pt>
                <c:pt idx="16150">
                  <c:v>44.861111111111114</c:v>
                </c:pt>
                <c:pt idx="16151">
                  <c:v>44.863888888888887</c:v>
                </c:pt>
                <c:pt idx="16152">
                  <c:v>44.866666666666667</c:v>
                </c:pt>
                <c:pt idx="16153">
                  <c:v>44.869444444444447</c:v>
                </c:pt>
                <c:pt idx="16154">
                  <c:v>44.87222222222222</c:v>
                </c:pt>
                <c:pt idx="16155">
                  <c:v>44.875</c:v>
                </c:pt>
                <c:pt idx="16156">
                  <c:v>44.87777777777778</c:v>
                </c:pt>
                <c:pt idx="16157">
                  <c:v>44.880555555555553</c:v>
                </c:pt>
                <c:pt idx="16158">
                  <c:v>44.883333333333333</c:v>
                </c:pt>
                <c:pt idx="16159">
                  <c:v>44.886111111111113</c:v>
                </c:pt>
                <c:pt idx="16160">
                  <c:v>44.888888888888886</c:v>
                </c:pt>
                <c:pt idx="16161">
                  <c:v>44.891666666666666</c:v>
                </c:pt>
                <c:pt idx="16162">
                  <c:v>44.894444444444446</c:v>
                </c:pt>
                <c:pt idx="16163">
                  <c:v>44.897222222222226</c:v>
                </c:pt>
                <c:pt idx="16164">
                  <c:v>44.9</c:v>
                </c:pt>
                <c:pt idx="16165">
                  <c:v>44.902777777777779</c:v>
                </c:pt>
                <c:pt idx="16166">
                  <c:v>44.905555555555559</c:v>
                </c:pt>
                <c:pt idx="16167">
                  <c:v>44.908333333333331</c:v>
                </c:pt>
                <c:pt idx="16168">
                  <c:v>44.911111111111111</c:v>
                </c:pt>
                <c:pt idx="16169">
                  <c:v>44.913888888888891</c:v>
                </c:pt>
                <c:pt idx="16170">
                  <c:v>44.916666666666664</c:v>
                </c:pt>
                <c:pt idx="16171">
                  <c:v>44.919444444444444</c:v>
                </c:pt>
                <c:pt idx="16172">
                  <c:v>44.922222222222224</c:v>
                </c:pt>
                <c:pt idx="16173">
                  <c:v>44.924999999999997</c:v>
                </c:pt>
                <c:pt idx="16174">
                  <c:v>44.927777777777777</c:v>
                </c:pt>
                <c:pt idx="16175">
                  <c:v>44.930555555555557</c:v>
                </c:pt>
                <c:pt idx="16176">
                  <c:v>44.93333333333333</c:v>
                </c:pt>
                <c:pt idx="16177">
                  <c:v>44.93611111111111</c:v>
                </c:pt>
                <c:pt idx="16178">
                  <c:v>44.93888888888889</c:v>
                </c:pt>
                <c:pt idx="16179">
                  <c:v>44.94166666666667</c:v>
                </c:pt>
                <c:pt idx="16180">
                  <c:v>44.944444444444443</c:v>
                </c:pt>
                <c:pt idx="16181">
                  <c:v>44.947222222222223</c:v>
                </c:pt>
                <c:pt idx="16182">
                  <c:v>44.95</c:v>
                </c:pt>
                <c:pt idx="16183">
                  <c:v>44.952777777777776</c:v>
                </c:pt>
                <c:pt idx="16184">
                  <c:v>44.955555555555556</c:v>
                </c:pt>
                <c:pt idx="16185">
                  <c:v>44.958333333333336</c:v>
                </c:pt>
                <c:pt idx="16186">
                  <c:v>44.961111111111109</c:v>
                </c:pt>
                <c:pt idx="16187">
                  <c:v>44.963888888888889</c:v>
                </c:pt>
                <c:pt idx="16188">
                  <c:v>44.966666666666669</c:v>
                </c:pt>
                <c:pt idx="16189">
                  <c:v>44.969444444444441</c:v>
                </c:pt>
                <c:pt idx="16190">
                  <c:v>44.972222222222221</c:v>
                </c:pt>
                <c:pt idx="16191">
                  <c:v>44.975000000000001</c:v>
                </c:pt>
                <c:pt idx="16192">
                  <c:v>44.977777777777774</c:v>
                </c:pt>
                <c:pt idx="16193">
                  <c:v>44.980555555555554</c:v>
                </c:pt>
                <c:pt idx="16194">
                  <c:v>44.983333333333334</c:v>
                </c:pt>
                <c:pt idx="16195">
                  <c:v>44.986111111111114</c:v>
                </c:pt>
                <c:pt idx="16196">
                  <c:v>44.988888888888887</c:v>
                </c:pt>
                <c:pt idx="16197">
                  <c:v>44.991666666666667</c:v>
                </c:pt>
                <c:pt idx="16198">
                  <c:v>44.994444444444447</c:v>
                </c:pt>
                <c:pt idx="16199">
                  <c:v>44.99722222222222</c:v>
                </c:pt>
                <c:pt idx="16200">
                  <c:v>45</c:v>
                </c:pt>
                <c:pt idx="16201">
                  <c:v>45.00277777777778</c:v>
                </c:pt>
                <c:pt idx="16202">
                  <c:v>45.005555555555553</c:v>
                </c:pt>
                <c:pt idx="16203">
                  <c:v>45.008333333333333</c:v>
                </c:pt>
                <c:pt idx="16204">
                  <c:v>45.011111111111113</c:v>
                </c:pt>
                <c:pt idx="16205">
                  <c:v>45.013888888888886</c:v>
                </c:pt>
                <c:pt idx="16206">
                  <c:v>45.016666666666666</c:v>
                </c:pt>
                <c:pt idx="16207">
                  <c:v>45.019444444444446</c:v>
                </c:pt>
                <c:pt idx="16208">
                  <c:v>45.022222222222226</c:v>
                </c:pt>
                <c:pt idx="16209">
                  <c:v>45.024999999999999</c:v>
                </c:pt>
                <c:pt idx="16210">
                  <c:v>45.027777777777779</c:v>
                </c:pt>
                <c:pt idx="16211">
                  <c:v>45.030555555555559</c:v>
                </c:pt>
                <c:pt idx="16212">
                  <c:v>45.033333333333331</c:v>
                </c:pt>
                <c:pt idx="16213">
                  <c:v>45.036111111111111</c:v>
                </c:pt>
                <c:pt idx="16214">
                  <c:v>45.038888888888891</c:v>
                </c:pt>
                <c:pt idx="16215">
                  <c:v>45.041666666666664</c:v>
                </c:pt>
                <c:pt idx="16216">
                  <c:v>45.044444444444444</c:v>
                </c:pt>
                <c:pt idx="16217">
                  <c:v>45.047222222222224</c:v>
                </c:pt>
                <c:pt idx="16218">
                  <c:v>45.05</c:v>
                </c:pt>
                <c:pt idx="16219">
                  <c:v>45.052777777777777</c:v>
                </c:pt>
                <c:pt idx="16220">
                  <c:v>45.055555555555557</c:v>
                </c:pt>
                <c:pt idx="16221">
                  <c:v>45.05833333333333</c:v>
                </c:pt>
                <c:pt idx="16222">
                  <c:v>45.06111111111111</c:v>
                </c:pt>
                <c:pt idx="16223">
                  <c:v>45.06388888888889</c:v>
                </c:pt>
                <c:pt idx="16224">
                  <c:v>45.06666666666667</c:v>
                </c:pt>
                <c:pt idx="16225">
                  <c:v>45.069444444444443</c:v>
                </c:pt>
                <c:pt idx="16226">
                  <c:v>45.072222222222223</c:v>
                </c:pt>
                <c:pt idx="16227">
                  <c:v>45.075000000000003</c:v>
                </c:pt>
                <c:pt idx="16228">
                  <c:v>45.077777777777776</c:v>
                </c:pt>
                <c:pt idx="16229">
                  <c:v>45.080555555555556</c:v>
                </c:pt>
                <c:pt idx="16230">
                  <c:v>45.083333333333336</c:v>
                </c:pt>
                <c:pt idx="16231">
                  <c:v>45.086111111111109</c:v>
                </c:pt>
                <c:pt idx="16232">
                  <c:v>45.088888888888889</c:v>
                </c:pt>
                <c:pt idx="16233">
                  <c:v>45.091666666666669</c:v>
                </c:pt>
                <c:pt idx="16234">
                  <c:v>45.094444444444441</c:v>
                </c:pt>
                <c:pt idx="16235">
                  <c:v>45.097222222222221</c:v>
                </c:pt>
                <c:pt idx="16236">
                  <c:v>45.1</c:v>
                </c:pt>
                <c:pt idx="16237">
                  <c:v>45.102777777777774</c:v>
                </c:pt>
                <c:pt idx="16238">
                  <c:v>45.105555555555554</c:v>
                </c:pt>
                <c:pt idx="16239">
                  <c:v>45.108333333333334</c:v>
                </c:pt>
                <c:pt idx="16240">
                  <c:v>45.111111111111114</c:v>
                </c:pt>
                <c:pt idx="16241">
                  <c:v>45.113888888888887</c:v>
                </c:pt>
                <c:pt idx="16242">
                  <c:v>45.116666666666667</c:v>
                </c:pt>
                <c:pt idx="16243">
                  <c:v>45.119444444444447</c:v>
                </c:pt>
                <c:pt idx="16244">
                  <c:v>45.12222222222222</c:v>
                </c:pt>
                <c:pt idx="16245">
                  <c:v>45.125</c:v>
                </c:pt>
                <c:pt idx="16246">
                  <c:v>45.12777777777778</c:v>
                </c:pt>
                <c:pt idx="16247">
                  <c:v>45.130555555555553</c:v>
                </c:pt>
                <c:pt idx="16248">
                  <c:v>45.133333333333333</c:v>
                </c:pt>
                <c:pt idx="16249">
                  <c:v>45.136111111111113</c:v>
                </c:pt>
                <c:pt idx="16250">
                  <c:v>45.138888888888886</c:v>
                </c:pt>
                <c:pt idx="16251">
                  <c:v>45.141666666666666</c:v>
                </c:pt>
                <c:pt idx="16252">
                  <c:v>45.144444444444446</c:v>
                </c:pt>
                <c:pt idx="16253">
                  <c:v>45.147222222222226</c:v>
                </c:pt>
                <c:pt idx="16254">
                  <c:v>45.15</c:v>
                </c:pt>
                <c:pt idx="16255">
                  <c:v>45.152777777777779</c:v>
                </c:pt>
                <c:pt idx="16256">
                  <c:v>45.155555555555559</c:v>
                </c:pt>
                <c:pt idx="16257">
                  <c:v>45.158333333333331</c:v>
                </c:pt>
                <c:pt idx="16258">
                  <c:v>45.161111111111111</c:v>
                </c:pt>
                <c:pt idx="16259">
                  <c:v>45.163888888888891</c:v>
                </c:pt>
                <c:pt idx="16260">
                  <c:v>45.166666666666664</c:v>
                </c:pt>
                <c:pt idx="16261">
                  <c:v>45.169444444444444</c:v>
                </c:pt>
                <c:pt idx="16262">
                  <c:v>45.172222222222224</c:v>
                </c:pt>
                <c:pt idx="16263">
                  <c:v>45.174999999999997</c:v>
                </c:pt>
                <c:pt idx="16264">
                  <c:v>45.177777777777777</c:v>
                </c:pt>
                <c:pt idx="16265">
                  <c:v>45.180555555555557</c:v>
                </c:pt>
                <c:pt idx="16266">
                  <c:v>45.18333333333333</c:v>
                </c:pt>
                <c:pt idx="16267">
                  <c:v>45.18611111111111</c:v>
                </c:pt>
                <c:pt idx="16268">
                  <c:v>45.18888888888889</c:v>
                </c:pt>
                <c:pt idx="16269">
                  <c:v>45.19166666666667</c:v>
                </c:pt>
                <c:pt idx="16270">
                  <c:v>45.194444444444443</c:v>
                </c:pt>
                <c:pt idx="16271">
                  <c:v>45.197222222222223</c:v>
                </c:pt>
                <c:pt idx="16272">
                  <c:v>45.2</c:v>
                </c:pt>
                <c:pt idx="16273">
                  <c:v>45.202777777777776</c:v>
                </c:pt>
                <c:pt idx="16274">
                  <c:v>45.205555555555556</c:v>
                </c:pt>
                <c:pt idx="16275">
                  <c:v>45.208333333333336</c:v>
                </c:pt>
                <c:pt idx="16276">
                  <c:v>45.211111111111109</c:v>
                </c:pt>
                <c:pt idx="16277">
                  <c:v>45.213888888888889</c:v>
                </c:pt>
                <c:pt idx="16278">
                  <c:v>45.216666666666669</c:v>
                </c:pt>
                <c:pt idx="16279">
                  <c:v>45.219444444444441</c:v>
                </c:pt>
                <c:pt idx="16280">
                  <c:v>45.222222222222221</c:v>
                </c:pt>
                <c:pt idx="16281">
                  <c:v>45.225000000000001</c:v>
                </c:pt>
                <c:pt idx="16282">
                  <c:v>45.227777777777774</c:v>
                </c:pt>
                <c:pt idx="16283">
                  <c:v>45.230555555555554</c:v>
                </c:pt>
                <c:pt idx="16284">
                  <c:v>45.233333333333334</c:v>
                </c:pt>
                <c:pt idx="16285">
                  <c:v>45.236111111111114</c:v>
                </c:pt>
                <c:pt idx="16286">
                  <c:v>45.238888888888887</c:v>
                </c:pt>
                <c:pt idx="16287">
                  <c:v>45.241666666666667</c:v>
                </c:pt>
                <c:pt idx="16288">
                  <c:v>45.244444444444447</c:v>
                </c:pt>
                <c:pt idx="16289">
                  <c:v>45.24722222222222</c:v>
                </c:pt>
                <c:pt idx="16290">
                  <c:v>45.25</c:v>
                </c:pt>
                <c:pt idx="16291">
                  <c:v>45.25277777777778</c:v>
                </c:pt>
                <c:pt idx="16292">
                  <c:v>45.255555555555553</c:v>
                </c:pt>
                <c:pt idx="16293">
                  <c:v>45.258333333333333</c:v>
                </c:pt>
                <c:pt idx="16294">
                  <c:v>45.261111111111113</c:v>
                </c:pt>
                <c:pt idx="16295">
                  <c:v>45.263888888888886</c:v>
                </c:pt>
                <c:pt idx="16296">
                  <c:v>45.266666666666666</c:v>
                </c:pt>
                <c:pt idx="16297">
                  <c:v>45.269444444444446</c:v>
                </c:pt>
                <c:pt idx="16298">
                  <c:v>45.272222222222226</c:v>
                </c:pt>
                <c:pt idx="16299">
                  <c:v>45.274999999999999</c:v>
                </c:pt>
                <c:pt idx="16300">
                  <c:v>45.277777777777779</c:v>
                </c:pt>
                <c:pt idx="16301">
                  <c:v>45.280555555555559</c:v>
                </c:pt>
                <c:pt idx="16302">
                  <c:v>45.283333333333331</c:v>
                </c:pt>
                <c:pt idx="16303">
                  <c:v>45.286111111111111</c:v>
                </c:pt>
                <c:pt idx="16304">
                  <c:v>45.288888888888891</c:v>
                </c:pt>
                <c:pt idx="16305">
                  <c:v>45.291666666666664</c:v>
                </c:pt>
                <c:pt idx="16306">
                  <c:v>45.294444444444444</c:v>
                </c:pt>
                <c:pt idx="16307">
                  <c:v>45.297222222222224</c:v>
                </c:pt>
                <c:pt idx="16308">
                  <c:v>45.3</c:v>
                </c:pt>
                <c:pt idx="16309">
                  <c:v>45.302777777777777</c:v>
                </c:pt>
                <c:pt idx="16310">
                  <c:v>45.305555555555557</c:v>
                </c:pt>
                <c:pt idx="16311">
                  <c:v>45.30833333333333</c:v>
                </c:pt>
                <c:pt idx="16312">
                  <c:v>45.31111111111111</c:v>
                </c:pt>
                <c:pt idx="16313">
                  <c:v>45.31388888888889</c:v>
                </c:pt>
                <c:pt idx="16314">
                  <c:v>45.31666666666667</c:v>
                </c:pt>
                <c:pt idx="16315">
                  <c:v>45.319444444444443</c:v>
                </c:pt>
                <c:pt idx="16316">
                  <c:v>45.322222222222223</c:v>
                </c:pt>
                <c:pt idx="16317">
                  <c:v>45.325000000000003</c:v>
                </c:pt>
                <c:pt idx="16318">
                  <c:v>45.327777777777776</c:v>
                </c:pt>
                <c:pt idx="16319">
                  <c:v>45.330555555555556</c:v>
                </c:pt>
                <c:pt idx="16320">
                  <c:v>45.333333333333336</c:v>
                </c:pt>
                <c:pt idx="16321">
                  <c:v>45.336111111111109</c:v>
                </c:pt>
                <c:pt idx="16322">
                  <c:v>45.338888888888889</c:v>
                </c:pt>
                <c:pt idx="16323">
                  <c:v>45.341666666666669</c:v>
                </c:pt>
                <c:pt idx="16324">
                  <c:v>45.344444444444441</c:v>
                </c:pt>
                <c:pt idx="16325">
                  <c:v>45.347222222222221</c:v>
                </c:pt>
                <c:pt idx="16326">
                  <c:v>45.35</c:v>
                </c:pt>
                <c:pt idx="16327">
                  <c:v>45.352777777777774</c:v>
                </c:pt>
                <c:pt idx="16328">
                  <c:v>45.355555555555554</c:v>
                </c:pt>
                <c:pt idx="16329">
                  <c:v>45.358333333333334</c:v>
                </c:pt>
                <c:pt idx="16330">
                  <c:v>45.361111111111114</c:v>
                </c:pt>
                <c:pt idx="16331">
                  <c:v>45.363888888888887</c:v>
                </c:pt>
                <c:pt idx="16332">
                  <c:v>45.366666666666667</c:v>
                </c:pt>
                <c:pt idx="16333">
                  <c:v>45.369444444444447</c:v>
                </c:pt>
                <c:pt idx="16334">
                  <c:v>45.37222222222222</c:v>
                </c:pt>
                <c:pt idx="16335">
                  <c:v>45.375</c:v>
                </c:pt>
                <c:pt idx="16336">
                  <c:v>45.37777777777778</c:v>
                </c:pt>
                <c:pt idx="16337">
                  <c:v>45.380555555555553</c:v>
                </c:pt>
                <c:pt idx="16338">
                  <c:v>45.383333333333333</c:v>
                </c:pt>
                <c:pt idx="16339">
                  <c:v>45.386111111111113</c:v>
                </c:pt>
                <c:pt idx="16340">
                  <c:v>45.388888888888886</c:v>
                </c:pt>
                <c:pt idx="16341">
                  <c:v>45.391666666666666</c:v>
                </c:pt>
                <c:pt idx="16342">
                  <c:v>45.394444444444446</c:v>
                </c:pt>
                <c:pt idx="16343">
                  <c:v>45.397222222222226</c:v>
                </c:pt>
                <c:pt idx="16344">
                  <c:v>45.4</c:v>
                </c:pt>
                <c:pt idx="16345">
                  <c:v>45.402777777777779</c:v>
                </c:pt>
                <c:pt idx="16346">
                  <c:v>45.405555555555559</c:v>
                </c:pt>
                <c:pt idx="16347">
                  <c:v>45.408333333333331</c:v>
                </c:pt>
                <c:pt idx="16348">
                  <c:v>45.411111111111111</c:v>
                </c:pt>
                <c:pt idx="16349">
                  <c:v>45.413888888888891</c:v>
                </c:pt>
                <c:pt idx="16350">
                  <c:v>45.416666666666664</c:v>
                </c:pt>
                <c:pt idx="16351">
                  <c:v>45.419444444444444</c:v>
                </c:pt>
                <c:pt idx="16352">
                  <c:v>45.422222222222224</c:v>
                </c:pt>
                <c:pt idx="16353">
                  <c:v>45.424999999999997</c:v>
                </c:pt>
                <c:pt idx="16354">
                  <c:v>45.427777777777777</c:v>
                </c:pt>
                <c:pt idx="16355">
                  <c:v>45.430555555555557</c:v>
                </c:pt>
                <c:pt idx="16356">
                  <c:v>45.43333333333333</c:v>
                </c:pt>
                <c:pt idx="16357">
                  <c:v>45.43611111111111</c:v>
                </c:pt>
                <c:pt idx="16358">
                  <c:v>45.43888888888889</c:v>
                </c:pt>
                <c:pt idx="16359">
                  <c:v>45.44166666666667</c:v>
                </c:pt>
                <c:pt idx="16360">
                  <c:v>45.444444444444443</c:v>
                </c:pt>
                <c:pt idx="16361">
                  <c:v>45.447222222222223</c:v>
                </c:pt>
                <c:pt idx="16362">
                  <c:v>45.45</c:v>
                </c:pt>
                <c:pt idx="16363">
                  <c:v>45.452777777777776</c:v>
                </c:pt>
                <c:pt idx="16364">
                  <c:v>45.455555555555556</c:v>
                </c:pt>
                <c:pt idx="16365">
                  <c:v>45.458333333333336</c:v>
                </c:pt>
                <c:pt idx="16366">
                  <c:v>45.461111111111109</c:v>
                </c:pt>
                <c:pt idx="16367">
                  <c:v>45.463888888888889</c:v>
                </c:pt>
                <c:pt idx="16368">
                  <c:v>45.466666666666669</c:v>
                </c:pt>
                <c:pt idx="16369">
                  <c:v>45.469444444444441</c:v>
                </c:pt>
                <c:pt idx="16370">
                  <c:v>45.472222222222221</c:v>
                </c:pt>
                <c:pt idx="16371">
                  <c:v>45.475000000000001</c:v>
                </c:pt>
                <c:pt idx="16372">
                  <c:v>45.477777777777774</c:v>
                </c:pt>
                <c:pt idx="16373">
                  <c:v>45.480555555555554</c:v>
                </c:pt>
                <c:pt idx="16374">
                  <c:v>45.483333333333334</c:v>
                </c:pt>
                <c:pt idx="16375">
                  <c:v>45.486111111111114</c:v>
                </c:pt>
                <c:pt idx="16376">
                  <c:v>45.488888888888887</c:v>
                </c:pt>
                <c:pt idx="16377">
                  <c:v>45.491666666666667</c:v>
                </c:pt>
                <c:pt idx="16378">
                  <c:v>45.494444444444447</c:v>
                </c:pt>
                <c:pt idx="16379">
                  <c:v>45.49722222222222</c:v>
                </c:pt>
                <c:pt idx="16380">
                  <c:v>45.5</c:v>
                </c:pt>
                <c:pt idx="16381">
                  <c:v>45.50277777777778</c:v>
                </c:pt>
                <c:pt idx="16382">
                  <c:v>45.505555555555553</c:v>
                </c:pt>
                <c:pt idx="16383">
                  <c:v>45.508333333333333</c:v>
                </c:pt>
                <c:pt idx="16384">
                  <c:v>45.511111111111113</c:v>
                </c:pt>
                <c:pt idx="16385">
                  <c:v>45.513888888888886</c:v>
                </c:pt>
                <c:pt idx="16386">
                  <c:v>45.516666666666666</c:v>
                </c:pt>
                <c:pt idx="16387">
                  <c:v>45.519444444444446</c:v>
                </c:pt>
                <c:pt idx="16388">
                  <c:v>45.522222222222226</c:v>
                </c:pt>
                <c:pt idx="16389">
                  <c:v>45.524999999999999</c:v>
                </c:pt>
                <c:pt idx="16390">
                  <c:v>45.527777777777779</c:v>
                </c:pt>
                <c:pt idx="16391">
                  <c:v>45.530555555555559</c:v>
                </c:pt>
                <c:pt idx="16392">
                  <c:v>45.533333333333331</c:v>
                </c:pt>
                <c:pt idx="16393">
                  <c:v>45.536111111111111</c:v>
                </c:pt>
                <c:pt idx="16394">
                  <c:v>45.538888888888891</c:v>
                </c:pt>
                <c:pt idx="16395">
                  <c:v>45.541666666666664</c:v>
                </c:pt>
                <c:pt idx="16396">
                  <c:v>45.544444444444444</c:v>
                </c:pt>
                <c:pt idx="16397">
                  <c:v>45.547222222222224</c:v>
                </c:pt>
                <c:pt idx="16398">
                  <c:v>45.55</c:v>
                </c:pt>
                <c:pt idx="16399">
                  <c:v>45.552777777777777</c:v>
                </c:pt>
                <c:pt idx="16400">
                  <c:v>45.555555555555557</c:v>
                </c:pt>
                <c:pt idx="16401">
                  <c:v>45.55833333333333</c:v>
                </c:pt>
                <c:pt idx="16402">
                  <c:v>45.56111111111111</c:v>
                </c:pt>
                <c:pt idx="16403">
                  <c:v>45.56388888888889</c:v>
                </c:pt>
                <c:pt idx="16404">
                  <c:v>45.56666666666667</c:v>
                </c:pt>
                <c:pt idx="16405">
                  <c:v>45.569444444444443</c:v>
                </c:pt>
                <c:pt idx="16406">
                  <c:v>45.572222222222223</c:v>
                </c:pt>
                <c:pt idx="16407">
                  <c:v>45.575000000000003</c:v>
                </c:pt>
                <c:pt idx="16408">
                  <c:v>45.577777777777776</c:v>
                </c:pt>
                <c:pt idx="16409">
                  <c:v>45.580555555555556</c:v>
                </c:pt>
                <c:pt idx="16410">
                  <c:v>45.583333333333336</c:v>
                </c:pt>
                <c:pt idx="16411">
                  <c:v>45.586111111111109</c:v>
                </c:pt>
                <c:pt idx="16412">
                  <c:v>45.588888888888889</c:v>
                </c:pt>
                <c:pt idx="16413">
                  <c:v>45.591666666666669</c:v>
                </c:pt>
                <c:pt idx="16414">
                  <c:v>45.594444444444441</c:v>
                </c:pt>
                <c:pt idx="16415">
                  <c:v>45.597222222222221</c:v>
                </c:pt>
                <c:pt idx="16416">
                  <c:v>45.6</c:v>
                </c:pt>
                <c:pt idx="16417">
                  <c:v>45.602777777777774</c:v>
                </c:pt>
                <c:pt idx="16418">
                  <c:v>45.605555555555554</c:v>
                </c:pt>
                <c:pt idx="16419">
                  <c:v>45.608333333333334</c:v>
                </c:pt>
                <c:pt idx="16420">
                  <c:v>45.611111111111114</c:v>
                </c:pt>
                <c:pt idx="16421">
                  <c:v>45.613888888888887</c:v>
                </c:pt>
                <c:pt idx="16422">
                  <c:v>45.616666666666667</c:v>
                </c:pt>
                <c:pt idx="16423">
                  <c:v>45.619444444444447</c:v>
                </c:pt>
                <c:pt idx="16424">
                  <c:v>45.62222222222222</c:v>
                </c:pt>
                <c:pt idx="16425">
                  <c:v>45.625</c:v>
                </c:pt>
                <c:pt idx="16426">
                  <c:v>45.62777777777778</c:v>
                </c:pt>
                <c:pt idx="16427">
                  <c:v>45.630555555555553</c:v>
                </c:pt>
                <c:pt idx="16428">
                  <c:v>45.633333333333333</c:v>
                </c:pt>
                <c:pt idx="16429">
                  <c:v>45.636111111111113</c:v>
                </c:pt>
                <c:pt idx="16430">
                  <c:v>45.638888888888886</c:v>
                </c:pt>
                <c:pt idx="16431">
                  <c:v>45.641666666666666</c:v>
                </c:pt>
                <c:pt idx="16432">
                  <c:v>45.644444444444446</c:v>
                </c:pt>
                <c:pt idx="16433">
                  <c:v>45.647222222222226</c:v>
                </c:pt>
                <c:pt idx="16434">
                  <c:v>45.65</c:v>
                </c:pt>
                <c:pt idx="16435">
                  <c:v>45.652777777777779</c:v>
                </c:pt>
                <c:pt idx="16436">
                  <c:v>45.655555555555559</c:v>
                </c:pt>
                <c:pt idx="16437">
                  <c:v>45.658333333333331</c:v>
                </c:pt>
                <c:pt idx="16438">
                  <c:v>45.661111111111111</c:v>
                </c:pt>
                <c:pt idx="16439">
                  <c:v>45.663888888888891</c:v>
                </c:pt>
                <c:pt idx="16440">
                  <c:v>45.666666666666664</c:v>
                </c:pt>
                <c:pt idx="16441">
                  <c:v>45.669444444444444</c:v>
                </c:pt>
                <c:pt idx="16442">
                  <c:v>45.672222222222224</c:v>
                </c:pt>
                <c:pt idx="16443">
                  <c:v>45.674999999999997</c:v>
                </c:pt>
                <c:pt idx="16444">
                  <c:v>45.677777777777777</c:v>
                </c:pt>
                <c:pt idx="16445">
                  <c:v>45.680555555555557</c:v>
                </c:pt>
                <c:pt idx="16446">
                  <c:v>45.68333333333333</c:v>
                </c:pt>
                <c:pt idx="16447">
                  <c:v>45.68611111111111</c:v>
                </c:pt>
                <c:pt idx="16448">
                  <c:v>45.68888888888889</c:v>
                </c:pt>
                <c:pt idx="16449">
                  <c:v>45.69166666666667</c:v>
                </c:pt>
                <c:pt idx="16450">
                  <c:v>45.694444444444443</c:v>
                </c:pt>
                <c:pt idx="16451">
                  <c:v>45.697222222222223</c:v>
                </c:pt>
                <c:pt idx="16452">
                  <c:v>45.7</c:v>
                </c:pt>
                <c:pt idx="16453">
                  <c:v>45.702777777777776</c:v>
                </c:pt>
                <c:pt idx="16454">
                  <c:v>45.705555555555556</c:v>
                </c:pt>
                <c:pt idx="16455">
                  <c:v>45.708333333333336</c:v>
                </c:pt>
                <c:pt idx="16456">
                  <c:v>45.711111111111109</c:v>
                </c:pt>
                <c:pt idx="16457">
                  <c:v>45.713888888888889</c:v>
                </c:pt>
                <c:pt idx="16458">
                  <c:v>45.716666666666669</c:v>
                </c:pt>
                <c:pt idx="16459">
                  <c:v>45.719444444444441</c:v>
                </c:pt>
                <c:pt idx="16460">
                  <c:v>45.722222222222221</c:v>
                </c:pt>
                <c:pt idx="16461">
                  <c:v>45.725000000000001</c:v>
                </c:pt>
                <c:pt idx="16462">
                  <c:v>45.727777777777774</c:v>
                </c:pt>
                <c:pt idx="16463">
                  <c:v>45.730555555555554</c:v>
                </c:pt>
                <c:pt idx="16464">
                  <c:v>45.733333333333334</c:v>
                </c:pt>
                <c:pt idx="16465">
                  <c:v>45.736111111111114</c:v>
                </c:pt>
                <c:pt idx="16466">
                  <c:v>45.738888888888887</c:v>
                </c:pt>
                <c:pt idx="16467">
                  <c:v>45.741666666666667</c:v>
                </c:pt>
                <c:pt idx="16468">
                  <c:v>45.744444444444447</c:v>
                </c:pt>
                <c:pt idx="16469">
                  <c:v>45.74722222222222</c:v>
                </c:pt>
                <c:pt idx="16470">
                  <c:v>45.75</c:v>
                </c:pt>
                <c:pt idx="16471">
                  <c:v>45.75277777777778</c:v>
                </c:pt>
                <c:pt idx="16472">
                  <c:v>45.755555555555553</c:v>
                </c:pt>
                <c:pt idx="16473">
                  <c:v>45.758333333333333</c:v>
                </c:pt>
                <c:pt idx="16474">
                  <c:v>45.761111111111113</c:v>
                </c:pt>
                <c:pt idx="16475">
                  <c:v>45.763888888888886</c:v>
                </c:pt>
                <c:pt idx="16476">
                  <c:v>45.766666666666666</c:v>
                </c:pt>
                <c:pt idx="16477">
                  <c:v>45.769444444444446</c:v>
                </c:pt>
                <c:pt idx="16478">
                  <c:v>45.772222222222226</c:v>
                </c:pt>
                <c:pt idx="16479">
                  <c:v>45.774999999999999</c:v>
                </c:pt>
                <c:pt idx="16480">
                  <c:v>45.777777777777779</c:v>
                </c:pt>
                <c:pt idx="16481">
                  <c:v>45.780555555555559</c:v>
                </c:pt>
                <c:pt idx="16482">
                  <c:v>45.783333333333331</c:v>
                </c:pt>
                <c:pt idx="16483">
                  <c:v>45.786111111111111</c:v>
                </c:pt>
                <c:pt idx="16484">
                  <c:v>45.788888888888891</c:v>
                </c:pt>
                <c:pt idx="16485">
                  <c:v>45.791666666666664</c:v>
                </c:pt>
                <c:pt idx="16486">
                  <c:v>45.794444444444444</c:v>
                </c:pt>
                <c:pt idx="16487">
                  <c:v>45.797222222222224</c:v>
                </c:pt>
                <c:pt idx="16488">
                  <c:v>45.8</c:v>
                </c:pt>
                <c:pt idx="16489">
                  <c:v>45.802777777777777</c:v>
                </c:pt>
                <c:pt idx="16490">
                  <c:v>45.805555555555557</c:v>
                </c:pt>
                <c:pt idx="16491">
                  <c:v>45.80833333333333</c:v>
                </c:pt>
                <c:pt idx="16492">
                  <c:v>45.81111111111111</c:v>
                </c:pt>
                <c:pt idx="16493">
                  <c:v>45.81388888888889</c:v>
                </c:pt>
                <c:pt idx="16494">
                  <c:v>45.81666666666667</c:v>
                </c:pt>
                <c:pt idx="16495">
                  <c:v>45.819444444444443</c:v>
                </c:pt>
                <c:pt idx="16496">
                  <c:v>45.822222222222223</c:v>
                </c:pt>
                <c:pt idx="16497">
                  <c:v>45.825000000000003</c:v>
                </c:pt>
                <c:pt idx="16498">
                  <c:v>45.827777777777776</c:v>
                </c:pt>
                <c:pt idx="16499">
                  <c:v>45.830555555555556</c:v>
                </c:pt>
                <c:pt idx="16500">
                  <c:v>45.833333333333336</c:v>
                </c:pt>
                <c:pt idx="16501">
                  <c:v>45.836111111111109</c:v>
                </c:pt>
                <c:pt idx="16502">
                  <c:v>45.838888888888889</c:v>
                </c:pt>
                <c:pt idx="16503">
                  <c:v>45.841666666666669</c:v>
                </c:pt>
                <c:pt idx="16504">
                  <c:v>45.844444444444441</c:v>
                </c:pt>
                <c:pt idx="16505">
                  <c:v>45.847222222222221</c:v>
                </c:pt>
                <c:pt idx="16506">
                  <c:v>45.85</c:v>
                </c:pt>
                <c:pt idx="16507">
                  <c:v>45.852777777777774</c:v>
                </c:pt>
                <c:pt idx="16508">
                  <c:v>45.855555555555554</c:v>
                </c:pt>
                <c:pt idx="16509">
                  <c:v>45.858333333333334</c:v>
                </c:pt>
                <c:pt idx="16510">
                  <c:v>45.861111111111114</c:v>
                </c:pt>
                <c:pt idx="16511">
                  <c:v>45.863888888888887</c:v>
                </c:pt>
                <c:pt idx="16512">
                  <c:v>45.866666666666667</c:v>
                </c:pt>
                <c:pt idx="16513">
                  <c:v>45.869444444444447</c:v>
                </c:pt>
                <c:pt idx="16514">
                  <c:v>45.87222222222222</c:v>
                </c:pt>
                <c:pt idx="16515">
                  <c:v>45.875</c:v>
                </c:pt>
                <c:pt idx="16516">
                  <c:v>45.87777777777778</c:v>
                </c:pt>
                <c:pt idx="16517">
                  <c:v>45.880555555555553</c:v>
                </c:pt>
                <c:pt idx="16518">
                  <c:v>45.883333333333333</c:v>
                </c:pt>
                <c:pt idx="16519">
                  <c:v>45.886111111111113</c:v>
                </c:pt>
                <c:pt idx="16520">
                  <c:v>45.888888888888886</c:v>
                </c:pt>
                <c:pt idx="16521">
                  <c:v>45.891666666666666</c:v>
                </c:pt>
                <c:pt idx="16522">
                  <c:v>45.894444444444446</c:v>
                </c:pt>
                <c:pt idx="16523">
                  <c:v>45.897222222222226</c:v>
                </c:pt>
                <c:pt idx="16524">
                  <c:v>45.9</c:v>
                </c:pt>
                <c:pt idx="16525">
                  <c:v>45.902777777777779</c:v>
                </c:pt>
                <c:pt idx="16526">
                  <c:v>45.905555555555559</c:v>
                </c:pt>
                <c:pt idx="16527">
                  <c:v>45.908333333333331</c:v>
                </c:pt>
                <c:pt idx="16528">
                  <c:v>45.911111111111111</c:v>
                </c:pt>
                <c:pt idx="16529">
                  <c:v>45.913888888888891</c:v>
                </c:pt>
                <c:pt idx="16530">
                  <c:v>45.916666666666664</c:v>
                </c:pt>
                <c:pt idx="16531">
                  <c:v>45.919444444444444</c:v>
                </c:pt>
                <c:pt idx="16532">
                  <c:v>45.922222222222224</c:v>
                </c:pt>
                <c:pt idx="16533">
                  <c:v>45.924999999999997</c:v>
                </c:pt>
                <c:pt idx="16534">
                  <c:v>45.927777777777777</c:v>
                </c:pt>
                <c:pt idx="16535">
                  <c:v>45.930555555555557</c:v>
                </c:pt>
                <c:pt idx="16536">
                  <c:v>45.93333333333333</c:v>
                </c:pt>
                <c:pt idx="16537">
                  <c:v>45.93611111111111</c:v>
                </c:pt>
                <c:pt idx="16538">
                  <c:v>45.93888888888889</c:v>
                </c:pt>
                <c:pt idx="16539">
                  <c:v>45.94166666666667</c:v>
                </c:pt>
                <c:pt idx="16540">
                  <c:v>45.944444444444443</c:v>
                </c:pt>
                <c:pt idx="16541">
                  <c:v>45.947222222222223</c:v>
                </c:pt>
                <c:pt idx="16542">
                  <c:v>45.95</c:v>
                </c:pt>
                <c:pt idx="16543">
                  <c:v>45.952777777777776</c:v>
                </c:pt>
                <c:pt idx="16544">
                  <c:v>45.955555555555556</c:v>
                </c:pt>
                <c:pt idx="16545">
                  <c:v>45.958333333333336</c:v>
                </c:pt>
                <c:pt idx="16546">
                  <c:v>45.961111111111109</c:v>
                </c:pt>
                <c:pt idx="16547">
                  <c:v>45.963888888888889</c:v>
                </c:pt>
                <c:pt idx="16548">
                  <c:v>45.966666666666669</c:v>
                </c:pt>
                <c:pt idx="16549">
                  <c:v>45.969444444444441</c:v>
                </c:pt>
                <c:pt idx="16550">
                  <c:v>45.972222222222221</c:v>
                </c:pt>
                <c:pt idx="16551">
                  <c:v>45.975000000000001</c:v>
                </c:pt>
                <c:pt idx="16552">
                  <c:v>45.977777777777774</c:v>
                </c:pt>
                <c:pt idx="16553">
                  <c:v>45.980555555555554</c:v>
                </c:pt>
                <c:pt idx="16554">
                  <c:v>45.983333333333334</c:v>
                </c:pt>
                <c:pt idx="16555">
                  <c:v>45.986111111111114</c:v>
                </c:pt>
                <c:pt idx="16556">
                  <c:v>45.988888888888887</c:v>
                </c:pt>
                <c:pt idx="16557">
                  <c:v>45.991666666666667</c:v>
                </c:pt>
                <c:pt idx="16558">
                  <c:v>45.994444444444447</c:v>
                </c:pt>
                <c:pt idx="16559">
                  <c:v>45.99722222222222</c:v>
                </c:pt>
                <c:pt idx="16560">
                  <c:v>46</c:v>
                </c:pt>
                <c:pt idx="16561">
                  <c:v>46.00277777777778</c:v>
                </c:pt>
                <c:pt idx="16562">
                  <c:v>46.005555555555553</c:v>
                </c:pt>
                <c:pt idx="16563">
                  <c:v>46.008333333333333</c:v>
                </c:pt>
                <c:pt idx="16564">
                  <c:v>46.011111111111113</c:v>
                </c:pt>
                <c:pt idx="16565">
                  <c:v>46.013888888888886</c:v>
                </c:pt>
                <c:pt idx="16566">
                  <c:v>46.016666666666666</c:v>
                </c:pt>
                <c:pt idx="16567">
                  <c:v>46.019444444444446</c:v>
                </c:pt>
                <c:pt idx="16568">
                  <c:v>46.022222222222226</c:v>
                </c:pt>
                <c:pt idx="16569">
                  <c:v>46.024999999999999</c:v>
                </c:pt>
                <c:pt idx="16570">
                  <c:v>46.027777777777779</c:v>
                </c:pt>
                <c:pt idx="16571">
                  <c:v>46.030555555555559</c:v>
                </c:pt>
                <c:pt idx="16572">
                  <c:v>46.033333333333331</c:v>
                </c:pt>
                <c:pt idx="16573">
                  <c:v>46.036111111111111</c:v>
                </c:pt>
                <c:pt idx="16574">
                  <c:v>46.038888888888891</c:v>
                </c:pt>
                <c:pt idx="16575">
                  <c:v>46.041666666666664</c:v>
                </c:pt>
                <c:pt idx="16576">
                  <c:v>46.044444444444444</c:v>
                </c:pt>
                <c:pt idx="16577">
                  <c:v>46.047222222222224</c:v>
                </c:pt>
                <c:pt idx="16578">
                  <c:v>46.05</c:v>
                </c:pt>
                <c:pt idx="16579">
                  <c:v>46.052777777777777</c:v>
                </c:pt>
                <c:pt idx="16580">
                  <c:v>46.055555555555557</c:v>
                </c:pt>
                <c:pt idx="16581">
                  <c:v>46.05833333333333</c:v>
                </c:pt>
                <c:pt idx="16582">
                  <c:v>46.06111111111111</c:v>
                </c:pt>
                <c:pt idx="16583">
                  <c:v>46.06388888888889</c:v>
                </c:pt>
                <c:pt idx="16584">
                  <c:v>46.06666666666667</c:v>
                </c:pt>
                <c:pt idx="16585">
                  <c:v>46.069444444444443</c:v>
                </c:pt>
                <c:pt idx="16586">
                  <c:v>46.072222222222223</c:v>
                </c:pt>
                <c:pt idx="16587">
                  <c:v>46.075000000000003</c:v>
                </c:pt>
                <c:pt idx="16588">
                  <c:v>46.077777777777776</c:v>
                </c:pt>
                <c:pt idx="16589">
                  <c:v>46.080555555555556</c:v>
                </c:pt>
                <c:pt idx="16590">
                  <c:v>46.083333333333336</c:v>
                </c:pt>
                <c:pt idx="16591">
                  <c:v>46.086111111111109</c:v>
                </c:pt>
                <c:pt idx="16592">
                  <c:v>46.088888888888889</c:v>
                </c:pt>
                <c:pt idx="16593">
                  <c:v>46.091666666666669</c:v>
                </c:pt>
                <c:pt idx="16594">
                  <c:v>46.094444444444441</c:v>
                </c:pt>
                <c:pt idx="16595">
                  <c:v>46.097222222222221</c:v>
                </c:pt>
                <c:pt idx="16596">
                  <c:v>46.1</c:v>
                </c:pt>
                <c:pt idx="16597">
                  <c:v>46.102777777777774</c:v>
                </c:pt>
                <c:pt idx="16598">
                  <c:v>46.105555555555554</c:v>
                </c:pt>
                <c:pt idx="16599">
                  <c:v>46.108333333333334</c:v>
                </c:pt>
                <c:pt idx="16600">
                  <c:v>46.111111111111114</c:v>
                </c:pt>
                <c:pt idx="16601">
                  <c:v>46.113888888888887</c:v>
                </c:pt>
                <c:pt idx="16602">
                  <c:v>46.116666666666667</c:v>
                </c:pt>
                <c:pt idx="16603">
                  <c:v>46.119444444444447</c:v>
                </c:pt>
                <c:pt idx="16604">
                  <c:v>46.12222222222222</c:v>
                </c:pt>
                <c:pt idx="16605">
                  <c:v>46.125</c:v>
                </c:pt>
                <c:pt idx="16606">
                  <c:v>46.12777777777778</c:v>
                </c:pt>
                <c:pt idx="16607">
                  <c:v>46.130555555555553</c:v>
                </c:pt>
                <c:pt idx="16608">
                  <c:v>46.133333333333333</c:v>
                </c:pt>
                <c:pt idx="16609">
                  <c:v>46.136111111111113</c:v>
                </c:pt>
                <c:pt idx="16610">
                  <c:v>46.138888888888886</c:v>
                </c:pt>
                <c:pt idx="16611">
                  <c:v>46.141666666666666</c:v>
                </c:pt>
                <c:pt idx="16612">
                  <c:v>46.144444444444446</c:v>
                </c:pt>
                <c:pt idx="16613">
                  <c:v>46.147222222222226</c:v>
                </c:pt>
                <c:pt idx="16614">
                  <c:v>46.15</c:v>
                </c:pt>
                <c:pt idx="16615">
                  <c:v>46.152777777777779</c:v>
                </c:pt>
                <c:pt idx="16616">
                  <c:v>46.155555555555559</c:v>
                </c:pt>
                <c:pt idx="16617">
                  <c:v>46.158333333333331</c:v>
                </c:pt>
                <c:pt idx="16618">
                  <c:v>46.161111111111111</c:v>
                </c:pt>
                <c:pt idx="16619">
                  <c:v>46.163888888888891</c:v>
                </c:pt>
                <c:pt idx="16620">
                  <c:v>46.166666666666664</c:v>
                </c:pt>
                <c:pt idx="16621">
                  <c:v>46.169444444444444</c:v>
                </c:pt>
                <c:pt idx="16622">
                  <c:v>46.172222222222224</c:v>
                </c:pt>
                <c:pt idx="16623">
                  <c:v>46.174999999999997</c:v>
                </c:pt>
                <c:pt idx="16624">
                  <c:v>46.177777777777777</c:v>
                </c:pt>
                <c:pt idx="16625">
                  <c:v>46.180555555555557</c:v>
                </c:pt>
                <c:pt idx="16626">
                  <c:v>46.18333333333333</c:v>
                </c:pt>
                <c:pt idx="16627">
                  <c:v>46.18611111111111</c:v>
                </c:pt>
                <c:pt idx="16628">
                  <c:v>46.18888888888889</c:v>
                </c:pt>
                <c:pt idx="16629">
                  <c:v>46.19166666666667</c:v>
                </c:pt>
                <c:pt idx="16630">
                  <c:v>46.194444444444443</c:v>
                </c:pt>
                <c:pt idx="16631">
                  <c:v>46.197222222222223</c:v>
                </c:pt>
                <c:pt idx="16632">
                  <c:v>46.2</c:v>
                </c:pt>
                <c:pt idx="16633">
                  <c:v>46.202777777777776</c:v>
                </c:pt>
                <c:pt idx="16634">
                  <c:v>46.205555555555556</c:v>
                </c:pt>
                <c:pt idx="16635">
                  <c:v>46.208333333333336</c:v>
                </c:pt>
                <c:pt idx="16636">
                  <c:v>46.211111111111109</c:v>
                </c:pt>
                <c:pt idx="16637">
                  <c:v>46.213888888888889</c:v>
                </c:pt>
                <c:pt idx="16638">
                  <c:v>46.216666666666669</c:v>
                </c:pt>
                <c:pt idx="16639">
                  <c:v>46.219444444444441</c:v>
                </c:pt>
                <c:pt idx="16640">
                  <c:v>46.222222222222221</c:v>
                </c:pt>
                <c:pt idx="16641">
                  <c:v>46.225000000000001</c:v>
                </c:pt>
                <c:pt idx="16642">
                  <c:v>46.227777777777774</c:v>
                </c:pt>
                <c:pt idx="16643">
                  <c:v>46.230555555555554</c:v>
                </c:pt>
                <c:pt idx="16644">
                  <c:v>46.233333333333334</c:v>
                </c:pt>
                <c:pt idx="16645">
                  <c:v>46.236111111111114</c:v>
                </c:pt>
                <c:pt idx="16646">
                  <c:v>46.238888888888887</c:v>
                </c:pt>
                <c:pt idx="16647">
                  <c:v>46.241666666666667</c:v>
                </c:pt>
                <c:pt idx="16648">
                  <c:v>46.244444444444447</c:v>
                </c:pt>
                <c:pt idx="16649">
                  <c:v>46.24722222222222</c:v>
                </c:pt>
                <c:pt idx="16650">
                  <c:v>46.25</c:v>
                </c:pt>
                <c:pt idx="16651">
                  <c:v>46.25277777777778</c:v>
                </c:pt>
                <c:pt idx="16652">
                  <c:v>46.255555555555553</c:v>
                </c:pt>
                <c:pt idx="16653">
                  <c:v>46.258333333333333</c:v>
                </c:pt>
                <c:pt idx="16654">
                  <c:v>46.261111111111113</c:v>
                </c:pt>
                <c:pt idx="16655">
                  <c:v>46.263888888888886</c:v>
                </c:pt>
                <c:pt idx="16656">
                  <c:v>46.266666666666666</c:v>
                </c:pt>
                <c:pt idx="16657">
                  <c:v>46.269444444444446</c:v>
                </c:pt>
                <c:pt idx="16658">
                  <c:v>46.272222222222226</c:v>
                </c:pt>
                <c:pt idx="16659">
                  <c:v>46.274999999999999</c:v>
                </c:pt>
                <c:pt idx="16660">
                  <c:v>46.277777777777779</c:v>
                </c:pt>
                <c:pt idx="16661">
                  <c:v>46.280555555555559</c:v>
                </c:pt>
                <c:pt idx="16662">
                  <c:v>46.283333333333331</c:v>
                </c:pt>
                <c:pt idx="16663">
                  <c:v>46.286111111111111</c:v>
                </c:pt>
                <c:pt idx="16664">
                  <c:v>46.288888888888891</c:v>
                </c:pt>
                <c:pt idx="16665">
                  <c:v>46.291666666666664</c:v>
                </c:pt>
                <c:pt idx="16666">
                  <c:v>46.294444444444444</c:v>
                </c:pt>
                <c:pt idx="16667">
                  <c:v>46.297222222222224</c:v>
                </c:pt>
                <c:pt idx="16668">
                  <c:v>46.3</c:v>
                </c:pt>
                <c:pt idx="16669">
                  <c:v>46.302777777777777</c:v>
                </c:pt>
                <c:pt idx="16670">
                  <c:v>46.305555555555557</c:v>
                </c:pt>
                <c:pt idx="16671">
                  <c:v>46.30833333333333</c:v>
                </c:pt>
                <c:pt idx="16672">
                  <c:v>46.31111111111111</c:v>
                </c:pt>
                <c:pt idx="16673">
                  <c:v>46.31388888888889</c:v>
                </c:pt>
                <c:pt idx="16674">
                  <c:v>46.31666666666667</c:v>
                </c:pt>
                <c:pt idx="16675">
                  <c:v>46.319444444444443</c:v>
                </c:pt>
                <c:pt idx="16676">
                  <c:v>46.322222222222223</c:v>
                </c:pt>
                <c:pt idx="16677">
                  <c:v>46.325000000000003</c:v>
                </c:pt>
                <c:pt idx="16678">
                  <c:v>46.327777777777776</c:v>
                </c:pt>
                <c:pt idx="16679">
                  <c:v>46.330555555555556</c:v>
                </c:pt>
                <c:pt idx="16680">
                  <c:v>46.333333333333336</c:v>
                </c:pt>
                <c:pt idx="16681">
                  <c:v>46.336111111111109</c:v>
                </c:pt>
                <c:pt idx="16682">
                  <c:v>46.338888888888889</c:v>
                </c:pt>
                <c:pt idx="16683">
                  <c:v>46.341666666666669</c:v>
                </c:pt>
                <c:pt idx="16684">
                  <c:v>46.344444444444441</c:v>
                </c:pt>
                <c:pt idx="16685">
                  <c:v>46.347222222222221</c:v>
                </c:pt>
                <c:pt idx="16686">
                  <c:v>46.35</c:v>
                </c:pt>
                <c:pt idx="16687">
                  <c:v>46.352777777777774</c:v>
                </c:pt>
                <c:pt idx="16688">
                  <c:v>46.355555555555554</c:v>
                </c:pt>
                <c:pt idx="16689">
                  <c:v>46.358333333333334</c:v>
                </c:pt>
                <c:pt idx="16690">
                  <c:v>46.361111111111114</c:v>
                </c:pt>
                <c:pt idx="16691">
                  <c:v>46.363888888888887</c:v>
                </c:pt>
                <c:pt idx="16692">
                  <c:v>46.366666666666667</c:v>
                </c:pt>
                <c:pt idx="16693">
                  <c:v>46.369444444444447</c:v>
                </c:pt>
                <c:pt idx="16694">
                  <c:v>46.37222222222222</c:v>
                </c:pt>
                <c:pt idx="16695">
                  <c:v>46.375</c:v>
                </c:pt>
                <c:pt idx="16696">
                  <c:v>46.37777777777778</c:v>
                </c:pt>
                <c:pt idx="16697">
                  <c:v>46.380555555555553</c:v>
                </c:pt>
                <c:pt idx="16698">
                  <c:v>46.383333333333333</c:v>
                </c:pt>
                <c:pt idx="16699">
                  <c:v>46.386111111111113</c:v>
                </c:pt>
                <c:pt idx="16700">
                  <c:v>46.388888888888886</c:v>
                </c:pt>
                <c:pt idx="16701">
                  <c:v>46.391666666666666</c:v>
                </c:pt>
                <c:pt idx="16702">
                  <c:v>46.394444444444446</c:v>
                </c:pt>
                <c:pt idx="16703">
                  <c:v>46.397222222222226</c:v>
                </c:pt>
                <c:pt idx="16704">
                  <c:v>46.4</c:v>
                </c:pt>
                <c:pt idx="16705">
                  <c:v>46.402777777777779</c:v>
                </c:pt>
                <c:pt idx="16706">
                  <c:v>46.405555555555559</c:v>
                </c:pt>
                <c:pt idx="16707">
                  <c:v>46.408333333333331</c:v>
                </c:pt>
                <c:pt idx="16708">
                  <c:v>46.411111111111111</c:v>
                </c:pt>
                <c:pt idx="16709">
                  <c:v>46.413888888888891</c:v>
                </c:pt>
                <c:pt idx="16710">
                  <c:v>46.416666666666664</c:v>
                </c:pt>
                <c:pt idx="16711">
                  <c:v>46.419444444444444</c:v>
                </c:pt>
                <c:pt idx="16712">
                  <c:v>46.422222222222224</c:v>
                </c:pt>
                <c:pt idx="16713">
                  <c:v>46.424999999999997</c:v>
                </c:pt>
                <c:pt idx="16714">
                  <c:v>46.427777777777777</c:v>
                </c:pt>
                <c:pt idx="16715">
                  <c:v>46.430555555555557</c:v>
                </c:pt>
                <c:pt idx="16716">
                  <c:v>46.43333333333333</c:v>
                </c:pt>
                <c:pt idx="16717">
                  <c:v>46.43611111111111</c:v>
                </c:pt>
                <c:pt idx="16718">
                  <c:v>46.43888888888889</c:v>
                </c:pt>
                <c:pt idx="16719">
                  <c:v>46.44166666666667</c:v>
                </c:pt>
                <c:pt idx="16720">
                  <c:v>46.444444444444443</c:v>
                </c:pt>
                <c:pt idx="16721">
                  <c:v>46.447222222222223</c:v>
                </c:pt>
                <c:pt idx="16722">
                  <c:v>46.45</c:v>
                </c:pt>
                <c:pt idx="16723">
                  <c:v>46.452777777777776</c:v>
                </c:pt>
                <c:pt idx="16724">
                  <c:v>46.455555555555556</c:v>
                </c:pt>
                <c:pt idx="16725">
                  <c:v>46.458333333333336</c:v>
                </c:pt>
                <c:pt idx="16726">
                  <c:v>46.461111111111109</c:v>
                </c:pt>
                <c:pt idx="16727">
                  <c:v>46.463888888888889</c:v>
                </c:pt>
                <c:pt idx="16728">
                  <c:v>46.466666666666669</c:v>
                </c:pt>
                <c:pt idx="16729">
                  <c:v>46.469444444444441</c:v>
                </c:pt>
                <c:pt idx="16730">
                  <c:v>46.472222222222221</c:v>
                </c:pt>
                <c:pt idx="16731">
                  <c:v>46.475000000000001</c:v>
                </c:pt>
                <c:pt idx="16732">
                  <c:v>46.477777777777774</c:v>
                </c:pt>
                <c:pt idx="16733">
                  <c:v>46.480555555555554</c:v>
                </c:pt>
                <c:pt idx="16734">
                  <c:v>46.483333333333334</c:v>
                </c:pt>
                <c:pt idx="16735">
                  <c:v>46.486111111111114</c:v>
                </c:pt>
                <c:pt idx="16736">
                  <c:v>46.488888888888887</c:v>
                </c:pt>
                <c:pt idx="16737">
                  <c:v>46.491666666666667</c:v>
                </c:pt>
                <c:pt idx="16738">
                  <c:v>46.494444444444447</c:v>
                </c:pt>
                <c:pt idx="16739">
                  <c:v>46.49722222222222</c:v>
                </c:pt>
                <c:pt idx="16740">
                  <c:v>46.5</c:v>
                </c:pt>
                <c:pt idx="16741">
                  <c:v>46.50277777777778</c:v>
                </c:pt>
                <c:pt idx="16742">
                  <c:v>46.505555555555553</c:v>
                </c:pt>
                <c:pt idx="16743">
                  <c:v>46.508333333333333</c:v>
                </c:pt>
                <c:pt idx="16744">
                  <c:v>46.511111111111113</c:v>
                </c:pt>
                <c:pt idx="16745">
                  <c:v>46.513888888888886</c:v>
                </c:pt>
                <c:pt idx="16746">
                  <c:v>46.516666666666666</c:v>
                </c:pt>
                <c:pt idx="16747">
                  <c:v>46.519444444444446</c:v>
                </c:pt>
                <c:pt idx="16748">
                  <c:v>46.522222222222226</c:v>
                </c:pt>
                <c:pt idx="16749">
                  <c:v>46.524999999999999</c:v>
                </c:pt>
                <c:pt idx="16750">
                  <c:v>46.527777777777779</c:v>
                </c:pt>
                <c:pt idx="16751">
                  <c:v>46.530555555555559</c:v>
                </c:pt>
                <c:pt idx="16752">
                  <c:v>46.533333333333331</c:v>
                </c:pt>
                <c:pt idx="16753">
                  <c:v>46.536111111111111</c:v>
                </c:pt>
                <c:pt idx="16754">
                  <c:v>46.538888888888891</c:v>
                </c:pt>
                <c:pt idx="16755">
                  <c:v>46.541666666666664</c:v>
                </c:pt>
                <c:pt idx="16756">
                  <c:v>46.544444444444444</c:v>
                </c:pt>
                <c:pt idx="16757">
                  <c:v>46.547222222222224</c:v>
                </c:pt>
                <c:pt idx="16758">
                  <c:v>46.55</c:v>
                </c:pt>
                <c:pt idx="16759">
                  <c:v>46.552777777777777</c:v>
                </c:pt>
                <c:pt idx="16760">
                  <c:v>46.555555555555557</c:v>
                </c:pt>
                <c:pt idx="16761">
                  <c:v>46.55833333333333</c:v>
                </c:pt>
                <c:pt idx="16762">
                  <c:v>46.56111111111111</c:v>
                </c:pt>
                <c:pt idx="16763">
                  <c:v>46.56388888888889</c:v>
                </c:pt>
                <c:pt idx="16764">
                  <c:v>46.56666666666667</c:v>
                </c:pt>
                <c:pt idx="16765">
                  <c:v>46.569444444444443</c:v>
                </c:pt>
                <c:pt idx="16766">
                  <c:v>46.572222222222223</c:v>
                </c:pt>
                <c:pt idx="16767">
                  <c:v>46.575000000000003</c:v>
                </c:pt>
                <c:pt idx="16768">
                  <c:v>46.577777777777776</c:v>
                </c:pt>
                <c:pt idx="16769">
                  <c:v>46.580555555555556</c:v>
                </c:pt>
                <c:pt idx="16770">
                  <c:v>46.583333333333336</c:v>
                </c:pt>
                <c:pt idx="16771">
                  <c:v>46.586111111111109</c:v>
                </c:pt>
                <c:pt idx="16772">
                  <c:v>46.588888888888889</c:v>
                </c:pt>
                <c:pt idx="16773">
                  <c:v>46.591666666666669</c:v>
                </c:pt>
                <c:pt idx="16774">
                  <c:v>46.594444444444441</c:v>
                </c:pt>
                <c:pt idx="16775">
                  <c:v>46.597222222222221</c:v>
                </c:pt>
                <c:pt idx="16776">
                  <c:v>46.6</c:v>
                </c:pt>
                <c:pt idx="16777">
                  <c:v>46.602777777777774</c:v>
                </c:pt>
                <c:pt idx="16778">
                  <c:v>46.605555555555554</c:v>
                </c:pt>
                <c:pt idx="16779">
                  <c:v>46.608333333333334</c:v>
                </c:pt>
                <c:pt idx="16780">
                  <c:v>46.611111111111114</c:v>
                </c:pt>
                <c:pt idx="16781">
                  <c:v>46.613888888888887</c:v>
                </c:pt>
                <c:pt idx="16782">
                  <c:v>46.616666666666667</c:v>
                </c:pt>
                <c:pt idx="16783">
                  <c:v>46.619444444444447</c:v>
                </c:pt>
                <c:pt idx="16784">
                  <c:v>46.62222222222222</c:v>
                </c:pt>
                <c:pt idx="16785">
                  <c:v>46.625</c:v>
                </c:pt>
                <c:pt idx="16786">
                  <c:v>46.62777777777778</c:v>
                </c:pt>
                <c:pt idx="16787">
                  <c:v>46.630555555555553</c:v>
                </c:pt>
                <c:pt idx="16788">
                  <c:v>46.633333333333333</c:v>
                </c:pt>
                <c:pt idx="16789">
                  <c:v>46.636111111111113</c:v>
                </c:pt>
                <c:pt idx="16790">
                  <c:v>46.638888888888886</c:v>
                </c:pt>
                <c:pt idx="16791">
                  <c:v>46.641666666666666</c:v>
                </c:pt>
                <c:pt idx="16792">
                  <c:v>46.644444444444446</c:v>
                </c:pt>
                <c:pt idx="16793">
                  <c:v>46.647222222222226</c:v>
                </c:pt>
                <c:pt idx="16794">
                  <c:v>46.65</c:v>
                </c:pt>
                <c:pt idx="16795">
                  <c:v>46.652777777777779</c:v>
                </c:pt>
                <c:pt idx="16796">
                  <c:v>46.655555555555559</c:v>
                </c:pt>
                <c:pt idx="16797">
                  <c:v>46.658333333333331</c:v>
                </c:pt>
                <c:pt idx="16798">
                  <c:v>46.661111111111111</c:v>
                </c:pt>
                <c:pt idx="16799">
                  <c:v>46.663888888888891</c:v>
                </c:pt>
                <c:pt idx="16800">
                  <c:v>46.666666666666664</c:v>
                </c:pt>
                <c:pt idx="16801">
                  <c:v>46.669444444444444</c:v>
                </c:pt>
                <c:pt idx="16802">
                  <c:v>46.672222222222224</c:v>
                </c:pt>
                <c:pt idx="16803">
                  <c:v>46.674999999999997</c:v>
                </c:pt>
                <c:pt idx="16804">
                  <c:v>46.677777777777777</c:v>
                </c:pt>
                <c:pt idx="16805">
                  <c:v>46.680555555555557</c:v>
                </c:pt>
                <c:pt idx="16806">
                  <c:v>46.68333333333333</c:v>
                </c:pt>
                <c:pt idx="16807">
                  <c:v>46.68611111111111</c:v>
                </c:pt>
                <c:pt idx="16808">
                  <c:v>46.68888888888889</c:v>
                </c:pt>
                <c:pt idx="16809">
                  <c:v>46.69166666666667</c:v>
                </c:pt>
                <c:pt idx="16810">
                  <c:v>46.694444444444443</c:v>
                </c:pt>
                <c:pt idx="16811">
                  <c:v>46.697222222222223</c:v>
                </c:pt>
                <c:pt idx="16812">
                  <c:v>46.7</c:v>
                </c:pt>
                <c:pt idx="16813">
                  <c:v>46.702777777777776</c:v>
                </c:pt>
                <c:pt idx="16814">
                  <c:v>46.705555555555556</c:v>
                </c:pt>
                <c:pt idx="16815">
                  <c:v>46.708333333333336</c:v>
                </c:pt>
                <c:pt idx="16816">
                  <c:v>46.711111111111109</c:v>
                </c:pt>
                <c:pt idx="16817">
                  <c:v>46.713888888888889</c:v>
                </c:pt>
                <c:pt idx="16818">
                  <c:v>46.716666666666669</c:v>
                </c:pt>
                <c:pt idx="16819">
                  <c:v>46.719444444444441</c:v>
                </c:pt>
                <c:pt idx="16820">
                  <c:v>46.722222222222221</c:v>
                </c:pt>
                <c:pt idx="16821">
                  <c:v>46.725000000000001</c:v>
                </c:pt>
                <c:pt idx="16822">
                  <c:v>46.727777777777774</c:v>
                </c:pt>
                <c:pt idx="16823">
                  <c:v>46.730555555555554</c:v>
                </c:pt>
                <c:pt idx="16824">
                  <c:v>46.733333333333334</c:v>
                </c:pt>
                <c:pt idx="16825">
                  <c:v>46.736111111111114</c:v>
                </c:pt>
                <c:pt idx="16826">
                  <c:v>46.738888888888887</c:v>
                </c:pt>
                <c:pt idx="16827">
                  <c:v>46.741666666666667</c:v>
                </c:pt>
                <c:pt idx="16828">
                  <c:v>46.744444444444447</c:v>
                </c:pt>
                <c:pt idx="16829">
                  <c:v>46.74722222222222</c:v>
                </c:pt>
                <c:pt idx="16830">
                  <c:v>46.75</c:v>
                </c:pt>
                <c:pt idx="16831">
                  <c:v>46.75277777777778</c:v>
                </c:pt>
                <c:pt idx="16832">
                  <c:v>46.755555555555553</c:v>
                </c:pt>
                <c:pt idx="16833">
                  <c:v>46.758333333333333</c:v>
                </c:pt>
                <c:pt idx="16834">
                  <c:v>46.761111111111113</c:v>
                </c:pt>
                <c:pt idx="16835">
                  <c:v>46.763888888888886</c:v>
                </c:pt>
                <c:pt idx="16836">
                  <c:v>46.766666666666666</c:v>
                </c:pt>
                <c:pt idx="16837">
                  <c:v>46.769444444444446</c:v>
                </c:pt>
                <c:pt idx="16838">
                  <c:v>46.772222222222226</c:v>
                </c:pt>
                <c:pt idx="16839">
                  <c:v>46.774999999999999</c:v>
                </c:pt>
                <c:pt idx="16840">
                  <c:v>46.777777777777779</c:v>
                </c:pt>
                <c:pt idx="16841">
                  <c:v>46.780555555555559</c:v>
                </c:pt>
                <c:pt idx="16842">
                  <c:v>46.783333333333331</c:v>
                </c:pt>
                <c:pt idx="16843">
                  <c:v>46.786111111111111</c:v>
                </c:pt>
                <c:pt idx="16844">
                  <c:v>46.788888888888891</c:v>
                </c:pt>
                <c:pt idx="16845">
                  <c:v>46.791666666666664</c:v>
                </c:pt>
                <c:pt idx="16846">
                  <c:v>46.794444444444444</c:v>
                </c:pt>
                <c:pt idx="16847">
                  <c:v>46.797222222222224</c:v>
                </c:pt>
                <c:pt idx="16848">
                  <c:v>46.8</c:v>
                </c:pt>
                <c:pt idx="16849">
                  <c:v>46.802777777777777</c:v>
                </c:pt>
                <c:pt idx="16850">
                  <c:v>46.805555555555557</c:v>
                </c:pt>
                <c:pt idx="16851">
                  <c:v>46.80833333333333</c:v>
                </c:pt>
                <c:pt idx="16852">
                  <c:v>46.81111111111111</c:v>
                </c:pt>
                <c:pt idx="16853">
                  <c:v>46.81388888888889</c:v>
                </c:pt>
                <c:pt idx="16854">
                  <c:v>46.81666666666667</c:v>
                </c:pt>
                <c:pt idx="16855">
                  <c:v>46.819444444444443</c:v>
                </c:pt>
                <c:pt idx="16856">
                  <c:v>46.822222222222223</c:v>
                </c:pt>
                <c:pt idx="16857">
                  <c:v>46.825000000000003</c:v>
                </c:pt>
                <c:pt idx="16858">
                  <c:v>46.827777777777776</c:v>
                </c:pt>
                <c:pt idx="16859">
                  <c:v>46.830555555555556</c:v>
                </c:pt>
                <c:pt idx="16860">
                  <c:v>46.833333333333336</c:v>
                </c:pt>
                <c:pt idx="16861">
                  <c:v>46.836111111111109</c:v>
                </c:pt>
                <c:pt idx="16862">
                  <c:v>46.838888888888889</c:v>
                </c:pt>
                <c:pt idx="16863">
                  <c:v>46.841666666666669</c:v>
                </c:pt>
                <c:pt idx="16864">
                  <c:v>46.844444444444441</c:v>
                </c:pt>
                <c:pt idx="16865">
                  <c:v>46.847222222222221</c:v>
                </c:pt>
                <c:pt idx="16866">
                  <c:v>46.85</c:v>
                </c:pt>
                <c:pt idx="16867">
                  <c:v>46.852777777777774</c:v>
                </c:pt>
                <c:pt idx="16868">
                  <c:v>46.855555555555554</c:v>
                </c:pt>
                <c:pt idx="16869">
                  <c:v>46.858333333333334</c:v>
                </c:pt>
                <c:pt idx="16870">
                  <c:v>46.861111111111114</c:v>
                </c:pt>
                <c:pt idx="16871">
                  <c:v>46.863888888888887</c:v>
                </c:pt>
                <c:pt idx="16872">
                  <c:v>46.866666666666667</c:v>
                </c:pt>
                <c:pt idx="16873">
                  <c:v>46.869444444444447</c:v>
                </c:pt>
                <c:pt idx="16874">
                  <c:v>46.87222222222222</c:v>
                </c:pt>
                <c:pt idx="16875">
                  <c:v>46.875</c:v>
                </c:pt>
                <c:pt idx="16876">
                  <c:v>46.87777777777778</c:v>
                </c:pt>
                <c:pt idx="16877">
                  <c:v>46.880555555555553</c:v>
                </c:pt>
                <c:pt idx="16878">
                  <c:v>46.883333333333333</c:v>
                </c:pt>
                <c:pt idx="16879">
                  <c:v>46.886111111111113</c:v>
                </c:pt>
                <c:pt idx="16880">
                  <c:v>46.888888888888886</c:v>
                </c:pt>
                <c:pt idx="16881">
                  <c:v>46.891666666666666</c:v>
                </c:pt>
                <c:pt idx="16882">
                  <c:v>46.894444444444446</c:v>
                </c:pt>
                <c:pt idx="16883">
                  <c:v>46.897222222222226</c:v>
                </c:pt>
                <c:pt idx="16884">
                  <c:v>46.9</c:v>
                </c:pt>
                <c:pt idx="16885">
                  <c:v>46.902777777777779</c:v>
                </c:pt>
                <c:pt idx="16886">
                  <c:v>46.905555555555559</c:v>
                </c:pt>
                <c:pt idx="16887">
                  <c:v>46.908333333333331</c:v>
                </c:pt>
                <c:pt idx="16888">
                  <c:v>46.911111111111111</c:v>
                </c:pt>
                <c:pt idx="16889">
                  <c:v>46.913888888888891</c:v>
                </c:pt>
                <c:pt idx="16890">
                  <c:v>46.916666666666664</c:v>
                </c:pt>
                <c:pt idx="16891">
                  <c:v>46.919444444444444</c:v>
                </c:pt>
                <c:pt idx="16892">
                  <c:v>46.922222222222224</c:v>
                </c:pt>
                <c:pt idx="16893">
                  <c:v>46.924999999999997</c:v>
                </c:pt>
                <c:pt idx="16894">
                  <c:v>46.927777777777777</c:v>
                </c:pt>
                <c:pt idx="16895">
                  <c:v>46.930555555555557</c:v>
                </c:pt>
                <c:pt idx="16896">
                  <c:v>46.93333333333333</c:v>
                </c:pt>
                <c:pt idx="16897">
                  <c:v>46.93611111111111</c:v>
                </c:pt>
                <c:pt idx="16898">
                  <c:v>46.93888888888889</c:v>
                </c:pt>
                <c:pt idx="16899">
                  <c:v>46.94166666666667</c:v>
                </c:pt>
                <c:pt idx="16900">
                  <c:v>46.944444444444443</c:v>
                </c:pt>
                <c:pt idx="16901">
                  <c:v>46.947222222222223</c:v>
                </c:pt>
                <c:pt idx="16902">
                  <c:v>46.95</c:v>
                </c:pt>
                <c:pt idx="16903">
                  <c:v>46.952777777777776</c:v>
                </c:pt>
                <c:pt idx="16904">
                  <c:v>46.955555555555556</c:v>
                </c:pt>
                <c:pt idx="16905">
                  <c:v>46.958333333333336</c:v>
                </c:pt>
                <c:pt idx="16906">
                  <c:v>46.961111111111109</c:v>
                </c:pt>
                <c:pt idx="16907">
                  <c:v>46.963888888888889</c:v>
                </c:pt>
                <c:pt idx="16908">
                  <c:v>46.966666666666669</c:v>
                </c:pt>
                <c:pt idx="16909">
                  <c:v>46.969444444444441</c:v>
                </c:pt>
                <c:pt idx="16910">
                  <c:v>46.972222222222221</c:v>
                </c:pt>
                <c:pt idx="16911">
                  <c:v>46.975000000000001</c:v>
                </c:pt>
                <c:pt idx="16912">
                  <c:v>46.977777777777774</c:v>
                </c:pt>
                <c:pt idx="16913">
                  <c:v>46.980555555555554</c:v>
                </c:pt>
                <c:pt idx="16914">
                  <c:v>46.983333333333334</c:v>
                </c:pt>
                <c:pt idx="16915">
                  <c:v>46.986111111111114</c:v>
                </c:pt>
                <c:pt idx="16916">
                  <c:v>46.988888888888887</c:v>
                </c:pt>
                <c:pt idx="16917">
                  <c:v>46.991666666666667</c:v>
                </c:pt>
                <c:pt idx="16918">
                  <c:v>46.994444444444447</c:v>
                </c:pt>
                <c:pt idx="16919">
                  <c:v>46.99722222222222</c:v>
                </c:pt>
                <c:pt idx="16920">
                  <c:v>47</c:v>
                </c:pt>
                <c:pt idx="16921">
                  <c:v>47.00277777777778</c:v>
                </c:pt>
                <c:pt idx="16922">
                  <c:v>47.005555555555553</c:v>
                </c:pt>
                <c:pt idx="16923">
                  <c:v>47.008333333333333</c:v>
                </c:pt>
                <c:pt idx="16924">
                  <c:v>47.011111111111113</c:v>
                </c:pt>
                <c:pt idx="16925">
                  <c:v>47.013888888888886</c:v>
                </c:pt>
                <c:pt idx="16926">
                  <c:v>47.016666666666666</c:v>
                </c:pt>
                <c:pt idx="16927">
                  <c:v>47.019444444444446</c:v>
                </c:pt>
                <c:pt idx="16928">
                  <c:v>47.022222222222226</c:v>
                </c:pt>
                <c:pt idx="16929">
                  <c:v>47.024999999999999</c:v>
                </c:pt>
                <c:pt idx="16930">
                  <c:v>47.027777777777779</c:v>
                </c:pt>
                <c:pt idx="16931">
                  <c:v>47.030555555555559</c:v>
                </c:pt>
                <c:pt idx="16932">
                  <c:v>47.033333333333331</c:v>
                </c:pt>
                <c:pt idx="16933">
                  <c:v>47.036111111111111</c:v>
                </c:pt>
                <c:pt idx="16934">
                  <c:v>47.038888888888891</c:v>
                </c:pt>
                <c:pt idx="16935">
                  <c:v>47.041666666666664</c:v>
                </c:pt>
                <c:pt idx="16936">
                  <c:v>47.044444444444444</c:v>
                </c:pt>
                <c:pt idx="16937">
                  <c:v>47.047222222222224</c:v>
                </c:pt>
                <c:pt idx="16938">
                  <c:v>47.05</c:v>
                </c:pt>
                <c:pt idx="16939">
                  <c:v>47.052777777777777</c:v>
                </c:pt>
                <c:pt idx="16940">
                  <c:v>47.055555555555557</c:v>
                </c:pt>
                <c:pt idx="16941">
                  <c:v>47.05833333333333</c:v>
                </c:pt>
                <c:pt idx="16942">
                  <c:v>47.06111111111111</c:v>
                </c:pt>
                <c:pt idx="16943">
                  <c:v>47.06388888888889</c:v>
                </c:pt>
                <c:pt idx="16944">
                  <c:v>47.06666666666667</c:v>
                </c:pt>
                <c:pt idx="16945">
                  <c:v>47.069444444444443</c:v>
                </c:pt>
                <c:pt idx="16946">
                  <c:v>47.072222222222223</c:v>
                </c:pt>
                <c:pt idx="16947">
                  <c:v>47.075000000000003</c:v>
                </c:pt>
                <c:pt idx="16948">
                  <c:v>47.077777777777776</c:v>
                </c:pt>
                <c:pt idx="16949">
                  <c:v>47.080555555555556</c:v>
                </c:pt>
                <c:pt idx="16950">
                  <c:v>47.083333333333336</c:v>
                </c:pt>
                <c:pt idx="16951">
                  <c:v>47.086111111111109</c:v>
                </c:pt>
                <c:pt idx="16952">
                  <c:v>47.088888888888889</c:v>
                </c:pt>
                <c:pt idx="16953">
                  <c:v>47.091666666666669</c:v>
                </c:pt>
                <c:pt idx="16954">
                  <c:v>47.094444444444441</c:v>
                </c:pt>
                <c:pt idx="16955">
                  <c:v>47.097222222222221</c:v>
                </c:pt>
                <c:pt idx="16956">
                  <c:v>47.1</c:v>
                </c:pt>
                <c:pt idx="16957">
                  <c:v>47.102777777777774</c:v>
                </c:pt>
                <c:pt idx="16958">
                  <c:v>47.105555555555554</c:v>
                </c:pt>
                <c:pt idx="16959">
                  <c:v>47.108333333333334</c:v>
                </c:pt>
                <c:pt idx="16960">
                  <c:v>47.111111111111114</c:v>
                </c:pt>
                <c:pt idx="16961">
                  <c:v>47.113888888888887</c:v>
                </c:pt>
                <c:pt idx="16962">
                  <c:v>47.116666666666667</c:v>
                </c:pt>
                <c:pt idx="16963">
                  <c:v>47.119444444444447</c:v>
                </c:pt>
                <c:pt idx="16964">
                  <c:v>47.12222222222222</c:v>
                </c:pt>
                <c:pt idx="16965">
                  <c:v>47.125</c:v>
                </c:pt>
                <c:pt idx="16966">
                  <c:v>47.12777777777778</c:v>
                </c:pt>
                <c:pt idx="16967">
                  <c:v>47.130555555555553</c:v>
                </c:pt>
                <c:pt idx="16968">
                  <c:v>47.133333333333333</c:v>
                </c:pt>
                <c:pt idx="16969">
                  <c:v>47.136111111111113</c:v>
                </c:pt>
                <c:pt idx="16970">
                  <c:v>47.138888888888886</c:v>
                </c:pt>
                <c:pt idx="16971">
                  <c:v>47.141666666666666</c:v>
                </c:pt>
                <c:pt idx="16972">
                  <c:v>47.144444444444446</c:v>
                </c:pt>
                <c:pt idx="16973">
                  <c:v>47.147222222222226</c:v>
                </c:pt>
                <c:pt idx="16974">
                  <c:v>47.15</c:v>
                </c:pt>
                <c:pt idx="16975">
                  <c:v>47.152777777777779</c:v>
                </c:pt>
                <c:pt idx="16976">
                  <c:v>47.155555555555559</c:v>
                </c:pt>
                <c:pt idx="16977">
                  <c:v>47.158333333333331</c:v>
                </c:pt>
                <c:pt idx="16978">
                  <c:v>47.161111111111111</c:v>
                </c:pt>
                <c:pt idx="16979">
                  <c:v>47.163888888888891</c:v>
                </c:pt>
                <c:pt idx="16980">
                  <c:v>47.166666666666664</c:v>
                </c:pt>
                <c:pt idx="16981">
                  <c:v>47.169444444444444</c:v>
                </c:pt>
                <c:pt idx="16982">
                  <c:v>47.172222222222224</c:v>
                </c:pt>
                <c:pt idx="16983">
                  <c:v>47.174999999999997</c:v>
                </c:pt>
                <c:pt idx="16984">
                  <c:v>47.177777777777777</c:v>
                </c:pt>
                <c:pt idx="16985">
                  <c:v>47.180555555555557</c:v>
                </c:pt>
                <c:pt idx="16986">
                  <c:v>47.18333333333333</c:v>
                </c:pt>
                <c:pt idx="16987">
                  <c:v>47.18611111111111</c:v>
                </c:pt>
                <c:pt idx="16988">
                  <c:v>47.18888888888889</c:v>
                </c:pt>
                <c:pt idx="16989">
                  <c:v>47.19166666666667</c:v>
                </c:pt>
                <c:pt idx="16990">
                  <c:v>47.194444444444443</c:v>
                </c:pt>
                <c:pt idx="16991">
                  <c:v>47.197222222222223</c:v>
                </c:pt>
                <c:pt idx="16992">
                  <c:v>47.2</c:v>
                </c:pt>
                <c:pt idx="16993">
                  <c:v>47.202777777777776</c:v>
                </c:pt>
                <c:pt idx="16994">
                  <c:v>47.205555555555556</c:v>
                </c:pt>
                <c:pt idx="16995">
                  <c:v>47.208333333333336</c:v>
                </c:pt>
                <c:pt idx="16996">
                  <c:v>47.211111111111109</c:v>
                </c:pt>
                <c:pt idx="16997">
                  <c:v>47.213888888888889</c:v>
                </c:pt>
                <c:pt idx="16998">
                  <c:v>47.216666666666669</c:v>
                </c:pt>
                <c:pt idx="16999">
                  <c:v>47.219444444444441</c:v>
                </c:pt>
                <c:pt idx="17000">
                  <c:v>47.222222222222221</c:v>
                </c:pt>
                <c:pt idx="17001">
                  <c:v>47.225000000000001</c:v>
                </c:pt>
                <c:pt idx="17002">
                  <c:v>47.227777777777774</c:v>
                </c:pt>
                <c:pt idx="17003">
                  <c:v>47.230555555555554</c:v>
                </c:pt>
                <c:pt idx="17004">
                  <c:v>47.233333333333334</c:v>
                </c:pt>
                <c:pt idx="17005">
                  <c:v>47.236111111111114</c:v>
                </c:pt>
                <c:pt idx="17006">
                  <c:v>47.238888888888887</c:v>
                </c:pt>
                <c:pt idx="17007">
                  <c:v>47.241666666666667</c:v>
                </c:pt>
                <c:pt idx="17008">
                  <c:v>47.244444444444447</c:v>
                </c:pt>
                <c:pt idx="17009">
                  <c:v>47.24722222222222</c:v>
                </c:pt>
                <c:pt idx="17010">
                  <c:v>47.25</c:v>
                </c:pt>
                <c:pt idx="17011">
                  <c:v>47.25277777777778</c:v>
                </c:pt>
                <c:pt idx="17012">
                  <c:v>47.255555555555553</c:v>
                </c:pt>
                <c:pt idx="17013">
                  <c:v>47.258333333333333</c:v>
                </c:pt>
                <c:pt idx="17014">
                  <c:v>47.261111111111113</c:v>
                </c:pt>
                <c:pt idx="17015">
                  <c:v>47.263888888888886</c:v>
                </c:pt>
                <c:pt idx="17016">
                  <c:v>47.266666666666666</c:v>
                </c:pt>
                <c:pt idx="17017">
                  <c:v>47.269444444444446</c:v>
                </c:pt>
                <c:pt idx="17018">
                  <c:v>47.272222222222226</c:v>
                </c:pt>
                <c:pt idx="17019">
                  <c:v>47.274999999999999</c:v>
                </c:pt>
                <c:pt idx="17020">
                  <c:v>47.277777777777779</c:v>
                </c:pt>
                <c:pt idx="17021">
                  <c:v>47.280555555555559</c:v>
                </c:pt>
                <c:pt idx="17022">
                  <c:v>47.283333333333331</c:v>
                </c:pt>
                <c:pt idx="17023">
                  <c:v>47.286111111111111</c:v>
                </c:pt>
                <c:pt idx="17024">
                  <c:v>47.288888888888891</c:v>
                </c:pt>
                <c:pt idx="17025">
                  <c:v>47.291666666666664</c:v>
                </c:pt>
                <c:pt idx="17026">
                  <c:v>47.294444444444444</c:v>
                </c:pt>
                <c:pt idx="17027">
                  <c:v>47.297222222222224</c:v>
                </c:pt>
                <c:pt idx="17028">
                  <c:v>47.3</c:v>
                </c:pt>
                <c:pt idx="17029">
                  <c:v>47.302777777777777</c:v>
                </c:pt>
                <c:pt idx="17030">
                  <c:v>47.305555555555557</c:v>
                </c:pt>
                <c:pt idx="17031">
                  <c:v>47.30833333333333</c:v>
                </c:pt>
                <c:pt idx="17032">
                  <c:v>47.31111111111111</c:v>
                </c:pt>
                <c:pt idx="17033">
                  <c:v>47.31388888888889</c:v>
                </c:pt>
                <c:pt idx="17034">
                  <c:v>47.31666666666667</c:v>
                </c:pt>
                <c:pt idx="17035">
                  <c:v>47.319444444444443</c:v>
                </c:pt>
                <c:pt idx="17036">
                  <c:v>47.322222222222223</c:v>
                </c:pt>
                <c:pt idx="17037">
                  <c:v>47.325000000000003</c:v>
                </c:pt>
                <c:pt idx="17038">
                  <c:v>47.327777777777776</c:v>
                </c:pt>
                <c:pt idx="17039">
                  <c:v>47.330555555555556</c:v>
                </c:pt>
                <c:pt idx="17040">
                  <c:v>47.333333333333336</c:v>
                </c:pt>
                <c:pt idx="17041">
                  <c:v>47.336111111111109</c:v>
                </c:pt>
                <c:pt idx="17042">
                  <c:v>47.338888888888889</c:v>
                </c:pt>
                <c:pt idx="17043">
                  <c:v>47.341666666666669</c:v>
                </c:pt>
                <c:pt idx="17044">
                  <c:v>47.344444444444441</c:v>
                </c:pt>
                <c:pt idx="17045">
                  <c:v>47.347222222222221</c:v>
                </c:pt>
                <c:pt idx="17046">
                  <c:v>47.35</c:v>
                </c:pt>
                <c:pt idx="17047">
                  <c:v>47.352777777777774</c:v>
                </c:pt>
                <c:pt idx="17048">
                  <c:v>47.355555555555554</c:v>
                </c:pt>
                <c:pt idx="17049">
                  <c:v>47.358333333333334</c:v>
                </c:pt>
                <c:pt idx="17050">
                  <c:v>47.361111111111114</c:v>
                </c:pt>
                <c:pt idx="17051">
                  <c:v>47.363888888888887</c:v>
                </c:pt>
                <c:pt idx="17052">
                  <c:v>47.366666666666667</c:v>
                </c:pt>
                <c:pt idx="17053">
                  <c:v>47.369444444444447</c:v>
                </c:pt>
                <c:pt idx="17054">
                  <c:v>47.37222222222222</c:v>
                </c:pt>
                <c:pt idx="17055">
                  <c:v>47.375</c:v>
                </c:pt>
                <c:pt idx="17056">
                  <c:v>47.37777777777778</c:v>
                </c:pt>
                <c:pt idx="17057">
                  <c:v>47.380555555555553</c:v>
                </c:pt>
                <c:pt idx="17058">
                  <c:v>47.383333333333333</c:v>
                </c:pt>
                <c:pt idx="17059">
                  <c:v>47.386111111111113</c:v>
                </c:pt>
                <c:pt idx="17060">
                  <c:v>47.388888888888886</c:v>
                </c:pt>
                <c:pt idx="17061">
                  <c:v>47.391666666666666</c:v>
                </c:pt>
                <c:pt idx="17062">
                  <c:v>47.394444444444446</c:v>
                </c:pt>
                <c:pt idx="17063">
                  <c:v>47.397222222222226</c:v>
                </c:pt>
                <c:pt idx="17064">
                  <c:v>47.4</c:v>
                </c:pt>
                <c:pt idx="17065">
                  <c:v>47.402777777777779</c:v>
                </c:pt>
                <c:pt idx="17066">
                  <c:v>47.405555555555559</c:v>
                </c:pt>
                <c:pt idx="17067">
                  <c:v>47.408333333333331</c:v>
                </c:pt>
                <c:pt idx="17068">
                  <c:v>47.411111111111111</c:v>
                </c:pt>
                <c:pt idx="17069">
                  <c:v>47.413888888888891</c:v>
                </c:pt>
                <c:pt idx="17070">
                  <c:v>47.416666666666664</c:v>
                </c:pt>
                <c:pt idx="17071">
                  <c:v>47.419444444444444</c:v>
                </c:pt>
                <c:pt idx="17072">
                  <c:v>47.422222222222224</c:v>
                </c:pt>
                <c:pt idx="17073">
                  <c:v>47.424999999999997</c:v>
                </c:pt>
                <c:pt idx="17074">
                  <c:v>47.427777777777777</c:v>
                </c:pt>
                <c:pt idx="17075">
                  <c:v>47.430555555555557</c:v>
                </c:pt>
                <c:pt idx="17076">
                  <c:v>47.43333333333333</c:v>
                </c:pt>
                <c:pt idx="17077">
                  <c:v>47.43611111111111</c:v>
                </c:pt>
                <c:pt idx="17078">
                  <c:v>47.43888888888889</c:v>
                </c:pt>
                <c:pt idx="17079">
                  <c:v>47.44166666666667</c:v>
                </c:pt>
                <c:pt idx="17080">
                  <c:v>47.444444444444443</c:v>
                </c:pt>
                <c:pt idx="17081">
                  <c:v>47.447222222222223</c:v>
                </c:pt>
                <c:pt idx="17082">
                  <c:v>47.45</c:v>
                </c:pt>
                <c:pt idx="17083">
                  <c:v>47.452777777777776</c:v>
                </c:pt>
                <c:pt idx="17084">
                  <c:v>47.455555555555556</c:v>
                </c:pt>
                <c:pt idx="17085">
                  <c:v>47.458333333333336</c:v>
                </c:pt>
                <c:pt idx="17086">
                  <c:v>47.461111111111109</c:v>
                </c:pt>
                <c:pt idx="17087">
                  <c:v>47.463888888888889</c:v>
                </c:pt>
                <c:pt idx="17088">
                  <c:v>47.466666666666669</c:v>
                </c:pt>
                <c:pt idx="17089">
                  <c:v>47.469444444444441</c:v>
                </c:pt>
                <c:pt idx="17090">
                  <c:v>47.472222222222221</c:v>
                </c:pt>
                <c:pt idx="17091">
                  <c:v>47.475000000000001</c:v>
                </c:pt>
                <c:pt idx="17092">
                  <c:v>47.477777777777774</c:v>
                </c:pt>
                <c:pt idx="17093">
                  <c:v>47.480555555555554</c:v>
                </c:pt>
                <c:pt idx="17094">
                  <c:v>47.483333333333334</c:v>
                </c:pt>
                <c:pt idx="17095">
                  <c:v>47.486111111111114</c:v>
                </c:pt>
                <c:pt idx="17096">
                  <c:v>47.488888888888887</c:v>
                </c:pt>
                <c:pt idx="17097">
                  <c:v>47.491666666666667</c:v>
                </c:pt>
                <c:pt idx="17098">
                  <c:v>47.494444444444447</c:v>
                </c:pt>
                <c:pt idx="17099">
                  <c:v>47.49722222222222</c:v>
                </c:pt>
                <c:pt idx="17100">
                  <c:v>47.5</c:v>
                </c:pt>
                <c:pt idx="17101">
                  <c:v>47.50277777777778</c:v>
                </c:pt>
                <c:pt idx="17102">
                  <c:v>47.505555555555553</c:v>
                </c:pt>
                <c:pt idx="17103">
                  <c:v>47.508333333333333</c:v>
                </c:pt>
                <c:pt idx="17104">
                  <c:v>47.511111111111113</c:v>
                </c:pt>
                <c:pt idx="17105">
                  <c:v>47.513888888888886</c:v>
                </c:pt>
                <c:pt idx="17106">
                  <c:v>47.516666666666666</c:v>
                </c:pt>
                <c:pt idx="17107">
                  <c:v>47.519444444444446</c:v>
                </c:pt>
                <c:pt idx="17108">
                  <c:v>47.522222222222226</c:v>
                </c:pt>
                <c:pt idx="17109">
                  <c:v>47.524999999999999</c:v>
                </c:pt>
                <c:pt idx="17110">
                  <c:v>47.527777777777779</c:v>
                </c:pt>
                <c:pt idx="17111">
                  <c:v>47.530555555555559</c:v>
                </c:pt>
                <c:pt idx="17112">
                  <c:v>47.533333333333331</c:v>
                </c:pt>
                <c:pt idx="17113">
                  <c:v>47.536111111111111</c:v>
                </c:pt>
                <c:pt idx="17114">
                  <c:v>47.538888888888891</c:v>
                </c:pt>
                <c:pt idx="17115">
                  <c:v>47.541666666666664</c:v>
                </c:pt>
                <c:pt idx="17116">
                  <c:v>47.544444444444444</c:v>
                </c:pt>
                <c:pt idx="17117">
                  <c:v>47.547222222222224</c:v>
                </c:pt>
                <c:pt idx="17118">
                  <c:v>47.55</c:v>
                </c:pt>
                <c:pt idx="17119">
                  <c:v>47.552777777777777</c:v>
                </c:pt>
                <c:pt idx="17120">
                  <c:v>47.555555555555557</c:v>
                </c:pt>
                <c:pt idx="17121">
                  <c:v>47.55833333333333</c:v>
                </c:pt>
                <c:pt idx="17122">
                  <c:v>47.56111111111111</c:v>
                </c:pt>
                <c:pt idx="17123">
                  <c:v>47.56388888888889</c:v>
                </c:pt>
                <c:pt idx="17124">
                  <c:v>47.56666666666667</c:v>
                </c:pt>
                <c:pt idx="17125">
                  <c:v>47.569444444444443</c:v>
                </c:pt>
                <c:pt idx="17126">
                  <c:v>47.572222222222223</c:v>
                </c:pt>
                <c:pt idx="17127">
                  <c:v>47.575000000000003</c:v>
                </c:pt>
                <c:pt idx="17128">
                  <c:v>47.577777777777776</c:v>
                </c:pt>
                <c:pt idx="17129">
                  <c:v>47.580555555555556</c:v>
                </c:pt>
                <c:pt idx="17130">
                  <c:v>47.583333333333336</c:v>
                </c:pt>
                <c:pt idx="17131">
                  <c:v>47.586111111111109</c:v>
                </c:pt>
                <c:pt idx="17132">
                  <c:v>47.588888888888889</c:v>
                </c:pt>
                <c:pt idx="17133">
                  <c:v>47.591666666666669</c:v>
                </c:pt>
                <c:pt idx="17134">
                  <c:v>47.594444444444441</c:v>
                </c:pt>
                <c:pt idx="17135">
                  <c:v>47.597222222222221</c:v>
                </c:pt>
                <c:pt idx="17136">
                  <c:v>47.6</c:v>
                </c:pt>
                <c:pt idx="17137">
                  <c:v>47.602777777777774</c:v>
                </c:pt>
                <c:pt idx="17138">
                  <c:v>47.605555555555554</c:v>
                </c:pt>
                <c:pt idx="17139">
                  <c:v>47.608333333333334</c:v>
                </c:pt>
                <c:pt idx="17140">
                  <c:v>47.611111111111114</c:v>
                </c:pt>
                <c:pt idx="17141">
                  <c:v>47.613888888888887</c:v>
                </c:pt>
                <c:pt idx="17142">
                  <c:v>47.616666666666667</c:v>
                </c:pt>
                <c:pt idx="17143">
                  <c:v>47.619444444444447</c:v>
                </c:pt>
                <c:pt idx="17144">
                  <c:v>47.62222222222222</c:v>
                </c:pt>
                <c:pt idx="17145">
                  <c:v>47.625</c:v>
                </c:pt>
                <c:pt idx="17146">
                  <c:v>47.62777777777778</c:v>
                </c:pt>
                <c:pt idx="17147">
                  <c:v>47.630555555555553</c:v>
                </c:pt>
                <c:pt idx="17148">
                  <c:v>47.633333333333333</c:v>
                </c:pt>
                <c:pt idx="17149">
                  <c:v>47.636111111111113</c:v>
                </c:pt>
                <c:pt idx="17150">
                  <c:v>47.638888888888886</c:v>
                </c:pt>
                <c:pt idx="17151">
                  <c:v>47.641666666666666</c:v>
                </c:pt>
                <c:pt idx="17152">
                  <c:v>47.644444444444446</c:v>
                </c:pt>
                <c:pt idx="17153">
                  <c:v>47.647222222222226</c:v>
                </c:pt>
                <c:pt idx="17154">
                  <c:v>47.65</c:v>
                </c:pt>
                <c:pt idx="17155">
                  <c:v>47.652777777777779</c:v>
                </c:pt>
                <c:pt idx="17156">
                  <c:v>47.655555555555559</c:v>
                </c:pt>
                <c:pt idx="17157">
                  <c:v>47.658333333333331</c:v>
                </c:pt>
                <c:pt idx="17158">
                  <c:v>47.661111111111111</c:v>
                </c:pt>
                <c:pt idx="17159">
                  <c:v>47.663888888888891</c:v>
                </c:pt>
                <c:pt idx="17160">
                  <c:v>47.666666666666664</c:v>
                </c:pt>
                <c:pt idx="17161">
                  <c:v>47.669444444444444</c:v>
                </c:pt>
                <c:pt idx="17162">
                  <c:v>47.672222222222224</c:v>
                </c:pt>
                <c:pt idx="17163">
                  <c:v>47.674999999999997</c:v>
                </c:pt>
                <c:pt idx="17164">
                  <c:v>47.677777777777777</c:v>
                </c:pt>
                <c:pt idx="17165">
                  <c:v>47.680555555555557</c:v>
                </c:pt>
                <c:pt idx="17166">
                  <c:v>47.68333333333333</c:v>
                </c:pt>
                <c:pt idx="17167">
                  <c:v>47.68611111111111</c:v>
                </c:pt>
                <c:pt idx="17168">
                  <c:v>47.68888888888889</c:v>
                </c:pt>
                <c:pt idx="17169">
                  <c:v>47.69166666666667</c:v>
                </c:pt>
                <c:pt idx="17170">
                  <c:v>47.694444444444443</c:v>
                </c:pt>
                <c:pt idx="17171">
                  <c:v>47.697222222222223</c:v>
                </c:pt>
                <c:pt idx="17172">
                  <c:v>47.7</c:v>
                </c:pt>
                <c:pt idx="17173">
                  <c:v>47.702777777777776</c:v>
                </c:pt>
                <c:pt idx="17174">
                  <c:v>47.705555555555556</c:v>
                </c:pt>
                <c:pt idx="17175">
                  <c:v>47.708333333333336</c:v>
                </c:pt>
                <c:pt idx="17176">
                  <c:v>47.711111111111109</c:v>
                </c:pt>
                <c:pt idx="17177">
                  <c:v>47.713888888888889</c:v>
                </c:pt>
                <c:pt idx="17178">
                  <c:v>47.716666666666669</c:v>
                </c:pt>
                <c:pt idx="17179">
                  <c:v>47.719444444444441</c:v>
                </c:pt>
                <c:pt idx="17180">
                  <c:v>47.722222222222221</c:v>
                </c:pt>
                <c:pt idx="17181">
                  <c:v>47.725000000000001</c:v>
                </c:pt>
                <c:pt idx="17182">
                  <c:v>47.727777777777774</c:v>
                </c:pt>
                <c:pt idx="17183">
                  <c:v>47.730555555555554</c:v>
                </c:pt>
                <c:pt idx="17184">
                  <c:v>47.733333333333334</c:v>
                </c:pt>
                <c:pt idx="17185">
                  <c:v>47.736111111111114</c:v>
                </c:pt>
                <c:pt idx="17186">
                  <c:v>47.738888888888887</c:v>
                </c:pt>
                <c:pt idx="17187">
                  <c:v>47.741666666666667</c:v>
                </c:pt>
                <c:pt idx="17188">
                  <c:v>47.744444444444447</c:v>
                </c:pt>
                <c:pt idx="17189">
                  <c:v>47.74722222222222</c:v>
                </c:pt>
                <c:pt idx="17190">
                  <c:v>47.75</c:v>
                </c:pt>
                <c:pt idx="17191">
                  <c:v>47.75277777777778</c:v>
                </c:pt>
                <c:pt idx="17192">
                  <c:v>47.755555555555553</c:v>
                </c:pt>
                <c:pt idx="17193">
                  <c:v>47.758333333333333</c:v>
                </c:pt>
                <c:pt idx="17194">
                  <c:v>47.761111111111113</c:v>
                </c:pt>
                <c:pt idx="17195">
                  <c:v>47.763888888888886</c:v>
                </c:pt>
                <c:pt idx="17196">
                  <c:v>47.766666666666666</c:v>
                </c:pt>
                <c:pt idx="17197">
                  <c:v>47.769444444444446</c:v>
                </c:pt>
                <c:pt idx="17198">
                  <c:v>47.772222222222226</c:v>
                </c:pt>
                <c:pt idx="17199">
                  <c:v>47.774999999999999</c:v>
                </c:pt>
                <c:pt idx="17200">
                  <c:v>47.777777777777779</c:v>
                </c:pt>
                <c:pt idx="17201">
                  <c:v>47.780555555555559</c:v>
                </c:pt>
                <c:pt idx="17202">
                  <c:v>47.783333333333331</c:v>
                </c:pt>
                <c:pt idx="17203">
                  <c:v>47.786111111111111</c:v>
                </c:pt>
                <c:pt idx="17204">
                  <c:v>47.788888888888891</c:v>
                </c:pt>
                <c:pt idx="17205">
                  <c:v>47.791666666666664</c:v>
                </c:pt>
                <c:pt idx="17206">
                  <c:v>47.794444444444444</c:v>
                </c:pt>
                <c:pt idx="17207">
                  <c:v>47.797222222222224</c:v>
                </c:pt>
                <c:pt idx="17208">
                  <c:v>47.8</c:v>
                </c:pt>
                <c:pt idx="17209">
                  <c:v>47.802777777777777</c:v>
                </c:pt>
                <c:pt idx="17210">
                  <c:v>47.805555555555557</c:v>
                </c:pt>
                <c:pt idx="17211">
                  <c:v>47.80833333333333</c:v>
                </c:pt>
                <c:pt idx="17212">
                  <c:v>47.81111111111111</c:v>
                </c:pt>
                <c:pt idx="17213">
                  <c:v>47.81388888888889</c:v>
                </c:pt>
                <c:pt idx="17214">
                  <c:v>47.81666666666667</c:v>
                </c:pt>
                <c:pt idx="17215">
                  <c:v>47.819444444444443</c:v>
                </c:pt>
                <c:pt idx="17216">
                  <c:v>47.822222222222223</c:v>
                </c:pt>
                <c:pt idx="17217">
                  <c:v>47.825000000000003</c:v>
                </c:pt>
                <c:pt idx="17218">
                  <c:v>47.827777777777776</c:v>
                </c:pt>
                <c:pt idx="17219">
                  <c:v>47.830555555555556</c:v>
                </c:pt>
                <c:pt idx="17220">
                  <c:v>47.833333333333336</c:v>
                </c:pt>
                <c:pt idx="17221">
                  <c:v>47.836111111111109</c:v>
                </c:pt>
                <c:pt idx="17222">
                  <c:v>47.838888888888889</c:v>
                </c:pt>
                <c:pt idx="17223">
                  <c:v>47.841666666666669</c:v>
                </c:pt>
                <c:pt idx="17224">
                  <c:v>47.844444444444441</c:v>
                </c:pt>
                <c:pt idx="17225">
                  <c:v>47.847222222222221</c:v>
                </c:pt>
                <c:pt idx="17226">
                  <c:v>47.85</c:v>
                </c:pt>
                <c:pt idx="17227">
                  <c:v>47.852777777777774</c:v>
                </c:pt>
                <c:pt idx="17228">
                  <c:v>47.855555555555554</c:v>
                </c:pt>
                <c:pt idx="17229">
                  <c:v>47.858333333333334</c:v>
                </c:pt>
                <c:pt idx="17230">
                  <c:v>47.861111111111114</c:v>
                </c:pt>
                <c:pt idx="17231">
                  <c:v>47.863888888888887</c:v>
                </c:pt>
                <c:pt idx="17232">
                  <c:v>47.866666666666667</c:v>
                </c:pt>
                <c:pt idx="17233">
                  <c:v>47.869444444444447</c:v>
                </c:pt>
                <c:pt idx="17234">
                  <c:v>47.87222222222222</c:v>
                </c:pt>
                <c:pt idx="17235">
                  <c:v>47.875</c:v>
                </c:pt>
                <c:pt idx="17236">
                  <c:v>47.87777777777778</c:v>
                </c:pt>
                <c:pt idx="17237">
                  <c:v>47.880555555555553</c:v>
                </c:pt>
                <c:pt idx="17238">
                  <c:v>47.883333333333333</c:v>
                </c:pt>
                <c:pt idx="17239">
                  <c:v>47.886111111111113</c:v>
                </c:pt>
                <c:pt idx="17240">
                  <c:v>47.888888888888886</c:v>
                </c:pt>
                <c:pt idx="17241">
                  <c:v>47.891666666666666</c:v>
                </c:pt>
                <c:pt idx="17242">
                  <c:v>47.894444444444446</c:v>
                </c:pt>
                <c:pt idx="17243">
                  <c:v>47.897222222222226</c:v>
                </c:pt>
                <c:pt idx="17244">
                  <c:v>47.9</c:v>
                </c:pt>
                <c:pt idx="17245">
                  <c:v>47.902777777777779</c:v>
                </c:pt>
                <c:pt idx="17246">
                  <c:v>47.905555555555559</c:v>
                </c:pt>
                <c:pt idx="17247">
                  <c:v>47.908333333333331</c:v>
                </c:pt>
                <c:pt idx="17248">
                  <c:v>47.911111111111111</c:v>
                </c:pt>
                <c:pt idx="17249">
                  <c:v>47.913888888888891</c:v>
                </c:pt>
                <c:pt idx="17250">
                  <c:v>47.916666666666664</c:v>
                </c:pt>
                <c:pt idx="17251">
                  <c:v>47.919444444444444</c:v>
                </c:pt>
                <c:pt idx="17252">
                  <c:v>47.922222222222224</c:v>
                </c:pt>
                <c:pt idx="17253">
                  <c:v>47.924999999999997</c:v>
                </c:pt>
                <c:pt idx="17254">
                  <c:v>47.927777777777777</c:v>
                </c:pt>
                <c:pt idx="17255">
                  <c:v>47.930555555555557</c:v>
                </c:pt>
                <c:pt idx="17256">
                  <c:v>47.93333333333333</c:v>
                </c:pt>
                <c:pt idx="17257">
                  <c:v>47.93611111111111</c:v>
                </c:pt>
                <c:pt idx="17258">
                  <c:v>47.93888888888889</c:v>
                </c:pt>
                <c:pt idx="17259">
                  <c:v>47.94166666666667</c:v>
                </c:pt>
                <c:pt idx="17260">
                  <c:v>47.944444444444443</c:v>
                </c:pt>
                <c:pt idx="17261">
                  <c:v>47.947222222222223</c:v>
                </c:pt>
                <c:pt idx="17262">
                  <c:v>47.95</c:v>
                </c:pt>
                <c:pt idx="17263">
                  <c:v>47.952777777777776</c:v>
                </c:pt>
                <c:pt idx="17264">
                  <c:v>47.955555555555556</c:v>
                </c:pt>
                <c:pt idx="17265">
                  <c:v>47.958333333333336</c:v>
                </c:pt>
                <c:pt idx="17266">
                  <c:v>47.961111111111109</c:v>
                </c:pt>
                <c:pt idx="17267">
                  <c:v>47.963888888888889</c:v>
                </c:pt>
                <c:pt idx="17268">
                  <c:v>47.966666666666669</c:v>
                </c:pt>
                <c:pt idx="17269">
                  <c:v>47.969444444444441</c:v>
                </c:pt>
                <c:pt idx="17270">
                  <c:v>47.972222222222221</c:v>
                </c:pt>
                <c:pt idx="17271">
                  <c:v>47.975000000000001</c:v>
                </c:pt>
                <c:pt idx="17272">
                  <c:v>47.977777777777774</c:v>
                </c:pt>
                <c:pt idx="17273">
                  <c:v>47.980555555555554</c:v>
                </c:pt>
                <c:pt idx="17274">
                  <c:v>47.983333333333334</c:v>
                </c:pt>
                <c:pt idx="17275">
                  <c:v>47.986111111111114</c:v>
                </c:pt>
                <c:pt idx="17276">
                  <c:v>47.988888888888887</c:v>
                </c:pt>
                <c:pt idx="17277">
                  <c:v>47.991666666666667</c:v>
                </c:pt>
                <c:pt idx="17278">
                  <c:v>47.994444444444447</c:v>
                </c:pt>
                <c:pt idx="17279">
                  <c:v>47.99722222222222</c:v>
                </c:pt>
                <c:pt idx="17280">
                  <c:v>48</c:v>
                </c:pt>
              </c:numCache>
            </c:numRef>
          </c:xVal>
          <c:yVal>
            <c:numRef>
              <c:f>'6a_Smartseal + TAC'!$B$2:$B$17282</c:f>
              <c:numCache>
                <c:formatCode>General</c:formatCode>
                <c:ptCount val="17281"/>
                <c:pt idx="0">
                  <c:v>8.8230000000000004</c:v>
                </c:pt>
                <c:pt idx="1">
                  <c:v>8.8789999999999996</c:v>
                </c:pt>
                <c:pt idx="2">
                  <c:v>8.8759999999999994</c:v>
                </c:pt>
                <c:pt idx="3">
                  <c:v>8.8740000000000006</c:v>
                </c:pt>
                <c:pt idx="4">
                  <c:v>8.8740000000000006</c:v>
                </c:pt>
                <c:pt idx="5">
                  <c:v>8.8740000000000006</c:v>
                </c:pt>
                <c:pt idx="6">
                  <c:v>8.875</c:v>
                </c:pt>
                <c:pt idx="7">
                  <c:v>8.875</c:v>
                </c:pt>
                <c:pt idx="8">
                  <c:v>8.875</c:v>
                </c:pt>
                <c:pt idx="9">
                  <c:v>8.8759999999999994</c:v>
                </c:pt>
                <c:pt idx="10">
                  <c:v>8.8740000000000006</c:v>
                </c:pt>
                <c:pt idx="11">
                  <c:v>8.875</c:v>
                </c:pt>
                <c:pt idx="12">
                  <c:v>8.875</c:v>
                </c:pt>
                <c:pt idx="13">
                  <c:v>8.8759999999999994</c:v>
                </c:pt>
                <c:pt idx="14">
                  <c:v>8.8759999999999994</c:v>
                </c:pt>
                <c:pt idx="15">
                  <c:v>8.8770000000000007</c:v>
                </c:pt>
                <c:pt idx="16">
                  <c:v>8.8759999999999994</c:v>
                </c:pt>
                <c:pt idx="17">
                  <c:v>8.8759999999999994</c:v>
                </c:pt>
                <c:pt idx="18">
                  <c:v>8.8759999999999994</c:v>
                </c:pt>
                <c:pt idx="19">
                  <c:v>8.8770000000000007</c:v>
                </c:pt>
                <c:pt idx="20">
                  <c:v>8.8770000000000007</c:v>
                </c:pt>
                <c:pt idx="21">
                  <c:v>8.8780000000000001</c:v>
                </c:pt>
                <c:pt idx="22">
                  <c:v>8.8770000000000007</c:v>
                </c:pt>
                <c:pt idx="23">
                  <c:v>8.8770000000000007</c:v>
                </c:pt>
                <c:pt idx="24">
                  <c:v>8.8770000000000007</c:v>
                </c:pt>
                <c:pt idx="25">
                  <c:v>8.8780000000000001</c:v>
                </c:pt>
                <c:pt idx="26">
                  <c:v>8.8789999999999996</c:v>
                </c:pt>
                <c:pt idx="27">
                  <c:v>8.8789999999999996</c:v>
                </c:pt>
                <c:pt idx="28">
                  <c:v>8.8789999999999996</c:v>
                </c:pt>
                <c:pt idx="29">
                  <c:v>8.8800000000000008</c:v>
                </c:pt>
                <c:pt idx="30">
                  <c:v>8.891</c:v>
                </c:pt>
                <c:pt idx="31">
                  <c:v>9.0150000000000006</c:v>
                </c:pt>
                <c:pt idx="32">
                  <c:v>9.0129999999999999</c:v>
                </c:pt>
                <c:pt idx="33">
                  <c:v>9.01</c:v>
                </c:pt>
                <c:pt idx="34">
                  <c:v>9.01</c:v>
                </c:pt>
                <c:pt idx="35">
                  <c:v>9.01</c:v>
                </c:pt>
                <c:pt idx="36">
                  <c:v>9.0060000000000002</c:v>
                </c:pt>
                <c:pt idx="37">
                  <c:v>9.0020000000000007</c:v>
                </c:pt>
                <c:pt idx="38">
                  <c:v>9.0120000000000005</c:v>
                </c:pt>
                <c:pt idx="39">
                  <c:v>9.0069999999999997</c:v>
                </c:pt>
                <c:pt idx="40">
                  <c:v>9.0079999999999991</c:v>
                </c:pt>
                <c:pt idx="41">
                  <c:v>9.0030000000000001</c:v>
                </c:pt>
                <c:pt idx="42">
                  <c:v>9.0079999999999991</c:v>
                </c:pt>
                <c:pt idx="43">
                  <c:v>9.0060000000000002</c:v>
                </c:pt>
                <c:pt idx="44">
                  <c:v>9.0009999999999994</c:v>
                </c:pt>
                <c:pt idx="45">
                  <c:v>8.9979999999999993</c:v>
                </c:pt>
                <c:pt idx="46">
                  <c:v>8.9979999999999993</c:v>
                </c:pt>
                <c:pt idx="47">
                  <c:v>8.9990000000000006</c:v>
                </c:pt>
                <c:pt idx="48">
                  <c:v>8.9960000000000004</c:v>
                </c:pt>
                <c:pt idx="49">
                  <c:v>8.9969999999999999</c:v>
                </c:pt>
                <c:pt idx="50">
                  <c:v>8.9990000000000006</c:v>
                </c:pt>
                <c:pt idx="51">
                  <c:v>8.9990000000000006</c:v>
                </c:pt>
                <c:pt idx="52">
                  <c:v>8.9990000000000006</c:v>
                </c:pt>
                <c:pt idx="53">
                  <c:v>8.9990000000000006</c:v>
                </c:pt>
                <c:pt idx="54">
                  <c:v>9</c:v>
                </c:pt>
                <c:pt idx="55">
                  <c:v>8.9990000000000006</c:v>
                </c:pt>
                <c:pt idx="56">
                  <c:v>9.0020000000000007</c:v>
                </c:pt>
                <c:pt idx="57">
                  <c:v>9.0020000000000007</c:v>
                </c:pt>
                <c:pt idx="58">
                  <c:v>9.0039999999999996</c:v>
                </c:pt>
                <c:pt idx="59">
                  <c:v>9.0039999999999996</c:v>
                </c:pt>
                <c:pt idx="60">
                  <c:v>9.0139999999999993</c:v>
                </c:pt>
                <c:pt idx="61">
                  <c:v>8.968</c:v>
                </c:pt>
                <c:pt idx="62">
                  <c:v>8.9179999999999993</c:v>
                </c:pt>
                <c:pt idx="63">
                  <c:v>8.8940000000000001</c:v>
                </c:pt>
                <c:pt idx="64">
                  <c:v>8.8829999999999991</c:v>
                </c:pt>
                <c:pt idx="65">
                  <c:v>8.8840000000000003</c:v>
                </c:pt>
                <c:pt idx="66">
                  <c:v>8.8829999999999991</c:v>
                </c:pt>
                <c:pt idx="67">
                  <c:v>8.8829999999999991</c:v>
                </c:pt>
                <c:pt idx="68">
                  <c:v>8.8829999999999991</c:v>
                </c:pt>
                <c:pt idx="69">
                  <c:v>8.8840000000000003</c:v>
                </c:pt>
                <c:pt idx="70">
                  <c:v>8.8770000000000007</c:v>
                </c:pt>
                <c:pt idx="71">
                  <c:v>8.8780000000000001</c:v>
                </c:pt>
                <c:pt idx="72">
                  <c:v>8.875</c:v>
                </c:pt>
                <c:pt idx="73">
                  <c:v>8.8719999999999999</c:v>
                </c:pt>
                <c:pt idx="74">
                  <c:v>8.8729999999999993</c:v>
                </c:pt>
                <c:pt idx="75">
                  <c:v>8.8689999999999998</c:v>
                </c:pt>
                <c:pt idx="76">
                  <c:v>8.8659999999999997</c:v>
                </c:pt>
                <c:pt idx="77">
                  <c:v>8.8640000000000008</c:v>
                </c:pt>
                <c:pt idx="78">
                  <c:v>8.8620000000000001</c:v>
                </c:pt>
                <c:pt idx="79">
                  <c:v>8.859</c:v>
                </c:pt>
                <c:pt idx="80">
                  <c:v>8.8580000000000005</c:v>
                </c:pt>
                <c:pt idx="81">
                  <c:v>8.8550000000000004</c:v>
                </c:pt>
                <c:pt idx="82">
                  <c:v>8.8520000000000003</c:v>
                </c:pt>
                <c:pt idx="83">
                  <c:v>8.85</c:v>
                </c:pt>
                <c:pt idx="84">
                  <c:v>8.8469999999999995</c:v>
                </c:pt>
                <c:pt idx="85">
                  <c:v>8.8450000000000006</c:v>
                </c:pt>
                <c:pt idx="86">
                  <c:v>8.8420000000000005</c:v>
                </c:pt>
                <c:pt idx="87">
                  <c:v>8.8409999999999993</c:v>
                </c:pt>
                <c:pt idx="88">
                  <c:v>8.8379999999999992</c:v>
                </c:pt>
                <c:pt idx="89">
                  <c:v>8.8369999999999997</c:v>
                </c:pt>
                <c:pt idx="90">
                  <c:v>8.8339999999999996</c:v>
                </c:pt>
                <c:pt idx="91">
                  <c:v>8.8330000000000002</c:v>
                </c:pt>
                <c:pt idx="92">
                  <c:v>8.8290000000000006</c:v>
                </c:pt>
                <c:pt idx="93">
                  <c:v>8.8279999999999994</c:v>
                </c:pt>
                <c:pt idx="94">
                  <c:v>8.8249999999999993</c:v>
                </c:pt>
                <c:pt idx="95">
                  <c:v>8.827</c:v>
                </c:pt>
                <c:pt idx="96">
                  <c:v>8.8209999999999997</c:v>
                </c:pt>
                <c:pt idx="97">
                  <c:v>8.82</c:v>
                </c:pt>
                <c:pt idx="98">
                  <c:v>8.8190000000000008</c:v>
                </c:pt>
                <c:pt idx="99">
                  <c:v>8.8149999999999995</c:v>
                </c:pt>
                <c:pt idx="100">
                  <c:v>8.8130000000000006</c:v>
                </c:pt>
                <c:pt idx="101">
                  <c:v>8.8119999999999994</c:v>
                </c:pt>
                <c:pt idx="102">
                  <c:v>8.81</c:v>
                </c:pt>
                <c:pt idx="103">
                  <c:v>8.8070000000000004</c:v>
                </c:pt>
                <c:pt idx="104">
                  <c:v>8.8049999999999997</c:v>
                </c:pt>
                <c:pt idx="105">
                  <c:v>8.8030000000000008</c:v>
                </c:pt>
                <c:pt idx="106">
                  <c:v>8.8010000000000002</c:v>
                </c:pt>
                <c:pt idx="107">
                  <c:v>8.8000000000000007</c:v>
                </c:pt>
                <c:pt idx="108">
                  <c:v>8.7970000000000006</c:v>
                </c:pt>
                <c:pt idx="109">
                  <c:v>8.7949999999999999</c:v>
                </c:pt>
                <c:pt idx="110">
                  <c:v>8.7919999999999998</c:v>
                </c:pt>
                <c:pt idx="111">
                  <c:v>8.7899999999999991</c:v>
                </c:pt>
                <c:pt idx="112">
                  <c:v>8.7899999999999991</c:v>
                </c:pt>
                <c:pt idx="113">
                  <c:v>8.7870000000000008</c:v>
                </c:pt>
                <c:pt idx="114">
                  <c:v>8.7859999999999996</c:v>
                </c:pt>
                <c:pt idx="115">
                  <c:v>8.7850000000000001</c:v>
                </c:pt>
                <c:pt idx="116">
                  <c:v>8.7789999999999999</c:v>
                </c:pt>
                <c:pt idx="117">
                  <c:v>8.7789999999999999</c:v>
                </c:pt>
                <c:pt idx="118">
                  <c:v>8.7780000000000005</c:v>
                </c:pt>
                <c:pt idx="119">
                  <c:v>8.7750000000000004</c:v>
                </c:pt>
                <c:pt idx="120">
                  <c:v>8.7720000000000002</c:v>
                </c:pt>
                <c:pt idx="121">
                  <c:v>8.7720000000000002</c:v>
                </c:pt>
                <c:pt idx="122">
                  <c:v>8.77</c:v>
                </c:pt>
                <c:pt idx="123">
                  <c:v>8.7710000000000008</c:v>
                </c:pt>
                <c:pt idx="124">
                  <c:v>8.7650000000000006</c:v>
                </c:pt>
                <c:pt idx="125">
                  <c:v>8.7650000000000006</c:v>
                </c:pt>
                <c:pt idx="126">
                  <c:v>8.7639999999999993</c:v>
                </c:pt>
                <c:pt idx="127">
                  <c:v>8.7620000000000005</c:v>
                </c:pt>
                <c:pt idx="128">
                  <c:v>8.7590000000000003</c:v>
                </c:pt>
                <c:pt idx="129">
                  <c:v>8.7569999999999997</c:v>
                </c:pt>
                <c:pt idx="130">
                  <c:v>8.7560000000000002</c:v>
                </c:pt>
                <c:pt idx="131">
                  <c:v>8.7550000000000008</c:v>
                </c:pt>
                <c:pt idx="132">
                  <c:v>8.7550000000000008</c:v>
                </c:pt>
                <c:pt idx="133">
                  <c:v>8.7509999999999994</c:v>
                </c:pt>
                <c:pt idx="134">
                  <c:v>8.7490000000000006</c:v>
                </c:pt>
                <c:pt idx="135">
                  <c:v>8.75</c:v>
                </c:pt>
                <c:pt idx="136">
                  <c:v>8.7479999999999993</c:v>
                </c:pt>
                <c:pt idx="137">
                  <c:v>8.7449999999999992</c:v>
                </c:pt>
                <c:pt idx="138">
                  <c:v>8.7409999999999997</c:v>
                </c:pt>
                <c:pt idx="139">
                  <c:v>8.7409999999999997</c:v>
                </c:pt>
                <c:pt idx="140">
                  <c:v>8.7390000000000008</c:v>
                </c:pt>
                <c:pt idx="141">
                  <c:v>8.7390000000000008</c:v>
                </c:pt>
                <c:pt idx="142">
                  <c:v>8.7370000000000001</c:v>
                </c:pt>
                <c:pt idx="143">
                  <c:v>8.7349999999999994</c:v>
                </c:pt>
                <c:pt idx="144">
                  <c:v>8.734</c:v>
                </c:pt>
                <c:pt idx="145">
                  <c:v>8.7330000000000005</c:v>
                </c:pt>
                <c:pt idx="146">
                  <c:v>8.73</c:v>
                </c:pt>
                <c:pt idx="147">
                  <c:v>8.7319999999999993</c:v>
                </c:pt>
                <c:pt idx="148">
                  <c:v>8.7279999999999998</c:v>
                </c:pt>
                <c:pt idx="149">
                  <c:v>8.7260000000000009</c:v>
                </c:pt>
                <c:pt idx="150">
                  <c:v>8.7260000000000009</c:v>
                </c:pt>
                <c:pt idx="151">
                  <c:v>8.7240000000000002</c:v>
                </c:pt>
                <c:pt idx="152">
                  <c:v>8.7230000000000008</c:v>
                </c:pt>
                <c:pt idx="153">
                  <c:v>8.7200000000000006</c:v>
                </c:pt>
                <c:pt idx="154">
                  <c:v>8.7210000000000001</c:v>
                </c:pt>
                <c:pt idx="155">
                  <c:v>8.718</c:v>
                </c:pt>
                <c:pt idx="156">
                  <c:v>8.718</c:v>
                </c:pt>
                <c:pt idx="157">
                  <c:v>8.7149999999999999</c:v>
                </c:pt>
                <c:pt idx="158">
                  <c:v>8.7119999999999997</c:v>
                </c:pt>
                <c:pt idx="159">
                  <c:v>8.7110000000000003</c:v>
                </c:pt>
                <c:pt idx="160">
                  <c:v>8.7110000000000003</c:v>
                </c:pt>
                <c:pt idx="161">
                  <c:v>8.7100000000000009</c:v>
                </c:pt>
                <c:pt idx="162">
                  <c:v>8.7080000000000002</c:v>
                </c:pt>
                <c:pt idx="163">
                  <c:v>8.7059999999999995</c:v>
                </c:pt>
                <c:pt idx="164">
                  <c:v>8.7050000000000001</c:v>
                </c:pt>
                <c:pt idx="165">
                  <c:v>8.7029999999999994</c:v>
                </c:pt>
                <c:pt idx="166">
                  <c:v>8.6999999999999993</c:v>
                </c:pt>
                <c:pt idx="167">
                  <c:v>8.7010000000000005</c:v>
                </c:pt>
                <c:pt idx="168">
                  <c:v>8.6999999999999993</c:v>
                </c:pt>
                <c:pt idx="169">
                  <c:v>8.6989999999999998</c:v>
                </c:pt>
                <c:pt idx="170">
                  <c:v>8.6950000000000003</c:v>
                </c:pt>
                <c:pt idx="171">
                  <c:v>8.6959999999999997</c:v>
                </c:pt>
                <c:pt idx="172">
                  <c:v>8.6929999999999996</c:v>
                </c:pt>
                <c:pt idx="173">
                  <c:v>8.6929999999999996</c:v>
                </c:pt>
                <c:pt idx="174">
                  <c:v>8.6910000000000007</c:v>
                </c:pt>
                <c:pt idx="175">
                  <c:v>8.6910000000000007</c:v>
                </c:pt>
                <c:pt idx="176">
                  <c:v>8.6880000000000006</c:v>
                </c:pt>
                <c:pt idx="177">
                  <c:v>8.6869999999999994</c:v>
                </c:pt>
                <c:pt idx="178">
                  <c:v>8.6869999999999994</c:v>
                </c:pt>
                <c:pt idx="179">
                  <c:v>8.6839999999999993</c:v>
                </c:pt>
                <c:pt idx="180">
                  <c:v>8.6820000000000004</c:v>
                </c:pt>
                <c:pt idx="181">
                  <c:v>8.6829999999999998</c:v>
                </c:pt>
                <c:pt idx="182">
                  <c:v>8.68</c:v>
                </c:pt>
                <c:pt idx="183">
                  <c:v>8.68</c:v>
                </c:pt>
                <c:pt idx="184">
                  <c:v>8.6769999999999996</c:v>
                </c:pt>
                <c:pt idx="185">
                  <c:v>8.6760000000000002</c:v>
                </c:pt>
                <c:pt idx="186">
                  <c:v>8.673</c:v>
                </c:pt>
                <c:pt idx="187">
                  <c:v>8.6739999999999995</c:v>
                </c:pt>
                <c:pt idx="188">
                  <c:v>8.673</c:v>
                </c:pt>
                <c:pt idx="189">
                  <c:v>8.6720000000000006</c:v>
                </c:pt>
                <c:pt idx="190">
                  <c:v>8.67</c:v>
                </c:pt>
                <c:pt idx="191">
                  <c:v>8.6690000000000005</c:v>
                </c:pt>
                <c:pt idx="192">
                  <c:v>8.6669999999999998</c:v>
                </c:pt>
                <c:pt idx="193">
                  <c:v>8.6679999999999993</c:v>
                </c:pt>
                <c:pt idx="194">
                  <c:v>8.6690000000000005</c:v>
                </c:pt>
                <c:pt idx="195">
                  <c:v>8.6649999999999991</c:v>
                </c:pt>
                <c:pt idx="196">
                  <c:v>8.6620000000000008</c:v>
                </c:pt>
                <c:pt idx="197">
                  <c:v>8.6620000000000008</c:v>
                </c:pt>
                <c:pt idx="198">
                  <c:v>8.6609999999999996</c:v>
                </c:pt>
                <c:pt idx="199">
                  <c:v>8.6590000000000007</c:v>
                </c:pt>
                <c:pt idx="200">
                  <c:v>8.6590000000000007</c:v>
                </c:pt>
                <c:pt idx="201">
                  <c:v>8.657</c:v>
                </c:pt>
                <c:pt idx="202">
                  <c:v>8.6560000000000006</c:v>
                </c:pt>
                <c:pt idx="203">
                  <c:v>8.6549999999999994</c:v>
                </c:pt>
                <c:pt idx="204">
                  <c:v>8.6539999999999999</c:v>
                </c:pt>
                <c:pt idx="205">
                  <c:v>8.6530000000000005</c:v>
                </c:pt>
                <c:pt idx="206">
                  <c:v>8.6519999999999992</c:v>
                </c:pt>
                <c:pt idx="207">
                  <c:v>8.65</c:v>
                </c:pt>
                <c:pt idx="208">
                  <c:v>8.65</c:v>
                </c:pt>
                <c:pt idx="209">
                  <c:v>8.6479999999999997</c:v>
                </c:pt>
                <c:pt idx="210">
                  <c:v>8.6470000000000002</c:v>
                </c:pt>
                <c:pt idx="211">
                  <c:v>8.6460000000000008</c:v>
                </c:pt>
                <c:pt idx="212">
                  <c:v>8.6440000000000001</c:v>
                </c:pt>
                <c:pt idx="213">
                  <c:v>8.6440000000000001</c:v>
                </c:pt>
                <c:pt idx="214">
                  <c:v>8.6449999999999996</c:v>
                </c:pt>
                <c:pt idx="215">
                  <c:v>8.64</c:v>
                </c:pt>
                <c:pt idx="216">
                  <c:v>8.64</c:v>
                </c:pt>
                <c:pt idx="217">
                  <c:v>8.64</c:v>
                </c:pt>
                <c:pt idx="218">
                  <c:v>8.6379999999999999</c:v>
                </c:pt>
                <c:pt idx="219">
                  <c:v>8.6359999999999992</c:v>
                </c:pt>
                <c:pt idx="220">
                  <c:v>8.6359999999999992</c:v>
                </c:pt>
                <c:pt idx="221">
                  <c:v>8.6349999999999998</c:v>
                </c:pt>
                <c:pt idx="222">
                  <c:v>8.6340000000000003</c:v>
                </c:pt>
                <c:pt idx="223">
                  <c:v>8.6310000000000002</c:v>
                </c:pt>
                <c:pt idx="224">
                  <c:v>8.6310000000000002</c:v>
                </c:pt>
                <c:pt idx="225">
                  <c:v>8.6289999999999996</c:v>
                </c:pt>
                <c:pt idx="226">
                  <c:v>8.6270000000000007</c:v>
                </c:pt>
                <c:pt idx="227">
                  <c:v>8.6259999999999994</c:v>
                </c:pt>
                <c:pt idx="228">
                  <c:v>8.6240000000000006</c:v>
                </c:pt>
                <c:pt idx="229">
                  <c:v>8.6219999999999999</c:v>
                </c:pt>
                <c:pt idx="230">
                  <c:v>8.6219999999999999</c:v>
                </c:pt>
                <c:pt idx="231">
                  <c:v>8.6199999999999992</c:v>
                </c:pt>
                <c:pt idx="232">
                  <c:v>8.6180000000000003</c:v>
                </c:pt>
                <c:pt idx="233">
                  <c:v>8.6180000000000003</c:v>
                </c:pt>
                <c:pt idx="234">
                  <c:v>8.6159999999999997</c:v>
                </c:pt>
                <c:pt idx="235">
                  <c:v>8.6150000000000002</c:v>
                </c:pt>
                <c:pt idx="236">
                  <c:v>8.6120000000000001</c:v>
                </c:pt>
                <c:pt idx="237">
                  <c:v>8.6129999999999995</c:v>
                </c:pt>
                <c:pt idx="238">
                  <c:v>8.6110000000000007</c:v>
                </c:pt>
                <c:pt idx="239">
                  <c:v>8.61</c:v>
                </c:pt>
                <c:pt idx="240">
                  <c:v>8.609</c:v>
                </c:pt>
                <c:pt idx="241">
                  <c:v>8.6069999999999993</c:v>
                </c:pt>
                <c:pt idx="242">
                  <c:v>8.6059999999999999</c:v>
                </c:pt>
                <c:pt idx="243">
                  <c:v>8.6050000000000004</c:v>
                </c:pt>
                <c:pt idx="244">
                  <c:v>8.6029999999999998</c:v>
                </c:pt>
                <c:pt idx="245">
                  <c:v>8.6020000000000003</c:v>
                </c:pt>
                <c:pt idx="246">
                  <c:v>8.5990000000000002</c:v>
                </c:pt>
                <c:pt idx="247">
                  <c:v>8.5990000000000002</c:v>
                </c:pt>
                <c:pt idx="248">
                  <c:v>8.5980000000000008</c:v>
                </c:pt>
                <c:pt idx="249">
                  <c:v>8.5950000000000006</c:v>
                </c:pt>
                <c:pt idx="250">
                  <c:v>8.593</c:v>
                </c:pt>
                <c:pt idx="251">
                  <c:v>8.5920000000000005</c:v>
                </c:pt>
                <c:pt idx="252">
                  <c:v>8.59</c:v>
                </c:pt>
                <c:pt idx="253">
                  <c:v>8.5879999999999992</c:v>
                </c:pt>
                <c:pt idx="254">
                  <c:v>8.5869999999999997</c:v>
                </c:pt>
                <c:pt idx="255">
                  <c:v>8.5850000000000009</c:v>
                </c:pt>
                <c:pt idx="256">
                  <c:v>8.5850000000000009</c:v>
                </c:pt>
                <c:pt idx="257">
                  <c:v>8.5820000000000007</c:v>
                </c:pt>
                <c:pt idx="258">
                  <c:v>8.5809999999999995</c:v>
                </c:pt>
                <c:pt idx="259">
                  <c:v>8.58</c:v>
                </c:pt>
                <c:pt idx="260">
                  <c:v>8.5749999999999993</c:v>
                </c:pt>
                <c:pt idx="261">
                  <c:v>8.577</c:v>
                </c:pt>
                <c:pt idx="262">
                  <c:v>8.577</c:v>
                </c:pt>
                <c:pt idx="263">
                  <c:v>8.5749999999999993</c:v>
                </c:pt>
                <c:pt idx="264">
                  <c:v>8.5739999999999998</c:v>
                </c:pt>
                <c:pt idx="265">
                  <c:v>8.5719999999999992</c:v>
                </c:pt>
                <c:pt idx="266">
                  <c:v>8.5709999999999997</c:v>
                </c:pt>
                <c:pt idx="267">
                  <c:v>8.5709999999999997</c:v>
                </c:pt>
                <c:pt idx="268">
                  <c:v>8.5679999999999996</c:v>
                </c:pt>
                <c:pt idx="269">
                  <c:v>8.5679999999999996</c:v>
                </c:pt>
                <c:pt idx="270">
                  <c:v>8.5670000000000002</c:v>
                </c:pt>
                <c:pt idx="271">
                  <c:v>8.5649999999999995</c:v>
                </c:pt>
                <c:pt idx="272">
                  <c:v>8.5640000000000001</c:v>
                </c:pt>
                <c:pt idx="273">
                  <c:v>8.5630000000000006</c:v>
                </c:pt>
                <c:pt idx="274">
                  <c:v>8.5649999999999995</c:v>
                </c:pt>
                <c:pt idx="275">
                  <c:v>8.5609999999999999</c:v>
                </c:pt>
                <c:pt idx="276">
                  <c:v>8.5609999999999999</c:v>
                </c:pt>
                <c:pt idx="277">
                  <c:v>8.5570000000000004</c:v>
                </c:pt>
                <c:pt idx="278">
                  <c:v>8.5589999999999993</c:v>
                </c:pt>
                <c:pt idx="279">
                  <c:v>8.5579999999999998</c:v>
                </c:pt>
                <c:pt idx="280">
                  <c:v>8.5559999999999992</c:v>
                </c:pt>
                <c:pt idx="281">
                  <c:v>8.5549999999999997</c:v>
                </c:pt>
                <c:pt idx="282">
                  <c:v>8.5540000000000003</c:v>
                </c:pt>
                <c:pt idx="283">
                  <c:v>8.5519999999999996</c:v>
                </c:pt>
                <c:pt idx="284">
                  <c:v>8.548</c:v>
                </c:pt>
                <c:pt idx="285">
                  <c:v>8.5489999999999995</c:v>
                </c:pt>
                <c:pt idx="286">
                  <c:v>8.5449999999999999</c:v>
                </c:pt>
                <c:pt idx="287">
                  <c:v>8.5440000000000005</c:v>
                </c:pt>
                <c:pt idx="288">
                  <c:v>8.5459999999999994</c:v>
                </c:pt>
                <c:pt idx="289">
                  <c:v>8.5429999999999993</c:v>
                </c:pt>
                <c:pt idx="290">
                  <c:v>8.5410000000000004</c:v>
                </c:pt>
                <c:pt idx="291">
                  <c:v>8.5410000000000004</c:v>
                </c:pt>
                <c:pt idx="292">
                  <c:v>8.5389999999999997</c:v>
                </c:pt>
                <c:pt idx="293">
                  <c:v>8.5429999999999993</c:v>
                </c:pt>
                <c:pt idx="294">
                  <c:v>8.5399999999999991</c:v>
                </c:pt>
                <c:pt idx="295">
                  <c:v>8.5389999999999997</c:v>
                </c:pt>
                <c:pt idx="296">
                  <c:v>8.5359999999999996</c:v>
                </c:pt>
                <c:pt idx="297">
                  <c:v>8.5370000000000008</c:v>
                </c:pt>
                <c:pt idx="298">
                  <c:v>8.532</c:v>
                </c:pt>
                <c:pt idx="299">
                  <c:v>8.5340000000000007</c:v>
                </c:pt>
                <c:pt idx="300">
                  <c:v>8.5310000000000006</c:v>
                </c:pt>
                <c:pt idx="301">
                  <c:v>8.5310000000000006</c:v>
                </c:pt>
                <c:pt idx="302">
                  <c:v>8.5289999999999999</c:v>
                </c:pt>
                <c:pt idx="303">
                  <c:v>8.5269999999999992</c:v>
                </c:pt>
                <c:pt idx="304">
                  <c:v>8.5329999999999995</c:v>
                </c:pt>
                <c:pt idx="305">
                  <c:v>8.5280000000000005</c:v>
                </c:pt>
                <c:pt idx="306">
                  <c:v>8.5239999999999991</c:v>
                </c:pt>
                <c:pt idx="307">
                  <c:v>8.5259999999999998</c:v>
                </c:pt>
                <c:pt idx="308">
                  <c:v>8.5229999999999997</c:v>
                </c:pt>
                <c:pt idx="309">
                  <c:v>8.52</c:v>
                </c:pt>
                <c:pt idx="310">
                  <c:v>8.5250000000000004</c:v>
                </c:pt>
                <c:pt idx="311">
                  <c:v>8.5210000000000008</c:v>
                </c:pt>
                <c:pt idx="312">
                  <c:v>8.52</c:v>
                </c:pt>
                <c:pt idx="313">
                  <c:v>8.5190000000000001</c:v>
                </c:pt>
                <c:pt idx="314">
                  <c:v>8.516</c:v>
                </c:pt>
                <c:pt idx="315">
                  <c:v>8.5180000000000007</c:v>
                </c:pt>
                <c:pt idx="316">
                  <c:v>8.5190000000000001</c:v>
                </c:pt>
                <c:pt idx="317">
                  <c:v>8.5120000000000005</c:v>
                </c:pt>
                <c:pt idx="318">
                  <c:v>8.5109999999999992</c:v>
                </c:pt>
                <c:pt idx="319">
                  <c:v>8.52</c:v>
                </c:pt>
                <c:pt idx="320">
                  <c:v>8.5150000000000006</c:v>
                </c:pt>
                <c:pt idx="321">
                  <c:v>8.5120000000000005</c:v>
                </c:pt>
                <c:pt idx="322">
                  <c:v>8.5090000000000003</c:v>
                </c:pt>
                <c:pt idx="323">
                  <c:v>8.5109999999999992</c:v>
                </c:pt>
                <c:pt idx="324">
                  <c:v>8.5120000000000005</c:v>
                </c:pt>
                <c:pt idx="325">
                  <c:v>8.5069999999999997</c:v>
                </c:pt>
                <c:pt idx="326">
                  <c:v>8.5009999999999994</c:v>
                </c:pt>
                <c:pt idx="327">
                  <c:v>8.5069999999999997</c:v>
                </c:pt>
                <c:pt idx="328">
                  <c:v>8.4990000000000006</c:v>
                </c:pt>
                <c:pt idx="329">
                  <c:v>8.5039999999999996</c:v>
                </c:pt>
                <c:pt idx="330">
                  <c:v>8.5009999999999994</c:v>
                </c:pt>
                <c:pt idx="331">
                  <c:v>8.4990000000000006</c:v>
                </c:pt>
                <c:pt idx="332">
                  <c:v>8.4969999999999999</c:v>
                </c:pt>
                <c:pt idx="333">
                  <c:v>8.4969999999999999</c:v>
                </c:pt>
                <c:pt idx="334">
                  <c:v>8.4990000000000006</c:v>
                </c:pt>
                <c:pt idx="335">
                  <c:v>8.4979999999999993</c:v>
                </c:pt>
                <c:pt idx="336">
                  <c:v>8.5039999999999996</c:v>
                </c:pt>
                <c:pt idx="337">
                  <c:v>8.4969999999999999</c:v>
                </c:pt>
                <c:pt idx="338">
                  <c:v>8.4930000000000003</c:v>
                </c:pt>
                <c:pt idx="339">
                  <c:v>8.4909999999999997</c:v>
                </c:pt>
                <c:pt idx="340">
                  <c:v>8.4860000000000007</c:v>
                </c:pt>
                <c:pt idx="341">
                  <c:v>8.4819999999999993</c:v>
                </c:pt>
                <c:pt idx="342">
                  <c:v>8.4909999999999997</c:v>
                </c:pt>
                <c:pt idx="343">
                  <c:v>8.4879999999999995</c:v>
                </c:pt>
                <c:pt idx="344">
                  <c:v>8.4849999999999994</c:v>
                </c:pt>
                <c:pt idx="345">
                  <c:v>8.4770000000000003</c:v>
                </c:pt>
                <c:pt idx="346">
                  <c:v>8.4849999999999994</c:v>
                </c:pt>
                <c:pt idx="347">
                  <c:v>8.4870000000000001</c:v>
                </c:pt>
                <c:pt idx="348">
                  <c:v>8.484</c:v>
                </c:pt>
                <c:pt idx="349">
                  <c:v>8.48</c:v>
                </c:pt>
                <c:pt idx="350">
                  <c:v>8.4819999999999993</c:v>
                </c:pt>
                <c:pt idx="351">
                  <c:v>8.4749999999999996</c:v>
                </c:pt>
                <c:pt idx="352">
                  <c:v>8.4760000000000009</c:v>
                </c:pt>
                <c:pt idx="353">
                  <c:v>8.4789999999999992</c:v>
                </c:pt>
                <c:pt idx="354">
                  <c:v>8.4749999999999996</c:v>
                </c:pt>
                <c:pt idx="355">
                  <c:v>8.4749999999999996</c:v>
                </c:pt>
                <c:pt idx="356">
                  <c:v>8.4719999999999995</c:v>
                </c:pt>
                <c:pt idx="357">
                  <c:v>8.4740000000000002</c:v>
                </c:pt>
                <c:pt idx="358">
                  <c:v>8.4770000000000003</c:v>
                </c:pt>
                <c:pt idx="359">
                  <c:v>8.468</c:v>
                </c:pt>
                <c:pt idx="360">
                  <c:v>8.4659999999999993</c:v>
                </c:pt>
                <c:pt idx="361">
                  <c:v>8.468</c:v>
                </c:pt>
                <c:pt idx="362">
                  <c:v>8.4689999999999994</c:v>
                </c:pt>
                <c:pt idx="363">
                  <c:v>8.4610000000000003</c:v>
                </c:pt>
                <c:pt idx="364">
                  <c:v>8.4629999999999992</c:v>
                </c:pt>
                <c:pt idx="365">
                  <c:v>8.4700000000000006</c:v>
                </c:pt>
                <c:pt idx="366">
                  <c:v>8.4610000000000003</c:v>
                </c:pt>
                <c:pt idx="367">
                  <c:v>8.4649999999999999</c:v>
                </c:pt>
                <c:pt idx="368">
                  <c:v>8.4570000000000007</c:v>
                </c:pt>
                <c:pt idx="369">
                  <c:v>8.4670000000000005</c:v>
                </c:pt>
                <c:pt idx="370">
                  <c:v>8.4589999999999996</c:v>
                </c:pt>
                <c:pt idx="371">
                  <c:v>8.4649999999999999</c:v>
                </c:pt>
                <c:pt idx="372">
                  <c:v>8.4559999999999995</c:v>
                </c:pt>
                <c:pt idx="373">
                  <c:v>8.4580000000000002</c:v>
                </c:pt>
                <c:pt idx="374">
                  <c:v>8.4529999999999994</c:v>
                </c:pt>
                <c:pt idx="375">
                  <c:v>8.4529999999999994</c:v>
                </c:pt>
                <c:pt idx="376">
                  <c:v>8.4559999999999995</c:v>
                </c:pt>
                <c:pt idx="377">
                  <c:v>8.4589999999999996</c:v>
                </c:pt>
                <c:pt idx="378">
                  <c:v>8.4489999999999998</c:v>
                </c:pt>
                <c:pt idx="379">
                  <c:v>8.4510000000000005</c:v>
                </c:pt>
                <c:pt idx="380">
                  <c:v>8.4510000000000005</c:v>
                </c:pt>
                <c:pt idx="381">
                  <c:v>8.4440000000000008</c:v>
                </c:pt>
                <c:pt idx="382">
                  <c:v>8.4480000000000004</c:v>
                </c:pt>
                <c:pt idx="383">
                  <c:v>8.4540000000000006</c:v>
                </c:pt>
                <c:pt idx="384">
                  <c:v>8.44</c:v>
                </c:pt>
                <c:pt idx="385">
                  <c:v>8.4440000000000008</c:v>
                </c:pt>
                <c:pt idx="386">
                  <c:v>8.4559999999999995</c:v>
                </c:pt>
                <c:pt idx="387">
                  <c:v>8.4459999999999997</c:v>
                </c:pt>
                <c:pt idx="388">
                  <c:v>8.4410000000000007</c:v>
                </c:pt>
                <c:pt idx="389">
                  <c:v>8.4819999999999993</c:v>
                </c:pt>
                <c:pt idx="390">
                  <c:v>8.4779999999999998</c:v>
                </c:pt>
                <c:pt idx="391">
                  <c:v>8.4719999999999995</c:v>
                </c:pt>
                <c:pt idx="392">
                  <c:v>8.4689999999999994</c:v>
                </c:pt>
                <c:pt idx="393">
                  <c:v>8.4700000000000006</c:v>
                </c:pt>
                <c:pt idx="394">
                  <c:v>8.4659999999999993</c:v>
                </c:pt>
                <c:pt idx="395">
                  <c:v>8.4629999999999992</c:v>
                </c:pt>
                <c:pt idx="396">
                  <c:v>8.4629999999999992</c:v>
                </c:pt>
                <c:pt idx="397">
                  <c:v>8.4600000000000009</c:v>
                </c:pt>
                <c:pt idx="398">
                  <c:v>8.4600000000000009</c:v>
                </c:pt>
                <c:pt idx="399">
                  <c:v>8.4610000000000003</c:v>
                </c:pt>
                <c:pt idx="400">
                  <c:v>8.4570000000000007</c:v>
                </c:pt>
                <c:pt idx="401">
                  <c:v>8.4559999999999995</c:v>
                </c:pt>
                <c:pt idx="402">
                  <c:v>8.4540000000000006</c:v>
                </c:pt>
                <c:pt idx="403">
                  <c:v>8.4540000000000006</c:v>
                </c:pt>
                <c:pt idx="404">
                  <c:v>8.4529999999999994</c:v>
                </c:pt>
                <c:pt idx="405">
                  <c:v>8.452</c:v>
                </c:pt>
                <c:pt idx="406">
                  <c:v>8.4510000000000005</c:v>
                </c:pt>
                <c:pt idx="407">
                  <c:v>8.4510000000000005</c:v>
                </c:pt>
                <c:pt idx="408">
                  <c:v>8.4510000000000005</c:v>
                </c:pt>
                <c:pt idx="409">
                  <c:v>8.4480000000000004</c:v>
                </c:pt>
                <c:pt idx="410">
                  <c:v>8.4480000000000004</c:v>
                </c:pt>
                <c:pt idx="411">
                  <c:v>8.4480000000000004</c:v>
                </c:pt>
                <c:pt idx="412">
                  <c:v>8.4459999999999997</c:v>
                </c:pt>
                <c:pt idx="413">
                  <c:v>8.4459999999999997</c:v>
                </c:pt>
                <c:pt idx="414">
                  <c:v>8.4450000000000003</c:v>
                </c:pt>
                <c:pt idx="415">
                  <c:v>8.4440000000000008</c:v>
                </c:pt>
                <c:pt idx="416">
                  <c:v>8.4440000000000008</c:v>
                </c:pt>
                <c:pt idx="417">
                  <c:v>8.4420000000000002</c:v>
                </c:pt>
                <c:pt idx="418">
                  <c:v>8.4420000000000002</c:v>
                </c:pt>
                <c:pt idx="419">
                  <c:v>8.44</c:v>
                </c:pt>
                <c:pt idx="420">
                  <c:v>8.44</c:v>
                </c:pt>
                <c:pt idx="421">
                  <c:v>8.4380000000000006</c:v>
                </c:pt>
                <c:pt idx="422">
                  <c:v>8.4390000000000001</c:v>
                </c:pt>
                <c:pt idx="423">
                  <c:v>8.4369999999999994</c:v>
                </c:pt>
                <c:pt idx="424">
                  <c:v>8.4369999999999994</c:v>
                </c:pt>
                <c:pt idx="425">
                  <c:v>8.4369999999999994</c:v>
                </c:pt>
                <c:pt idx="426">
                  <c:v>8.4359999999999999</c:v>
                </c:pt>
                <c:pt idx="427">
                  <c:v>8.4350000000000005</c:v>
                </c:pt>
                <c:pt idx="428">
                  <c:v>8.4329999999999998</c:v>
                </c:pt>
                <c:pt idx="429">
                  <c:v>8.4329999999999998</c:v>
                </c:pt>
                <c:pt idx="430">
                  <c:v>8.4309999999999992</c:v>
                </c:pt>
                <c:pt idx="431">
                  <c:v>8.4320000000000004</c:v>
                </c:pt>
                <c:pt idx="432">
                  <c:v>8.4309999999999992</c:v>
                </c:pt>
                <c:pt idx="433">
                  <c:v>8.4309999999999992</c:v>
                </c:pt>
                <c:pt idx="434">
                  <c:v>8.4290000000000003</c:v>
                </c:pt>
                <c:pt idx="435">
                  <c:v>8.4290000000000003</c:v>
                </c:pt>
                <c:pt idx="436">
                  <c:v>8.4280000000000008</c:v>
                </c:pt>
                <c:pt idx="437">
                  <c:v>8.4250000000000007</c:v>
                </c:pt>
                <c:pt idx="438">
                  <c:v>8.4260000000000002</c:v>
                </c:pt>
                <c:pt idx="439">
                  <c:v>8.4250000000000007</c:v>
                </c:pt>
                <c:pt idx="440">
                  <c:v>8.4250000000000007</c:v>
                </c:pt>
                <c:pt idx="441">
                  <c:v>8.4239999999999995</c:v>
                </c:pt>
                <c:pt idx="442">
                  <c:v>8.423</c:v>
                </c:pt>
                <c:pt idx="443">
                  <c:v>8.4220000000000006</c:v>
                </c:pt>
                <c:pt idx="444">
                  <c:v>8.4220000000000006</c:v>
                </c:pt>
                <c:pt idx="445">
                  <c:v>8.4209999999999994</c:v>
                </c:pt>
                <c:pt idx="446">
                  <c:v>8.4209999999999994</c:v>
                </c:pt>
                <c:pt idx="447">
                  <c:v>8.42</c:v>
                </c:pt>
                <c:pt idx="448">
                  <c:v>8.4179999999999993</c:v>
                </c:pt>
                <c:pt idx="449">
                  <c:v>8.4179999999999993</c:v>
                </c:pt>
                <c:pt idx="450">
                  <c:v>8.4160000000000004</c:v>
                </c:pt>
                <c:pt idx="451">
                  <c:v>8.4160000000000004</c:v>
                </c:pt>
                <c:pt idx="452">
                  <c:v>8.4149999999999991</c:v>
                </c:pt>
                <c:pt idx="453">
                  <c:v>8.4149999999999991</c:v>
                </c:pt>
                <c:pt idx="454">
                  <c:v>8.4139999999999997</c:v>
                </c:pt>
                <c:pt idx="455">
                  <c:v>8.4139999999999997</c:v>
                </c:pt>
                <c:pt idx="456">
                  <c:v>8.4130000000000003</c:v>
                </c:pt>
                <c:pt idx="457">
                  <c:v>8.4120000000000008</c:v>
                </c:pt>
                <c:pt idx="458">
                  <c:v>8.4109999999999996</c:v>
                </c:pt>
                <c:pt idx="459">
                  <c:v>8.4120000000000008</c:v>
                </c:pt>
                <c:pt idx="460">
                  <c:v>8.41</c:v>
                </c:pt>
                <c:pt idx="461">
                  <c:v>8.4090000000000007</c:v>
                </c:pt>
                <c:pt idx="462">
                  <c:v>8.4079999999999995</c:v>
                </c:pt>
                <c:pt idx="463">
                  <c:v>8.4060000000000006</c:v>
                </c:pt>
                <c:pt idx="464">
                  <c:v>8.4079999999999995</c:v>
                </c:pt>
                <c:pt idx="465">
                  <c:v>8.4060000000000006</c:v>
                </c:pt>
                <c:pt idx="466">
                  <c:v>8.4060000000000006</c:v>
                </c:pt>
                <c:pt idx="467">
                  <c:v>8.4049999999999994</c:v>
                </c:pt>
                <c:pt idx="468">
                  <c:v>8.4039999999999999</c:v>
                </c:pt>
                <c:pt idx="469">
                  <c:v>8.4030000000000005</c:v>
                </c:pt>
                <c:pt idx="470">
                  <c:v>8.4030000000000005</c:v>
                </c:pt>
                <c:pt idx="471">
                  <c:v>8.4019999999999992</c:v>
                </c:pt>
                <c:pt idx="472">
                  <c:v>8.4009999999999998</c:v>
                </c:pt>
                <c:pt idx="473">
                  <c:v>8.4</c:v>
                </c:pt>
                <c:pt idx="474">
                  <c:v>8.3989999999999991</c:v>
                </c:pt>
                <c:pt idx="475">
                  <c:v>8.4</c:v>
                </c:pt>
                <c:pt idx="476">
                  <c:v>8.3989999999999991</c:v>
                </c:pt>
                <c:pt idx="477">
                  <c:v>8.3979999999999997</c:v>
                </c:pt>
                <c:pt idx="478">
                  <c:v>8.3970000000000002</c:v>
                </c:pt>
                <c:pt idx="479">
                  <c:v>8.3960000000000008</c:v>
                </c:pt>
                <c:pt idx="480">
                  <c:v>8.3949999999999996</c:v>
                </c:pt>
                <c:pt idx="481">
                  <c:v>8.3940000000000001</c:v>
                </c:pt>
                <c:pt idx="482">
                  <c:v>8.3930000000000007</c:v>
                </c:pt>
                <c:pt idx="483">
                  <c:v>8.3930000000000007</c:v>
                </c:pt>
                <c:pt idx="484">
                  <c:v>8.3930000000000007</c:v>
                </c:pt>
                <c:pt idx="485">
                  <c:v>8.3919999999999995</c:v>
                </c:pt>
                <c:pt idx="486">
                  <c:v>8.3919999999999995</c:v>
                </c:pt>
                <c:pt idx="487">
                  <c:v>8.391</c:v>
                </c:pt>
                <c:pt idx="488">
                  <c:v>8.391</c:v>
                </c:pt>
                <c:pt idx="489">
                  <c:v>8.39</c:v>
                </c:pt>
                <c:pt idx="490">
                  <c:v>8.3889999999999993</c:v>
                </c:pt>
                <c:pt idx="491">
                  <c:v>8.3879999999999999</c:v>
                </c:pt>
                <c:pt idx="492">
                  <c:v>8.3870000000000005</c:v>
                </c:pt>
                <c:pt idx="493">
                  <c:v>8.3859999999999992</c:v>
                </c:pt>
                <c:pt idx="494">
                  <c:v>8.3870000000000005</c:v>
                </c:pt>
                <c:pt idx="495">
                  <c:v>8.3849999999999998</c:v>
                </c:pt>
                <c:pt idx="496">
                  <c:v>8.3840000000000003</c:v>
                </c:pt>
                <c:pt idx="497">
                  <c:v>8.3840000000000003</c:v>
                </c:pt>
                <c:pt idx="498">
                  <c:v>8.3819999999999997</c:v>
                </c:pt>
                <c:pt idx="499">
                  <c:v>8.3819999999999997</c:v>
                </c:pt>
                <c:pt idx="500">
                  <c:v>8.3810000000000002</c:v>
                </c:pt>
                <c:pt idx="501">
                  <c:v>8.3810000000000002</c:v>
                </c:pt>
                <c:pt idx="502">
                  <c:v>8.3800000000000008</c:v>
                </c:pt>
                <c:pt idx="503">
                  <c:v>8.3810000000000002</c:v>
                </c:pt>
                <c:pt idx="504">
                  <c:v>8.3789999999999996</c:v>
                </c:pt>
                <c:pt idx="505">
                  <c:v>8.3780000000000001</c:v>
                </c:pt>
                <c:pt idx="506">
                  <c:v>8.3780000000000001</c:v>
                </c:pt>
                <c:pt idx="507">
                  <c:v>8.3780000000000001</c:v>
                </c:pt>
                <c:pt idx="508">
                  <c:v>8.3770000000000007</c:v>
                </c:pt>
                <c:pt idx="509">
                  <c:v>8.3759999999999994</c:v>
                </c:pt>
                <c:pt idx="510">
                  <c:v>8.375</c:v>
                </c:pt>
                <c:pt idx="511">
                  <c:v>8.375</c:v>
                </c:pt>
                <c:pt idx="512">
                  <c:v>8.3729999999999993</c:v>
                </c:pt>
                <c:pt idx="513">
                  <c:v>8.3729999999999993</c:v>
                </c:pt>
                <c:pt idx="514">
                  <c:v>8.3729999999999993</c:v>
                </c:pt>
                <c:pt idx="515">
                  <c:v>8.3710000000000004</c:v>
                </c:pt>
                <c:pt idx="516">
                  <c:v>8.3729999999999993</c:v>
                </c:pt>
                <c:pt idx="517">
                  <c:v>8.3699999999999992</c:v>
                </c:pt>
                <c:pt idx="518">
                  <c:v>8.3689999999999998</c:v>
                </c:pt>
                <c:pt idx="519">
                  <c:v>8.3710000000000004</c:v>
                </c:pt>
                <c:pt idx="520">
                  <c:v>8.3680000000000003</c:v>
                </c:pt>
                <c:pt idx="521">
                  <c:v>8.3670000000000009</c:v>
                </c:pt>
                <c:pt idx="522">
                  <c:v>8.3670000000000009</c:v>
                </c:pt>
                <c:pt idx="523">
                  <c:v>8.3659999999999997</c:v>
                </c:pt>
                <c:pt idx="524">
                  <c:v>8.3659999999999997</c:v>
                </c:pt>
                <c:pt idx="525">
                  <c:v>8.3640000000000008</c:v>
                </c:pt>
                <c:pt idx="526">
                  <c:v>8.3650000000000002</c:v>
                </c:pt>
                <c:pt idx="527">
                  <c:v>8.3640000000000008</c:v>
                </c:pt>
                <c:pt idx="528">
                  <c:v>8.3620000000000001</c:v>
                </c:pt>
                <c:pt idx="529">
                  <c:v>8.3620000000000001</c:v>
                </c:pt>
                <c:pt idx="530">
                  <c:v>8.3629999999999995</c:v>
                </c:pt>
                <c:pt idx="531">
                  <c:v>8.36</c:v>
                </c:pt>
                <c:pt idx="532">
                  <c:v>8.36</c:v>
                </c:pt>
                <c:pt idx="533">
                  <c:v>8.36</c:v>
                </c:pt>
                <c:pt idx="534">
                  <c:v>8.359</c:v>
                </c:pt>
                <c:pt idx="535">
                  <c:v>8.3569999999999993</c:v>
                </c:pt>
                <c:pt idx="536">
                  <c:v>8.3580000000000005</c:v>
                </c:pt>
                <c:pt idx="537">
                  <c:v>8.3569999999999993</c:v>
                </c:pt>
                <c:pt idx="538">
                  <c:v>8.3559999999999999</c:v>
                </c:pt>
                <c:pt idx="539">
                  <c:v>8.3550000000000004</c:v>
                </c:pt>
                <c:pt idx="540">
                  <c:v>8.3550000000000004</c:v>
                </c:pt>
                <c:pt idx="541">
                  <c:v>8.3539999999999992</c:v>
                </c:pt>
                <c:pt idx="542">
                  <c:v>8.3539999999999992</c:v>
                </c:pt>
                <c:pt idx="543">
                  <c:v>8.3529999999999998</c:v>
                </c:pt>
                <c:pt idx="544">
                  <c:v>8.3520000000000003</c:v>
                </c:pt>
                <c:pt idx="545">
                  <c:v>8.3520000000000003</c:v>
                </c:pt>
                <c:pt idx="546">
                  <c:v>8.3510000000000009</c:v>
                </c:pt>
                <c:pt idx="547">
                  <c:v>8.35</c:v>
                </c:pt>
                <c:pt idx="548">
                  <c:v>8.3490000000000002</c:v>
                </c:pt>
                <c:pt idx="549">
                  <c:v>8.3480000000000008</c:v>
                </c:pt>
                <c:pt idx="550">
                  <c:v>8.3490000000000002</c:v>
                </c:pt>
                <c:pt idx="551">
                  <c:v>8.3469999999999995</c:v>
                </c:pt>
                <c:pt idx="552">
                  <c:v>8.3469999999999995</c:v>
                </c:pt>
                <c:pt idx="553">
                  <c:v>8.3460000000000001</c:v>
                </c:pt>
                <c:pt idx="554">
                  <c:v>8.3460000000000001</c:v>
                </c:pt>
                <c:pt idx="555">
                  <c:v>8.3469999999999995</c:v>
                </c:pt>
                <c:pt idx="556">
                  <c:v>8.3439999999999994</c:v>
                </c:pt>
                <c:pt idx="557">
                  <c:v>8.3439999999999994</c:v>
                </c:pt>
                <c:pt idx="558">
                  <c:v>8.343</c:v>
                </c:pt>
                <c:pt idx="559">
                  <c:v>8.3420000000000005</c:v>
                </c:pt>
                <c:pt idx="560">
                  <c:v>8.3420000000000005</c:v>
                </c:pt>
                <c:pt idx="561">
                  <c:v>8.343</c:v>
                </c:pt>
                <c:pt idx="562">
                  <c:v>8.3409999999999993</c:v>
                </c:pt>
                <c:pt idx="563">
                  <c:v>8.34</c:v>
                </c:pt>
                <c:pt idx="564">
                  <c:v>8.34</c:v>
                </c:pt>
                <c:pt idx="565">
                  <c:v>8.3390000000000004</c:v>
                </c:pt>
                <c:pt idx="566">
                  <c:v>8.3390000000000004</c:v>
                </c:pt>
                <c:pt idx="567">
                  <c:v>8.3360000000000003</c:v>
                </c:pt>
                <c:pt idx="568">
                  <c:v>8.3369999999999997</c:v>
                </c:pt>
                <c:pt idx="569">
                  <c:v>8.3360000000000003</c:v>
                </c:pt>
                <c:pt idx="570">
                  <c:v>8.3369999999999997</c:v>
                </c:pt>
                <c:pt idx="571">
                  <c:v>8.3350000000000009</c:v>
                </c:pt>
                <c:pt idx="572">
                  <c:v>8.3350000000000009</c:v>
                </c:pt>
                <c:pt idx="573">
                  <c:v>8.3330000000000002</c:v>
                </c:pt>
                <c:pt idx="574">
                  <c:v>8.3330000000000002</c:v>
                </c:pt>
                <c:pt idx="575">
                  <c:v>8.3320000000000007</c:v>
                </c:pt>
                <c:pt idx="576">
                  <c:v>8.3330000000000002</c:v>
                </c:pt>
                <c:pt idx="577">
                  <c:v>8.3320000000000007</c:v>
                </c:pt>
                <c:pt idx="578">
                  <c:v>8.3320000000000007</c:v>
                </c:pt>
                <c:pt idx="579">
                  <c:v>8.3290000000000006</c:v>
                </c:pt>
                <c:pt idx="580">
                  <c:v>8.33</c:v>
                </c:pt>
                <c:pt idx="581">
                  <c:v>8.3290000000000006</c:v>
                </c:pt>
                <c:pt idx="582">
                  <c:v>8.3279999999999994</c:v>
                </c:pt>
                <c:pt idx="583">
                  <c:v>8.327</c:v>
                </c:pt>
                <c:pt idx="584">
                  <c:v>8.3279999999999994</c:v>
                </c:pt>
                <c:pt idx="585">
                  <c:v>8.3260000000000005</c:v>
                </c:pt>
                <c:pt idx="586">
                  <c:v>8.3260000000000005</c:v>
                </c:pt>
                <c:pt idx="587">
                  <c:v>8.3249999999999993</c:v>
                </c:pt>
                <c:pt idx="588">
                  <c:v>8.3249999999999993</c:v>
                </c:pt>
                <c:pt idx="589">
                  <c:v>8.3249999999999993</c:v>
                </c:pt>
                <c:pt idx="590">
                  <c:v>8.3230000000000004</c:v>
                </c:pt>
                <c:pt idx="591">
                  <c:v>8.3230000000000004</c:v>
                </c:pt>
                <c:pt idx="592">
                  <c:v>8.3219999999999992</c:v>
                </c:pt>
                <c:pt idx="593">
                  <c:v>8.3209999999999997</c:v>
                </c:pt>
                <c:pt idx="594">
                  <c:v>8.3209999999999997</c:v>
                </c:pt>
                <c:pt idx="595">
                  <c:v>8.3209999999999997</c:v>
                </c:pt>
                <c:pt idx="596">
                  <c:v>8.3190000000000008</c:v>
                </c:pt>
                <c:pt idx="597">
                  <c:v>8.3179999999999996</c:v>
                </c:pt>
                <c:pt idx="598">
                  <c:v>8.3190000000000008</c:v>
                </c:pt>
                <c:pt idx="599">
                  <c:v>8.3179999999999996</c:v>
                </c:pt>
                <c:pt idx="600">
                  <c:v>8.3160000000000007</c:v>
                </c:pt>
                <c:pt idx="601">
                  <c:v>8.3160000000000007</c:v>
                </c:pt>
                <c:pt idx="602">
                  <c:v>8.3160000000000007</c:v>
                </c:pt>
                <c:pt idx="603">
                  <c:v>8.3160000000000007</c:v>
                </c:pt>
                <c:pt idx="604">
                  <c:v>8.3140000000000001</c:v>
                </c:pt>
                <c:pt idx="605">
                  <c:v>8.3149999999999995</c:v>
                </c:pt>
                <c:pt idx="606">
                  <c:v>8.3140000000000001</c:v>
                </c:pt>
                <c:pt idx="607">
                  <c:v>8.3149999999999995</c:v>
                </c:pt>
                <c:pt idx="608">
                  <c:v>8.3130000000000006</c:v>
                </c:pt>
                <c:pt idx="609">
                  <c:v>8.3109999999999999</c:v>
                </c:pt>
                <c:pt idx="610">
                  <c:v>8.3119999999999994</c:v>
                </c:pt>
                <c:pt idx="611">
                  <c:v>8.3109999999999999</c:v>
                </c:pt>
                <c:pt idx="612">
                  <c:v>8.31</c:v>
                </c:pt>
                <c:pt idx="613">
                  <c:v>8.3089999999999993</c:v>
                </c:pt>
                <c:pt idx="614">
                  <c:v>8.3079999999999998</c:v>
                </c:pt>
                <c:pt idx="615">
                  <c:v>8.3070000000000004</c:v>
                </c:pt>
                <c:pt idx="616">
                  <c:v>8.3070000000000004</c:v>
                </c:pt>
                <c:pt idx="617">
                  <c:v>8.3070000000000004</c:v>
                </c:pt>
                <c:pt idx="618">
                  <c:v>8.3059999999999992</c:v>
                </c:pt>
                <c:pt idx="619">
                  <c:v>8.3049999999999997</c:v>
                </c:pt>
                <c:pt idx="620">
                  <c:v>8.3059999999999992</c:v>
                </c:pt>
                <c:pt idx="621">
                  <c:v>8.3049999999999997</c:v>
                </c:pt>
                <c:pt idx="622">
                  <c:v>8.3030000000000008</c:v>
                </c:pt>
                <c:pt idx="623">
                  <c:v>8.3030000000000008</c:v>
                </c:pt>
                <c:pt idx="624">
                  <c:v>8.3030000000000008</c:v>
                </c:pt>
                <c:pt idx="625">
                  <c:v>8.3019999999999996</c:v>
                </c:pt>
                <c:pt idx="626">
                  <c:v>8.3010000000000002</c:v>
                </c:pt>
                <c:pt idx="627">
                  <c:v>8.3010000000000002</c:v>
                </c:pt>
                <c:pt idx="628">
                  <c:v>8.3010000000000002</c:v>
                </c:pt>
                <c:pt idx="629">
                  <c:v>8.2989999999999995</c:v>
                </c:pt>
                <c:pt idx="630">
                  <c:v>8.2989999999999995</c:v>
                </c:pt>
                <c:pt idx="631">
                  <c:v>8.298</c:v>
                </c:pt>
                <c:pt idx="632">
                  <c:v>8.2970000000000006</c:v>
                </c:pt>
                <c:pt idx="633">
                  <c:v>8.2970000000000006</c:v>
                </c:pt>
                <c:pt idx="634">
                  <c:v>8.2970000000000006</c:v>
                </c:pt>
                <c:pt idx="635">
                  <c:v>8.2959999999999994</c:v>
                </c:pt>
                <c:pt idx="636">
                  <c:v>8.2949999999999999</c:v>
                </c:pt>
                <c:pt idx="637">
                  <c:v>8.2940000000000005</c:v>
                </c:pt>
                <c:pt idx="638">
                  <c:v>8.2959999999999994</c:v>
                </c:pt>
                <c:pt idx="639">
                  <c:v>8.2929999999999993</c:v>
                </c:pt>
                <c:pt idx="640">
                  <c:v>8.2929999999999993</c:v>
                </c:pt>
                <c:pt idx="641">
                  <c:v>8.2929999999999993</c:v>
                </c:pt>
                <c:pt idx="642">
                  <c:v>8.2919999999999998</c:v>
                </c:pt>
                <c:pt idx="643">
                  <c:v>8.2919999999999998</c:v>
                </c:pt>
                <c:pt idx="644">
                  <c:v>8.2919999999999998</c:v>
                </c:pt>
                <c:pt idx="645">
                  <c:v>8.2910000000000004</c:v>
                </c:pt>
                <c:pt idx="646">
                  <c:v>8.2880000000000003</c:v>
                </c:pt>
                <c:pt idx="647">
                  <c:v>8.2889999999999997</c:v>
                </c:pt>
                <c:pt idx="648">
                  <c:v>8.2880000000000003</c:v>
                </c:pt>
                <c:pt idx="649">
                  <c:v>8.2880000000000003</c:v>
                </c:pt>
                <c:pt idx="650">
                  <c:v>8.2880000000000003</c:v>
                </c:pt>
                <c:pt idx="651">
                  <c:v>8.2870000000000008</c:v>
                </c:pt>
                <c:pt idx="652">
                  <c:v>8.2859999999999996</c:v>
                </c:pt>
                <c:pt idx="653">
                  <c:v>8.2850000000000001</c:v>
                </c:pt>
                <c:pt idx="654">
                  <c:v>8.2870000000000008</c:v>
                </c:pt>
                <c:pt idx="655">
                  <c:v>8.2840000000000007</c:v>
                </c:pt>
                <c:pt idx="656">
                  <c:v>8.2829999999999995</c:v>
                </c:pt>
                <c:pt idx="657">
                  <c:v>8.2829999999999995</c:v>
                </c:pt>
                <c:pt idx="658">
                  <c:v>8.2829999999999995</c:v>
                </c:pt>
                <c:pt idx="659">
                  <c:v>8.2829999999999995</c:v>
                </c:pt>
                <c:pt idx="660">
                  <c:v>8.282</c:v>
                </c:pt>
                <c:pt idx="661">
                  <c:v>8.282</c:v>
                </c:pt>
                <c:pt idx="662">
                  <c:v>8.2810000000000006</c:v>
                </c:pt>
                <c:pt idx="663">
                  <c:v>8.2810000000000006</c:v>
                </c:pt>
                <c:pt idx="664">
                  <c:v>8.2799999999999994</c:v>
                </c:pt>
                <c:pt idx="665">
                  <c:v>8.2789999999999999</c:v>
                </c:pt>
                <c:pt idx="666">
                  <c:v>8.2789999999999999</c:v>
                </c:pt>
                <c:pt idx="667">
                  <c:v>8.2780000000000005</c:v>
                </c:pt>
                <c:pt idx="668">
                  <c:v>8.2759999999999998</c:v>
                </c:pt>
                <c:pt idx="669">
                  <c:v>8.2759999999999998</c:v>
                </c:pt>
                <c:pt idx="670">
                  <c:v>8.2750000000000004</c:v>
                </c:pt>
                <c:pt idx="671">
                  <c:v>8.2759999999999998</c:v>
                </c:pt>
                <c:pt idx="672">
                  <c:v>8.2750000000000004</c:v>
                </c:pt>
                <c:pt idx="673">
                  <c:v>8.2739999999999991</c:v>
                </c:pt>
                <c:pt idx="674">
                  <c:v>8.2750000000000004</c:v>
                </c:pt>
                <c:pt idx="675">
                  <c:v>8.2739999999999991</c:v>
                </c:pt>
                <c:pt idx="676">
                  <c:v>8.2729999999999997</c:v>
                </c:pt>
                <c:pt idx="677">
                  <c:v>8.2729999999999997</c:v>
                </c:pt>
                <c:pt idx="678">
                  <c:v>8.2729999999999997</c:v>
                </c:pt>
                <c:pt idx="679">
                  <c:v>8.2720000000000002</c:v>
                </c:pt>
                <c:pt idx="680">
                  <c:v>8.2720000000000002</c:v>
                </c:pt>
                <c:pt idx="681">
                  <c:v>8.27</c:v>
                </c:pt>
                <c:pt idx="682">
                  <c:v>8.27</c:v>
                </c:pt>
                <c:pt idx="683">
                  <c:v>8.27</c:v>
                </c:pt>
                <c:pt idx="684">
                  <c:v>8.2690000000000001</c:v>
                </c:pt>
                <c:pt idx="685">
                  <c:v>8.2680000000000007</c:v>
                </c:pt>
                <c:pt idx="686">
                  <c:v>8.2669999999999995</c:v>
                </c:pt>
                <c:pt idx="687">
                  <c:v>8.2669999999999995</c:v>
                </c:pt>
                <c:pt idx="688">
                  <c:v>8.2669999999999995</c:v>
                </c:pt>
                <c:pt idx="689">
                  <c:v>8.266</c:v>
                </c:pt>
                <c:pt idx="690">
                  <c:v>8.2650000000000006</c:v>
                </c:pt>
                <c:pt idx="691">
                  <c:v>8.2650000000000006</c:v>
                </c:pt>
                <c:pt idx="692">
                  <c:v>8.2629999999999999</c:v>
                </c:pt>
                <c:pt idx="693">
                  <c:v>8.2639999999999993</c:v>
                </c:pt>
                <c:pt idx="694">
                  <c:v>8.2629999999999999</c:v>
                </c:pt>
                <c:pt idx="695">
                  <c:v>8.2629999999999999</c:v>
                </c:pt>
                <c:pt idx="696">
                  <c:v>8.2620000000000005</c:v>
                </c:pt>
                <c:pt idx="697">
                  <c:v>8.2620000000000005</c:v>
                </c:pt>
                <c:pt idx="698">
                  <c:v>8.2620000000000005</c:v>
                </c:pt>
                <c:pt idx="699">
                  <c:v>8.2609999999999992</c:v>
                </c:pt>
                <c:pt idx="700">
                  <c:v>8.26</c:v>
                </c:pt>
                <c:pt idx="701">
                  <c:v>8.26</c:v>
                </c:pt>
                <c:pt idx="702">
                  <c:v>8.2590000000000003</c:v>
                </c:pt>
                <c:pt idx="703">
                  <c:v>8.2579999999999991</c:v>
                </c:pt>
                <c:pt idx="704">
                  <c:v>8.2590000000000003</c:v>
                </c:pt>
                <c:pt idx="705">
                  <c:v>8.2579999999999991</c:v>
                </c:pt>
                <c:pt idx="706">
                  <c:v>8.2569999999999997</c:v>
                </c:pt>
                <c:pt idx="707">
                  <c:v>8.2560000000000002</c:v>
                </c:pt>
                <c:pt idx="708">
                  <c:v>8.2560000000000002</c:v>
                </c:pt>
                <c:pt idx="709">
                  <c:v>8.2550000000000008</c:v>
                </c:pt>
                <c:pt idx="710">
                  <c:v>8.2539999999999996</c:v>
                </c:pt>
                <c:pt idx="711">
                  <c:v>8.2550000000000008</c:v>
                </c:pt>
                <c:pt idx="712">
                  <c:v>8.2539999999999996</c:v>
                </c:pt>
                <c:pt idx="713">
                  <c:v>8.2539999999999996</c:v>
                </c:pt>
                <c:pt idx="714">
                  <c:v>8.2530000000000001</c:v>
                </c:pt>
                <c:pt idx="715">
                  <c:v>8.2520000000000007</c:v>
                </c:pt>
                <c:pt idx="716">
                  <c:v>8.2509999999999994</c:v>
                </c:pt>
                <c:pt idx="717">
                  <c:v>8.2509999999999994</c:v>
                </c:pt>
                <c:pt idx="718">
                  <c:v>8.2490000000000006</c:v>
                </c:pt>
                <c:pt idx="719">
                  <c:v>8.25</c:v>
                </c:pt>
                <c:pt idx="720">
                  <c:v>8.2490000000000006</c:v>
                </c:pt>
                <c:pt idx="721">
                  <c:v>8.2490000000000006</c:v>
                </c:pt>
                <c:pt idx="722">
                  <c:v>8.2479999999999993</c:v>
                </c:pt>
                <c:pt idx="723">
                  <c:v>8.2479999999999993</c:v>
                </c:pt>
                <c:pt idx="724">
                  <c:v>8.2460000000000004</c:v>
                </c:pt>
                <c:pt idx="725">
                  <c:v>8.2469999999999999</c:v>
                </c:pt>
                <c:pt idx="726">
                  <c:v>8.2460000000000004</c:v>
                </c:pt>
                <c:pt idx="727">
                  <c:v>8.2469999999999999</c:v>
                </c:pt>
                <c:pt idx="728">
                  <c:v>8.2449999999999992</c:v>
                </c:pt>
                <c:pt idx="729">
                  <c:v>8.2449999999999992</c:v>
                </c:pt>
                <c:pt idx="730">
                  <c:v>8.2439999999999998</c:v>
                </c:pt>
                <c:pt idx="731">
                  <c:v>8.2430000000000003</c:v>
                </c:pt>
                <c:pt idx="732">
                  <c:v>8.2439999999999998</c:v>
                </c:pt>
                <c:pt idx="733">
                  <c:v>8.2430000000000003</c:v>
                </c:pt>
                <c:pt idx="734">
                  <c:v>8.2420000000000009</c:v>
                </c:pt>
                <c:pt idx="735">
                  <c:v>8.2420000000000009</c:v>
                </c:pt>
                <c:pt idx="736">
                  <c:v>8.2420000000000009</c:v>
                </c:pt>
                <c:pt idx="737">
                  <c:v>8.2409999999999997</c:v>
                </c:pt>
                <c:pt idx="738">
                  <c:v>8.2390000000000008</c:v>
                </c:pt>
                <c:pt idx="739">
                  <c:v>8.2390000000000008</c:v>
                </c:pt>
                <c:pt idx="740">
                  <c:v>8.2379999999999995</c:v>
                </c:pt>
                <c:pt idx="741">
                  <c:v>8.2390000000000008</c:v>
                </c:pt>
                <c:pt idx="742">
                  <c:v>8.2379999999999995</c:v>
                </c:pt>
                <c:pt idx="743">
                  <c:v>8.2370000000000001</c:v>
                </c:pt>
                <c:pt idx="744">
                  <c:v>8.2370000000000001</c:v>
                </c:pt>
                <c:pt idx="745">
                  <c:v>8.2360000000000007</c:v>
                </c:pt>
                <c:pt idx="746">
                  <c:v>8.2349999999999994</c:v>
                </c:pt>
                <c:pt idx="747">
                  <c:v>8.2349999999999994</c:v>
                </c:pt>
                <c:pt idx="748">
                  <c:v>8.2349999999999994</c:v>
                </c:pt>
                <c:pt idx="749">
                  <c:v>8.234</c:v>
                </c:pt>
                <c:pt idx="750">
                  <c:v>8.234</c:v>
                </c:pt>
                <c:pt idx="751">
                  <c:v>8.2330000000000005</c:v>
                </c:pt>
                <c:pt idx="752">
                  <c:v>8.2330000000000005</c:v>
                </c:pt>
                <c:pt idx="753">
                  <c:v>8.2309999999999999</c:v>
                </c:pt>
                <c:pt idx="754">
                  <c:v>8.2309999999999999</c:v>
                </c:pt>
                <c:pt idx="755">
                  <c:v>8.23</c:v>
                </c:pt>
                <c:pt idx="756">
                  <c:v>8.23</c:v>
                </c:pt>
                <c:pt idx="757">
                  <c:v>8.23</c:v>
                </c:pt>
                <c:pt idx="758">
                  <c:v>8.2289999999999992</c:v>
                </c:pt>
                <c:pt idx="759">
                  <c:v>8.2289999999999992</c:v>
                </c:pt>
                <c:pt idx="760">
                  <c:v>8.2279999999999998</c:v>
                </c:pt>
                <c:pt idx="761">
                  <c:v>8.2279999999999998</c:v>
                </c:pt>
                <c:pt idx="762">
                  <c:v>8.2270000000000003</c:v>
                </c:pt>
                <c:pt idx="763">
                  <c:v>8.2270000000000003</c:v>
                </c:pt>
                <c:pt idx="764">
                  <c:v>8.2260000000000009</c:v>
                </c:pt>
                <c:pt idx="765">
                  <c:v>8.2240000000000002</c:v>
                </c:pt>
                <c:pt idx="766">
                  <c:v>8.2249999999999996</c:v>
                </c:pt>
                <c:pt idx="767">
                  <c:v>8.2240000000000002</c:v>
                </c:pt>
                <c:pt idx="768">
                  <c:v>8.2260000000000009</c:v>
                </c:pt>
                <c:pt idx="769">
                  <c:v>8.2240000000000002</c:v>
                </c:pt>
                <c:pt idx="770">
                  <c:v>8.2240000000000002</c:v>
                </c:pt>
                <c:pt idx="771">
                  <c:v>8.2230000000000008</c:v>
                </c:pt>
                <c:pt idx="772">
                  <c:v>8.2230000000000008</c:v>
                </c:pt>
                <c:pt idx="773">
                  <c:v>8.2210000000000001</c:v>
                </c:pt>
                <c:pt idx="774">
                  <c:v>8.2210000000000001</c:v>
                </c:pt>
                <c:pt idx="775">
                  <c:v>8.2210000000000001</c:v>
                </c:pt>
                <c:pt idx="776">
                  <c:v>8.2200000000000006</c:v>
                </c:pt>
                <c:pt idx="777">
                  <c:v>8.2189999999999994</c:v>
                </c:pt>
                <c:pt idx="778">
                  <c:v>8.2200000000000006</c:v>
                </c:pt>
                <c:pt idx="779">
                  <c:v>8.2189999999999994</c:v>
                </c:pt>
                <c:pt idx="780">
                  <c:v>8.218</c:v>
                </c:pt>
                <c:pt idx="781">
                  <c:v>8.218</c:v>
                </c:pt>
                <c:pt idx="782">
                  <c:v>8.2170000000000005</c:v>
                </c:pt>
                <c:pt idx="783">
                  <c:v>8.2159999999999993</c:v>
                </c:pt>
                <c:pt idx="784">
                  <c:v>8.2159999999999993</c:v>
                </c:pt>
                <c:pt idx="785">
                  <c:v>8.2149999999999999</c:v>
                </c:pt>
                <c:pt idx="786">
                  <c:v>8.2149999999999999</c:v>
                </c:pt>
                <c:pt idx="787">
                  <c:v>8.2149999999999999</c:v>
                </c:pt>
                <c:pt idx="788">
                  <c:v>8.2140000000000004</c:v>
                </c:pt>
                <c:pt idx="789">
                  <c:v>8.2129999999999992</c:v>
                </c:pt>
                <c:pt idx="790">
                  <c:v>8.2140000000000004</c:v>
                </c:pt>
                <c:pt idx="791">
                  <c:v>8.2129999999999992</c:v>
                </c:pt>
                <c:pt idx="792">
                  <c:v>8.2119999999999997</c:v>
                </c:pt>
                <c:pt idx="793">
                  <c:v>8.2110000000000003</c:v>
                </c:pt>
                <c:pt idx="794">
                  <c:v>8.2110000000000003</c:v>
                </c:pt>
                <c:pt idx="795">
                  <c:v>8.2100000000000009</c:v>
                </c:pt>
                <c:pt idx="796">
                  <c:v>8.2089999999999996</c:v>
                </c:pt>
                <c:pt idx="797">
                  <c:v>8.2100000000000009</c:v>
                </c:pt>
                <c:pt idx="798">
                  <c:v>8.2089999999999996</c:v>
                </c:pt>
                <c:pt idx="799">
                  <c:v>8.2080000000000002</c:v>
                </c:pt>
                <c:pt idx="800">
                  <c:v>8.2080000000000002</c:v>
                </c:pt>
                <c:pt idx="801">
                  <c:v>8.2080000000000002</c:v>
                </c:pt>
                <c:pt idx="802">
                  <c:v>8.2080000000000002</c:v>
                </c:pt>
                <c:pt idx="803">
                  <c:v>8.2070000000000007</c:v>
                </c:pt>
                <c:pt idx="804">
                  <c:v>8.2050000000000001</c:v>
                </c:pt>
                <c:pt idx="805">
                  <c:v>8.2050000000000001</c:v>
                </c:pt>
                <c:pt idx="806">
                  <c:v>8.2050000000000001</c:v>
                </c:pt>
                <c:pt idx="807">
                  <c:v>8.2040000000000006</c:v>
                </c:pt>
                <c:pt idx="808">
                  <c:v>8.2040000000000006</c:v>
                </c:pt>
                <c:pt idx="809">
                  <c:v>8.2029999999999994</c:v>
                </c:pt>
                <c:pt idx="810">
                  <c:v>8.2029999999999994</c:v>
                </c:pt>
                <c:pt idx="811">
                  <c:v>8.2040000000000006</c:v>
                </c:pt>
                <c:pt idx="812">
                  <c:v>8.202</c:v>
                </c:pt>
                <c:pt idx="813">
                  <c:v>8.2010000000000005</c:v>
                </c:pt>
                <c:pt idx="814">
                  <c:v>8.2010000000000005</c:v>
                </c:pt>
                <c:pt idx="815">
                  <c:v>8.1999999999999993</c:v>
                </c:pt>
                <c:pt idx="816">
                  <c:v>8.1999999999999993</c:v>
                </c:pt>
                <c:pt idx="817">
                  <c:v>8.1989999999999998</c:v>
                </c:pt>
                <c:pt idx="818">
                  <c:v>8.1980000000000004</c:v>
                </c:pt>
                <c:pt idx="819">
                  <c:v>8.1989999999999998</c:v>
                </c:pt>
                <c:pt idx="820">
                  <c:v>8.1980000000000004</c:v>
                </c:pt>
                <c:pt idx="821">
                  <c:v>8.1969999999999992</c:v>
                </c:pt>
                <c:pt idx="822">
                  <c:v>8.1969999999999992</c:v>
                </c:pt>
                <c:pt idx="823">
                  <c:v>8.1959999999999997</c:v>
                </c:pt>
                <c:pt idx="824">
                  <c:v>8.1959999999999997</c:v>
                </c:pt>
                <c:pt idx="825">
                  <c:v>8.1959999999999997</c:v>
                </c:pt>
                <c:pt idx="826">
                  <c:v>8.1950000000000003</c:v>
                </c:pt>
                <c:pt idx="827">
                  <c:v>8.1940000000000008</c:v>
                </c:pt>
                <c:pt idx="828">
                  <c:v>8.1950000000000003</c:v>
                </c:pt>
                <c:pt idx="829">
                  <c:v>8.1929999999999996</c:v>
                </c:pt>
                <c:pt idx="830">
                  <c:v>8.1929999999999996</c:v>
                </c:pt>
                <c:pt idx="831">
                  <c:v>8.1929999999999996</c:v>
                </c:pt>
                <c:pt idx="832">
                  <c:v>8.1920000000000002</c:v>
                </c:pt>
                <c:pt idx="833">
                  <c:v>8.1910000000000007</c:v>
                </c:pt>
                <c:pt idx="834">
                  <c:v>8.1910000000000007</c:v>
                </c:pt>
                <c:pt idx="835">
                  <c:v>8.1910000000000007</c:v>
                </c:pt>
                <c:pt idx="836">
                  <c:v>8.19</c:v>
                </c:pt>
                <c:pt idx="837">
                  <c:v>8.19</c:v>
                </c:pt>
                <c:pt idx="838">
                  <c:v>8.19</c:v>
                </c:pt>
                <c:pt idx="839">
                  <c:v>8.1890000000000001</c:v>
                </c:pt>
                <c:pt idx="840">
                  <c:v>8.1880000000000006</c:v>
                </c:pt>
                <c:pt idx="841">
                  <c:v>8.1880000000000006</c:v>
                </c:pt>
                <c:pt idx="842">
                  <c:v>8.1869999999999994</c:v>
                </c:pt>
                <c:pt idx="843">
                  <c:v>8.1869999999999994</c:v>
                </c:pt>
                <c:pt idx="844">
                  <c:v>8.1859999999999999</c:v>
                </c:pt>
                <c:pt idx="845">
                  <c:v>8.1859999999999999</c:v>
                </c:pt>
                <c:pt idx="846">
                  <c:v>8.1859999999999999</c:v>
                </c:pt>
                <c:pt idx="847">
                  <c:v>8.1850000000000005</c:v>
                </c:pt>
                <c:pt idx="848">
                  <c:v>8.1850000000000005</c:v>
                </c:pt>
                <c:pt idx="849">
                  <c:v>8.1839999999999993</c:v>
                </c:pt>
                <c:pt idx="850">
                  <c:v>8.1829999999999998</c:v>
                </c:pt>
                <c:pt idx="851">
                  <c:v>8.1839999999999993</c:v>
                </c:pt>
                <c:pt idx="852">
                  <c:v>8.1839999999999993</c:v>
                </c:pt>
                <c:pt idx="853">
                  <c:v>8.1820000000000004</c:v>
                </c:pt>
                <c:pt idx="854">
                  <c:v>8.1820000000000004</c:v>
                </c:pt>
                <c:pt idx="855">
                  <c:v>8.1809999999999992</c:v>
                </c:pt>
                <c:pt idx="856">
                  <c:v>8.18</c:v>
                </c:pt>
                <c:pt idx="857">
                  <c:v>8.18</c:v>
                </c:pt>
                <c:pt idx="858">
                  <c:v>8.18</c:v>
                </c:pt>
                <c:pt idx="859">
                  <c:v>8.18</c:v>
                </c:pt>
                <c:pt idx="860">
                  <c:v>8.1790000000000003</c:v>
                </c:pt>
                <c:pt idx="861">
                  <c:v>8.1780000000000008</c:v>
                </c:pt>
                <c:pt idx="862">
                  <c:v>8.1780000000000008</c:v>
                </c:pt>
                <c:pt idx="863">
                  <c:v>8.1769999999999996</c:v>
                </c:pt>
                <c:pt idx="864">
                  <c:v>8.1769999999999996</c:v>
                </c:pt>
                <c:pt idx="865">
                  <c:v>8.1769999999999996</c:v>
                </c:pt>
                <c:pt idx="866">
                  <c:v>8.1760000000000002</c:v>
                </c:pt>
                <c:pt idx="867">
                  <c:v>8.1750000000000007</c:v>
                </c:pt>
                <c:pt idx="868">
                  <c:v>8.1750000000000007</c:v>
                </c:pt>
                <c:pt idx="869">
                  <c:v>8.1750000000000007</c:v>
                </c:pt>
                <c:pt idx="870">
                  <c:v>8.1739999999999995</c:v>
                </c:pt>
                <c:pt idx="871">
                  <c:v>8.1739999999999995</c:v>
                </c:pt>
                <c:pt idx="872">
                  <c:v>8.1720000000000006</c:v>
                </c:pt>
                <c:pt idx="873">
                  <c:v>8.1720000000000006</c:v>
                </c:pt>
                <c:pt idx="874">
                  <c:v>8.173</c:v>
                </c:pt>
                <c:pt idx="875">
                  <c:v>8.1720000000000006</c:v>
                </c:pt>
                <c:pt idx="876">
                  <c:v>8.1720000000000006</c:v>
                </c:pt>
                <c:pt idx="877">
                  <c:v>8.1709999999999994</c:v>
                </c:pt>
                <c:pt idx="878">
                  <c:v>8.1709999999999994</c:v>
                </c:pt>
                <c:pt idx="879">
                  <c:v>8.17</c:v>
                </c:pt>
                <c:pt idx="880">
                  <c:v>8.17</c:v>
                </c:pt>
                <c:pt idx="881">
                  <c:v>8.1690000000000005</c:v>
                </c:pt>
                <c:pt idx="882">
                  <c:v>8.1690000000000005</c:v>
                </c:pt>
                <c:pt idx="883">
                  <c:v>8.1679999999999993</c:v>
                </c:pt>
                <c:pt idx="884">
                  <c:v>8.1679999999999993</c:v>
                </c:pt>
                <c:pt idx="885">
                  <c:v>8.1679999999999993</c:v>
                </c:pt>
                <c:pt idx="886">
                  <c:v>8.1660000000000004</c:v>
                </c:pt>
                <c:pt idx="887">
                  <c:v>8.1660000000000004</c:v>
                </c:pt>
                <c:pt idx="888">
                  <c:v>8.1660000000000004</c:v>
                </c:pt>
                <c:pt idx="889">
                  <c:v>8.1649999999999991</c:v>
                </c:pt>
                <c:pt idx="890">
                  <c:v>8.1660000000000004</c:v>
                </c:pt>
                <c:pt idx="891">
                  <c:v>8.1649999999999991</c:v>
                </c:pt>
                <c:pt idx="892">
                  <c:v>8.1639999999999997</c:v>
                </c:pt>
                <c:pt idx="893">
                  <c:v>8.1630000000000003</c:v>
                </c:pt>
                <c:pt idx="894">
                  <c:v>8.1639999999999997</c:v>
                </c:pt>
                <c:pt idx="895">
                  <c:v>8.1620000000000008</c:v>
                </c:pt>
                <c:pt idx="896">
                  <c:v>8.1620000000000008</c:v>
                </c:pt>
                <c:pt idx="897">
                  <c:v>8.1620000000000008</c:v>
                </c:pt>
                <c:pt idx="898">
                  <c:v>8.1620000000000008</c:v>
                </c:pt>
                <c:pt idx="899">
                  <c:v>8.1609999999999996</c:v>
                </c:pt>
                <c:pt idx="900">
                  <c:v>8.16</c:v>
                </c:pt>
                <c:pt idx="901">
                  <c:v>8.1590000000000007</c:v>
                </c:pt>
                <c:pt idx="902">
                  <c:v>8.1590000000000007</c:v>
                </c:pt>
                <c:pt idx="903">
                  <c:v>8.1590000000000007</c:v>
                </c:pt>
                <c:pt idx="904">
                  <c:v>8.1579999999999995</c:v>
                </c:pt>
                <c:pt idx="905">
                  <c:v>8.1579999999999995</c:v>
                </c:pt>
                <c:pt idx="906">
                  <c:v>8.1579999999999995</c:v>
                </c:pt>
                <c:pt idx="907">
                  <c:v>8.157</c:v>
                </c:pt>
                <c:pt idx="908">
                  <c:v>8.1560000000000006</c:v>
                </c:pt>
                <c:pt idx="909">
                  <c:v>8.1560000000000006</c:v>
                </c:pt>
                <c:pt idx="910">
                  <c:v>8.1560000000000006</c:v>
                </c:pt>
                <c:pt idx="911">
                  <c:v>8.1549999999999994</c:v>
                </c:pt>
                <c:pt idx="912">
                  <c:v>8.1539999999999999</c:v>
                </c:pt>
                <c:pt idx="913">
                  <c:v>8.1549999999999994</c:v>
                </c:pt>
                <c:pt idx="914">
                  <c:v>8.1539999999999999</c:v>
                </c:pt>
                <c:pt idx="915">
                  <c:v>8.1530000000000005</c:v>
                </c:pt>
                <c:pt idx="916">
                  <c:v>8.1530000000000005</c:v>
                </c:pt>
                <c:pt idx="917">
                  <c:v>8.1519999999999992</c:v>
                </c:pt>
                <c:pt idx="918">
                  <c:v>8.1519999999999992</c:v>
                </c:pt>
                <c:pt idx="919">
                  <c:v>8.1519999999999992</c:v>
                </c:pt>
                <c:pt idx="920">
                  <c:v>8.1509999999999998</c:v>
                </c:pt>
                <c:pt idx="921">
                  <c:v>8.15</c:v>
                </c:pt>
                <c:pt idx="922">
                  <c:v>8.15</c:v>
                </c:pt>
                <c:pt idx="923">
                  <c:v>8.15</c:v>
                </c:pt>
                <c:pt idx="924">
                  <c:v>8.1479999999999997</c:v>
                </c:pt>
                <c:pt idx="925">
                  <c:v>8.1489999999999991</c:v>
                </c:pt>
                <c:pt idx="926">
                  <c:v>8.1479999999999997</c:v>
                </c:pt>
                <c:pt idx="927">
                  <c:v>8.1479999999999997</c:v>
                </c:pt>
                <c:pt idx="928">
                  <c:v>8.1479999999999997</c:v>
                </c:pt>
                <c:pt idx="929">
                  <c:v>8.1460000000000008</c:v>
                </c:pt>
                <c:pt idx="930">
                  <c:v>8.1470000000000002</c:v>
                </c:pt>
                <c:pt idx="931">
                  <c:v>8.1460000000000008</c:v>
                </c:pt>
                <c:pt idx="932">
                  <c:v>8.1449999999999996</c:v>
                </c:pt>
                <c:pt idx="933">
                  <c:v>8.1449999999999996</c:v>
                </c:pt>
                <c:pt idx="934">
                  <c:v>8.1440000000000001</c:v>
                </c:pt>
                <c:pt idx="935">
                  <c:v>8.1440000000000001</c:v>
                </c:pt>
                <c:pt idx="936">
                  <c:v>8.1440000000000001</c:v>
                </c:pt>
                <c:pt idx="937">
                  <c:v>8.1430000000000007</c:v>
                </c:pt>
                <c:pt idx="938">
                  <c:v>8.1430000000000007</c:v>
                </c:pt>
                <c:pt idx="939">
                  <c:v>8.1430000000000007</c:v>
                </c:pt>
                <c:pt idx="940">
                  <c:v>8.1419999999999995</c:v>
                </c:pt>
                <c:pt idx="941">
                  <c:v>8.141</c:v>
                </c:pt>
                <c:pt idx="942">
                  <c:v>8.141</c:v>
                </c:pt>
                <c:pt idx="943">
                  <c:v>8.141</c:v>
                </c:pt>
                <c:pt idx="944">
                  <c:v>8.14</c:v>
                </c:pt>
                <c:pt idx="945">
                  <c:v>8.14</c:v>
                </c:pt>
                <c:pt idx="946">
                  <c:v>8.1389999999999993</c:v>
                </c:pt>
                <c:pt idx="947">
                  <c:v>8.1389999999999993</c:v>
                </c:pt>
                <c:pt idx="948">
                  <c:v>8.1379999999999999</c:v>
                </c:pt>
                <c:pt idx="949">
                  <c:v>8.1379999999999999</c:v>
                </c:pt>
                <c:pt idx="950">
                  <c:v>8.1379999999999999</c:v>
                </c:pt>
                <c:pt idx="951">
                  <c:v>8.1370000000000005</c:v>
                </c:pt>
                <c:pt idx="952">
                  <c:v>8.1359999999999992</c:v>
                </c:pt>
                <c:pt idx="953">
                  <c:v>8.1370000000000005</c:v>
                </c:pt>
                <c:pt idx="954">
                  <c:v>8.1359999999999992</c:v>
                </c:pt>
                <c:pt idx="955">
                  <c:v>8.1349999999999998</c:v>
                </c:pt>
                <c:pt idx="956">
                  <c:v>8.1349999999999998</c:v>
                </c:pt>
                <c:pt idx="957">
                  <c:v>8.1340000000000003</c:v>
                </c:pt>
                <c:pt idx="958">
                  <c:v>8.1340000000000003</c:v>
                </c:pt>
                <c:pt idx="959">
                  <c:v>8.1340000000000003</c:v>
                </c:pt>
                <c:pt idx="960">
                  <c:v>8.1329999999999991</c:v>
                </c:pt>
                <c:pt idx="961">
                  <c:v>8.1319999999999997</c:v>
                </c:pt>
                <c:pt idx="962">
                  <c:v>8.1329999999999991</c:v>
                </c:pt>
                <c:pt idx="963">
                  <c:v>8.1310000000000002</c:v>
                </c:pt>
                <c:pt idx="964">
                  <c:v>8.1310000000000002</c:v>
                </c:pt>
                <c:pt idx="965">
                  <c:v>8.1310000000000002</c:v>
                </c:pt>
                <c:pt idx="966">
                  <c:v>8.1310000000000002</c:v>
                </c:pt>
                <c:pt idx="967">
                  <c:v>8.1300000000000008</c:v>
                </c:pt>
                <c:pt idx="968">
                  <c:v>8.1300000000000008</c:v>
                </c:pt>
                <c:pt idx="969">
                  <c:v>8.1289999999999996</c:v>
                </c:pt>
                <c:pt idx="970">
                  <c:v>8.1289999999999996</c:v>
                </c:pt>
                <c:pt idx="971">
                  <c:v>8.1280000000000001</c:v>
                </c:pt>
                <c:pt idx="972">
                  <c:v>8.1270000000000007</c:v>
                </c:pt>
                <c:pt idx="973">
                  <c:v>8.1280000000000001</c:v>
                </c:pt>
                <c:pt idx="974">
                  <c:v>8.1270000000000007</c:v>
                </c:pt>
                <c:pt idx="975">
                  <c:v>8.1259999999999994</c:v>
                </c:pt>
                <c:pt idx="976">
                  <c:v>8.1259999999999994</c:v>
                </c:pt>
                <c:pt idx="977">
                  <c:v>8.125</c:v>
                </c:pt>
                <c:pt idx="978">
                  <c:v>8.125</c:v>
                </c:pt>
                <c:pt idx="979">
                  <c:v>8.125</c:v>
                </c:pt>
                <c:pt idx="980">
                  <c:v>8.125</c:v>
                </c:pt>
                <c:pt idx="981">
                  <c:v>8.1240000000000006</c:v>
                </c:pt>
                <c:pt idx="982">
                  <c:v>8.1229999999999993</c:v>
                </c:pt>
                <c:pt idx="983">
                  <c:v>8.1229999999999993</c:v>
                </c:pt>
                <c:pt idx="984">
                  <c:v>8.1219999999999999</c:v>
                </c:pt>
                <c:pt idx="985">
                  <c:v>8.1219999999999999</c:v>
                </c:pt>
                <c:pt idx="986">
                  <c:v>8.1219999999999999</c:v>
                </c:pt>
                <c:pt idx="987">
                  <c:v>8.1210000000000004</c:v>
                </c:pt>
                <c:pt idx="988">
                  <c:v>8.1210000000000004</c:v>
                </c:pt>
                <c:pt idx="989">
                  <c:v>8.1210000000000004</c:v>
                </c:pt>
                <c:pt idx="990">
                  <c:v>8.1199999999999992</c:v>
                </c:pt>
                <c:pt idx="991">
                  <c:v>8.1199999999999992</c:v>
                </c:pt>
                <c:pt idx="992">
                  <c:v>8.1189999999999998</c:v>
                </c:pt>
                <c:pt idx="993">
                  <c:v>8.1199999999999992</c:v>
                </c:pt>
                <c:pt idx="994">
                  <c:v>8.1189999999999998</c:v>
                </c:pt>
                <c:pt idx="995">
                  <c:v>8.1180000000000003</c:v>
                </c:pt>
                <c:pt idx="996">
                  <c:v>8.1180000000000003</c:v>
                </c:pt>
                <c:pt idx="997">
                  <c:v>8.1170000000000009</c:v>
                </c:pt>
                <c:pt idx="998">
                  <c:v>8.1159999999999997</c:v>
                </c:pt>
                <c:pt idx="999">
                  <c:v>8.1170000000000009</c:v>
                </c:pt>
                <c:pt idx="1000">
                  <c:v>8.1170000000000009</c:v>
                </c:pt>
                <c:pt idx="1001">
                  <c:v>8.1150000000000002</c:v>
                </c:pt>
                <c:pt idx="1002">
                  <c:v>8.1150000000000002</c:v>
                </c:pt>
                <c:pt idx="1003">
                  <c:v>8.1140000000000008</c:v>
                </c:pt>
                <c:pt idx="1004">
                  <c:v>8.1140000000000008</c:v>
                </c:pt>
                <c:pt idx="1005">
                  <c:v>8.1140000000000008</c:v>
                </c:pt>
                <c:pt idx="1006">
                  <c:v>8.1129999999999995</c:v>
                </c:pt>
                <c:pt idx="1007">
                  <c:v>8.1129999999999995</c:v>
                </c:pt>
                <c:pt idx="1008">
                  <c:v>8.1120000000000001</c:v>
                </c:pt>
                <c:pt idx="1009">
                  <c:v>8.1120000000000001</c:v>
                </c:pt>
                <c:pt idx="1010">
                  <c:v>8.1120000000000001</c:v>
                </c:pt>
                <c:pt idx="1011">
                  <c:v>8.1110000000000007</c:v>
                </c:pt>
                <c:pt idx="1012">
                  <c:v>8.11</c:v>
                </c:pt>
                <c:pt idx="1013">
                  <c:v>8.11</c:v>
                </c:pt>
                <c:pt idx="1014">
                  <c:v>8.11</c:v>
                </c:pt>
                <c:pt idx="1015">
                  <c:v>8.109</c:v>
                </c:pt>
                <c:pt idx="1016">
                  <c:v>8.109</c:v>
                </c:pt>
                <c:pt idx="1017">
                  <c:v>8.1080000000000005</c:v>
                </c:pt>
                <c:pt idx="1018">
                  <c:v>8.1080000000000005</c:v>
                </c:pt>
                <c:pt idx="1019">
                  <c:v>8.1080000000000005</c:v>
                </c:pt>
                <c:pt idx="1020">
                  <c:v>8.1069999999999993</c:v>
                </c:pt>
                <c:pt idx="1021">
                  <c:v>8.1059999999999999</c:v>
                </c:pt>
                <c:pt idx="1022">
                  <c:v>8.1059999999999999</c:v>
                </c:pt>
                <c:pt idx="1023">
                  <c:v>8.1059999999999999</c:v>
                </c:pt>
                <c:pt idx="1024">
                  <c:v>8.1059999999999999</c:v>
                </c:pt>
                <c:pt idx="1025">
                  <c:v>8.1050000000000004</c:v>
                </c:pt>
                <c:pt idx="1026">
                  <c:v>8.1050000000000004</c:v>
                </c:pt>
                <c:pt idx="1027">
                  <c:v>8.1039999999999992</c:v>
                </c:pt>
                <c:pt idx="1028">
                  <c:v>8.1029999999999998</c:v>
                </c:pt>
                <c:pt idx="1029">
                  <c:v>8.1039999999999992</c:v>
                </c:pt>
                <c:pt idx="1030">
                  <c:v>8.1020000000000003</c:v>
                </c:pt>
                <c:pt idx="1031">
                  <c:v>8.1020000000000003</c:v>
                </c:pt>
                <c:pt idx="1032">
                  <c:v>8.1020000000000003</c:v>
                </c:pt>
                <c:pt idx="1033">
                  <c:v>8.1020000000000003</c:v>
                </c:pt>
                <c:pt idx="1034">
                  <c:v>8.1010000000000009</c:v>
                </c:pt>
                <c:pt idx="1035">
                  <c:v>8.1</c:v>
                </c:pt>
                <c:pt idx="1036">
                  <c:v>8.1</c:v>
                </c:pt>
                <c:pt idx="1037">
                  <c:v>8.1</c:v>
                </c:pt>
                <c:pt idx="1038">
                  <c:v>8.1</c:v>
                </c:pt>
                <c:pt idx="1039">
                  <c:v>8.0990000000000002</c:v>
                </c:pt>
                <c:pt idx="1040">
                  <c:v>8.0980000000000008</c:v>
                </c:pt>
                <c:pt idx="1041">
                  <c:v>8.0969999999999995</c:v>
                </c:pt>
                <c:pt idx="1042">
                  <c:v>8.0980000000000008</c:v>
                </c:pt>
                <c:pt idx="1043">
                  <c:v>8.0969999999999995</c:v>
                </c:pt>
                <c:pt idx="1044">
                  <c:v>8.0969999999999995</c:v>
                </c:pt>
                <c:pt idx="1045">
                  <c:v>8.0960000000000001</c:v>
                </c:pt>
                <c:pt idx="1046">
                  <c:v>8.0960000000000001</c:v>
                </c:pt>
                <c:pt idx="1047">
                  <c:v>8.0960000000000001</c:v>
                </c:pt>
                <c:pt idx="1048">
                  <c:v>8.0950000000000006</c:v>
                </c:pt>
                <c:pt idx="1049">
                  <c:v>8.0939999999999994</c:v>
                </c:pt>
                <c:pt idx="1050">
                  <c:v>8.0939999999999994</c:v>
                </c:pt>
                <c:pt idx="1051">
                  <c:v>8.0939999999999994</c:v>
                </c:pt>
                <c:pt idx="1052">
                  <c:v>8.0939999999999994</c:v>
                </c:pt>
                <c:pt idx="1053">
                  <c:v>8.093</c:v>
                </c:pt>
                <c:pt idx="1054">
                  <c:v>8.0920000000000005</c:v>
                </c:pt>
                <c:pt idx="1055">
                  <c:v>8.0909999999999993</c:v>
                </c:pt>
                <c:pt idx="1056">
                  <c:v>8.0920000000000005</c:v>
                </c:pt>
                <c:pt idx="1057">
                  <c:v>8.0909999999999993</c:v>
                </c:pt>
                <c:pt idx="1058">
                  <c:v>8.0909999999999993</c:v>
                </c:pt>
                <c:pt idx="1059">
                  <c:v>8.09</c:v>
                </c:pt>
                <c:pt idx="1060">
                  <c:v>8.09</c:v>
                </c:pt>
                <c:pt idx="1061">
                  <c:v>8.0890000000000004</c:v>
                </c:pt>
                <c:pt idx="1062">
                  <c:v>8.0890000000000004</c:v>
                </c:pt>
                <c:pt idx="1063">
                  <c:v>8.0890000000000004</c:v>
                </c:pt>
                <c:pt idx="1064">
                  <c:v>8.0879999999999992</c:v>
                </c:pt>
                <c:pt idx="1065">
                  <c:v>8.0879999999999992</c:v>
                </c:pt>
                <c:pt idx="1066">
                  <c:v>8.0869999999999997</c:v>
                </c:pt>
                <c:pt idx="1067">
                  <c:v>8.0869999999999997</c:v>
                </c:pt>
                <c:pt idx="1068">
                  <c:v>8.0860000000000003</c:v>
                </c:pt>
                <c:pt idx="1069">
                  <c:v>8.0860000000000003</c:v>
                </c:pt>
                <c:pt idx="1070">
                  <c:v>8.0860000000000003</c:v>
                </c:pt>
                <c:pt idx="1071">
                  <c:v>8.0860000000000003</c:v>
                </c:pt>
                <c:pt idx="1072">
                  <c:v>8.0850000000000009</c:v>
                </c:pt>
                <c:pt idx="1073">
                  <c:v>8.0850000000000009</c:v>
                </c:pt>
                <c:pt idx="1074">
                  <c:v>8.0839999999999996</c:v>
                </c:pt>
                <c:pt idx="1075">
                  <c:v>8.0839999999999996</c:v>
                </c:pt>
                <c:pt idx="1076">
                  <c:v>8.0839999999999996</c:v>
                </c:pt>
                <c:pt idx="1077">
                  <c:v>8.0830000000000002</c:v>
                </c:pt>
                <c:pt idx="1078">
                  <c:v>8.0820000000000007</c:v>
                </c:pt>
                <c:pt idx="1079">
                  <c:v>8.0820000000000007</c:v>
                </c:pt>
                <c:pt idx="1080">
                  <c:v>8.0820000000000007</c:v>
                </c:pt>
                <c:pt idx="1081">
                  <c:v>8.0820000000000007</c:v>
                </c:pt>
                <c:pt idx="1082">
                  <c:v>8.08</c:v>
                </c:pt>
                <c:pt idx="1083">
                  <c:v>8.08</c:v>
                </c:pt>
                <c:pt idx="1084">
                  <c:v>8.0809999999999995</c:v>
                </c:pt>
                <c:pt idx="1085">
                  <c:v>8.08</c:v>
                </c:pt>
                <c:pt idx="1086">
                  <c:v>8.0790000000000006</c:v>
                </c:pt>
                <c:pt idx="1087">
                  <c:v>8.0790000000000006</c:v>
                </c:pt>
                <c:pt idx="1088">
                  <c:v>8.0779999999999994</c:v>
                </c:pt>
                <c:pt idx="1089">
                  <c:v>8.0779999999999994</c:v>
                </c:pt>
                <c:pt idx="1090">
                  <c:v>8.077</c:v>
                </c:pt>
                <c:pt idx="1091">
                  <c:v>8.0779999999999994</c:v>
                </c:pt>
                <c:pt idx="1092">
                  <c:v>8.077</c:v>
                </c:pt>
                <c:pt idx="1093">
                  <c:v>8.077</c:v>
                </c:pt>
                <c:pt idx="1094">
                  <c:v>8.0760000000000005</c:v>
                </c:pt>
                <c:pt idx="1095">
                  <c:v>8.0760000000000005</c:v>
                </c:pt>
                <c:pt idx="1096">
                  <c:v>8.0760000000000005</c:v>
                </c:pt>
                <c:pt idx="1097">
                  <c:v>8.0749999999999993</c:v>
                </c:pt>
                <c:pt idx="1098">
                  <c:v>8.0749999999999993</c:v>
                </c:pt>
                <c:pt idx="1099">
                  <c:v>8.0730000000000004</c:v>
                </c:pt>
                <c:pt idx="1100">
                  <c:v>8.0739999999999998</c:v>
                </c:pt>
                <c:pt idx="1101">
                  <c:v>8.0739999999999998</c:v>
                </c:pt>
                <c:pt idx="1102">
                  <c:v>8.0730000000000004</c:v>
                </c:pt>
                <c:pt idx="1103">
                  <c:v>8.0719999999999992</c:v>
                </c:pt>
                <c:pt idx="1104">
                  <c:v>8.0719999999999992</c:v>
                </c:pt>
                <c:pt idx="1105">
                  <c:v>8.0719999999999992</c:v>
                </c:pt>
                <c:pt idx="1106">
                  <c:v>8.0709999999999997</c:v>
                </c:pt>
                <c:pt idx="1107">
                  <c:v>8.0709999999999997</c:v>
                </c:pt>
                <c:pt idx="1108">
                  <c:v>8.0709999999999997</c:v>
                </c:pt>
                <c:pt idx="1109">
                  <c:v>8.07</c:v>
                </c:pt>
                <c:pt idx="1110">
                  <c:v>8.0690000000000008</c:v>
                </c:pt>
                <c:pt idx="1111">
                  <c:v>8.07</c:v>
                </c:pt>
                <c:pt idx="1112">
                  <c:v>8.0690000000000008</c:v>
                </c:pt>
                <c:pt idx="1113">
                  <c:v>8.0690000000000008</c:v>
                </c:pt>
                <c:pt idx="1114">
                  <c:v>8.0679999999999996</c:v>
                </c:pt>
                <c:pt idx="1115">
                  <c:v>8.0679999999999996</c:v>
                </c:pt>
                <c:pt idx="1116">
                  <c:v>8.0679999999999996</c:v>
                </c:pt>
                <c:pt idx="1117">
                  <c:v>8.0690000000000008</c:v>
                </c:pt>
                <c:pt idx="1118">
                  <c:v>8.0670000000000002</c:v>
                </c:pt>
                <c:pt idx="1119">
                  <c:v>8.0670000000000002</c:v>
                </c:pt>
                <c:pt idx="1120">
                  <c:v>8.0660000000000007</c:v>
                </c:pt>
                <c:pt idx="1121">
                  <c:v>8.0660000000000007</c:v>
                </c:pt>
                <c:pt idx="1122">
                  <c:v>8.0660000000000007</c:v>
                </c:pt>
                <c:pt idx="1123">
                  <c:v>8.0649999999999995</c:v>
                </c:pt>
                <c:pt idx="1124">
                  <c:v>8.0640000000000001</c:v>
                </c:pt>
                <c:pt idx="1125">
                  <c:v>8.0649999999999995</c:v>
                </c:pt>
                <c:pt idx="1126">
                  <c:v>8.0640000000000001</c:v>
                </c:pt>
                <c:pt idx="1127">
                  <c:v>8.0630000000000006</c:v>
                </c:pt>
                <c:pt idx="1128">
                  <c:v>8.0630000000000006</c:v>
                </c:pt>
                <c:pt idx="1129">
                  <c:v>8.0630000000000006</c:v>
                </c:pt>
                <c:pt idx="1130">
                  <c:v>8.0619999999999994</c:v>
                </c:pt>
                <c:pt idx="1131">
                  <c:v>8.0619999999999994</c:v>
                </c:pt>
                <c:pt idx="1132">
                  <c:v>8.0619999999999994</c:v>
                </c:pt>
                <c:pt idx="1133">
                  <c:v>8.0609999999999999</c:v>
                </c:pt>
                <c:pt idx="1134">
                  <c:v>8.0609999999999999</c:v>
                </c:pt>
                <c:pt idx="1135">
                  <c:v>8.06</c:v>
                </c:pt>
                <c:pt idx="1136">
                  <c:v>8.06</c:v>
                </c:pt>
                <c:pt idx="1137">
                  <c:v>8.0589999999999993</c:v>
                </c:pt>
                <c:pt idx="1138">
                  <c:v>8.0589999999999993</c:v>
                </c:pt>
                <c:pt idx="1139">
                  <c:v>8.0589999999999993</c:v>
                </c:pt>
                <c:pt idx="1140">
                  <c:v>8.0579999999999998</c:v>
                </c:pt>
                <c:pt idx="1141">
                  <c:v>8.0579999999999998</c:v>
                </c:pt>
                <c:pt idx="1142">
                  <c:v>8.0570000000000004</c:v>
                </c:pt>
                <c:pt idx="1143">
                  <c:v>8.0570000000000004</c:v>
                </c:pt>
                <c:pt idx="1144">
                  <c:v>8.0559999999999992</c:v>
                </c:pt>
                <c:pt idx="1145">
                  <c:v>8.0559999999999992</c:v>
                </c:pt>
                <c:pt idx="1146">
                  <c:v>8.0559999999999992</c:v>
                </c:pt>
                <c:pt idx="1147">
                  <c:v>8.0559999999999992</c:v>
                </c:pt>
                <c:pt idx="1148">
                  <c:v>8.0549999999999997</c:v>
                </c:pt>
                <c:pt idx="1149">
                  <c:v>8.0549999999999997</c:v>
                </c:pt>
                <c:pt idx="1150">
                  <c:v>8.0549999999999997</c:v>
                </c:pt>
                <c:pt idx="1151">
                  <c:v>8.0540000000000003</c:v>
                </c:pt>
                <c:pt idx="1152">
                  <c:v>8.0540000000000003</c:v>
                </c:pt>
                <c:pt idx="1153">
                  <c:v>8.0530000000000008</c:v>
                </c:pt>
                <c:pt idx="1154">
                  <c:v>8.0530000000000008</c:v>
                </c:pt>
                <c:pt idx="1155">
                  <c:v>8.0530000000000008</c:v>
                </c:pt>
                <c:pt idx="1156">
                  <c:v>8.0530000000000008</c:v>
                </c:pt>
                <c:pt idx="1157">
                  <c:v>8.0519999999999996</c:v>
                </c:pt>
                <c:pt idx="1158">
                  <c:v>8.0510000000000002</c:v>
                </c:pt>
                <c:pt idx="1159">
                  <c:v>8.0510000000000002</c:v>
                </c:pt>
                <c:pt idx="1160">
                  <c:v>8.0500000000000007</c:v>
                </c:pt>
                <c:pt idx="1161">
                  <c:v>8.0510000000000002</c:v>
                </c:pt>
                <c:pt idx="1162">
                  <c:v>8.0500000000000007</c:v>
                </c:pt>
                <c:pt idx="1163">
                  <c:v>8.0489999999999995</c:v>
                </c:pt>
                <c:pt idx="1164">
                  <c:v>8.0489999999999995</c:v>
                </c:pt>
                <c:pt idx="1165">
                  <c:v>8.0489999999999995</c:v>
                </c:pt>
                <c:pt idx="1166">
                  <c:v>8.0489999999999995</c:v>
                </c:pt>
                <c:pt idx="1167">
                  <c:v>8.048</c:v>
                </c:pt>
                <c:pt idx="1168">
                  <c:v>8.0470000000000006</c:v>
                </c:pt>
                <c:pt idx="1169">
                  <c:v>8.0470000000000006</c:v>
                </c:pt>
                <c:pt idx="1170">
                  <c:v>8.0470000000000006</c:v>
                </c:pt>
                <c:pt idx="1171">
                  <c:v>8.0470000000000006</c:v>
                </c:pt>
                <c:pt idx="1172">
                  <c:v>8.0459999999999994</c:v>
                </c:pt>
                <c:pt idx="1173">
                  <c:v>8.0459999999999994</c:v>
                </c:pt>
                <c:pt idx="1174">
                  <c:v>8.0459999999999994</c:v>
                </c:pt>
                <c:pt idx="1175">
                  <c:v>8.0449999999999999</c:v>
                </c:pt>
                <c:pt idx="1176">
                  <c:v>8.0449999999999999</c:v>
                </c:pt>
                <c:pt idx="1177">
                  <c:v>8.0449999999999999</c:v>
                </c:pt>
                <c:pt idx="1178">
                  <c:v>8.0449999999999999</c:v>
                </c:pt>
                <c:pt idx="1179">
                  <c:v>8.0440000000000005</c:v>
                </c:pt>
                <c:pt idx="1180">
                  <c:v>8.0429999999999993</c:v>
                </c:pt>
                <c:pt idx="1181">
                  <c:v>8.0429999999999993</c:v>
                </c:pt>
                <c:pt idx="1182">
                  <c:v>8.0429999999999993</c:v>
                </c:pt>
                <c:pt idx="1183">
                  <c:v>8.0419999999999998</c:v>
                </c:pt>
                <c:pt idx="1184">
                  <c:v>8.0410000000000004</c:v>
                </c:pt>
                <c:pt idx="1185">
                  <c:v>8.0419999999999998</c:v>
                </c:pt>
                <c:pt idx="1186">
                  <c:v>8.0419999999999998</c:v>
                </c:pt>
                <c:pt idx="1187">
                  <c:v>8.0399999999999991</c:v>
                </c:pt>
                <c:pt idx="1188">
                  <c:v>8.0399999999999991</c:v>
                </c:pt>
                <c:pt idx="1189">
                  <c:v>8.0399999999999991</c:v>
                </c:pt>
                <c:pt idx="1190">
                  <c:v>8.0399999999999991</c:v>
                </c:pt>
                <c:pt idx="1191">
                  <c:v>8.0389999999999997</c:v>
                </c:pt>
                <c:pt idx="1192">
                  <c:v>8.0389999999999997</c:v>
                </c:pt>
                <c:pt idx="1193">
                  <c:v>8.0370000000000008</c:v>
                </c:pt>
                <c:pt idx="1194">
                  <c:v>8.0380000000000003</c:v>
                </c:pt>
                <c:pt idx="1195">
                  <c:v>8.0370000000000008</c:v>
                </c:pt>
                <c:pt idx="1196">
                  <c:v>8.0359999999999996</c:v>
                </c:pt>
                <c:pt idx="1197">
                  <c:v>8.0370000000000008</c:v>
                </c:pt>
                <c:pt idx="1198">
                  <c:v>8.0359999999999996</c:v>
                </c:pt>
                <c:pt idx="1199">
                  <c:v>8.0359999999999996</c:v>
                </c:pt>
                <c:pt idx="1200">
                  <c:v>8.0359999999999996</c:v>
                </c:pt>
                <c:pt idx="1201">
                  <c:v>8.0350000000000001</c:v>
                </c:pt>
                <c:pt idx="1202">
                  <c:v>8.0350000000000001</c:v>
                </c:pt>
                <c:pt idx="1203">
                  <c:v>8.0340000000000007</c:v>
                </c:pt>
                <c:pt idx="1204">
                  <c:v>8.0340000000000007</c:v>
                </c:pt>
                <c:pt idx="1205">
                  <c:v>8.0340000000000007</c:v>
                </c:pt>
                <c:pt idx="1206">
                  <c:v>8.0329999999999995</c:v>
                </c:pt>
                <c:pt idx="1207">
                  <c:v>8.0329999999999995</c:v>
                </c:pt>
                <c:pt idx="1208">
                  <c:v>8.0329999999999995</c:v>
                </c:pt>
                <c:pt idx="1209">
                  <c:v>8.032</c:v>
                </c:pt>
                <c:pt idx="1210">
                  <c:v>8.0310000000000006</c:v>
                </c:pt>
                <c:pt idx="1211">
                  <c:v>8.032</c:v>
                </c:pt>
                <c:pt idx="1212">
                  <c:v>8.0310000000000006</c:v>
                </c:pt>
                <c:pt idx="1213">
                  <c:v>8.0299999999999994</c:v>
                </c:pt>
                <c:pt idx="1214">
                  <c:v>8.0299999999999994</c:v>
                </c:pt>
                <c:pt idx="1215">
                  <c:v>8.0299999999999994</c:v>
                </c:pt>
                <c:pt idx="1216">
                  <c:v>8.0289999999999999</c:v>
                </c:pt>
                <c:pt idx="1217">
                  <c:v>8.0289999999999999</c:v>
                </c:pt>
                <c:pt idx="1218">
                  <c:v>8.0289999999999999</c:v>
                </c:pt>
                <c:pt idx="1219">
                  <c:v>8.0280000000000005</c:v>
                </c:pt>
                <c:pt idx="1220">
                  <c:v>8.0280000000000005</c:v>
                </c:pt>
                <c:pt idx="1221">
                  <c:v>8.0280000000000005</c:v>
                </c:pt>
                <c:pt idx="1222">
                  <c:v>8.0269999999999992</c:v>
                </c:pt>
                <c:pt idx="1223">
                  <c:v>8.0269999999999992</c:v>
                </c:pt>
                <c:pt idx="1224">
                  <c:v>8.0269999999999992</c:v>
                </c:pt>
                <c:pt idx="1225">
                  <c:v>8.0259999999999998</c:v>
                </c:pt>
                <c:pt idx="1226">
                  <c:v>8.0259999999999998</c:v>
                </c:pt>
                <c:pt idx="1227">
                  <c:v>8.0250000000000004</c:v>
                </c:pt>
                <c:pt idx="1228">
                  <c:v>8.0250000000000004</c:v>
                </c:pt>
                <c:pt idx="1229">
                  <c:v>8.0250000000000004</c:v>
                </c:pt>
                <c:pt idx="1230">
                  <c:v>8.0239999999999991</c:v>
                </c:pt>
                <c:pt idx="1231">
                  <c:v>8.0239999999999991</c:v>
                </c:pt>
                <c:pt idx="1232">
                  <c:v>8.0239999999999991</c:v>
                </c:pt>
                <c:pt idx="1233">
                  <c:v>8.0239999999999991</c:v>
                </c:pt>
                <c:pt idx="1234">
                  <c:v>8.0229999999999997</c:v>
                </c:pt>
                <c:pt idx="1235">
                  <c:v>8.0229999999999997</c:v>
                </c:pt>
                <c:pt idx="1236">
                  <c:v>8.0220000000000002</c:v>
                </c:pt>
                <c:pt idx="1237">
                  <c:v>8.0220000000000002</c:v>
                </c:pt>
                <c:pt idx="1238">
                  <c:v>8.0210000000000008</c:v>
                </c:pt>
                <c:pt idx="1239">
                  <c:v>8.0210000000000008</c:v>
                </c:pt>
                <c:pt idx="1240">
                  <c:v>8.0210000000000008</c:v>
                </c:pt>
                <c:pt idx="1241">
                  <c:v>8.0210000000000008</c:v>
                </c:pt>
                <c:pt idx="1242">
                  <c:v>8.02</c:v>
                </c:pt>
                <c:pt idx="1243">
                  <c:v>8.0190000000000001</c:v>
                </c:pt>
                <c:pt idx="1244">
                  <c:v>8.02</c:v>
                </c:pt>
                <c:pt idx="1245">
                  <c:v>8.0190000000000001</c:v>
                </c:pt>
                <c:pt idx="1246">
                  <c:v>8.0169999999999995</c:v>
                </c:pt>
                <c:pt idx="1247">
                  <c:v>8.0180000000000007</c:v>
                </c:pt>
                <c:pt idx="1248">
                  <c:v>8.0180000000000007</c:v>
                </c:pt>
                <c:pt idx="1249">
                  <c:v>8.016</c:v>
                </c:pt>
                <c:pt idx="1250">
                  <c:v>8.0169999999999995</c:v>
                </c:pt>
                <c:pt idx="1251">
                  <c:v>8.0169999999999995</c:v>
                </c:pt>
                <c:pt idx="1252">
                  <c:v>8.016</c:v>
                </c:pt>
                <c:pt idx="1253">
                  <c:v>8.016</c:v>
                </c:pt>
                <c:pt idx="1254">
                  <c:v>8.016</c:v>
                </c:pt>
                <c:pt idx="1255">
                  <c:v>8.016</c:v>
                </c:pt>
                <c:pt idx="1256">
                  <c:v>8.0139999999999993</c:v>
                </c:pt>
                <c:pt idx="1257">
                  <c:v>8.0150000000000006</c:v>
                </c:pt>
                <c:pt idx="1258">
                  <c:v>8.0139999999999993</c:v>
                </c:pt>
                <c:pt idx="1259">
                  <c:v>8.0129999999999999</c:v>
                </c:pt>
                <c:pt idx="1260">
                  <c:v>8.0129999999999999</c:v>
                </c:pt>
                <c:pt idx="1261">
                  <c:v>8.0129999999999999</c:v>
                </c:pt>
                <c:pt idx="1262">
                  <c:v>8.0129999999999999</c:v>
                </c:pt>
                <c:pt idx="1263">
                  <c:v>8.0129999999999999</c:v>
                </c:pt>
                <c:pt idx="1264">
                  <c:v>8.0120000000000005</c:v>
                </c:pt>
                <c:pt idx="1265">
                  <c:v>8.0120000000000005</c:v>
                </c:pt>
                <c:pt idx="1266">
                  <c:v>8.0109999999999992</c:v>
                </c:pt>
                <c:pt idx="1267">
                  <c:v>8.01</c:v>
                </c:pt>
                <c:pt idx="1268">
                  <c:v>8.01</c:v>
                </c:pt>
                <c:pt idx="1269">
                  <c:v>8.01</c:v>
                </c:pt>
                <c:pt idx="1270">
                  <c:v>8.01</c:v>
                </c:pt>
                <c:pt idx="1271">
                  <c:v>8.01</c:v>
                </c:pt>
                <c:pt idx="1272">
                  <c:v>8.0090000000000003</c:v>
                </c:pt>
                <c:pt idx="1273">
                  <c:v>8.0090000000000003</c:v>
                </c:pt>
                <c:pt idx="1274">
                  <c:v>8.0090000000000003</c:v>
                </c:pt>
                <c:pt idx="1275">
                  <c:v>8.0069999999999997</c:v>
                </c:pt>
                <c:pt idx="1276">
                  <c:v>8.0069999999999997</c:v>
                </c:pt>
                <c:pt idx="1277">
                  <c:v>8.0069999999999997</c:v>
                </c:pt>
                <c:pt idx="1278">
                  <c:v>8.0069999999999997</c:v>
                </c:pt>
                <c:pt idx="1279">
                  <c:v>8.0069999999999997</c:v>
                </c:pt>
                <c:pt idx="1280">
                  <c:v>8.0060000000000002</c:v>
                </c:pt>
                <c:pt idx="1281">
                  <c:v>8.0060000000000002</c:v>
                </c:pt>
                <c:pt idx="1282">
                  <c:v>8.0050000000000008</c:v>
                </c:pt>
                <c:pt idx="1283">
                  <c:v>8.0050000000000008</c:v>
                </c:pt>
                <c:pt idx="1284">
                  <c:v>8.0050000000000008</c:v>
                </c:pt>
                <c:pt idx="1285">
                  <c:v>8.0039999999999996</c:v>
                </c:pt>
                <c:pt idx="1286">
                  <c:v>8.0039999999999996</c:v>
                </c:pt>
                <c:pt idx="1287">
                  <c:v>8.0030000000000001</c:v>
                </c:pt>
                <c:pt idx="1288">
                  <c:v>8.0030000000000001</c:v>
                </c:pt>
                <c:pt idx="1289">
                  <c:v>8.0030000000000001</c:v>
                </c:pt>
                <c:pt idx="1290">
                  <c:v>8.0020000000000007</c:v>
                </c:pt>
                <c:pt idx="1291">
                  <c:v>8.0020000000000007</c:v>
                </c:pt>
                <c:pt idx="1292">
                  <c:v>8.0020000000000007</c:v>
                </c:pt>
                <c:pt idx="1293">
                  <c:v>8.0020000000000007</c:v>
                </c:pt>
                <c:pt idx="1294">
                  <c:v>8.0020000000000007</c:v>
                </c:pt>
                <c:pt idx="1295">
                  <c:v>8.0009999999999994</c:v>
                </c:pt>
                <c:pt idx="1296">
                  <c:v>8.0009999999999994</c:v>
                </c:pt>
                <c:pt idx="1297">
                  <c:v>8</c:v>
                </c:pt>
                <c:pt idx="1298">
                  <c:v>8</c:v>
                </c:pt>
                <c:pt idx="1299">
                  <c:v>7.9989999999999997</c:v>
                </c:pt>
                <c:pt idx="1300">
                  <c:v>7.9989999999999997</c:v>
                </c:pt>
                <c:pt idx="1301">
                  <c:v>7.9989999999999997</c:v>
                </c:pt>
                <c:pt idx="1302">
                  <c:v>7.9980000000000002</c:v>
                </c:pt>
                <c:pt idx="1303">
                  <c:v>7.9980000000000002</c:v>
                </c:pt>
                <c:pt idx="1304">
                  <c:v>7.9980000000000002</c:v>
                </c:pt>
                <c:pt idx="1305">
                  <c:v>7.9969999999999999</c:v>
                </c:pt>
                <c:pt idx="1306">
                  <c:v>7.9969999999999999</c:v>
                </c:pt>
                <c:pt idx="1307">
                  <c:v>7.9969999999999999</c:v>
                </c:pt>
                <c:pt idx="1308">
                  <c:v>7.9960000000000004</c:v>
                </c:pt>
                <c:pt idx="1309">
                  <c:v>7.9960000000000004</c:v>
                </c:pt>
                <c:pt idx="1310">
                  <c:v>7.9960000000000004</c:v>
                </c:pt>
                <c:pt idx="1311">
                  <c:v>7.9950000000000001</c:v>
                </c:pt>
                <c:pt idx="1312">
                  <c:v>7.9939999999999998</c:v>
                </c:pt>
                <c:pt idx="1313">
                  <c:v>7.9939999999999998</c:v>
                </c:pt>
                <c:pt idx="1314">
                  <c:v>7.9939999999999998</c:v>
                </c:pt>
                <c:pt idx="1315">
                  <c:v>7.9939999999999998</c:v>
                </c:pt>
                <c:pt idx="1316">
                  <c:v>7.9939999999999998</c:v>
                </c:pt>
                <c:pt idx="1317">
                  <c:v>7.9939999999999998</c:v>
                </c:pt>
                <c:pt idx="1318">
                  <c:v>7.9930000000000003</c:v>
                </c:pt>
                <c:pt idx="1319">
                  <c:v>7.992</c:v>
                </c:pt>
                <c:pt idx="1320">
                  <c:v>7.992</c:v>
                </c:pt>
                <c:pt idx="1321">
                  <c:v>7.992</c:v>
                </c:pt>
                <c:pt idx="1322">
                  <c:v>7.992</c:v>
                </c:pt>
                <c:pt idx="1323">
                  <c:v>7.9909999999999997</c:v>
                </c:pt>
                <c:pt idx="1324">
                  <c:v>7.9909999999999997</c:v>
                </c:pt>
                <c:pt idx="1325">
                  <c:v>7.99</c:v>
                </c:pt>
                <c:pt idx="1326">
                  <c:v>7.9909999999999997</c:v>
                </c:pt>
                <c:pt idx="1327">
                  <c:v>7.99</c:v>
                </c:pt>
                <c:pt idx="1328">
                  <c:v>7.99</c:v>
                </c:pt>
                <c:pt idx="1329">
                  <c:v>7.9889999999999999</c:v>
                </c:pt>
                <c:pt idx="1330">
                  <c:v>7.9889999999999999</c:v>
                </c:pt>
                <c:pt idx="1331">
                  <c:v>7.9889999999999999</c:v>
                </c:pt>
                <c:pt idx="1332">
                  <c:v>7.9880000000000004</c:v>
                </c:pt>
                <c:pt idx="1333">
                  <c:v>7.9870000000000001</c:v>
                </c:pt>
                <c:pt idx="1334">
                  <c:v>7.9870000000000001</c:v>
                </c:pt>
                <c:pt idx="1335">
                  <c:v>7.9870000000000001</c:v>
                </c:pt>
                <c:pt idx="1336">
                  <c:v>7.9870000000000001</c:v>
                </c:pt>
                <c:pt idx="1337">
                  <c:v>7.9870000000000001</c:v>
                </c:pt>
                <c:pt idx="1338">
                  <c:v>7.9859999999999998</c:v>
                </c:pt>
                <c:pt idx="1339">
                  <c:v>7.9859999999999998</c:v>
                </c:pt>
                <c:pt idx="1340">
                  <c:v>7.9859999999999998</c:v>
                </c:pt>
                <c:pt idx="1341">
                  <c:v>7.9850000000000003</c:v>
                </c:pt>
                <c:pt idx="1342">
                  <c:v>7.984</c:v>
                </c:pt>
                <c:pt idx="1343">
                  <c:v>7.9850000000000003</c:v>
                </c:pt>
                <c:pt idx="1344">
                  <c:v>7.984</c:v>
                </c:pt>
                <c:pt idx="1345">
                  <c:v>7.984</c:v>
                </c:pt>
                <c:pt idx="1346">
                  <c:v>7.984</c:v>
                </c:pt>
                <c:pt idx="1347">
                  <c:v>7.9829999999999997</c:v>
                </c:pt>
                <c:pt idx="1348">
                  <c:v>7.9820000000000002</c:v>
                </c:pt>
                <c:pt idx="1349">
                  <c:v>7.9820000000000002</c:v>
                </c:pt>
                <c:pt idx="1350">
                  <c:v>7.9820000000000002</c:v>
                </c:pt>
                <c:pt idx="1351">
                  <c:v>7.9809999999999999</c:v>
                </c:pt>
                <c:pt idx="1352">
                  <c:v>7.9809999999999999</c:v>
                </c:pt>
                <c:pt idx="1353">
                  <c:v>7.9809999999999999</c:v>
                </c:pt>
                <c:pt idx="1354">
                  <c:v>7.98</c:v>
                </c:pt>
                <c:pt idx="1355">
                  <c:v>7.98</c:v>
                </c:pt>
                <c:pt idx="1356">
                  <c:v>7.9790000000000001</c:v>
                </c:pt>
                <c:pt idx="1357">
                  <c:v>7.9790000000000001</c:v>
                </c:pt>
                <c:pt idx="1358">
                  <c:v>7.9790000000000001</c:v>
                </c:pt>
                <c:pt idx="1359">
                  <c:v>7.9779999999999998</c:v>
                </c:pt>
                <c:pt idx="1360">
                  <c:v>7.9790000000000001</c:v>
                </c:pt>
                <c:pt idx="1361">
                  <c:v>7.9779999999999998</c:v>
                </c:pt>
                <c:pt idx="1362">
                  <c:v>7.9770000000000003</c:v>
                </c:pt>
                <c:pt idx="1363">
                  <c:v>7.9770000000000003</c:v>
                </c:pt>
                <c:pt idx="1364">
                  <c:v>7.9770000000000003</c:v>
                </c:pt>
                <c:pt idx="1365">
                  <c:v>7.9770000000000003</c:v>
                </c:pt>
                <c:pt idx="1366">
                  <c:v>7.976</c:v>
                </c:pt>
                <c:pt idx="1367">
                  <c:v>7.976</c:v>
                </c:pt>
                <c:pt idx="1368">
                  <c:v>7.976</c:v>
                </c:pt>
                <c:pt idx="1369">
                  <c:v>7.976</c:v>
                </c:pt>
                <c:pt idx="1370">
                  <c:v>7.9749999999999996</c:v>
                </c:pt>
                <c:pt idx="1371">
                  <c:v>7.9740000000000002</c:v>
                </c:pt>
                <c:pt idx="1372">
                  <c:v>7.9740000000000002</c:v>
                </c:pt>
                <c:pt idx="1373">
                  <c:v>7.9729999999999999</c:v>
                </c:pt>
                <c:pt idx="1374">
                  <c:v>7.9740000000000002</c:v>
                </c:pt>
                <c:pt idx="1375">
                  <c:v>7.9729999999999999</c:v>
                </c:pt>
                <c:pt idx="1376">
                  <c:v>7.9720000000000004</c:v>
                </c:pt>
                <c:pt idx="1377">
                  <c:v>7.9720000000000004</c:v>
                </c:pt>
                <c:pt idx="1378">
                  <c:v>7.9729999999999999</c:v>
                </c:pt>
                <c:pt idx="1379">
                  <c:v>7.9720000000000004</c:v>
                </c:pt>
                <c:pt idx="1380">
                  <c:v>7.97</c:v>
                </c:pt>
                <c:pt idx="1381">
                  <c:v>7.9710000000000001</c:v>
                </c:pt>
                <c:pt idx="1382">
                  <c:v>7.97</c:v>
                </c:pt>
                <c:pt idx="1383">
                  <c:v>7.97</c:v>
                </c:pt>
                <c:pt idx="1384">
                  <c:v>7.97</c:v>
                </c:pt>
                <c:pt idx="1385">
                  <c:v>7.9690000000000003</c:v>
                </c:pt>
                <c:pt idx="1386">
                  <c:v>7.9690000000000003</c:v>
                </c:pt>
                <c:pt idx="1387">
                  <c:v>7.968</c:v>
                </c:pt>
                <c:pt idx="1388">
                  <c:v>7.968</c:v>
                </c:pt>
                <c:pt idx="1389">
                  <c:v>7.968</c:v>
                </c:pt>
                <c:pt idx="1390">
                  <c:v>7.968</c:v>
                </c:pt>
                <c:pt idx="1391">
                  <c:v>7.9669999999999996</c:v>
                </c:pt>
                <c:pt idx="1392">
                  <c:v>7.9669999999999996</c:v>
                </c:pt>
                <c:pt idx="1393">
                  <c:v>7.9669999999999996</c:v>
                </c:pt>
                <c:pt idx="1394">
                  <c:v>7.9669999999999996</c:v>
                </c:pt>
                <c:pt idx="1395">
                  <c:v>7.9649999999999999</c:v>
                </c:pt>
                <c:pt idx="1396">
                  <c:v>7.9649999999999999</c:v>
                </c:pt>
                <c:pt idx="1397">
                  <c:v>7.9649999999999999</c:v>
                </c:pt>
                <c:pt idx="1398">
                  <c:v>7.9649999999999999</c:v>
                </c:pt>
                <c:pt idx="1399">
                  <c:v>7.9640000000000004</c:v>
                </c:pt>
                <c:pt idx="1400">
                  <c:v>7.9640000000000004</c:v>
                </c:pt>
                <c:pt idx="1401">
                  <c:v>7.9640000000000004</c:v>
                </c:pt>
                <c:pt idx="1402">
                  <c:v>7.9630000000000001</c:v>
                </c:pt>
                <c:pt idx="1403">
                  <c:v>7.9640000000000004</c:v>
                </c:pt>
                <c:pt idx="1404">
                  <c:v>7.9630000000000001</c:v>
                </c:pt>
                <c:pt idx="1405">
                  <c:v>7.9630000000000001</c:v>
                </c:pt>
                <c:pt idx="1406">
                  <c:v>7.9630000000000001</c:v>
                </c:pt>
                <c:pt idx="1407">
                  <c:v>7.9619999999999997</c:v>
                </c:pt>
                <c:pt idx="1408">
                  <c:v>7.9619999999999997</c:v>
                </c:pt>
                <c:pt idx="1409">
                  <c:v>7.9619999999999997</c:v>
                </c:pt>
                <c:pt idx="1410">
                  <c:v>7.9610000000000003</c:v>
                </c:pt>
                <c:pt idx="1411">
                  <c:v>7.9610000000000003</c:v>
                </c:pt>
                <c:pt idx="1412">
                  <c:v>7.96</c:v>
                </c:pt>
                <c:pt idx="1413">
                  <c:v>7.9589999999999996</c:v>
                </c:pt>
                <c:pt idx="1414">
                  <c:v>7.96</c:v>
                </c:pt>
                <c:pt idx="1415">
                  <c:v>7.96</c:v>
                </c:pt>
                <c:pt idx="1416">
                  <c:v>7.9589999999999996</c:v>
                </c:pt>
                <c:pt idx="1417">
                  <c:v>7.9580000000000002</c:v>
                </c:pt>
                <c:pt idx="1418">
                  <c:v>7.9580000000000002</c:v>
                </c:pt>
                <c:pt idx="1419">
                  <c:v>7.9580000000000002</c:v>
                </c:pt>
                <c:pt idx="1420">
                  <c:v>7.9580000000000002</c:v>
                </c:pt>
                <c:pt idx="1421">
                  <c:v>7.9569999999999999</c:v>
                </c:pt>
                <c:pt idx="1422">
                  <c:v>7.9569999999999999</c:v>
                </c:pt>
                <c:pt idx="1423">
                  <c:v>7.9569999999999999</c:v>
                </c:pt>
                <c:pt idx="1424">
                  <c:v>7.9560000000000004</c:v>
                </c:pt>
                <c:pt idx="1425">
                  <c:v>7.9560000000000004</c:v>
                </c:pt>
                <c:pt idx="1426">
                  <c:v>7.9560000000000004</c:v>
                </c:pt>
                <c:pt idx="1427">
                  <c:v>7.9560000000000004</c:v>
                </c:pt>
                <c:pt idx="1428">
                  <c:v>7.9550000000000001</c:v>
                </c:pt>
                <c:pt idx="1429">
                  <c:v>7.9550000000000001</c:v>
                </c:pt>
                <c:pt idx="1430">
                  <c:v>7.9539999999999997</c:v>
                </c:pt>
                <c:pt idx="1431">
                  <c:v>7.9539999999999997</c:v>
                </c:pt>
                <c:pt idx="1432">
                  <c:v>7.9539999999999997</c:v>
                </c:pt>
                <c:pt idx="1433">
                  <c:v>7.9530000000000003</c:v>
                </c:pt>
                <c:pt idx="1434">
                  <c:v>7.9539999999999997</c:v>
                </c:pt>
                <c:pt idx="1435">
                  <c:v>7.9530000000000003</c:v>
                </c:pt>
                <c:pt idx="1436">
                  <c:v>7.9530000000000003</c:v>
                </c:pt>
                <c:pt idx="1437">
                  <c:v>7.9530000000000003</c:v>
                </c:pt>
                <c:pt idx="1438">
                  <c:v>7.952</c:v>
                </c:pt>
                <c:pt idx="1439">
                  <c:v>7.952</c:v>
                </c:pt>
                <c:pt idx="1440">
                  <c:v>7.9509999999999996</c:v>
                </c:pt>
                <c:pt idx="1441">
                  <c:v>7.9509999999999996</c:v>
                </c:pt>
                <c:pt idx="1442">
                  <c:v>7.9509999999999996</c:v>
                </c:pt>
                <c:pt idx="1443">
                  <c:v>7.95</c:v>
                </c:pt>
                <c:pt idx="1444">
                  <c:v>7.95</c:v>
                </c:pt>
                <c:pt idx="1445">
                  <c:v>7.9489999999999998</c:v>
                </c:pt>
                <c:pt idx="1446">
                  <c:v>7.9489999999999998</c:v>
                </c:pt>
                <c:pt idx="1447">
                  <c:v>7.9489999999999998</c:v>
                </c:pt>
                <c:pt idx="1448">
                  <c:v>7.9489999999999998</c:v>
                </c:pt>
                <c:pt idx="1449">
                  <c:v>7.9480000000000004</c:v>
                </c:pt>
                <c:pt idx="1450">
                  <c:v>7.9480000000000004</c:v>
                </c:pt>
                <c:pt idx="1451">
                  <c:v>7.9480000000000004</c:v>
                </c:pt>
                <c:pt idx="1452">
                  <c:v>7.9480000000000004</c:v>
                </c:pt>
                <c:pt idx="1453">
                  <c:v>7.9470000000000001</c:v>
                </c:pt>
                <c:pt idx="1454">
                  <c:v>7.9470000000000001</c:v>
                </c:pt>
                <c:pt idx="1455">
                  <c:v>7.9459999999999997</c:v>
                </c:pt>
                <c:pt idx="1456">
                  <c:v>7.9459999999999997</c:v>
                </c:pt>
                <c:pt idx="1457">
                  <c:v>7.9459999999999997</c:v>
                </c:pt>
                <c:pt idx="1458">
                  <c:v>7.9450000000000003</c:v>
                </c:pt>
                <c:pt idx="1459">
                  <c:v>7.9450000000000003</c:v>
                </c:pt>
                <c:pt idx="1460">
                  <c:v>7.9450000000000003</c:v>
                </c:pt>
                <c:pt idx="1461">
                  <c:v>7.9450000000000003</c:v>
                </c:pt>
                <c:pt idx="1462">
                  <c:v>7.944</c:v>
                </c:pt>
                <c:pt idx="1463">
                  <c:v>7.9429999999999996</c:v>
                </c:pt>
                <c:pt idx="1464">
                  <c:v>7.944</c:v>
                </c:pt>
                <c:pt idx="1465">
                  <c:v>7.9429999999999996</c:v>
                </c:pt>
                <c:pt idx="1466">
                  <c:v>7.9429999999999996</c:v>
                </c:pt>
                <c:pt idx="1467">
                  <c:v>7.9429999999999996</c:v>
                </c:pt>
                <c:pt idx="1468">
                  <c:v>7.9429999999999996</c:v>
                </c:pt>
                <c:pt idx="1469">
                  <c:v>7.9420000000000002</c:v>
                </c:pt>
                <c:pt idx="1470">
                  <c:v>7.9409999999999998</c:v>
                </c:pt>
                <c:pt idx="1471">
                  <c:v>7.9420000000000002</c:v>
                </c:pt>
                <c:pt idx="1472">
                  <c:v>7.9409999999999998</c:v>
                </c:pt>
                <c:pt idx="1473">
                  <c:v>7.94</c:v>
                </c:pt>
                <c:pt idx="1474">
                  <c:v>7.94</c:v>
                </c:pt>
                <c:pt idx="1475">
                  <c:v>7.94</c:v>
                </c:pt>
                <c:pt idx="1476">
                  <c:v>7.9390000000000001</c:v>
                </c:pt>
                <c:pt idx="1477">
                  <c:v>7.9390000000000001</c:v>
                </c:pt>
                <c:pt idx="1478">
                  <c:v>7.9379999999999997</c:v>
                </c:pt>
                <c:pt idx="1479">
                  <c:v>7.9390000000000001</c:v>
                </c:pt>
                <c:pt idx="1480">
                  <c:v>7.9379999999999997</c:v>
                </c:pt>
                <c:pt idx="1481">
                  <c:v>7.9379999999999997</c:v>
                </c:pt>
                <c:pt idx="1482">
                  <c:v>7.9379999999999997</c:v>
                </c:pt>
                <c:pt idx="1483">
                  <c:v>7.9370000000000003</c:v>
                </c:pt>
                <c:pt idx="1484">
                  <c:v>7.9370000000000003</c:v>
                </c:pt>
                <c:pt idx="1485">
                  <c:v>7.9370000000000003</c:v>
                </c:pt>
                <c:pt idx="1486">
                  <c:v>7.9370000000000003</c:v>
                </c:pt>
                <c:pt idx="1487">
                  <c:v>7.9359999999999999</c:v>
                </c:pt>
                <c:pt idx="1488">
                  <c:v>7.9359999999999999</c:v>
                </c:pt>
                <c:pt idx="1489">
                  <c:v>7.9359999999999999</c:v>
                </c:pt>
                <c:pt idx="1490">
                  <c:v>7.9349999999999996</c:v>
                </c:pt>
                <c:pt idx="1491">
                  <c:v>7.9349999999999996</c:v>
                </c:pt>
                <c:pt idx="1492">
                  <c:v>7.9349999999999996</c:v>
                </c:pt>
                <c:pt idx="1493">
                  <c:v>7.9340000000000002</c:v>
                </c:pt>
                <c:pt idx="1494">
                  <c:v>7.9349999999999996</c:v>
                </c:pt>
                <c:pt idx="1495">
                  <c:v>7.9340000000000002</c:v>
                </c:pt>
                <c:pt idx="1496">
                  <c:v>7.9340000000000002</c:v>
                </c:pt>
                <c:pt idx="1497">
                  <c:v>7.9340000000000002</c:v>
                </c:pt>
                <c:pt idx="1498">
                  <c:v>7.9329999999999998</c:v>
                </c:pt>
                <c:pt idx="1499">
                  <c:v>7.9329999999999998</c:v>
                </c:pt>
                <c:pt idx="1500">
                  <c:v>7.9329999999999998</c:v>
                </c:pt>
                <c:pt idx="1501">
                  <c:v>7.9320000000000004</c:v>
                </c:pt>
                <c:pt idx="1502">
                  <c:v>7.9320000000000004</c:v>
                </c:pt>
                <c:pt idx="1503">
                  <c:v>7.9320000000000004</c:v>
                </c:pt>
                <c:pt idx="1504">
                  <c:v>7.931</c:v>
                </c:pt>
                <c:pt idx="1505">
                  <c:v>7.9320000000000004</c:v>
                </c:pt>
                <c:pt idx="1506">
                  <c:v>7.931</c:v>
                </c:pt>
                <c:pt idx="1507">
                  <c:v>7.931</c:v>
                </c:pt>
                <c:pt idx="1508">
                  <c:v>7.93</c:v>
                </c:pt>
                <c:pt idx="1509">
                  <c:v>7.93</c:v>
                </c:pt>
                <c:pt idx="1510">
                  <c:v>7.93</c:v>
                </c:pt>
                <c:pt idx="1511">
                  <c:v>7.9290000000000003</c:v>
                </c:pt>
                <c:pt idx="1512">
                  <c:v>7.9290000000000003</c:v>
                </c:pt>
                <c:pt idx="1513">
                  <c:v>7.9290000000000003</c:v>
                </c:pt>
                <c:pt idx="1514">
                  <c:v>7.9279999999999999</c:v>
                </c:pt>
                <c:pt idx="1515">
                  <c:v>7.9290000000000003</c:v>
                </c:pt>
                <c:pt idx="1516">
                  <c:v>7.9290000000000003</c:v>
                </c:pt>
                <c:pt idx="1517">
                  <c:v>7.9269999999999996</c:v>
                </c:pt>
                <c:pt idx="1518">
                  <c:v>7.9279999999999999</c:v>
                </c:pt>
                <c:pt idx="1519">
                  <c:v>7.9269999999999996</c:v>
                </c:pt>
                <c:pt idx="1520">
                  <c:v>7.9269999999999996</c:v>
                </c:pt>
                <c:pt idx="1521">
                  <c:v>7.9269999999999996</c:v>
                </c:pt>
                <c:pt idx="1522">
                  <c:v>7.9260000000000002</c:v>
                </c:pt>
                <c:pt idx="1523">
                  <c:v>7.9260000000000002</c:v>
                </c:pt>
                <c:pt idx="1524">
                  <c:v>7.9260000000000002</c:v>
                </c:pt>
                <c:pt idx="1525">
                  <c:v>7.9260000000000002</c:v>
                </c:pt>
                <c:pt idx="1526">
                  <c:v>7.9249999999999998</c:v>
                </c:pt>
                <c:pt idx="1527">
                  <c:v>7.9249999999999998</c:v>
                </c:pt>
                <c:pt idx="1528">
                  <c:v>7.9249999999999998</c:v>
                </c:pt>
                <c:pt idx="1529">
                  <c:v>7.9240000000000004</c:v>
                </c:pt>
                <c:pt idx="1530">
                  <c:v>7.9240000000000004</c:v>
                </c:pt>
                <c:pt idx="1531">
                  <c:v>7.923</c:v>
                </c:pt>
                <c:pt idx="1532">
                  <c:v>7.923</c:v>
                </c:pt>
                <c:pt idx="1533">
                  <c:v>7.923</c:v>
                </c:pt>
                <c:pt idx="1534">
                  <c:v>7.923</c:v>
                </c:pt>
                <c:pt idx="1535">
                  <c:v>7.923</c:v>
                </c:pt>
                <c:pt idx="1536">
                  <c:v>7.9219999999999997</c:v>
                </c:pt>
                <c:pt idx="1537">
                  <c:v>7.9219999999999997</c:v>
                </c:pt>
                <c:pt idx="1538">
                  <c:v>7.9219999999999997</c:v>
                </c:pt>
                <c:pt idx="1539">
                  <c:v>7.9210000000000003</c:v>
                </c:pt>
                <c:pt idx="1540">
                  <c:v>7.9210000000000003</c:v>
                </c:pt>
                <c:pt idx="1541">
                  <c:v>7.9210000000000003</c:v>
                </c:pt>
                <c:pt idx="1542">
                  <c:v>7.92</c:v>
                </c:pt>
                <c:pt idx="1543">
                  <c:v>7.9210000000000003</c:v>
                </c:pt>
                <c:pt idx="1544">
                  <c:v>7.92</c:v>
                </c:pt>
                <c:pt idx="1545">
                  <c:v>7.92</c:v>
                </c:pt>
                <c:pt idx="1546">
                  <c:v>7.92</c:v>
                </c:pt>
                <c:pt idx="1547">
                  <c:v>7.92</c:v>
                </c:pt>
                <c:pt idx="1548">
                  <c:v>7.9189999999999996</c:v>
                </c:pt>
                <c:pt idx="1549">
                  <c:v>7.9189999999999996</c:v>
                </c:pt>
                <c:pt idx="1550">
                  <c:v>7.9180000000000001</c:v>
                </c:pt>
                <c:pt idx="1551">
                  <c:v>7.9180000000000001</c:v>
                </c:pt>
                <c:pt idx="1552">
                  <c:v>7.9180000000000001</c:v>
                </c:pt>
                <c:pt idx="1553">
                  <c:v>7.9169999999999998</c:v>
                </c:pt>
                <c:pt idx="1554">
                  <c:v>7.9169999999999998</c:v>
                </c:pt>
                <c:pt idx="1555">
                  <c:v>7.9180000000000001</c:v>
                </c:pt>
                <c:pt idx="1556">
                  <c:v>7.9169999999999998</c:v>
                </c:pt>
                <c:pt idx="1557">
                  <c:v>7.9169999999999998</c:v>
                </c:pt>
                <c:pt idx="1558">
                  <c:v>7.9160000000000004</c:v>
                </c:pt>
                <c:pt idx="1559">
                  <c:v>7.9160000000000004</c:v>
                </c:pt>
                <c:pt idx="1560">
                  <c:v>7.9160000000000004</c:v>
                </c:pt>
                <c:pt idx="1561">
                  <c:v>7.915</c:v>
                </c:pt>
                <c:pt idx="1562">
                  <c:v>7.915</c:v>
                </c:pt>
                <c:pt idx="1563">
                  <c:v>7.915</c:v>
                </c:pt>
                <c:pt idx="1564">
                  <c:v>7.9139999999999997</c:v>
                </c:pt>
                <c:pt idx="1565">
                  <c:v>7.9139999999999997</c:v>
                </c:pt>
                <c:pt idx="1566">
                  <c:v>7.9139999999999997</c:v>
                </c:pt>
                <c:pt idx="1567">
                  <c:v>7.9130000000000003</c:v>
                </c:pt>
                <c:pt idx="1568">
                  <c:v>7.9119999999999999</c:v>
                </c:pt>
                <c:pt idx="1569">
                  <c:v>7.9119999999999999</c:v>
                </c:pt>
                <c:pt idx="1570">
                  <c:v>7.9119999999999999</c:v>
                </c:pt>
                <c:pt idx="1571">
                  <c:v>7.9109999999999996</c:v>
                </c:pt>
                <c:pt idx="1572">
                  <c:v>7.9109999999999996</c:v>
                </c:pt>
                <c:pt idx="1573">
                  <c:v>7.9109999999999996</c:v>
                </c:pt>
                <c:pt idx="1574">
                  <c:v>7.9109999999999996</c:v>
                </c:pt>
                <c:pt idx="1575">
                  <c:v>7.91</c:v>
                </c:pt>
                <c:pt idx="1576">
                  <c:v>7.91</c:v>
                </c:pt>
                <c:pt idx="1577">
                  <c:v>7.9109999999999996</c:v>
                </c:pt>
                <c:pt idx="1578">
                  <c:v>7.91</c:v>
                </c:pt>
                <c:pt idx="1579">
                  <c:v>7.9109999999999996</c:v>
                </c:pt>
                <c:pt idx="1580">
                  <c:v>7.91</c:v>
                </c:pt>
                <c:pt idx="1581">
                  <c:v>7.91</c:v>
                </c:pt>
                <c:pt idx="1582">
                  <c:v>7.9089999999999998</c:v>
                </c:pt>
                <c:pt idx="1583">
                  <c:v>7.9089999999999998</c:v>
                </c:pt>
                <c:pt idx="1584">
                  <c:v>7.9089999999999998</c:v>
                </c:pt>
                <c:pt idx="1585">
                  <c:v>7.9089999999999998</c:v>
                </c:pt>
                <c:pt idx="1586">
                  <c:v>7.9080000000000004</c:v>
                </c:pt>
                <c:pt idx="1587">
                  <c:v>7.9080000000000004</c:v>
                </c:pt>
                <c:pt idx="1588">
                  <c:v>7.9080000000000004</c:v>
                </c:pt>
                <c:pt idx="1589">
                  <c:v>7.907</c:v>
                </c:pt>
                <c:pt idx="1590">
                  <c:v>7.9080000000000004</c:v>
                </c:pt>
                <c:pt idx="1591">
                  <c:v>7.9059999999999997</c:v>
                </c:pt>
                <c:pt idx="1592">
                  <c:v>7.9059999999999997</c:v>
                </c:pt>
                <c:pt idx="1593">
                  <c:v>7.9059999999999997</c:v>
                </c:pt>
                <c:pt idx="1594">
                  <c:v>7.9059999999999997</c:v>
                </c:pt>
                <c:pt idx="1595">
                  <c:v>7.9050000000000002</c:v>
                </c:pt>
                <c:pt idx="1596">
                  <c:v>7.9059999999999997</c:v>
                </c:pt>
                <c:pt idx="1597">
                  <c:v>7.9050000000000002</c:v>
                </c:pt>
                <c:pt idx="1598">
                  <c:v>7.9050000000000002</c:v>
                </c:pt>
                <c:pt idx="1599">
                  <c:v>7.9039999999999999</c:v>
                </c:pt>
                <c:pt idx="1600">
                  <c:v>7.9039999999999999</c:v>
                </c:pt>
                <c:pt idx="1601">
                  <c:v>7.9039999999999999</c:v>
                </c:pt>
                <c:pt idx="1602">
                  <c:v>7.9029999999999996</c:v>
                </c:pt>
                <c:pt idx="1603">
                  <c:v>7.9029999999999996</c:v>
                </c:pt>
                <c:pt idx="1604">
                  <c:v>7.9029999999999996</c:v>
                </c:pt>
                <c:pt idx="1605">
                  <c:v>7.9029999999999996</c:v>
                </c:pt>
                <c:pt idx="1606">
                  <c:v>7.9020000000000001</c:v>
                </c:pt>
                <c:pt idx="1607">
                  <c:v>7.9020000000000001</c:v>
                </c:pt>
                <c:pt idx="1608">
                  <c:v>7.9020000000000001</c:v>
                </c:pt>
                <c:pt idx="1609">
                  <c:v>7.9020000000000001</c:v>
                </c:pt>
                <c:pt idx="1610">
                  <c:v>7.9009999999999998</c:v>
                </c:pt>
                <c:pt idx="1611">
                  <c:v>7.9009999999999998</c:v>
                </c:pt>
                <c:pt idx="1612">
                  <c:v>7.9009999999999998</c:v>
                </c:pt>
                <c:pt idx="1613">
                  <c:v>7.9</c:v>
                </c:pt>
                <c:pt idx="1614">
                  <c:v>7.9</c:v>
                </c:pt>
                <c:pt idx="1615">
                  <c:v>7.9</c:v>
                </c:pt>
                <c:pt idx="1616">
                  <c:v>7.9</c:v>
                </c:pt>
                <c:pt idx="1617">
                  <c:v>7.9</c:v>
                </c:pt>
                <c:pt idx="1618">
                  <c:v>7.899</c:v>
                </c:pt>
                <c:pt idx="1619">
                  <c:v>7.899</c:v>
                </c:pt>
                <c:pt idx="1620">
                  <c:v>7.899</c:v>
                </c:pt>
                <c:pt idx="1621">
                  <c:v>7.8979999999999997</c:v>
                </c:pt>
                <c:pt idx="1622">
                  <c:v>7.899</c:v>
                </c:pt>
                <c:pt idx="1623">
                  <c:v>7.8979999999999997</c:v>
                </c:pt>
                <c:pt idx="1624">
                  <c:v>7.8979999999999997</c:v>
                </c:pt>
                <c:pt idx="1625">
                  <c:v>7.8970000000000002</c:v>
                </c:pt>
                <c:pt idx="1626">
                  <c:v>7.8970000000000002</c:v>
                </c:pt>
                <c:pt idx="1627">
                  <c:v>7.8970000000000002</c:v>
                </c:pt>
                <c:pt idx="1628">
                  <c:v>7.8959999999999999</c:v>
                </c:pt>
                <c:pt idx="1629">
                  <c:v>7.8959999999999999</c:v>
                </c:pt>
                <c:pt idx="1630">
                  <c:v>7.8959999999999999</c:v>
                </c:pt>
                <c:pt idx="1631">
                  <c:v>7.8949999999999996</c:v>
                </c:pt>
                <c:pt idx="1632">
                  <c:v>7.8959999999999999</c:v>
                </c:pt>
                <c:pt idx="1633">
                  <c:v>7.8949999999999996</c:v>
                </c:pt>
                <c:pt idx="1634">
                  <c:v>7.8949999999999996</c:v>
                </c:pt>
                <c:pt idx="1635">
                  <c:v>7.8940000000000001</c:v>
                </c:pt>
                <c:pt idx="1636">
                  <c:v>7.8940000000000001</c:v>
                </c:pt>
                <c:pt idx="1637">
                  <c:v>7.8929999999999998</c:v>
                </c:pt>
                <c:pt idx="1638">
                  <c:v>7.8940000000000001</c:v>
                </c:pt>
                <c:pt idx="1639">
                  <c:v>7.8929999999999998</c:v>
                </c:pt>
                <c:pt idx="1640">
                  <c:v>7.8929999999999998</c:v>
                </c:pt>
                <c:pt idx="1641">
                  <c:v>7.8929999999999998</c:v>
                </c:pt>
                <c:pt idx="1642">
                  <c:v>7.8929999999999998</c:v>
                </c:pt>
                <c:pt idx="1643">
                  <c:v>7.8920000000000003</c:v>
                </c:pt>
                <c:pt idx="1644">
                  <c:v>7.8920000000000003</c:v>
                </c:pt>
                <c:pt idx="1645">
                  <c:v>7.891</c:v>
                </c:pt>
                <c:pt idx="1646">
                  <c:v>7.8920000000000003</c:v>
                </c:pt>
                <c:pt idx="1647">
                  <c:v>7.891</c:v>
                </c:pt>
                <c:pt idx="1648">
                  <c:v>7.891</c:v>
                </c:pt>
                <c:pt idx="1649">
                  <c:v>7.89</c:v>
                </c:pt>
                <c:pt idx="1650">
                  <c:v>7.89</c:v>
                </c:pt>
                <c:pt idx="1651">
                  <c:v>7.89</c:v>
                </c:pt>
                <c:pt idx="1652">
                  <c:v>7.8890000000000002</c:v>
                </c:pt>
                <c:pt idx="1653">
                  <c:v>7.8890000000000002</c:v>
                </c:pt>
                <c:pt idx="1654">
                  <c:v>7.8890000000000002</c:v>
                </c:pt>
                <c:pt idx="1655">
                  <c:v>7.8890000000000002</c:v>
                </c:pt>
                <c:pt idx="1656">
                  <c:v>7.8890000000000002</c:v>
                </c:pt>
                <c:pt idx="1657">
                  <c:v>7.8879999999999999</c:v>
                </c:pt>
                <c:pt idx="1658">
                  <c:v>7.8879999999999999</c:v>
                </c:pt>
                <c:pt idx="1659">
                  <c:v>7.8879999999999999</c:v>
                </c:pt>
                <c:pt idx="1660">
                  <c:v>7.8869999999999996</c:v>
                </c:pt>
                <c:pt idx="1661">
                  <c:v>7.8869999999999996</c:v>
                </c:pt>
                <c:pt idx="1662">
                  <c:v>7.8860000000000001</c:v>
                </c:pt>
                <c:pt idx="1663">
                  <c:v>7.8860000000000001</c:v>
                </c:pt>
                <c:pt idx="1664">
                  <c:v>7.8860000000000001</c:v>
                </c:pt>
                <c:pt idx="1665">
                  <c:v>7.8860000000000001</c:v>
                </c:pt>
                <c:pt idx="1666">
                  <c:v>7.8849999999999998</c:v>
                </c:pt>
                <c:pt idx="1667">
                  <c:v>7.8849999999999998</c:v>
                </c:pt>
                <c:pt idx="1668">
                  <c:v>7.8849999999999998</c:v>
                </c:pt>
                <c:pt idx="1669">
                  <c:v>7.8840000000000003</c:v>
                </c:pt>
                <c:pt idx="1670">
                  <c:v>7.8840000000000003</c:v>
                </c:pt>
                <c:pt idx="1671">
                  <c:v>7.8840000000000003</c:v>
                </c:pt>
                <c:pt idx="1672">
                  <c:v>7.883</c:v>
                </c:pt>
                <c:pt idx="1673">
                  <c:v>7.883</c:v>
                </c:pt>
                <c:pt idx="1674">
                  <c:v>7.883</c:v>
                </c:pt>
                <c:pt idx="1675">
                  <c:v>7.883</c:v>
                </c:pt>
                <c:pt idx="1676">
                  <c:v>7.8819999999999997</c:v>
                </c:pt>
                <c:pt idx="1677">
                  <c:v>7.8819999999999997</c:v>
                </c:pt>
                <c:pt idx="1678">
                  <c:v>7.8810000000000002</c:v>
                </c:pt>
                <c:pt idx="1679">
                  <c:v>7.8810000000000002</c:v>
                </c:pt>
                <c:pt idx="1680">
                  <c:v>7.8810000000000002</c:v>
                </c:pt>
                <c:pt idx="1681">
                  <c:v>7.88</c:v>
                </c:pt>
                <c:pt idx="1682">
                  <c:v>7.8810000000000002</c:v>
                </c:pt>
                <c:pt idx="1683">
                  <c:v>7.88</c:v>
                </c:pt>
                <c:pt idx="1684">
                  <c:v>7.8789999999999996</c:v>
                </c:pt>
                <c:pt idx="1685">
                  <c:v>7.8789999999999996</c:v>
                </c:pt>
                <c:pt idx="1686">
                  <c:v>7.8789999999999996</c:v>
                </c:pt>
                <c:pt idx="1687">
                  <c:v>7.8780000000000001</c:v>
                </c:pt>
                <c:pt idx="1688">
                  <c:v>7.8780000000000001</c:v>
                </c:pt>
                <c:pt idx="1689">
                  <c:v>7.8780000000000001</c:v>
                </c:pt>
                <c:pt idx="1690">
                  <c:v>7.8769999999999998</c:v>
                </c:pt>
                <c:pt idx="1691">
                  <c:v>7.8780000000000001</c:v>
                </c:pt>
                <c:pt idx="1692">
                  <c:v>7.8769999999999998</c:v>
                </c:pt>
                <c:pt idx="1693">
                  <c:v>7.8769999999999998</c:v>
                </c:pt>
                <c:pt idx="1694">
                  <c:v>7.8760000000000003</c:v>
                </c:pt>
                <c:pt idx="1695">
                  <c:v>7.8760000000000003</c:v>
                </c:pt>
                <c:pt idx="1696">
                  <c:v>7.8760000000000003</c:v>
                </c:pt>
                <c:pt idx="1697">
                  <c:v>7.8760000000000003</c:v>
                </c:pt>
                <c:pt idx="1698">
                  <c:v>7.8760000000000003</c:v>
                </c:pt>
                <c:pt idx="1699">
                  <c:v>7.875</c:v>
                </c:pt>
                <c:pt idx="1700">
                  <c:v>7.8739999999999997</c:v>
                </c:pt>
                <c:pt idx="1701">
                  <c:v>7.875</c:v>
                </c:pt>
                <c:pt idx="1702">
                  <c:v>7.8739999999999997</c:v>
                </c:pt>
                <c:pt idx="1703">
                  <c:v>7.8739999999999997</c:v>
                </c:pt>
                <c:pt idx="1704">
                  <c:v>7.8739999999999997</c:v>
                </c:pt>
                <c:pt idx="1705">
                  <c:v>7.8730000000000002</c:v>
                </c:pt>
                <c:pt idx="1706">
                  <c:v>7.8730000000000002</c:v>
                </c:pt>
                <c:pt idx="1707">
                  <c:v>7.8739999999999997</c:v>
                </c:pt>
                <c:pt idx="1708">
                  <c:v>7.8719999999999999</c:v>
                </c:pt>
                <c:pt idx="1709">
                  <c:v>7.8719999999999999</c:v>
                </c:pt>
                <c:pt idx="1710">
                  <c:v>7.8719999999999999</c:v>
                </c:pt>
                <c:pt idx="1711">
                  <c:v>7.8719999999999999</c:v>
                </c:pt>
                <c:pt idx="1712">
                  <c:v>7.8719999999999999</c:v>
                </c:pt>
                <c:pt idx="1713">
                  <c:v>7.8710000000000004</c:v>
                </c:pt>
                <c:pt idx="1714">
                  <c:v>7.8710000000000004</c:v>
                </c:pt>
                <c:pt idx="1715">
                  <c:v>7.8710000000000004</c:v>
                </c:pt>
                <c:pt idx="1716">
                  <c:v>7.8710000000000004</c:v>
                </c:pt>
                <c:pt idx="1717">
                  <c:v>7.87</c:v>
                </c:pt>
                <c:pt idx="1718">
                  <c:v>7.87</c:v>
                </c:pt>
                <c:pt idx="1719">
                  <c:v>7.8710000000000004</c:v>
                </c:pt>
                <c:pt idx="1720">
                  <c:v>7.8689999999999998</c:v>
                </c:pt>
                <c:pt idx="1721">
                  <c:v>7.87</c:v>
                </c:pt>
                <c:pt idx="1722">
                  <c:v>7.8689999999999998</c:v>
                </c:pt>
                <c:pt idx="1723">
                  <c:v>7.8680000000000003</c:v>
                </c:pt>
                <c:pt idx="1724">
                  <c:v>7.8689999999999998</c:v>
                </c:pt>
                <c:pt idx="1725">
                  <c:v>7.8680000000000003</c:v>
                </c:pt>
                <c:pt idx="1726">
                  <c:v>7.8680000000000003</c:v>
                </c:pt>
                <c:pt idx="1727">
                  <c:v>7.8680000000000003</c:v>
                </c:pt>
                <c:pt idx="1728">
                  <c:v>7.8680000000000003</c:v>
                </c:pt>
                <c:pt idx="1729">
                  <c:v>7.867</c:v>
                </c:pt>
                <c:pt idx="1730">
                  <c:v>7.867</c:v>
                </c:pt>
                <c:pt idx="1731">
                  <c:v>7.867</c:v>
                </c:pt>
                <c:pt idx="1732">
                  <c:v>7.867</c:v>
                </c:pt>
                <c:pt idx="1733">
                  <c:v>7.867</c:v>
                </c:pt>
                <c:pt idx="1734">
                  <c:v>7.8659999999999997</c:v>
                </c:pt>
                <c:pt idx="1735">
                  <c:v>7.8659999999999997</c:v>
                </c:pt>
                <c:pt idx="1736">
                  <c:v>7.8659999999999997</c:v>
                </c:pt>
                <c:pt idx="1737">
                  <c:v>7.8650000000000002</c:v>
                </c:pt>
                <c:pt idx="1738">
                  <c:v>7.8659999999999997</c:v>
                </c:pt>
                <c:pt idx="1739">
                  <c:v>7.8639999999999999</c:v>
                </c:pt>
                <c:pt idx="1740">
                  <c:v>7.8650000000000002</c:v>
                </c:pt>
                <c:pt idx="1741">
                  <c:v>7.8639999999999999</c:v>
                </c:pt>
                <c:pt idx="1742">
                  <c:v>7.8639999999999999</c:v>
                </c:pt>
                <c:pt idx="1743">
                  <c:v>7.8639999999999999</c:v>
                </c:pt>
                <c:pt idx="1744">
                  <c:v>7.8639999999999999</c:v>
                </c:pt>
                <c:pt idx="1745">
                  <c:v>7.8639999999999999</c:v>
                </c:pt>
                <c:pt idx="1746">
                  <c:v>7.8630000000000004</c:v>
                </c:pt>
                <c:pt idx="1747">
                  <c:v>7.8630000000000004</c:v>
                </c:pt>
                <c:pt idx="1748">
                  <c:v>7.8630000000000004</c:v>
                </c:pt>
                <c:pt idx="1749">
                  <c:v>7.8630000000000004</c:v>
                </c:pt>
                <c:pt idx="1750">
                  <c:v>7.8620000000000001</c:v>
                </c:pt>
                <c:pt idx="1751">
                  <c:v>7.8620000000000001</c:v>
                </c:pt>
                <c:pt idx="1752">
                  <c:v>7.8620000000000001</c:v>
                </c:pt>
                <c:pt idx="1753">
                  <c:v>7.8609999999999998</c:v>
                </c:pt>
                <c:pt idx="1754">
                  <c:v>7.8620000000000001</c:v>
                </c:pt>
                <c:pt idx="1755">
                  <c:v>7.8609999999999998</c:v>
                </c:pt>
                <c:pt idx="1756">
                  <c:v>7.8609999999999998</c:v>
                </c:pt>
                <c:pt idx="1757">
                  <c:v>7.8609999999999998</c:v>
                </c:pt>
                <c:pt idx="1758">
                  <c:v>7.8609999999999998</c:v>
                </c:pt>
                <c:pt idx="1759">
                  <c:v>7.86</c:v>
                </c:pt>
                <c:pt idx="1760">
                  <c:v>7.86</c:v>
                </c:pt>
                <c:pt idx="1761">
                  <c:v>7.86</c:v>
                </c:pt>
                <c:pt idx="1762">
                  <c:v>7.86</c:v>
                </c:pt>
                <c:pt idx="1763">
                  <c:v>7.859</c:v>
                </c:pt>
                <c:pt idx="1764">
                  <c:v>7.859</c:v>
                </c:pt>
                <c:pt idx="1765">
                  <c:v>7.859</c:v>
                </c:pt>
                <c:pt idx="1766">
                  <c:v>7.859</c:v>
                </c:pt>
                <c:pt idx="1767">
                  <c:v>7.859</c:v>
                </c:pt>
                <c:pt idx="1768">
                  <c:v>7.8579999999999997</c:v>
                </c:pt>
                <c:pt idx="1769">
                  <c:v>7.8579999999999997</c:v>
                </c:pt>
                <c:pt idx="1770">
                  <c:v>7.8579999999999997</c:v>
                </c:pt>
                <c:pt idx="1771">
                  <c:v>7.8579999999999997</c:v>
                </c:pt>
                <c:pt idx="1772">
                  <c:v>7.8579999999999997</c:v>
                </c:pt>
                <c:pt idx="1773">
                  <c:v>7.8579999999999997</c:v>
                </c:pt>
                <c:pt idx="1774">
                  <c:v>7.8570000000000002</c:v>
                </c:pt>
                <c:pt idx="1775">
                  <c:v>7.8570000000000002</c:v>
                </c:pt>
                <c:pt idx="1776">
                  <c:v>7.8570000000000002</c:v>
                </c:pt>
                <c:pt idx="1777">
                  <c:v>7.8570000000000002</c:v>
                </c:pt>
                <c:pt idx="1778">
                  <c:v>7.8570000000000002</c:v>
                </c:pt>
                <c:pt idx="1779">
                  <c:v>7.8570000000000002</c:v>
                </c:pt>
                <c:pt idx="1780">
                  <c:v>7.8570000000000002</c:v>
                </c:pt>
                <c:pt idx="1781">
                  <c:v>7.8559999999999999</c:v>
                </c:pt>
                <c:pt idx="1782">
                  <c:v>7.8559999999999999</c:v>
                </c:pt>
                <c:pt idx="1783">
                  <c:v>7.8559999999999999</c:v>
                </c:pt>
                <c:pt idx="1784">
                  <c:v>7.8559999999999999</c:v>
                </c:pt>
                <c:pt idx="1785">
                  <c:v>7.8559999999999999</c:v>
                </c:pt>
                <c:pt idx="1786">
                  <c:v>7.8550000000000004</c:v>
                </c:pt>
                <c:pt idx="1787">
                  <c:v>7.8559999999999999</c:v>
                </c:pt>
                <c:pt idx="1788">
                  <c:v>7.8550000000000004</c:v>
                </c:pt>
                <c:pt idx="1789">
                  <c:v>7.8550000000000004</c:v>
                </c:pt>
                <c:pt idx="1790">
                  <c:v>7.8550000000000004</c:v>
                </c:pt>
                <c:pt idx="1791">
                  <c:v>7.8550000000000004</c:v>
                </c:pt>
                <c:pt idx="1792">
                  <c:v>7.8550000000000004</c:v>
                </c:pt>
                <c:pt idx="1793">
                  <c:v>7.8540000000000001</c:v>
                </c:pt>
                <c:pt idx="1794">
                  <c:v>7.8540000000000001</c:v>
                </c:pt>
                <c:pt idx="1795">
                  <c:v>7.8540000000000001</c:v>
                </c:pt>
                <c:pt idx="1796">
                  <c:v>7.8529999999999998</c:v>
                </c:pt>
                <c:pt idx="1797">
                  <c:v>7.8529999999999998</c:v>
                </c:pt>
                <c:pt idx="1798">
                  <c:v>7.8529999999999998</c:v>
                </c:pt>
                <c:pt idx="1799">
                  <c:v>7.8529999999999998</c:v>
                </c:pt>
                <c:pt idx="1800">
                  <c:v>7.8529999999999998</c:v>
                </c:pt>
                <c:pt idx="1801">
                  <c:v>7.8529999999999998</c:v>
                </c:pt>
                <c:pt idx="1802">
                  <c:v>7.8520000000000003</c:v>
                </c:pt>
                <c:pt idx="1803">
                  <c:v>7.8520000000000003</c:v>
                </c:pt>
                <c:pt idx="1804">
                  <c:v>7.8520000000000003</c:v>
                </c:pt>
                <c:pt idx="1805">
                  <c:v>7.8520000000000003</c:v>
                </c:pt>
                <c:pt idx="1806">
                  <c:v>7.8520000000000003</c:v>
                </c:pt>
                <c:pt idx="1807">
                  <c:v>7.8520000000000003</c:v>
                </c:pt>
                <c:pt idx="1808">
                  <c:v>7.8520000000000003</c:v>
                </c:pt>
                <c:pt idx="1809">
                  <c:v>7.851</c:v>
                </c:pt>
                <c:pt idx="1810">
                  <c:v>7.851</c:v>
                </c:pt>
                <c:pt idx="1811">
                  <c:v>7.851</c:v>
                </c:pt>
                <c:pt idx="1812">
                  <c:v>7.851</c:v>
                </c:pt>
                <c:pt idx="1813">
                  <c:v>7.85</c:v>
                </c:pt>
                <c:pt idx="1814">
                  <c:v>7.85</c:v>
                </c:pt>
                <c:pt idx="1815">
                  <c:v>7.85</c:v>
                </c:pt>
                <c:pt idx="1816">
                  <c:v>7.85</c:v>
                </c:pt>
                <c:pt idx="1817">
                  <c:v>7.85</c:v>
                </c:pt>
                <c:pt idx="1818">
                  <c:v>7.85</c:v>
                </c:pt>
                <c:pt idx="1819">
                  <c:v>7.8490000000000002</c:v>
                </c:pt>
                <c:pt idx="1820">
                  <c:v>7.8490000000000002</c:v>
                </c:pt>
                <c:pt idx="1821">
                  <c:v>7.8490000000000002</c:v>
                </c:pt>
                <c:pt idx="1822">
                  <c:v>7.8490000000000002</c:v>
                </c:pt>
                <c:pt idx="1823">
                  <c:v>7.8490000000000002</c:v>
                </c:pt>
                <c:pt idx="1824">
                  <c:v>7.8479999999999999</c:v>
                </c:pt>
                <c:pt idx="1825">
                  <c:v>7.8479999999999999</c:v>
                </c:pt>
                <c:pt idx="1826">
                  <c:v>7.8479999999999999</c:v>
                </c:pt>
                <c:pt idx="1827">
                  <c:v>7.8479999999999999</c:v>
                </c:pt>
                <c:pt idx="1828">
                  <c:v>7.8479999999999999</c:v>
                </c:pt>
                <c:pt idx="1829">
                  <c:v>7.8470000000000004</c:v>
                </c:pt>
                <c:pt idx="1830">
                  <c:v>7.8460000000000001</c:v>
                </c:pt>
                <c:pt idx="1831">
                  <c:v>7.8470000000000004</c:v>
                </c:pt>
                <c:pt idx="1832">
                  <c:v>7.8470000000000004</c:v>
                </c:pt>
                <c:pt idx="1833">
                  <c:v>7.8460000000000001</c:v>
                </c:pt>
                <c:pt idx="1834">
                  <c:v>7.8460000000000001</c:v>
                </c:pt>
                <c:pt idx="1835">
                  <c:v>7.8460000000000001</c:v>
                </c:pt>
                <c:pt idx="1836">
                  <c:v>7.8449999999999998</c:v>
                </c:pt>
                <c:pt idx="1837">
                  <c:v>7.8449999999999998</c:v>
                </c:pt>
                <c:pt idx="1838">
                  <c:v>7.8449999999999998</c:v>
                </c:pt>
                <c:pt idx="1839">
                  <c:v>7.8449999999999998</c:v>
                </c:pt>
                <c:pt idx="1840">
                  <c:v>7.8449999999999998</c:v>
                </c:pt>
                <c:pt idx="1841">
                  <c:v>7.8449999999999998</c:v>
                </c:pt>
                <c:pt idx="1842">
                  <c:v>7.8449999999999998</c:v>
                </c:pt>
                <c:pt idx="1843">
                  <c:v>7.8440000000000003</c:v>
                </c:pt>
                <c:pt idx="1844">
                  <c:v>7.8440000000000003</c:v>
                </c:pt>
                <c:pt idx="1845">
                  <c:v>7.8440000000000003</c:v>
                </c:pt>
                <c:pt idx="1846">
                  <c:v>7.843</c:v>
                </c:pt>
                <c:pt idx="1847">
                  <c:v>7.8440000000000003</c:v>
                </c:pt>
                <c:pt idx="1848">
                  <c:v>7.843</c:v>
                </c:pt>
                <c:pt idx="1849">
                  <c:v>7.843</c:v>
                </c:pt>
                <c:pt idx="1850">
                  <c:v>7.843</c:v>
                </c:pt>
                <c:pt idx="1851">
                  <c:v>7.8419999999999996</c:v>
                </c:pt>
                <c:pt idx="1852">
                  <c:v>7.8419999999999996</c:v>
                </c:pt>
                <c:pt idx="1853">
                  <c:v>7.8419999999999996</c:v>
                </c:pt>
                <c:pt idx="1854">
                  <c:v>7.8419999999999996</c:v>
                </c:pt>
                <c:pt idx="1855">
                  <c:v>7.8419999999999996</c:v>
                </c:pt>
                <c:pt idx="1856">
                  <c:v>7.8419999999999996</c:v>
                </c:pt>
                <c:pt idx="1857">
                  <c:v>7.8410000000000002</c:v>
                </c:pt>
                <c:pt idx="1858">
                  <c:v>7.8410000000000002</c:v>
                </c:pt>
                <c:pt idx="1859">
                  <c:v>7.8410000000000002</c:v>
                </c:pt>
                <c:pt idx="1860">
                  <c:v>7.8410000000000002</c:v>
                </c:pt>
                <c:pt idx="1861">
                  <c:v>7.8410000000000002</c:v>
                </c:pt>
                <c:pt idx="1862">
                  <c:v>7.84</c:v>
                </c:pt>
                <c:pt idx="1863">
                  <c:v>7.84</c:v>
                </c:pt>
                <c:pt idx="1864">
                  <c:v>7.84</c:v>
                </c:pt>
                <c:pt idx="1865">
                  <c:v>7.8390000000000004</c:v>
                </c:pt>
                <c:pt idx="1866">
                  <c:v>7.8390000000000004</c:v>
                </c:pt>
                <c:pt idx="1867">
                  <c:v>7.8390000000000004</c:v>
                </c:pt>
                <c:pt idx="1868">
                  <c:v>7.8390000000000004</c:v>
                </c:pt>
                <c:pt idx="1869">
                  <c:v>7.8390000000000004</c:v>
                </c:pt>
                <c:pt idx="1870">
                  <c:v>7.8380000000000001</c:v>
                </c:pt>
                <c:pt idx="1871">
                  <c:v>7.8390000000000004</c:v>
                </c:pt>
                <c:pt idx="1872">
                  <c:v>7.8380000000000001</c:v>
                </c:pt>
                <c:pt idx="1873">
                  <c:v>7.8390000000000004</c:v>
                </c:pt>
                <c:pt idx="1874">
                  <c:v>7.8380000000000001</c:v>
                </c:pt>
                <c:pt idx="1875">
                  <c:v>7.8380000000000001</c:v>
                </c:pt>
                <c:pt idx="1876">
                  <c:v>7.8380000000000001</c:v>
                </c:pt>
                <c:pt idx="1877">
                  <c:v>7.8380000000000001</c:v>
                </c:pt>
                <c:pt idx="1878">
                  <c:v>7.8369999999999997</c:v>
                </c:pt>
                <c:pt idx="1879">
                  <c:v>7.8369999999999997</c:v>
                </c:pt>
                <c:pt idx="1880">
                  <c:v>7.8369999999999997</c:v>
                </c:pt>
                <c:pt idx="1881">
                  <c:v>7.8369999999999997</c:v>
                </c:pt>
                <c:pt idx="1882">
                  <c:v>7.8360000000000003</c:v>
                </c:pt>
                <c:pt idx="1883">
                  <c:v>7.8360000000000003</c:v>
                </c:pt>
                <c:pt idx="1884">
                  <c:v>7.8360000000000003</c:v>
                </c:pt>
                <c:pt idx="1885">
                  <c:v>7.8360000000000003</c:v>
                </c:pt>
                <c:pt idx="1886">
                  <c:v>7.8360000000000003</c:v>
                </c:pt>
                <c:pt idx="1887">
                  <c:v>7.8360000000000003</c:v>
                </c:pt>
                <c:pt idx="1888">
                  <c:v>7.835</c:v>
                </c:pt>
                <c:pt idx="1889">
                  <c:v>7.8360000000000003</c:v>
                </c:pt>
                <c:pt idx="1890">
                  <c:v>7.835</c:v>
                </c:pt>
                <c:pt idx="1891">
                  <c:v>7.835</c:v>
                </c:pt>
                <c:pt idx="1892">
                  <c:v>7.8339999999999996</c:v>
                </c:pt>
                <c:pt idx="1893">
                  <c:v>7.8339999999999996</c:v>
                </c:pt>
                <c:pt idx="1894">
                  <c:v>7.835</c:v>
                </c:pt>
                <c:pt idx="1895">
                  <c:v>7.8339999999999996</c:v>
                </c:pt>
                <c:pt idx="1896">
                  <c:v>7.8339999999999996</c:v>
                </c:pt>
                <c:pt idx="1897">
                  <c:v>7.8330000000000002</c:v>
                </c:pt>
                <c:pt idx="1898">
                  <c:v>7.8339999999999996</c:v>
                </c:pt>
                <c:pt idx="1899">
                  <c:v>7.8319999999999999</c:v>
                </c:pt>
                <c:pt idx="1900">
                  <c:v>7.8330000000000002</c:v>
                </c:pt>
                <c:pt idx="1901">
                  <c:v>7.8330000000000002</c:v>
                </c:pt>
                <c:pt idx="1902">
                  <c:v>7.8319999999999999</c:v>
                </c:pt>
                <c:pt idx="1903">
                  <c:v>7.8319999999999999</c:v>
                </c:pt>
                <c:pt idx="1904">
                  <c:v>7.8319999999999999</c:v>
                </c:pt>
                <c:pt idx="1905">
                  <c:v>7.8319999999999999</c:v>
                </c:pt>
                <c:pt idx="1906">
                  <c:v>7.8319999999999999</c:v>
                </c:pt>
                <c:pt idx="1907">
                  <c:v>7.8310000000000004</c:v>
                </c:pt>
                <c:pt idx="1908">
                  <c:v>7.8319999999999999</c:v>
                </c:pt>
                <c:pt idx="1909">
                  <c:v>7.8310000000000004</c:v>
                </c:pt>
                <c:pt idx="1910">
                  <c:v>7.8310000000000004</c:v>
                </c:pt>
                <c:pt idx="1911">
                  <c:v>7.83</c:v>
                </c:pt>
                <c:pt idx="1912">
                  <c:v>7.83</c:v>
                </c:pt>
                <c:pt idx="1913">
                  <c:v>7.83</c:v>
                </c:pt>
                <c:pt idx="1914">
                  <c:v>7.83</c:v>
                </c:pt>
                <c:pt idx="1915">
                  <c:v>7.83</c:v>
                </c:pt>
                <c:pt idx="1916">
                  <c:v>7.8289999999999997</c:v>
                </c:pt>
                <c:pt idx="1917">
                  <c:v>7.8289999999999997</c:v>
                </c:pt>
                <c:pt idx="1918">
                  <c:v>7.8289999999999997</c:v>
                </c:pt>
                <c:pt idx="1919">
                  <c:v>7.8289999999999997</c:v>
                </c:pt>
                <c:pt idx="1920">
                  <c:v>7.8280000000000003</c:v>
                </c:pt>
                <c:pt idx="1921">
                  <c:v>7.8280000000000003</c:v>
                </c:pt>
                <c:pt idx="1922">
                  <c:v>7.8280000000000003</c:v>
                </c:pt>
                <c:pt idx="1923">
                  <c:v>7.827</c:v>
                </c:pt>
                <c:pt idx="1924">
                  <c:v>7.827</c:v>
                </c:pt>
                <c:pt idx="1925">
                  <c:v>7.827</c:v>
                </c:pt>
                <c:pt idx="1926">
                  <c:v>7.827</c:v>
                </c:pt>
                <c:pt idx="1927">
                  <c:v>7.827</c:v>
                </c:pt>
                <c:pt idx="1928">
                  <c:v>7.8259999999999996</c:v>
                </c:pt>
                <c:pt idx="1929">
                  <c:v>7.8259999999999996</c:v>
                </c:pt>
                <c:pt idx="1930">
                  <c:v>7.8250000000000002</c:v>
                </c:pt>
                <c:pt idx="1931">
                  <c:v>7.8259999999999996</c:v>
                </c:pt>
                <c:pt idx="1932">
                  <c:v>7.8250000000000002</c:v>
                </c:pt>
                <c:pt idx="1933">
                  <c:v>7.8250000000000002</c:v>
                </c:pt>
                <c:pt idx="1934">
                  <c:v>7.8250000000000002</c:v>
                </c:pt>
                <c:pt idx="1935">
                  <c:v>7.8239999999999998</c:v>
                </c:pt>
                <c:pt idx="1936">
                  <c:v>7.8250000000000002</c:v>
                </c:pt>
                <c:pt idx="1937">
                  <c:v>7.8239999999999998</c:v>
                </c:pt>
                <c:pt idx="1938">
                  <c:v>7.8239999999999998</c:v>
                </c:pt>
                <c:pt idx="1939">
                  <c:v>7.8239999999999998</c:v>
                </c:pt>
                <c:pt idx="1940">
                  <c:v>7.8239999999999998</c:v>
                </c:pt>
                <c:pt idx="1941">
                  <c:v>7.8230000000000004</c:v>
                </c:pt>
                <c:pt idx="1942">
                  <c:v>7.8230000000000004</c:v>
                </c:pt>
                <c:pt idx="1943">
                  <c:v>7.8220000000000001</c:v>
                </c:pt>
                <c:pt idx="1944">
                  <c:v>7.8230000000000004</c:v>
                </c:pt>
                <c:pt idx="1945">
                  <c:v>7.8220000000000001</c:v>
                </c:pt>
                <c:pt idx="1946">
                  <c:v>7.8220000000000001</c:v>
                </c:pt>
                <c:pt idx="1947">
                  <c:v>7.8220000000000001</c:v>
                </c:pt>
                <c:pt idx="1948">
                  <c:v>7.8209999999999997</c:v>
                </c:pt>
                <c:pt idx="1949">
                  <c:v>7.8209999999999997</c:v>
                </c:pt>
                <c:pt idx="1950">
                  <c:v>7.8209999999999997</c:v>
                </c:pt>
                <c:pt idx="1951">
                  <c:v>7.8209999999999997</c:v>
                </c:pt>
                <c:pt idx="1952">
                  <c:v>7.8209999999999997</c:v>
                </c:pt>
                <c:pt idx="1953">
                  <c:v>7.82</c:v>
                </c:pt>
                <c:pt idx="1954">
                  <c:v>7.82</c:v>
                </c:pt>
                <c:pt idx="1955">
                  <c:v>7.82</c:v>
                </c:pt>
                <c:pt idx="1956">
                  <c:v>7.819</c:v>
                </c:pt>
                <c:pt idx="1957">
                  <c:v>7.82</c:v>
                </c:pt>
                <c:pt idx="1958">
                  <c:v>7.82</c:v>
                </c:pt>
                <c:pt idx="1959">
                  <c:v>7.82</c:v>
                </c:pt>
                <c:pt idx="1960">
                  <c:v>7.819</c:v>
                </c:pt>
                <c:pt idx="1961">
                  <c:v>7.819</c:v>
                </c:pt>
                <c:pt idx="1962">
                  <c:v>7.8179999999999996</c:v>
                </c:pt>
                <c:pt idx="1963">
                  <c:v>7.8179999999999996</c:v>
                </c:pt>
                <c:pt idx="1964">
                  <c:v>7.8179999999999996</c:v>
                </c:pt>
                <c:pt idx="1965">
                  <c:v>7.8179999999999996</c:v>
                </c:pt>
                <c:pt idx="1966">
                  <c:v>7.8179999999999996</c:v>
                </c:pt>
                <c:pt idx="1967">
                  <c:v>7.8179999999999996</c:v>
                </c:pt>
                <c:pt idx="1968">
                  <c:v>7.8179999999999996</c:v>
                </c:pt>
                <c:pt idx="1969">
                  <c:v>7.8170000000000002</c:v>
                </c:pt>
                <c:pt idx="1970">
                  <c:v>7.8170000000000002</c:v>
                </c:pt>
                <c:pt idx="1971">
                  <c:v>7.8170000000000002</c:v>
                </c:pt>
                <c:pt idx="1972">
                  <c:v>7.8170000000000002</c:v>
                </c:pt>
                <c:pt idx="1973">
                  <c:v>7.8170000000000002</c:v>
                </c:pt>
                <c:pt idx="1974">
                  <c:v>7.8159999999999998</c:v>
                </c:pt>
                <c:pt idx="1975">
                  <c:v>7.8159999999999998</c:v>
                </c:pt>
                <c:pt idx="1976">
                  <c:v>7.8150000000000004</c:v>
                </c:pt>
                <c:pt idx="1977">
                  <c:v>7.8150000000000004</c:v>
                </c:pt>
                <c:pt idx="1978">
                  <c:v>7.8150000000000004</c:v>
                </c:pt>
                <c:pt idx="1979">
                  <c:v>7.8150000000000004</c:v>
                </c:pt>
                <c:pt idx="1980">
                  <c:v>7.8150000000000004</c:v>
                </c:pt>
                <c:pt idx="1981">
                  <c:v>7.8140000000000001</c:v>
                </c:pt>
                <c:pt idx="1982">
                  <c:v>7.8150000000000004</c:v>
                </c:pt>
                <c:pt idx="1983">
                  <c:v>7.8140000000000001</c:v>
                </c:pt>
                <c:pt idx="1984">
                  <c:v>7.8140000000000001</c:v>
                </c:pt>
                <c:pt idx="1985">
                  <c:v>7.8140000000000001</c:v>
                </c:pt>
                <c:pt idx="1986">
                  <c:v>7.8129999999999997</c:v>
                </c:pt>
                <c:pt idx="1987">
                  <c:v>7.8129999999999997</c:v>
                </c:pt>
                <c:pt idx="1988">
                  <c:v>7.8129999999999997</c:v>
                </c:pt>
                <c:pt idx="1989">
                  <c:v>7.8120000000000003</c:v>
                </c:pt>
                <c:pt idx="1990">
                  <c:v>7.8120000000000003</c:v>
                </c:pt>
                <c:pt idx="1991">
                  <c:v>7.8120000000000003</c:v>
                </c:pt>
                <c:pt idx="1992">
                  <c:v>7.8120000000000003</c:v>
                </c:pt>
                <c:pt idx="1993">
                  <c:v>7.8120000000000003</c:v>
                </c:pt>
                <c:pt idx="1994">
                  <c:v>7.8120000000000003</c:v>
                </c:pt>
                <c:pt idx="1995">
                  <c:v>7.8109999999999999</c:v>
                </c:pt>
                <c:pt idx="1996">
                  <c:v>7.8109999999999999</c:v>
                </c:pt>
                <c:pt idx="1997">
                  <c:v>7.8109999999999999</c:v>
                </c:pt>
                <c:pt idx="1998">
                  <c:v>7.81</c:v>
                </c:pt>
                <c:pt idx="1999">
                  <c:v>7.81</c:v>
                </c:pt>
                <c:pt idx="2000">
                  <c:v>7.81</c:v>
                </c:pt>
                <c:pt idx="2001">
                  <c:v>7.81</c:v>
                </c:pt>
                <c:pt idx="2002">
                  <c:v>7.81</c:v>
                </c:pt>
                <c:pt idx="2003">
                  <c:v>7.81</c:v>
                </c:pt>
                <c:pt idx="2004">
                  <c:v>7.81</c:v>
                </c:pt>
                <c:pt idx="2005">
                  <c:v>7.81</c:v>
                </c:pt>
                <c:pt idx="2006">
                  <c:v>7.8090000000000002</c:v>
                </c:pt>
                <c:pt idx="2007">
                  <c:v>7.8090000000000002</c:v>
                </c:pt>
                <c:pt idx="2008">
                  <c:v>7.8090000000000002</c:v>
                </c:pt>
                <c:pt idx="2009">
                  <c:v>7.8090000000000002</c:v>
                </c:pt>
                <c:pt idx="2010">
                  <c:v>7.8079999999999998</c:v>
                </c:pt>
                <c:pt idx="2011">
                  <c:v>7.8079999999999998</c:v>
                </c:pt>
                <c:pt idx="2012">
                  <c:v>7.8079999999999998</c:v>
                </c:pt>
                <c:pt idx="2013">
                  <c:v>7.8079999999999998</c:v>
                </c:pt>
                <c:pt idx="2014">
                  <c:v>7.8079999999999998</c:v>
                </c:pt>
                <c:pt idx="2015">
                  <c:v>7.8070000000000004</c:v>
                </c:pt>
                <c:pt idx="2016">
                  <c:v>7.8070000000000004</c:v>
                </c:pt>
                <c:pt idx="2017">
                  <c:v>7.8070000000000004</c:v>
                </c:pt>
                <c:pt idx="2018">
                  <c:v>7.8070000000000004</c:v>
                </c:pt>
                <c:pt idx="2019">
                  <c:v>7.806</c:v>
                </c:pt>
                <c:pt idx="2020">
                  <c:v>7.806</c:v>
                </c:pt>
                <c:pt idx="2021">
                  <c:v>7.806</c:v>
                </c:pt>
                <c:pt idx="2022">
                  <c:v>7.8070000000000004</c:v>
                </c:pt>
                <c:pt idx="2023">
                  <c:v>7.806</c:v>
                </c:pt>
                <c:pt idx="2024">
                  <c:v>7.806</c:v>
                </c:pt>
                <c:pt idx="2025">
                  <c:v>7.8049999999999997</c:v>
                </c:pt>
                <c:pt idx="2026">
                  <c:v>7.806</c:v>
                </c:pt>
                <c:pt idx="2027">
                  <c:v>7.8049999999999997</c:v>
                </c:pt>
                <c:pt idx="2028">
                  <c:v>7.8040000000000003</c:v>
                </c:pt>
                <c:pt idx="2029">
                  <c:v>7.8040000000000003</c:v>
                </c:pt>
                <c:pt idx="2030">
                  <c:v>7.8040000000000003</c:v>
                </c:pt>
                <c:pt idx="2031">
                  <c:v>7.8040000000000003</c:v>
                </c:pt>
                <c:pt idx="2032">
                  <c:v>7.8040000000000003</c:v>
                </c:pt>
                <c:pt idx="2033">
                  <c:v>7.8040000000000003</c:v>
                </c:pt>
                <c:pt idx="2034">
                  <c:v>7.8029999999999999</c:v>
                </c:pt>
                <c:pt idx="2035">
                  <c:v>7.8040000000000003</c:v>
                </c:pt>
                <c:pt idx="2036">
                  <c:v>7.8029999999999999</c:v>
                </c:pt>
                <c:pt idx="2037">
                  <c:v>7.8029999999999999</c:v>
                </c:pt>
                <c:pt idx="2038">
                  <c:v>7.8029999999999999</c:v>
                </c:pt>
                <c:pt idx="2039">
                  <c:v>7.8019999999999996</c:v>
                </c:pt>
                <c:pt idx="2040">
                  <c:v>7.8019999999999996</c:v>
                </c:pt>
                <c:pt idx="2041">
                  <c:v>7.8019999999999996</c:v>
                </c:pt>
                <c:pt idx="2042">
                  <c:v>7.8019999999999996</c:v>
                </c:pt>
                <c:pt idx="2043">
                  <c:v>7.8010000000000002</c:v>
                </c:pt>
                <c:pt idx="2044">
                  <c:v>7.8010000000000002</c:v>
                </c:pt>
                <c:pt idx="2045">
                  <c:v>7.8010000000000002</c:v>
                </c:pt>
                <c:pt idx="2046">
                  <c:v>7.8</c:v>
                </c:pt>
                <c:pt idx="2047">
                  <c:v>7.8</c:v>
                </c:pt>
                <c:pt idx="2048">
                  <c:v>7.8</c:v>
                </c:pt>
                <c:pt idx="2049">
                  <c:v>7.8</c:v>
                </c:pt>
                <c:pt idx="2050">
                  <c:v>7.7990000000000004</c:v>
                </c:pt>
                <c:pt idx="2051">
                  <c:v>7.8</c:v>
                </c:pt>
                <c:pt idx="2052">
                  <c:v>7.8</c:v>
                </c:pt>
                <c:pt idx="2053">
                  <c:v>7.7990000000000004</c:v>
                </c:pt>
                <c:pt idx="2054">
                  <c:v>7.7990000000000004</c:v>
                </c:pt>
                <c:pt idx="2055">
                  <c:v>7.7990000000000004</c:v>
                </c:pt>
                <c:pt idx="2056">
                  <c:v>7.798</c:v>
                </c:pt>
                <c:pt idx="2057">
                  <c:v>7.798</c:v>
                </c:pt>
                <c:pt idx="2058">
                  <c:v>7.798</c:v>
                </c:pt>
                <c:pt idx="2059">
                  <c:v>7.7969999999999997</c:v>
                </c:pt>
                <c:pt idx="2060">
                  <c:v>7.798</c:v>
                </c:pt>
                <c:pt idx="2061">
                  <c:v>7.798</c:v>
                </c:pt>
                <c:pt idx="2062">
                  <c:v>7.798</c:v>
                </c:pt>
                <c:pt idx="2063">
                  <c:v>7.7969999999999997</c:v>
                </c:pt>
                <c:pt idx="2064">
                  <c:v>7.7969999999999997</c:v>
                </c:pt>
                <c:pt idx="2065">
                  <c:v>7.7960000000000003</c:v>
                </c:pt>
                <c:pt idx="2066">
                  <c:v>7.7969999999999997</c:v>
                </c:pt>
                <c:pt idx="2067">
                  <c:v>7.7960000000000003</c:v>
                </c:pt>
                <c:pt idx="2068">
                  <c:v>7.7949999999999999</c:v>
                </c:pt>
                <c:pt idx="2069">
                  <c:v>7.7949999999999999</c:v>
                </c:pt>
                <c:pt idx="2070">
                  <c:v>7.7949999999999999</c:v>
                </c:pt>
                <c:pt idx="2071">
                  <c:v>7.7949999999999999</c:v>
                </c:pt>
                <c:pt idx="2072">
                  <c:v>7.7939999999999996</c:v>
                </c:pt>
                <c:pt idx="2073">
                  <c:v>7.7939999999999996</c:v>
                </c:pt>
                <c:pt idx="2074">
                  <c:v>7.7939999999999996</c:v>
                </c:pt>
                <c:pt idx="2075">
                  <c:v>7.7939999999999996</c:v>
                </c:pt>
                <c:pt idx="2076">
                  <c:v>7.7939999999999996</c:v>
                </c:pt>
                <c:pt idx="2077">
                  <c:v>7.7939999999999996</c:v>
                </c:pt>
                <c:pt idx="2078">
                  <c:v>7.7939999999999996</c:v>
                </c:pt>
                <c:pt idx="2079">
                  <c:v>7.7919999999999998</c:v>
                </c:pt>
                <c:pt idx="2080">
                  <c:v>7.7930000000000001</c:v>
                </c:pt>
                <c:pt idx="2081">
                  <c:v>7.7919999999999998</c:v>
                </c:pt>
                <c:pt idx="2082">
                  <c:v>7.7919999999999998</c:v>
                </c:pt>
                <c:pt idx="2083">
                  <c:v>7.7919999999999998</c:v>
                </c:pt>
                <c:pt idx="2084">
                  <c:v>7.7919999999999998</c:v>
                </c:pt>
                <c:pt idx="2085">
                  <c:v>7.7910000000000004</c:v>
                </c:pt>
                <c:pt idx="2086">
                  <c:v>7.7910000000000004</c:v>
                </c:pt>
                <c:pt idx="2087">
                  <c:v>7.7910000000000004</c:v>
                </c:pt>
                <c:pt idx="2088">
                  <c:v>7.7910000000000004</c:v>
                </c:pt>
                <c:pt idx="2089">
                  <c:v>7.7910000000000004</c:v>
                </c:pt>
                <c:pt idx="2090">
                  <c:v>7.79</c:v>
                </c:pt>
                <c:pt idx="2091">
                  <c:v>7.79</c:v>
                </c:pt>
                <c:pt idx="2092">
                  <c:v>7.79</c:v>
                </c:pt>
                <c:pt idx="2093">
                  <c:v>7.79</c:v>
                </c:pt>
                <c:pt idx="2094">
                  <c:v>7.79</c:v>
                </c:pt>
                <c:pt idx="2095">
                  <c:v>7.7889999999999997</c:v>
                </c:pt>
                <c:pt idx="2096">
                  <c:v>7.7889999999999997</c:v>
                </c:pt>
                <c:pt idx="2097">
                  <c:v>7.7889999999999997</c:v>
                </c:pt>
                <c:pt idx="2098">
                  <c:v>7.7889999999999997</c:v>
                </c:pt>
                <c:pt idx="2099">
                  <c:v>7.7889999999999997</c:v>
                </c:pt>
                <c:pt idx="2100">
                  <c:v>7.7880000000000003</c:v>
                </c:pt>
                <c:pt idx="2101">
                  <c:v>7.7880000000000003</c:v>
                </c:pt>
                <c:pt idx="2102">
                  <c:v>7.7880000000000003</c:v>
                </c:pt>
                <c:pt idx="2103">
                  <c:v>7.7880000000000003</c:v>
                </c:pt>
                <c:pt idx="2104">
                  <c:v>7.7880000000000003</c:v>
                </c:pt>
                <c:pt idx="2105">
                  <c:v>7.7880000000000003</c:v>
                </c:pt>
                <c:pt idx="2106">
                  <c:v>7.7880000000000003</c:v>
                </c:pt>
                <c:pt idx="2107">
                  <c:v>7.7869999999999999</c:v>
                </c:pt>
                <c:pt idx="2108">
                  <c:v>7.7869999999999999</c:v>
                </c:pt>
                <c:pt idx="2109">
                  <c:v>7.7859999999999996</c:v>
                </c:pt>
                <c:pt idx="2110">
                  <c:v>7.7869999999999999</c:v>
                </c:pt>
                <c:pt idx="2111">
                  <c:v>7.7859999999999996</c:v>
                </c:pt>
                <c:pt idx="2112">
                  <c:v>7.7859999999999996</c:v>
                </c:pt>
                <c:pt idx="2113">
                  <c:v>7.7859999999999996</c:v>
                </c:pt>
                <c:pt idx="2114">
                  <c:v>7.7859999999999996</c:v>
                </c:pt>
                <c:pt idx="2115">
                  <c:v>7.7850000000000001</c:v>
                </c:pt>
                <c:pt idx="2116">
                  <c:v>7.7859999999999996</c:v>
                </c:pt>
                <c:pt idx="2117">
                  <c:v>7.7850000000000001</c:v>
                </c:pt>
                <c:pt idx="2118">
                  <c:v>7.7850000000000001</c:v>
                </c:pt>
                <c:pt idx="2119">
                  <c:v>7.7850000000000001</c:v>
                </c:pt>
                <c:pt idx="2120">
                  <c:v>7.7839999999999998</c:v>
                </c:pt>
                <c:pt idx="2121">
                  <c:v>7.7839999999999998</c:v>
                </c:pt>
                <c:pt idx="2122">
                  <c:v>7.7839999999999998</c:v>
                </c:pt>
                <c:pt idx="2123">
                  <c:v>7.7839999999999998</c:v>
                </c:pt>
                <c:pt idx="2124">
                  <c:v>7.7839999999999998</c:v>
                </c:pt>
                <c:pt idx="2125">
                  <c:v>7.7830000000000004</c:v>
                </c:pt>
                <c:pt idx="2126">
                  <c:v>7.7830000000000004</c:v>
                </c:pt>
                <c:pt idx="2127">
                  <c:v>7.7830000000000004</c:v>
                </c:pt>
                <c:pt idx="2128">
                  <c:v>7.7830000000000004</c:v>
                </c:pt>
                <c:pt idx="2129">
                  <c:v>7.7830000000000004</c:v>
                </c:pt>
                <c:pt idx="2130">
                  <c:v>7.782</c:v>
                </c:pt>
                <c:pt idx="2131">
                  <c:v>7.782</c:v>
                </c:pt>
                <c:pt idx="2132">
                  <c:v>7.7809999999999997</c:v>
                </c:pt>
                <c:pt idx="2133">
                  <c:v>7.7809999999999997</c:v>
                </c:pt>
                <c:pt idx="2134">
                  <c:v>7.7809999999999997</c:v>
                </c:pt>
                <c:pt idx="2135">
                  <c:v>7.7809999999999997</c:v>
                </c:pt>
                <c:pt idx="2136">
                  <c:v>7.7809999999999997</c:v>
                </c:pt>
                <c:pt idx="2137">
                  <c:v>7.7809999999999997</c:v>
                </c:pt>
                <c:pt idx="2138">
                  <c:v>7.78</c:v>
                </c:pt>
                <c:pt idx="2139">
                  <c:v>7.78</c:v>
                </c:pt>
                <c:pt idx="2140">
                  <c:v>7.78</c:v>
                </c:pt>
                <c:pt idx="2141">
                  <c:v>7.78</c:v>
                </c:pt>
                <c:pt idx="2142">
                  <c:v>7.7789999999999999</c:v>
                </c:pt>
                <c:pt idx="2143">
                  <c:v>7.78</c:v>
                </c:pt>
                <c:pt idx="2144">
                  <c:v>7.7789999999999999</c:v>
                </c:pt>
                <c:pt idx="2145">
                  <c:v>7.7789999999999999</c:v>
                </c:pt>
                <c:pt idx="2146">
                  <c:v>7.7789999999999999</c:v>
                </c:pt>
                <c:pt idx="2147">
                  <c:v>7.7789999999999999</c:v>
                </c:pt>
                <c:pt idx="2148">
                  <c:v>7.7789999999999999</c:v>
                </c:pt>
                <c:pt idx="2149">
                  <c:v>7.7789999999999999</c:v>
                </c:pt>
                <c:pt idx="2150">
                  <c:v>7.7779999999999996</c:v>
                </c:pt>
                <c:pt idx="2151">
                  <c:v>7.7779999999999996</c:v>
                </c:pt>
                <c:pt idx="2152">
                  <c:v>7.7779999999999996</c:v>
                </c:pt>
                <c:pt idx="2153">
                  <c:v>7.7770000000000001</c:v>
                </c:pt>
                <c:pt idx="2154">
                  <c:v>7.7770000000000001</c:v>
                </c:pt>
                <c:pt idx="2155">
                  <c:v>7.7770000000000001</c:v>
                </c:pt>
                <c:pt idx="2156">
                  <c:v>7.7770000000000001</c:v>
                </c:pt>
                <c:pt idx="2157">
                  <c:v>7.7770000000000001</c:v>
                </c:pt>
                <c:pt idx="2158">
                  <c:v>7.7759999999999998</c:v>
                </c:pt>
                <c:pt idx="2159">
                  <c:v>7.7759999999999998</c:v>
                </c:pt>
                <c:pt idx="2160">
                  <c:v>7.7759999999999998</c:v>
                </c:pt>
                <c:pt idx="2161">
                  <c:v>7.7759999999999998</c:v>
                </c:pt>
                <c:pt idx="2162">
                  <c:v>7.7750000000000004</c:v>
                </c:pt>
                <c:pt idx="2163">
                  <c:v>7.7750000000000004</c:v>
                </c:pt>
                <c:pt idx="2164">
                  <c:v>7.7750000000000004</c:v>
                </c:pt>
                <c:pt idx="2165">
                  <c:v>7.774</c:v>
                </c:pt>
                <c:pt idx="2166">
                  <c:v>7.7750000000000004</c:v>
                </c:pt>
                <c:pt idx="2167">
                  <c:v>7.774</c:v>
                </c:pt>
                <c:pt idx="2168">
                  <c:v>7.774</c:v>
                </c:pt>
                <c:pt idx="2169">
                  <c:v>7.774</c:v>
                </c:pt>
                <c:pt idx="2170">
                  <c:v>7.774</c:v>
                </c:pt>
                <c:pt idx="2171">
                  <c:v>7.7729999999999997</c:v>
                </c:pt>
                <c:pt idx="2172">
                  <c:v>7.7729999999999997</c:v>
                </c:pt>
                <c:pt idx="2173">
                  <c:v>7.7729999999999997</c:v>
                </c:pt>
                <c:pt idx="2174">
                  <c:v>7.7729999999999997</c:v>
                </c:pt>
                <c:pt idx="2175">
                  <c:v>7.7720000000000002</c:v>
                </c:pt>
                <c:pt idx="2176">
                  <c:v>7.7720000000000002</c:v>
                </c:pt>
                <c:pt idx="2177">
                  <c:v>7.7720000000000002</c:v>
                </c:pt>
                <c:pt idx="2178">
                  <c:v>7.7720000000000002</c:v>
                </c:pt>
                <c:pt idx="2179">
                  <c:v>7.7720000000000002</c:v>
                </c:pt>
                <c:pt idx="2180">
                  <c:v>7.7720000000000002</c:v>
                </c:pt>
                <c:pt idx="2181">
                  <c:v>7.7720000000000002</c:v>
                </c:pt>
                <c:pt idx="2182">
                  <c:v>7.7709999999999999</c:v>
                </c:pt>
                <c:pt idx="2183">
                  <c:v>7.7709999999999999</c:v>
                </c:pt>
                <c:pt idx="2184">
                  <c:v>7.7709999999999999</c:v>
                </c:pt>
                <c:pt idx="2185">
                  <c:v>7.7709999999999999</c:v>
                </c:pt>
                <c:pt idx="2186">
                  <c:v>7.7709999999999999</c:v>
                </c:pt>
                <c:pt idx="2187">
                  <c:v>7.77</c:v>
                </c:pt>
                <c:pt idx="2188">
                  <c:v>7.77</c:v>
                </c:pt>
                <c:pt idx="2189">
                  <c:v>7.7709999999999999</c:v>
                </c:pt>
                <c:pt idx="2190">
                  <c:v>7.77</c:v>
                </c:pt>
                <c:pt idx="2191">
                  <c:v>7.7690000000000001</c:v>
                </c:pt>
                <c:pt idx="2192">
                  <c:v>7.77</c:v>
                </c:pt>
                <c:pt idx="2193">
                  <c:v>7.7690000000000001</c:v>
                </c:pt>
                <c:pt idx="2194">
                  <c:v>7.7690000000000001</c:v>
                </c:pt>
                <c:pt idx="2195">
                  <c:v>7.77</c:v>
                </c:pt>
                <c:pt idx="2196">
                  <c:v>7.7690000000000001</c:v>
                </c:pt>
                <c:pt idx="2197">
                  <c:v>7.7679999999999998</c:v>
                </c:pt>
                <c:pt idx="2198">
                  <c:v>7.7679999999999998</c:v>
                </c:pt>
                <c:pt idx="2199">
                  <c:v>7.7679999999999998</c:v>
                </c:pt>
                <c:pt idx="2200">
                  <c:v>7.7679999999999998</c:v>
                </c:pt>
                <c:pt idx="2201">
                  <c:v>7.7670000000000003</c:v>
                </c:pt>
                <c:pt idx="2202">
                  <c:v>7.7679999999999998</c:v>
                </c:pt>
                <c:pt idx="2203">
                  <c:v>7.7679999999999998</c:v>
                </c:pt>
                <c:pt idx="2204">
                  <c:v>7.7670000000000003</c:v>
                </c:pt>
                <c:pt idx="2205">
                  <c:v>7.7670000000000003</c:v>
                </c:pt>
                <c:pt idx="2206">
                  <c:v>7.7670000000000003</c:v>
                </c:pt>
                <c:pt idx="2207">
                  <c:v>7.766</c:v>
                </c:pt>
                <c:pt idx="2208">
                  <c:v>7.766</c:v>
                </c:pt>
                <c:pt idx="2209">
                  <c:v>7.766</c:v>
                </c:pt>
                <c:pt idx="2210">
                  <c:v>7.7649999999999997</c:v>
                </c:pt>
                <c:pt idx="2211">
                  <c:v>7.7649999999999997</c:v>
                </c:pt>
                <c:pt idx="2212">
                  <c:v>7.766</c:v>
                </c:pt>
                <c:pt idx="2213">
                  <c:v>7.7649999999999997</c:v>
                </c:pt>
                <c:pt idx="2214">
                  <c:v>7.7649999999999997</c:v>
                </c:pt>
                <c:pt idx="2215">
                  <c:v>7.7649999999999997</c:v>
                </c:pt>
                <c:pt idx="2216">
                  <c:v>7.7649999999999997</c:v>
                </c:pt>
                <c:pt idx="2217">
                  <c:v>7.7649999999999997</c:v>
                </c:pt>
                <c:pt idx="2218">
                  <c:v>7.7640000000000002</c:v>
                </c:pt>
                <c:pt idx="2219">
                  <c:v>7.7640000000000002</c:v>
                </c:pt>
                <c:pt idx="2220">
                  <c:v>7.7640000000000002</c:v>
                </c:pt>
                <c:pt idx="2221">
                  <c:v>7.7640000000000002</c:v>
                </c:pt>
                <c:pt idx="2222">
                  <c:v>7.7640000000000002</c:v>
                </c:pt>
                <c:pt idx="2223">
                  <c:v>7.7640000000000002</c:v>
                </c:pt>
                <c:pt idx="2224">
                  <c:v>7.7629999999999999</c:v>
                </c:pt>
                <c:pt idx="2225">
                  <c:v>7.7629999999999999</c:v>
                </c:pt>
                <c:pt idx="2226">
                  <c:v>7.7629999999999999</c:v>
                </c:pt>
                <c:pt idx="2227">
                  <c:v>7.7629999999999999</c:v>
                </c:pt>
                <c:pt idx="2228">
                  <c:v>7.7619999999999996</c:v>
                </c:pt>
                <c:pt idx="2229">
                  <c:v>7.7619999999999996</c:v>
                </c:pt>
                <c:pt idx="2230">
                  <c:v>7.7619999999999996</c:v>
                </c:pt>
                <c:pt idx="2231">
                  <c:v>7.7619999999999996</c:v>
                </c:pt>
                <c:pt idx="2232">
                  <c:v>7.7610000000000001</c:v>
                </c:pt>
                <c:pt idx="2233">
                  <c:v>7.7610000000000001</c:v>
                </c:pt>
                <c:pt idx="2234">
                  <c:v>7.7610000000000001</c:v>
                </c:pt>
                <c:pt idx="2235">
                  <c:v>7.7610000000000001</c:v>
                </c:pt>
                <c:pt idx="2236">
                  <c:v>7.7610000000000001</c:v>
                </c:pt>
                <c:pt idx="2237">
                  <c:v>7.7610000000000001</c:v>
                </c:pt>
                <c:pt idx="2238">
                  <c:v>7.76</c:v>
                </c:pt>
                <c:pt idx="2239">
                  <c:v>7.7610000000000001</c:v>
                </c:pt>
                <c:pt idx="2240">
                  <c:v>7.76</c:v>
                </c:pt>
                <c:pt idx="2241">
                  <c:v>7.7590000000000003</c:v>
                </c:pt>
                <c:pt idx="2242">
                  <c:v>7.7590000000000003</c:v>
                </c:pt>
                <c:pt idx="2243">
                  <c:v>7.76</c:v>
                </c:pt>
                <c:pt idx="2244">
                  <c:v>7.7590000000000003</c:v>
                </c:pt>
                <c:pt idx="2245">
                  <c:v>7.7590000000000003</c:v>
                </c:pt>
                <c:pt idx="2246">
                  <c:v>7.7590000000000003</c:v>
                </c:pt>
                <c:pt idx="2247">
                  <c:v>7.758</c:v>
                </c:pt>
                <c:pt idx="2248">
                  <c:v>7.7590000000000003</c:v>
                </c:pt>
                <c:pt idx="2249">
                  <c:v>7.758</c:v>
                </c:pt>
                <c:pt idx="2250">
                  <c:v>7.7569999999999997</c:v>
                </c:pt>
                <c:pt idx="2251">
                  <c:v>7.758</c:v>
                </c:pt>
                <c:pt idx="2252">
                  <c:v>7.758</c:v>
                </c:pt>
                <c:pt idx="2253">
                  <c:v>7.758</c:v>
                </c:pt>
                <c:pt idx="2254">
                  <c:v>7.7569999999999997</c:v>
                </c:pt>
                <c:pt idx="2255">
                  <c:v>7.7569999999999997</c:v>
                </c:pt>
                <c:pt idx="2256">
                  <c:v>7.7569999999999997</c:v>
                </c:pt>
                <c:pt idx="2257">
                  <c:v>7.7569999999999997</c:v>
                </c:pt>
                <c:pt idx="2258">
                  <c:v>7.7569999999999997</c:v>
                </c:pt>
                <c:pt idx="2259">
                  <c:v>7.7569999999999997</c:v>
                </c:pt>
                <c:pt idx="2260">
                  <c:v>7.7560000000000002</c:v>
                </c:pt>
                <c:pt idx="2261">
                  <c:v>7.7569999999999997</c:v>
                </c:pt>
                <c:pt idx="2262">
                  <c:v>7.7560000000000002</c:v>
                </c:pt>
                <c:pt idx="2263">
                  <c:v>7.7560000000000002</c:v>
                </c:pt>
                <c:pt idx="2264">
                  <c:v>7.7549999999999999</c:v>
                </c:pt>
                <c:pt idx="2265">
                  <c:v>7.7549999999999999</c:v>
                </c:pt>
                <c:pt idx="2266">
                  <c:v>7.7560000000000002</c:v>
                </c:pt>
                <c:pt idx="2267">
                  <c:v>7.7549999999999999</c:v>
                </c:pt>
                <c:pt idx="2268">
                  <c:v>7.7549999999999999</c:v>
                </c:pt>
                <c:pt idx="2269">
                  <c:v>7.7549999999999999</c:v>
                </c:pt>
                <c:pt idx="2270">
                  <c:v>7.7539999999999996</c:v>
                </c:pt>
                <c:pt idx="2271">
                  <c:v>7.7539999999999996</c:v>
                </c:pt>
                <c:pt idx="2272">
                  <c:v>7.7539999999999996</c:v>
                </c:pt>
                <c:pt idx="2273">
                  <c:v>7.7530000000000001</c:v>
                </c:pt>
                <c:pt idx="2274">
                  <c:v>7.7539999999999996</c:v>
                </c:pt>
                <c:pt idx="2275">
                  <c:v>7.7530000000000001</c:v>
                </c:pt>
                <c:pt idx="2276">
                  <c:v>7.7530000000000001</c:v>
                </c:pt>
                <c:pt idx="2277">
                  <c:v>7.7530000000000001</c:v>
                </c:pt>
                <c:pt idx="2278">
                  <c:v>7.7530000000000001</c:v>
                </c:pt>
                <c:pt idx="2279">
                  <c:v>7.7530000000000001</c:v>
                </c:pt>
                <c:pt idx="2280">
                  <c:v>7.7519999999999998</c:v>
                </c:pt>
                <c:pt idx="2281">
                  <c:v>7.7519999999999998</c:v>
                </c:pt>
                <c:pt idx="2282">
                  <c:v>7.7519999999999998</c:v>
                </c:pt>
                <c:pt idx="2283">
                  <c:v>7.7519999999999998</c:v>
                </c:pt>
                <c:pt idx="2284">
                  <c:v>7.7510000000000003</c:v>
                </c:pt>
                <c:pt idx="2285">
                  <c:v>7.7510000000000003</c:v>
                </c:pt>
                <c:pt idx="2286">
                  <c:v>7.7510000000000003</c:v>
                </c:pt>
                <c:pt idx="2287">
                  <c:v>7.7510000000000003</c:v>
                </c:pt>
                <c:pt idx="2288">
                  <c:v>7.7510000000000003</c:v>
                </c:pt>
                <c:pt idx="2289">
                  <c:v>7.75</c:v>
                </c:pt>
                <c:pt idx="2290">
                  <c:v>7.75</c:v>
                </c:pt>
                <c:pt idx="2291">
                  <c:v>7.75</c:v>
                </c:pt>
                <c:pt idx="2292">
                  <c:v>7.75</c:v>
                </c:pt>
                <c:pt idx="2293">
                  <c:v>7.75</c:v>
                </c:pt>
                <c:pt idx="2294">
                  <c:v>7.7489999999999997</c:v>
                </c:pt>
                <c:pt idx="2295">
                  <c:v>7.7489999999999997</c:v>
                </c:pt>
                <c:pt idx="2296">
                  <c:v>7.7489999999999997</c:v>
                </c:pt>
                <c:pt idx="2297">
                  <c:v>7.7489999999999997</c:v>
                </c:pt>
                <c:pt idx="2298">
                  <c:v>7.7480000000000002</c:v>
                </c:pt>
                <c:pt idx="2299">
                  <c:v>7.7480000000000002</c:v>
                </c:pt>
                <c:pt idx="2300">
                  <c:v>7.7480000000000002</c:v>
                </c:pt>
                <c:pt idx="2301">
                  <c:v>7.7480000000000002</c:v>
                </c:pt>
                <c:pt idx="2302">
                  <c:v>7.7480000000000002</c:v>
                </c:pt>
                <c:pt idx="2303">
                  <c:v>7.7480000000000002</c:v>
                </c:pt>
                <c:pt idx="2304">
                  <c:v>7.7480000000000002</c:v>
                </c:pt>
                <c:pt idx="2305">
                  <c:v>7.7480000000000002</c:v>
                </c:pt>
                <c:pt idx="2306">
                  <c:v>7.7469999999999999</c:v>
                </c:pt>
                <c:pt idx="2307">
                  <c:v>7.7469999999999999</c:v>
                </c:pt>
                <c:pt idx="2308">
                  <c:v>7.7460000000000004</c:v>
                </c:pt>
                <c:pt idx="2309">
                  <c:v>7.7469999999999999</c:v>
                </c:pt>
                <c:pt idx="2310">
                  <c:v>7.7460000000000004</c:v>
                </c:pt>
                <c:pt idx="2311">
                  <c:v>7.7469999999999999</c:v>
                </c:pt>
                <c:pt idx="2312">
                  <c:v>7.7460000000000004</c:v>
                </c:pt>
                <c:pt idx="2313">
                  <c:v>7.7460000000000004</c:v>
                </c:pt>
                <c:pt idx="2314">
                  <c:v>7.7460000000000004</c:v>
                </c:pt>
                <c:pt idx="2315">
                  <c:v>7.7450000000000001</c:v>
                </c:pt>
                <c:pt idx="2316">
                  <c:v>7.7450000000000001</c:v>
                </c:pt>
                <c:pt idx="2317">
                  <c:v>7.7450000000000001</c:v>
                </c:pt>
                <c:pt idx="2318">
                  <c:v>7.7450000000000001</c:v>
                </c:pt>
                <c:pt idx="2319">
                  <c:v>7.7450000000000001</c:v>
                </c:pt>
                <c:pt idx="2320">
                  <c:v>7.7439999999999998</c:v>
                </c:pt>
                <c:pt idx="2321">
                  <c:v>7.7450000000000001</c:v>
                </c:pt>
                <c:pt idx="2322">
                  <c:v>7.7439999999999998</c:v>
                </c:pt>
                <c:pt idx="2323">
                  <c:v>7.7439999999999998</c:v>
                </c:pt>
                <c:pt idx="2324">
                  <c:v>7.7439999999999998</c:v>
                </c:pt>
                <c:pt idx="2325">
                  <c:v>7.7430000000000003</c:v>
                </c:pt>
                <c:pt idx="2326">
                  <c:v>7.7430000000000003</c:v>
                </c:pt>
                <c:pt idx="2327">
                  <c:v>7.7430000000000003</c:v>
                </c:pt>
                <c:pt idx="2328">
                  <c:v>7.7430000000000003</c:v>
                </c:pt>
                <c:pt idx="2329">
                  <c:v>7.7430000000000003</c:v>
                </c:pt>
                <c:pt idx="2330">
                  <c:v>7.742</c:v>
                </c:pt>
                <c:pt idx="2331">
                  <c:v>7.742</c:v>
                </c:pt>
                <c:pt idx="2332">
                  <c:v>7.7430000000000003</c:v>
                </c:pt>
                <c:pt idx="2333">
                  <c:v>7.7409999999999997</c:v>
                </c:pt>
                <c:pt idx="2334">
                  <c:v>7.742</c:v>
                </c:pt>
                <c:pt idx="2335">
                  <c:v>7.742</c:v>
                </c:pt>
                <c:pt idx="2336">
                  <c:v>7.7409999999999997</c:v>
                </c:pt>
                <c:pt idx="2337">
                  <c:v>7.7409999999999997</c:v>
                </c:pt>
                <c:pt idx="2338">
                  <c:v>7.7409999999999997</c:v>
                </c:pt>
                <c:pt idx="2339">
                  <c:v>7.7409999999999997</c:v>
                </c:pt>
                <c:pt idx="2340">
                  <c:v>7.7409999999999997</c:v>
                </c:pt>
                <c:pt idx="2341">
                  <c:v>7.74</c:v>
                </c:pt>
                <c:pt idx="2342">
                  <c:v>7.74</c:v>
                </c:pt>
                <c:pt idx="2343">
                  <c:v>7.74</c:v>
                </c:pt>
                <c:pt idx="2344">
                  <c:v>7.74</c:v>
                </c:pt>
                <c:pt idx="2345">
                  <c:v>7.74</c:v>
                </c:pt>
                <c:pt idx="2346">
                  <c:v>7.74</c:v>
                </c:pt>
                <c:pt idx="2347">
                  <c:v>7.74</c:v>
                </c:pt>
                <c:pt idx="2348">
                  <c:v>7.7389999999999999</c:v>
                </c:pt>
                <c:pt idx="2349">
                  <c:v>7.7389999999999999</c:v>
                </c:pt>
                <c:pt idx="2350">
                  <c:v>7.7389999999999999</c:v>
                </c:pt>
                <c:pt idx="2351">
                  <c:v>7.7389999999999999</c:v>
                </c:pt>
                <c:pt idx="2352">
                  <c:v>7.7380000000000004</c:v>
                </c:pt>
                <c:pt idx="2353">
                  <c:v>7.7380000000000004</c:v>
                </c:pt>
                <c:pt idx="2354">
                  <c:v>7.7380000000000004</c:v>
                </c:pt>
                <c:pt idx="2355">
                  <c:v>7.7380000000000004</c:v>
                </c:pt>
                <c:pt idx="2356">
                  <c:v>7.7380000000000004</c:v>
                </c:pt>
                <c:pt idx="2357">
                  <c:v>7.7380000000000004</c:v>
                </c:pt>
                <c:pt idx="2358">
                  <c:v>7.7370000000000001</c:v>
                </c:pt>
                <c:pt idx="2359">
                  <c:v>7.7370000000000001</c:v>
                </c:pt>
                <c:pt idx="2360">
                  <c:v>7.7370000000000001</c:v>
                </c:pt>
                <c:pt idx="2361">
                  <c:v>7.7370000000000001</c:v>
                </c:pt>
                <c:pt idx="2362">
                  <c:v>7.7359999999999998</c:v>
                </c:pt>
                <c:pt idx="2363">
                  <c:v>7.7370000000000001</c:v>
                </c:pt>
                <c:pt idx="2364">
                  <c:v>7.7370000000000001</c:v>
                </c:pt>
                <c:pt idx="2365">
                  <c:v>7.7359999999999998</c:v>
                </c:pt>
                <c:pt idx="2366">
                  <c:v>7.7359999999999998</c:v>
                </c:pt>
                <c:pt idx="2367">
                  <c:v>7.7359999999999998</c:v>
                </c:pt>
                <c:pt idx="2368">
                  <c:v>7.7359999999999998</c:v>
                </c:pt>
                <c:pt idx="2369">
                  <c:v>7.7350000000000003</c:v>
                </c:pt>
                <c:pt idx="2370">
                  <c:v>7.7359999999999998</c:v>
                </c:pt>
                <c:pt idx="2371">
                  <c:v>7.7350000000000003</c:v>
                </c:pt>
                <c:pt idx="2372">
                  <c:v>7.7350000000000003</c:v>
                </c:pt>
                <c:pt idx="2373">
                  <c:v>7.7350000000000003</c:v>
                </c:pt>
                <c:pt idx="2374">
                  <c:v>7.7350000000000003</c:v>
                </c:pt>
                <c:pt idx="2375">
                  <c:v>7.734</c:v>
                </c:pt>
                <c:pt idx="2376">
                  <c:v>7.7350000000000003</c:v>
                </c:pt>
                <c:pt idx="2377">
                  <c:v>7.7350000000000003</c:v>
                </c:pt>
                <c:pt idx="2378">
                  <c:v>7.734</c:v>
                </c:pt>
                <c:pt idx="2379">
                  <c:v>7.7350000000000003</c:v>
                </c:pt>
                <c:pt idx="2380">
                  <c:v>7.734</c:v>
                </c:pt>
                <c:pt idx="2381">
                  <c:v>7.734</c:v>
                </c:pt>
                <c:pt idx="2382">
                  <c:v>7.734</c:v>
                </c:pt>
                <c:pt idx="2383">
                  <c:v>7.7329999999999997</c:v>
                </c:pt>
                <c:pt idx="2384">
                  <c:v>7.7329999999999997</c:v>
                </c:pt>
                <c:pt idx="2385">
                  <c:v>7.7329999999999997</c:v>
                </c:pt>
                <c:pt idx="2386">
                  <c:v>7.7329999999999997</c:v>
                </c:pt>
                <c:pt idx="2387">
                  <c:v>7.7320000000000002</c:v>
                </c:pt>
                <c:pt idx="2388">
                  <c:v>7.7329999999999997</c:v>
                </c:pt>
                <c:pt idx="2389">
                  <c:v>7.7320000000000002</c:v>
                </c:pt>
                <c:pt idx="2390">
                  <c:v>7.7320000000000002</c:v>
                </c:pt>
                <c:pt idx="2391">
                  <c:v>7.7320000000000002</c:v>
                </c:pt>
                <c:pt idx="2392">
                  <c:v>7.7309999999999999</c:v>
                </c:pt>
                <c:pt idx="2393">
                  <c:v>7.7309999999999999</c:v>
                </c:pt>
                <c:pt idx="2394">
                  <c:v>7.7309999999999999</c:v>
                </c:pt>
                <c:pt idx="2395">
                  <c:v>7.7309999999999999</c:v>
                </c:pt>
                <c:pt idx="2396">
                  <c:v>7.7309999999999999</c:v>
                </c:pt>
                <c:pt idx="2397">
                  <c:v>7.7309999999999999</c:v>
                </c:pt>
                <c:pt idx="2398">
                  <c:v>7.73</c:v>
                </c:pt>
                <c:pt idx="2399">
                  <c:v>7.73</c:v>
                </c:pt>
                <c:pt idx="2400">
                  <c:v>7.73</c:v>
                </c:pt>
                <c:pt idx="2401">
                  <c:v>7.73</c:v>
                </c:pt>
                <c:pt idx="2402">
                  <c:v>7.73</c:v>
                </c:pt>
                <c:pt idx="2403">
                  <c:v>7.73</c:v>
                </c:pt>
                <c:pt idx="2404">
                  <c:v>7.7290000000000001</c:v>
                </c:pt>
                <c:pt idx="2405">
                  <c:v>7.73</c:v>
                </c:pt>
                <c:pt idx="2406">
                  <c:v>7.7290000000000001</c:v>
                </c:pt>
                <c:pt idx="2407">
                  <c:v>7.7290000000000001</c:v>
                </c:pt>
                <c:pt idx="2408">
                  <c:v>7.7290000000000001</c:v>
                </c:pt>
                <c:pt idx="2409">
                  <c:v>7.7290000000000001</c:v>
                </c:pt>
                <c:pt idx="2410">
                  <c:v>7.7290000000000001</c:v>
                </c:pt>
                <c:pt idx="2411">
                  <c:v>7.7279999999999998</c:v>
                </c:pt>
                <c:pt idx="2412">
                  <c:v>7.7279999999999998</c:v>
                </c:pt>
                <c:pt idx="2413">
                  <c:v>7.7279999999999998</c:v>
                </c:pt>
                <c:pt idx="2414">
                  <c:v>7.7279999999999998</c:v>
                </c:pt>
                <c:pt idx="2415">
                  <c:v>7.7279999999999998</c:v>
                </c:pt>
                <c:pt idx="2416">
                  <c:v>7.7270000000000003</c:v>
                </c:pt>
                <c:pt idx="2417">
                  <c:v>7.7270000000000003</c:v>
                </c:pt>
                <c:pt idx="2418">
                  <c:v>7.7279999999999998</c:v>
                </c:pt>
                <c:pt idx="2419">
                  <c:v>7.7270000000000003</c:v>
                </c:pt>
                <c:pt idx="2420">
                  <c:v>7.7270000000000003</c:v>
                </c:pt>
                <c:pt idx="2421">
                  <c:v>7.7270000000000003</c:v>
                </c:pt>
                <c:pt idx="2422">
                  <c:v>7.7270000000000003</c:v>
                </c:pt>
                <c:pt idx="2423">
                  <c:v>7.726</c:v>
                </c:pt>
                <c:pt idx="2424">
                  <c:v>7.726</c:v>
                </c:pt>
                <c:pt idx="2425">
                  <c:v>7.7249999999999996</c:v>
                </c:pt>
                <c:pt idx="2426">
                  <c:v>7.726</c:v>
                </c:pt>
                <c:pt idx="2427">
                  <c:v>7.726</c:v>
                </c:pt>
                <c:pt idx="2428">
                  <c:v>7.7249999999999996</c:v>
                </c:pt>
                <c:pt idx="2429">
                  <c:v>7.7249999999999996</c:v>
                </c:pt>
                <c:pt idx="2430">
                  <c:v>7.726</c:v>
                </c:pt>
                <c:pt idx="2431">
                  <c:v>7.7249999999999996</c:v>
                </c:pt>
                <c:pt idx="2432">
                  <c:v>7.7249999999999996</c:v>
                </c:pt>
                <c:pt idx="2433">
                  <c:v>7.7249999999999996</c:v>
                </c:pt>
                <c:pt idx="2434">
                  <c:v>7.7240000000000002</c:v>
                </c:pt>
                <c:pt idx="2435">
                  <c:v>7.7249999999999996</c:v>
                </c:pt>
                <c:pt idx="2436">
                  <c:v>7.7240000000000002</c:v>
                </c:pt>
                <c:pt idx="2437">
                  <c:v>7.7240000000000002</c:v>
                </c:pt>
                <c:pt idx="2438">
                  <c:v>7.7240000000000002</c:v>
                </c:pt>
                <c:pt idx="2439">
                  <c:v>7.7240000000000002</c:v>
                </c:pt>
                <c:pt idx="2440">
                  <c:v>7.7240000000000002</c:v>
                </c:pt>
                <c:pt idx="2441">
                  <c:v>7.7229999999999999</c:v>
                </c:pt>
                <c:pt idx="2442">
                  <c:v>7.7229999999999999</c:v>
                </c:pt>
                <c:pt idx="2443">
                  <c:v>7.7229999999999999</c:v>
                </c:pt>
                <c:pt idx="2444">
                  <c:v>7.7229999999999999</c:v>
                </c:pt>
                <c:pt idx="2445">
                  <c:v>7.7229999999999999</c:v>
                </c:pt>
                <c:pt idx="2446">
                  <c:v>7.7229999999999999</c:v>
                </c:pt>
                <c:pt idx="2447">
                  <c:v>7.7220000000000004</c:v>
                </c:pt>
                <c:pt idx="2448">
                  <c:v>7.7220000000000004</c:v>
                </c:pt>
                <c:pt idx="2449">
                  <c:v>7.7220000000000004</c:v>
                </c:pt>
                <c:pt idx="2450">
                  <c:v>7.7220000000000004</c:v>
                </c:pt>
                <c:pt idx="2451">
                  <c:v>7.7220000000000004</c:v>
                </c:pt>
                <c:pt idx="2452">
                  <c:v>7.7210000000000001</c:v>
                </c:pt>
                <c:pt idx="2453">
                  <c:v>7.7210000000000001</c:v>
                </c:pt>
                <c:pt idx="2454">
                  <c:v>7.7210000000000001</c:v>
                </c:pt>
                <c:pt idx="2455">
                  <c:v>7.7210000000000001</c:v>
                </c:pt>
                <c:pt idx="2456">
                  <c:v>7.7210000000000001</c:v>
                </c:pt>
                <c:pt idx="2457">
                  <c:v>7.72</c:v>
                </c:pt>
                <c:pt idx="2458">
                  <c:v>7.72</c:v>
                </c:pt>
                <c:pt idx="2459">
                  <c:v>7.72</c:v>
                </c:pt>
                <c:pt idx="2460">
                  <c:v>7.72</c:v>
                </c:pt>
                <c:pt idx="2461">
                  <c:v>7.72</c:v>
                </c:pt>
                <c:pt idx="2462">
                  <c:v>7.72</c:v>
                </c:pt>
                <c:pt idx="2463">
                  <c:v>7.72</c:v>
                </c:pt>
                <c:pt idx="2464">
                  <c:v>7.72</c:v>
                </c:pt>
                <c:pt idx="2465">
                  <c:v>7.7190000000000003</c:v>
                </c:pt>
                <c:pt idx="2466">
                  <c:v>7.7190000000000003</c:v>
                </c:pt>
                <c:pt idx="2467">
                  <c:v>7.718</c:v>
                </c:pt>
                <c:pt idx="2468">
                  <c:v>7.7190000000000003</c:v>
                </c:pt>
                <c:pt idx="2469">
                  <c:v>7.718</c:v>
                </c:pt>
                <c:pt idx="2470">
                  <c:v>7.718</c:v>
                </c:pt>
                <c:pt idx="2471">
                  <c:v>7.718</c:v>
                </c:pt>
                <c:pt idx="2472">
                  <c:v>7.718</c:v>
                </c:pt>
                <c:pt idx="2473">
                  <c:v>7.718</c:v>
                </c:pt>
                <c:pt idx="2474">
                  <c:v>7.718</c:v>
                </c:pt>
                <c:pt idx="2475">
                  <c:v>7.7169999999999996</c:v>
                </c:pt>
                <c:pt idx="2476">
                  <c:v>7.718</c:v>
                </c:pt>
                <c:pt idx="2477">
                  <c:v>7.7169999999999996</c:v>
                </c:pt>
                <c:pt idx="2478">
                  <c:v>7.7169999999999996</c:v>
                </c:pt>
                <c:pt idx="2479">
                  <c:v>7.7169999999999996</c:v>
                </c:pt>
                <c:pt idx="2480">
                  <c:v>7.7160000000000002</c:v>
                </c:pt>
                <c:pt idx="2481">
                  <c:v>7.7169999999999996</c:v>
                </c:pt>
                <c:pt idx="2482">
                  <c:v>7.7160000000000002</c:v>
                </c:pt>
                <c:pt idx="2483">
                  <c:v>7.7160000000000002</c:v>
                </c:pt>
                <c:pt idx="2484">
                  <c:v>7.7169999999999996</c:v>
                </c:pt>
                <c:pt idx="2485">
                  <c:v>7.7160000000000002</c:v>
                </c:pt>
                <c:pt idx="2486">
                  <c:v>7.7160000000000002</c:v>
                </c:pt>
                <c:pt idx="2487">
                  <c:v>7.7149999999999999</c:v>
                </c:pt>
                <c:pt idx="2488">
                  <c:v>7.7160000000000002</c:v>
                </c:pt>
                <c:pt idx="2489">
                  <c:v>7.7149999999999999</c:v>
                </c:pt>
                <c:pt idx="2490">
                  <c:v>7.7149999999999999</c:v>
                </c:pt>
                <c:pt idx="2491">
                  <c:v>7.7149999999999999</c:v>
                </c:pt>
                <c:pt idx="2492">
                  <c:v>7.7149999999999999</c:v>
                </c:pt>
                <c:pt idx="2493">
                  <c:v>7.7149999999999999</c:v>
                </c:pt>
                <c:pt idx="2494">
                  <c:v>7.7149999999999999</c:v>
                </c:pt>
                <c:pt idx="2495">
                  <c:v>7.7140000000000004</c:v>
                </c:pt>
                <c:pt idx="2496">
                  <c:v>7.7140000000000004</c:v>
                </c:pt>
                <c:pt idx="2497">
                  <c:v>7.7140000000000004</c:v>
                </c:pt>
                <c:pt idx="2498">
                  <c:v>7.7140000000000004</c:v>
                </c:pt>
                <c:pt idx="2499">
                  <c:v>7.7140000000000004</c:v>
                </c:pt>
                <c:pt idx="2500">
                  <c:v>7.7140000000000004</c:v>
                </c:pt>
                <c:pt idx="2501">
                  <c:v>7.7140000000000004</c:v>
                </c:pt>
                <c:pt idx="2502">
                  <c:v>7.7140000000000004</c:v>
                </c:pt>
                <c:pt idx="2503">
                  <c:v>7.7130000000000001</c:v>
                </c:pt>
                <c:pt idx="2504">
                  <c:v>7.7130000000000001</c:v>
                </c:pt>
                <c:pt idx="2505">
                  <c:v>7.7130000000000001</c:v>
                </c:pt>
                <c:pt idx="2506">
                  <c:v>7.7130000000000001</c:v>
                </c:pt>
                <c:pt idx="2507">
                  <c:v>7.7119999999999997</c:v>
                </c:pt>
                <c:pt idx="2508">
                  <c:v>7.7119999999999997</c:v>
                </c:pt>
                <c:pt idx="2509">
                  <c:v>7.7119999999999997</c:v>
                </c:pt>
                <c:pt idx="2510">
                  <c:v>7.7119999999999997</c:v>
                </c:pt>
                <c:pt idx="2511">
                  <c:v>7.7119999999999997</c:v>
                </c:pt>
                <c:pt idx="2512">
                  <c:v>7.7119999999999997</c:v>
                </c:pt>
                <c:pt idx="2513">
                  <c:v>7.7110000000000003</c:v>
                </c:pt>
                <c:pt idx="2514">
                  <c:v>7.7110000000000003</c:v>
                </c:pt>
                <c:pt idx="2515">
                  <c:v>7.7110000000000003</c:v>
                </c:pt>
                <c:pt idx="2516">
                  <c:v>7.7110000000000003</c:v>
                </c:pt>
                <c:pt idx="2517">
                  <c:v>7.7110000000000003</c:v>
                </c:pt>
                <c:pt idx="2518">
                  <c:v>7.71</c:v>
                </c:pt>
                <c:pt idx="2519">
                  <c:v>7.71</c:v>
                </c:pt>
                <c:pt idx="2520">
                  <c:v>7.7110000000000003</c:v>
                </c:pt>
                <c:pt idx="2521">
                  <c:v>7.71</c:v>
                </c:pt>
                <c:pt idx="2522">
                  <c:v>7.71</c:v>
                </c:pt>
                <c:pt idx="2523">
                  <c:v>7.71</c:v>
                </c:pt>
                <c:pt idx="2524">
                  <c:v>7.71</c:v>
                </c:pt>
                <c:pt idx="2525">
                  <c:v>7.71</c:v>
                </c:pt>
                <c:pt idx="2526">
                  <c:v>7.7089999999999996</c:v>
                </c:pt>
                <c:pt idx="2527">
                  <c:v>7.71</c:v>
                </c:pt>
                <c:pt idx="2528">
                  <c:v>7.71</c:v>
                </c:pt>
                <c:pt idx="2529">
                  <c:v>7.7089999999999996</c:v>
                </c:pt>
                <c:pt idx="2530">
                  <c:v>7.7089999999999996</c:v>
                </c:pt>
                <c:pt idx="2531">
                  <c:v>7.7089999999999996</c:v>
                </c:pt>
                <c:pt idx="2532">
                  <c:v>7.7089999999999996</c:v>
                </c:pt>
                <c:pt idx="2533">
                  <c:v>7.7080000000000002</c:v>
                </c:pt>
                <c:pt idx="2534">
                  <c:v>7.7080000000000002</c:v>
                </c:pt>
                <c:pt idx="2535">
                  <c:v>7.7080000000000002</c:v>
                </c:pt>
                <c:pt idx="2536">
                  <c:v>7.7080000000000002</c:v>
                </c:pt>
                <c:pt idx="2537">
                  <c:v>7.7080000000000002</c:v>
                </c:pt>
                <c:pt idx="2538">
                  <c:v>7.7080000000000002</c:v>
                </c:pt>
                <c:pt idx="2539">
                  <c:v>7.7080000000000002</c:v>
                </c:pt>
                <c:pt idx="2540">
                  <c:v>7.7069999999999999</c:v>
                </c:pt>
                <c:pt idx="2541">
                  <c:v>7.7069999999999999</c:v>
                </c:pt>
                <c:pt idx="2542">
                  <c:v>7.7069999999999999</c:v>
                </c:pt>
                <c:pt idx="2543">
                  <c:v>7.7069999999999999</c:v>
                </c:pt>
                <c:pt idx="2544">
                  <c:v>7.7060000000000004</c:v>
                </c:pt>
                <c:pt idx="2545">
                  <c:v>7.7060000000000004</c:v>
                </c:pt>
                <c:pt idx="2546">
                  <c:v>7.7060000000000004</c:v>
                </c:pt>
                <c:pt idx="2547">
                  <c:v>7.7060000000000004</c:v>
                </c:pt>
                <c:pt idx="2548">
                  <c:v>7.7060000000000004</c:v>
                </c:pt>
                <c:pt idx="2549">
                  <c:v>7.7060000000000004</c:v>
                </c:pt>
                <c:pt idx="2550">
                  <c:v>7.7060000000000004</c:v>
                </c:pt>
                <c:pt idx="2551">
                  <c:v>7.7060000000000004</c:v>
                </c:pt>
                <c:pt idx="2552">
                  <c:v>7.7060000000000004</c:v>
                </c:pt>
                <c:pt idx="2553">
                  <c:v>7.7050000000000001</c:v>
                </c:pt>
                <c:pt idx="2554">
                  <c:v>7.7060000000000004</c:v>
                </c:pt>
                <c:pt idx="2555">
                  <c:v>7.7050000000000001</c:v>
                </c:pt>
                <c:pt idx="2556">
                  <c:v>7.7050000000000001</c:v>
                </c:pt>
                <c:pt idx="2557">
                  <c:v>7.7060000000000004</c:v>
                </c:pt>
                <c:pt idx="2558">
                  <c:v>7.7050000000000001</c:v>
                </c:pt>
                <c:pt idx="2559">
                  <c:v>7.7050000000000001</c:v>
                </c:pt>
                <c:pt idx="2560">
                  <c:v>7.7050000000000001</c:v>
                </c:pt>
                <c:pt idx="2561">
                  <c:v>7.7050000000000001</c:v>
                </c:pt>
                <c:pt idx="2562">
                  <c:v>7.7050000000000001</c:v>
                </c:pt>
                <c:pt idx="2563">
                  <c:v>7.7039999999999997</c:v>
                </c:pt>
                <c:pt idx="2564">
                  <c:v>7.7039999999999997</c:v>
                </c:pt>
                <c:pt idx="2565">
                  <c:v>7.7039999999999997</c:v>
                </c:pt>
                <c:pt idx="2566">
                  <c:v>7.7039999999999997</c:v>
                </c:pt>
                <c:pt idx="2567">
                  <c:v>7.7039999999999997</c:v>
                </c:pt>
                <c:pt idx="2568">
                  <c:v>7.7030000000000003</c:v>
                </c:pt>
                <c:pt idx="2569">
                  <c:v>7.7030000000000003</c:v>
                </c:pt>
                <c:pt idx="2570">
                  <c:v>7.7030000000000003</c:v>
                </c:pt>
                <c:pt idx="2571">
                  <c:v>7.7030000000000003</c:v>
                </c:pt>
                <c:pt idx="2572">
                  <c:v>7.7030000000000003</c:v>
                </c:pt>
                <c:pt idx="2573">
                  <c:v>7.702</c:v>
                </c:pt>
                <c:pt idx="2574">
                  <c:v>7.702</c:v>
                </c:pt>
                <c:pt idx="2575">
                  <c:v>7.702</c:v>
                </c:pt>
                <c:pt idx="2576">
                  <c:v>7.702</c:v>
                </c:pt>
                <c:pt idx="2577">
                  <c:v>7.7009999999999996</c:v>
                </c:pt>
                <c:pt idx="2578">
                  <c:v>7.702</c:v>
                </c:pt>
                <c:pt idx="2579">
                  <c:v>7.702</c:v>
                </c:pt>
                <c:pt idx="2580">
                  <c:v>7.7009999999999996</c:v>
                </c:pt>
                <c:pt idx="2581">
                  <c:v>7.7009999999999996</c:v>
                </c:pt>
                <c:pt idx="2582">
                  <c:v>7.7</c:v>
                </c:pt>
                <c:pt idx="2583">
                  <c:v>7.7</c:v>
                </c:pt>
                <c:pt idx="2584">
                  <c:v>7.7</c:v>
                </c:pt>
                <c:pt idx="2585">
                  <c:v>7.7</c:v>
                </c:pt>
                <c:pt idx="2586">
                  <c:v>7.7</c:v>
                </c:pt>
                <c:pt idx="2587">
                  <c:v>7.6989999999999998</c:v>
                </c:pt>
                <c:pt idx="2588">
                  <c:v>7.7</c:v>
                </c:pt>
                <c:pt idx="2589">
                  <c:v>7.6989999999999998</c:v>
                </c:pt>
                <c:pt idx="2590">
                  <c:v>7.6989999999999998</c:v>
                </c:pt>
                <c:pt idx="2591">
                  <c:v>7.6980000000000004</c:v>
                </c:pt>
                <c:pt idx="2592">
                  <c:v>7.6980000000000004</c:v>
                </c:pt>
                <c:pt idx="2593">
                  <c:v>7.6980000000000004</c:v>
                </c:pt>
                <c:pt idx="2594">
                  <c:v>7.6980000000000004</c:v>
                </c:pt>
                <c:pt idx="2595">
                  <c:v>7.6980000000000004</c:v>
                </c:pt>
                <c:pt idx="2596">
                  <c:v>7.6970000000000001</c:v>
                </c:pt>
                <c:pt idx="2597">
                  <c:v>7.6980000000000004</c:v>
                </c:pt>
                <c:pt idx="2598">
                  <c:v>7.6980000000000004</c:v>
                </c:pt>
                <c:pt idx="2599">
                  <c:v>7.6970000000000001</c:v>
                </c:pt>
                <c:pt idx="2600">
                  <c:v>7.6970000000000001</c:v>
                </c:pt>
                <c:pt idx="2601">
                  <c:v>7.6970000000000001</c:v>
                </c:pt>
                <c:pt idx="2602">
                  <c:v>7.6970000000000001</c:v>
                </c:pt>
                <c:pt idx="2603">
                  <c:v>7.6970000000000001</c:v>
                </c:pt>
                <c:pt idx="2604">
                  <c:v>7.6970000000000001</c:v>
                </c:pt>
                <c:pt idx="2605">
                  <c:v>7.6959999999999997</c:v>
                </c:pt>
                <c:pt idx="2606">
                  <c:v>7.6959999999999997</c:v>
                </c:pt>
                <c:pt idx="2607">
                  <c:v>7.6959999999999997</c:v>
                </c:pt>
                <c:pt idx="2608">
                  <c:v>7.6959999999999997</c:v>
                </c:pt>
                <c:pt idx="2609">
                  <c:v>7.6959999999999997</c:v>
                </c:pt>
                <c:pt idx="2610">
                  <c:v>7.6959999999999997</c:v>
                </c:pt>
                <c:pt idx="2611">
                  <c:v>7.6950000000000003</c:v>
                </c:pt>
                <c:pt idx="2612">
                  <c:v>7.6950000000000003</c:v>
                </c:pt>
                <c:pt idx="2613">
                  <c:v>7.6950000000000003</c:v>
                </c:pt>
                <c:pt idx="2614">
                  <c:v>7.6950000000000003</c:v>
                </c:pt>
                <c:pt idx="2615">
                  <c:v>7.6950000000000003</c:v>
                </c:pt>
                <c:pt idx="2616">
                  <c:v>7.694</c:v>
                </c:pt>
                <c:pt idx="2617">
                  <c:v>7.694</c:v>
                </c:pt>
                <c:pt idx="2618">
                  <c:v>7.694</c:v>
                </c:pt>
                <c:pt idx="2619">
                  <c:v>7.694</c:v>
                </c:pt>
                <c:pt idx="2620">
                  <c:v>7.694</c:v>
                </c:pt>
                <c:pt idx="2621">
                  <c:v>7.694</c:v>
                </c:pt>
                <c:pt idx="2622">
                  <c:v>7.6929999999999996</c:v>
                </c:pt>
                <c:pt idx="2623">
                  <c:v>7.6929999999999996</c:v>
                </c:pt>
                <c:pt idx="2624">
                  <c:v>7.6929999999999996</c:v>
                </c:pt>
                <c:pt idx="2625">
                  <c:v>7.6929999999999996</c:v>
                </c:pt>
                <c:pt idx="2626">
                  <c:v>7.6929999999999996</c:v>
                </c:pt>
                <c:pt idx="2627">
                  <c:v>7.6929999999999996</c:v>
                </c:pt>
                <c:pt idx="2628">
                  <c:v>7.6920000000000002</c:v>
                </c:pt>
                <c:pt idx="2629">
                  <c:v>7.6929999999999996</c:v>
                </c:pt>
                <c:pt idx="2630">
                  <c:v>7.6929999999999996</c:v>
                </c:pt>
                <c:pt idx="2631">
                  <c:v>7.6920000000000002</c:v>
                </c:pt>
                <c:pt idx="2632">
                  <c:v>7.6920000000000002</c:v>
                </c:pt>
                <c:pt idx="2633">
                  <c:v>7.6920000000000002</c:v>
                </c:pt>
                <c:pt idx="2634">
                  <c:v>7.6920000000000002</c:v>
                </c:pt>
                <c:pt idx="2635">
                  <c:v>7.6920000000000002</c:v>
                </c:pt>
                <c:pt idx="2636">
                  <c:v>7.6920000000000002</c:v>
                </c:pt>
                <c:pt idx="2637">
                  <c:v>7.6909999999999998</c:v>
                </c:pt>
                <c:pt idx="2638">
                  <c:v>7.6909999999999998</c:v>
                </c:pt>
                <c:pt idx="2639">
                  <c:v>7.6909999999999998</c:v>
                </c:pt>
                <c:pt idx="2640">
                  <c:v>7.69</c:v>
                </c:pt>
                <c:pt idx="2641">
                  <c:v>7.69</c:v>
                </c:pt>
                <c:pt idx="2642">
                  <c:v>7.69</c:v>
                </c:pt>
                <c:pt idx="2643">
                  <c:v>7.69</c:v>
                </c:pt>
                <c:pt idx="2644">
                  <c:v>7.69</c:v>
                </c:pt>
                <c:pt idx="2645">
                  <c:v>7.6890000000000001</c:v>
                </c:pt>
                <c:pt idx="2646">
                  <c:v>7.6890000000000001</c:v>
                </c:pt>
                <c:pt idx="2647">
                  <c:v>7.6890000000000001</c:v>
                </c:pt>
                <c:pt idx="2648">
                  <c:v>7.6890000000000001</c:v>
                </c:pt>
                <c:pt idx="2649">
                  <c:v>7.6890000000000001</c:v>
                </c:pt>
                <c:pt idx="2650">
                  <c:v>7.6890000000000001</c:v>
                </c:pt>
                <c:pt idx="2651">
                  <c:v>7.6890000000000001</c:v>
                </c:pt>
                <c:pt idx="2652">
                  <c:v>7.6890000000000001</c:v>
                </c:pt>
                <c:pt idx="2653">
                  <c:v>7.6879999999999997</c:v>
                </c:pt>
                <c:pt idx="2654">
                  <c:v>7.6879999999999997</c:v>
                </c:pt>
                <c:pt idx="2655">
                  <c:v>7.6879999999999997</c:v>
                </c:pt>
                <c:pt idx="2656">
                  <c:v>7.6879999999999997</c:v>
                </c:pt>
                <c:pt idx="2657">
                  <c:v>7.6879999999999997</c:v>
                </c:pt>
                <c:pt idx="2658">
                  <c:v>7.6879999999999997</c:v>
                </c:pt>
                <c:pt idx="2659">
                  <c:v>7.6879999999999997</c:v>
                </c:pt>
                <c:pt idx="2660">
                  <c:v>7.6870000000000003</c:v>
                </c:pt>
                <c:pt idx="2661">
                  <c:v>7.6870000000000003</c:v>
                </c:pt>
                <c:pt idx="2662">
                  <c:v>7.6870000000000003</c:v>
                </c:pt>
                <c:pt idx="2663">
                  <c:v>7.6870000000000003</c:v>
                </c:pt>
                <c:pt idx="2664">
                  <c:v>7.6870000000000003</c:v>
                </c:pt>
                <c:pt idx="2665">
                  <c:v>7.6870000000000003</c:v>
                </c:pt>
                <c:pt idx="2666">
                  <c:v>7.6859999999999999</c:v>
                </c:pt>
                <c:pt idx="2667">
                  <c:v>7.6859999999999999</c:v>
                </c:pt>
                <c:pt idx="2668">
                  <c:v>7.6859999999999999</c:v>
                </c:pt>
                <c:pt idx="2669">
                  <c:v>7.6859999999999999</c:v>
                </c:pt>
                <c:pt idx="2670">
                  <c:v>7.6859999999999999</c:v>
                </c:pt>
                <c:pt idx="2671">
                  <c:v>7.6859999999999999</c:v>
                </c:pt>
                <c:pt idx="2672">
                  <c:v>7.6849999999999996</c:v>
                </c:pt>
                <c:pt idx="2673">
                  <c:v>7.6849999999999996</c:v>
                </c:pt>
                <c:pt idx="2674">
                  <c:v>7.6849999999999996</c:v>
                </c:pt>
                <c:pt idx="2675">
                  <c:v>7.6849999999999996</c:v>
                </c:pt>
                <c:pt idx="2676">
                  <c:v>7.6849999999999996</c:v>
                </c:pt>
                <c:pt idx="2677">
                  <c:v>7.6840000000000002</c:v>
                </c:pt>
                <c:pt idx="2678">
                  <c:v>7.6840000000000002</c:v>
                </c:pt>
                <c:pt idx="2679">
                  <c:v>7.6849999999999996</c:v>
                </c:pt>
                <c:pt idx="2680">
                  <c:v>7.6840000000000002</c:v>
                </c:pt>
                <c:pt idx="2681">
                  <c:v>7.6840000000000002</c:v>
                </c:pt>
                <c:pt idx="2682">
                  <c:v>7.6840000000000002</c:v>
                </c:pt>
                <c:pt idx="2683">
                  <c:v>7.6840000000000002</c:v>
                </c:pt>
                <c:pt idx="2684">
                  <c:v>7.6840000000000002</c:v>
                </c:pt>
                <c:pt idx="2685">
                  <c:v>7.6829999999999998</c:v>
                </c:pt>
                <c:pt idx="2686">
                  <c:v>7.6829999999999998</c:v>
                </c:pt>
                <c:pt idx="2687">
                  <c:v>7.6829999999999998</c:v>
                </c:pt>
                <c:pt idx="2688">
                  <c:v>7.6829999999999998</c:v>
                </c:pt>
                <c:pt idx="2689">
                  <c:v>7.6829999999999998</c:v>
                </c:pt>
                <c:pt idx="2690">
                  <c:v>7.6829999999999998</c:v>
                </c:pt>
                <c:pt idx="2691">
                  <c:v>7.6820000000000004</c:v>
                </c:pt>
                <c:pt idx="2692">
                  <c:v>7.6820000000000004</c:v>
                </c:pt>
                <c:pt idx="2693">
                  <c:v>7.6820000000000004</c:v>
                </c:pt>
                <c:pt idx="2694">
                  <c:v>7.6820000000000004</c:v>
                </c:pt>
                <c:pt idx="2695">
                  <c:v>7.6820000000000004</c:v>
                </c:pt>
                <c:pt idx="2696">
                  <c:v>7.6820000000000004</c:v>
                </c:pt>
                <c:pt idx="2697">
                  <c:v>7.6820000000000004</c:v>
                </c:pt>
                <c:pt idx="2698">
                  <c:v>7.681</c:v>
                </c:pt>
                <c:pt idx="2699">
                  <c:v>7.681</c:v>
                </c:pt>
                <c:pt idx="2700">
                  <c:v>7.681</c:v>
                </c:pt>
                <c:pt idx="2701">
                  <c:v>7.681</c:v>
                </c:pt>
                <c:pt idx="2702">
                  <c:v>7.681</c:v>
                </c:pt>
                <c:pt idx="2703">
                  <c:v>7.681</c:v>
                </c:pt>
                <c:pt idx="2704">
                  <c:v>7.681</c:v>
                </c:pt>
                <c:pt idx="2705">
                  <c:v>7.68</c:v>
                </c:pt>
                <c:pt idx="2706">
                  <c:v>7.68</c:v>
                </c:pt>
                <c:pt idx="2707">
                  <c:v>7.68</c:v>
                </c:pt>
                <c:pt idx="2708">
                  <c:v>7.68</c:v>
                </c:pt>
                <c:pt idx="2709">
                  <c:v>7.68</c:v>
                </c:pt>
                <c:pt idx="2710">
                  <c:v>7.6790000000000003</c:v>
                </c:pt>
                <c:pt idx="2711">
                  <c:v>7.6790000000000003</c:v>
                </c:pt>
                <c:pt idx="2712">
                  <c:v>7.6790000000000003</c:v>
                </c:pt>
                <c:pt idx="2713">
                  <c:v>7.68</c:v>
                </c:pt>
                <c:pt idx="2714">
                  <c:v>7.6790000000000003</c:v>
                </c:pt>
                <c:pt idx="2715">
                  <c:v>7.6790000000000003</c:v>
                </c:pt>
                <c:pt idx="2716">
                  <c:v>7.6790000000000003</c:v>
                </c:pt>
                <c:pt idx="2717">
                  <c:v>7.6790000000000003</c:v>
                </c:pt>
                <c:pt idx="2718">
                  <c:v>7.6790000000000003</c:v>
                </c:pt>
                <c:pt idx="2719">
                  <c:v>7.6790000000000003</c:v>
                </c:pt>
                <c:pt idx="2720">
                  <c:v>7.6779999999999999</c:v>
                </c:pt>
                <c:pt idx="2721">
                  <c:v>7.6779999999999999</c:v>
                </c:pt>
                <c:pt idx="2722">
                  <c:v>7.6779999999999999</c:v>
                </c:pt>
                <c:pt idx="2723">
                  <c:v>7.6779999999999999</c:v>
                </c:pt>
                <c:pt idx="2724">
                  <c:v>7.6779999999999999</c:v>
                </c:pt>
                <c:pt idx="2725">
                  <c:v>7.6779999999999999</c:v>
                </c:pt>
                <c:pt idx="2726">
                  <c:v>7.6769999999999996</c:v>
                </c:pt>
                <c:pt idx="2727">
                  <c:v>7.6769999999999996</c:v>
                </c:pt>
                <c:pt idx="2728">
                  <c:v>7.6769999999999996</c:v>
                </c:pt>
                <c:pt idx="2729">
                  <c:v>7.6769999999999996</c:v>
                </c:pt>
                <c:pt idx="2730">
                  <c:v>7.6769999999999996</c:v>
                </c:pt>
                <c:pt idx="2731">
                  <c:v>7.6769999999999996</c:v>
                </c:pt>
                <c:pt idx="2732">
                  <c:v>7.6769999999999996</c:v>
                </c:pt>
                <c:pt idx="2733">
                  <c:v>7.6760000000000002</c:v>
                </c:pt>
                <c:pt idx="2734">
                  <c:v>7.6769999999999996</c:v>
                </c:pt>
                <c:pt idx="2735">
                  <c:v>7.6760000000000002</c:v>
                </c:pt>
                <c:pt idx="2736">
                  <c:v>7.6760000000000002</c:v>
                </c:pt>
                <c:pt idx="2737">
                  <c:v>7.6760000000000002</c:v>
                </c:pt>
                <c:pt idx="2738">
                  <c:v>7.6760000000000002</c:v>
                </c:pt>
                <c:pt idx="2739">
                  <c:v>7.6760000000000002</c:v>
                </c:pt>
                <c:pt idx="2740">
                  <c:v>7.6749999999999998</c:v>
                </c:pt>
                <c:pt idx="2741">
                  <c:v>7.6760000000000002</c:v>
                </c:pt>
                <c:pt idx="2742">
                  <c:v>7.6749999999999998</c:v>
                </c:pt>
                <c:pt idx="2743">
                  <c:v>7.6749999999999998</c:v>
                </c:pt>
                <c:pt idx="2744">
                  <c:v>7.6749999999999998</c:v>
                </c:pt>
                <c:pt idx="2745">
                  <c:v>7.6749999999999998</c:v>
                </c:pt>
                <c:pt idx="2746">
                  <c:v>7.6749999999999998</c:v>
                </c:pt>
                <c:pt idx="2747">
                  <c:v>7.6740000000000004</c:v>
                </c:pt>
                <c:pt idx="2748">
                  <c:v>7.6749999999999998</c:v>
                </c:pt>
                <c:pt idx="2749">
                  <c:v>7.6740000000000004</c:v>
                </c:pt>
                <c:pt idx="2750">
                  <c:v>7.6740000000000004</c:v>
                </c:pt>
                <c:pt idx="2751">
                  <c:v>7.6740000000000004</c:v>
                </c:pt>
                <c:pt idx="2752">
                  <c:v>7.6740000000000004</c:v>
                </c:pt>
                <c:pt idx="2753">
                  <c:v>7.6740000000000004</c:v>
                </c:pt>
                <c:pt idx="2754">
                  <c:v>7.673</c:v>
                </c:pt>
                <c:pt idx="2755">
                  <c:v>7.673</c:v>
                </c:pt>
                <c:pt idx="2756">
                  <c:v>7.673</c:v>
                </c:pt>
                <c:pt idx="2757">
                  <c:v>7.673</c:v>
                </c:pt>
                <c:pt idx="2758">
                  <c:v>7.673</c:v>
                </c:pt>
                <c:pt idx="2759">
                  <c:v>7.673</c:v>
                </c:pt>
                <c:pt idx="2760">
                  <c:v>7.6719999999999997</c:v>
                </c:pt>
                <c:pt idx="2761">
                  <c:v>7.6719999999999997</c:v>
                </c:pt>
                <c:pt idx="2762">
                  <c:v>7.6719999999999997</c:v>
                </c:pt>
                <c:pt idx="2763">
                  <c:v>7.673</c:v>
                </c:pt>
                <c:pt idx="2764">
                  <c:v>7.6719999999999997</c:v>
                </c:pt>
                <c:pt idx="2765">
                  <c:v>7.673</c:v>
                </c:pt>
                <c:pt idx="2766">
                  <c:v>7.6719999999999997</c:v>
                </c:pt>
                <c:pt idx="2767">
                  <c:v>7.6710000000000003</c:v>
                </c:pt>
                <c:pt idx="2768">
                  <c:v>7.6710000000000003</c:v>
                </c:pt>
                <c:pt idx="2769">
                  <c:v>7.6719999999999997</c:v>
                </c:pt>
                <c:pt idx="2770">
                  <c:v>7.6719999999999997</c:v>
                </c:pt>
                <c:pt idx="2771">
                  <c:v>7.6710000000000003</c:v>
                </c:pt>
                <c:pt idx="2772">
                  <c:v>7.6710000000000003</c:v>
                </c:pt>
                <c:pt idx="2773">
                  <c:v>7.6710000000000003</c:v>
                </c:pt>
                <c:pt idx="2774">
                  <c:v>7.6710000000000003</c:v>
                </c:pt>
                <c:pt idx="2775">
                  <c:v>7.6710000000000003</c:v>
                </c:pt>
                <c:pt idx="2776">
                  <c:v>7.67</c:v>
                </c:pt>
                <c:pt idx="2777">
                  <c:v>7.67</c:v>
                </c:pt>
                <c:pt idx="2778">
                  <c:v>7.67</c:v>
                </c:pt>
                <c:pt idx="2779">
                  <c:v>7.67</c:v>
                </c:pt>
                <c:pt idx="2780">
                  <c:v>7.67</c:v>
                </c:pt>
                <c:pt idx="2781">
                  <c:v>7.67</c:v>
                </c:pt>
                <c:pt idx="2782">
                  <c:v>7.67</c:v>
                </c:pt>
                <c:pt idx="2783">
                  <c:v>7.67</c:v>
                </c:pt>
                <c:pt idx="2784">
                  <c:v>7.67</c:v>
                </c:pt>
                <c:pt idx="2785">
                  <c:v>7.67</c:v>
                </c:pt>
                <c:pt idx="2786">
                  <c:v>7.6689999999999996</c:v>
                </c:pt>
                <c:pt idx="2787">
                  <c:v>7.6689999999999996</c:v>
                </c:pt>
                <c:pt idx="2788">
                  <c:v>7.6689999999999996</c:v>
                </c:pt>
                <c:pt idx="2789">
                  <c:v>7.6689999999999996</c:v>
                </c:pt>
                <c:pt idx="2790">
                  <c:v>7.6689999999999996</c:v>
                </c:pt>
                <c:pt idx="2791">
                  <c:v>7.6689999999999996</c:v>
                </c:pt>
                <c:pt idx="2792">
                  <c:v>7.6680000000000001</c:v>
                </c:pt>
                <c:pt idx="2793">
                  <c:v>7.6680000000000001</c:v>
                </c:pt>
                <c:pt idx="2794">
                  <c:v>7.6680000000000001</c:v>
                </c:pt>
                <c:pt idx="2795">
                  <c:v>7.6680000000000001</c:v>
                </c:pt>
                <c:pt idx="2796">
                  <c:v>7.6680000000000001</c:v>
                </c:pt>
                <c:pt idx="2797">
                  <c:v>7.6680000000000001</c:v>
                </c:pt>
                <c:pt idx="2798">
                  <c:v>7.6680000000000001</c:v>
                </c:pt>
                <c:pt idx="2799">
                  <c:v>7.6669999999999998</c:v>
                </c:pt>
                <c:pt idx="2800">
                  <c:v>7.6669999999999998</c:v>
                </c:pt>
                <c:pt idx="2801">
                  <c:v>7.6669999999999998</c:v>
                </c:pt>
                <c:pt idx="2802">
                  <c:v>7.6669999999999998</c:v>
                </c:pt>
                <c:pt idx="2803">
                  <c:v>7.6669999999999998</c:v>
                </c:pt>
                <c:pt idx="2804">
                  <c:v>7.6669999999999998</c:v>
                </c:pt>
                <c:pt idx="2805">
                  <c:v>7.6669999999999998</c:v>
                </c:pt>
                <c:pt idx="2806">
                  <c:v>7.6669999999999998</c:v>
                </c:pt>
                <c:pt idx="2807">
                  <c:v>7.6660000000000004</c:v>
                </c:pt>
                <c:pt idx="2808">
                  <c:v>7.6669999999999998</c:v>
                </c:pt>
                <c:pt idx="2809">
                  <c:v>7.6660000000000004</c:v>
                </c:pt>
                <c:pt idx="2810">
                  <c:v>7.6660000000000004</c:v>
                </c:pt>
                <c:pt idx="2811">
                  <c:v>7.6660000000000004</c:v>
                </c:pt>
                <c:pt idx="2812">
                  <c:v>7.6660000000000004</c:v>
                </c:pt>
                <c:pt idx="2813">
                  <c:v>7.665</c:v>
                </c:pt>
                <c:pt idx="2814">
                  <c:v>7.665</c:v>
                </c:pt>
                <c:pt idx="2815">
                  <c:v>7.665</c:v>
                </c:pt>
                <c:pt idx="2816">
                  <c:v>7.6660000000000004</c:v>
                </c:pt>
                <c:pt idx="2817">
                  <c:v>7.665</c:v>
                </c:pt>
                <c:pt idx="2818">
                  <c:v>7.665</c:v>
                </c:pt>
                <c:pt idx="2819">
                  <c:v>7.665</c:v>
                </c:pt>
                <c:pt idx="2820">
                  <c:v>7.665</c:v>
                </c:pt>
                <c:pt idx="2821">
                  <c:v>7.6639999999999997</c:v>
                </c:pt>
                <c:pt idx="2822">
                  <c:v>7.6639999999999997</c:v>
                </c:pt>
                <c:pt idx="2823">
                  <c:v>7.6639999999999997</c:v>
                </c:pt>
                <c:pt idx="2824">
                  <c:v>7.6639999999999997</c:v>
                </c:pt>
                <c:pt idx="2825">
                  <c:v>7.6639999999999997</c:v>
                </c:pt>
                <c:pt idx="2826">
                  <c:v>7.6639999999999997</c:v>
                </c:pt>
                <c:pt idx="2827">
                  <c:v>7.6639999999999997</c:v>
                </c:pt>
                <c:pt idx="2828">
                  <c:v>7.6639999999999997</c:v>
                </c:pt>
                <c:pt idx="2829">
                  <c:v>7.6639999999999997</c:v>
                </c:pt>
                <c:pt idx="2830">
                  <c:v>7.6630000000000003</c:v>
                </c:pt>
                <c:pt idx="2831">
                  <c:v>7.6630000000000003</c:v>
                </c:pt>
                <c:pt idx="2832">
                  <c:v>7.6630000000000003</c:v>
                </c:pt>
                <c:pt idx="2833">
                  <c:v>7.6630000000000003</c:v>
                </c:pt>
                <c:pt idx="2834">
                  <c:v>7.6630000000000003</c:v>
                </c:pt>
                <c:pt idx="2835">
                  <c:v>7.6630000000000003</c:v>
                </c:pt>
                <c:pt idx="2836">
                  <c:v>7.6630000000000003</c:v>
                </c:pt>
                <c:pt idx="2837">
                  <c:v>7.6630000000000003</c:v>
                </c:pt>
                <c:pt idx="2838">
                  <c:v>7.6619999999999999</c:v>
                </c:pt>
                <c:pt idx="2839">
                  <c:v>7.6619999999999999</c:v>
                </c:pt>
                <c:pt idx="2840">
                  <c:v>7.6619999999999999</c:v>
                </c:pt>
                <c:pt idx="2841">
                  <c:v>7.6619999999999999</c:v>
                </c:pt>
                <c:pt idx="2842">
                  <c:v>7.6619999999999999</c:v>
                </c:pt>
                <c:pt idx="2843">
                  <c:v>7.6609999999999996</c:v>
                </c:pt>
                <c:pt idx="2844">
                  <c:v>7.6619999999999999</c:v>
                </c:pt>
                <c:pt idx="2845">
                  <c:v>7.6619999999999999</c:v>
                </c:pt>
                <c:pt idx="2846">
                  <c:v>7.6619999999999999</c:v>
                </c:pt>
                <c:pt idx="2847">
                  <c:v>7.6609999999999996</c:v>
                </c:pt>
                <c:pt idx="2848">
                  <c:v>7.6609999999999996</c:v>
                </c:pt>
                <c:pt idx="2849">
                  <c:v>7.6609999999999996</c:v>
                </c:pt>
                <c:pt idx="2850">
                  <c:v>7.6609999999999996</c:v>
                </c:pt>
                <c:pt idx="2851">
                  <c:v>7.6609999999999996</c:v>
                </c:pt>
                <c:pt idx="2852">
                  <c:v>7.66</c:v>
                </c:pt>
                <c:pt idx="2853">
                  <c:v>7.66</c:v>
                </c:pt>
                <c:pt idx="2854">
                  <c:v>7.66</c:v>
                </c:pt>
                <c:pt idx="2855">
                  <c:v>7.66</c:v>
                </c:pt>
                <c:pt idx="2856">
                  <c:v>7.66</c:v>
                </c:pt>
                <c:pt idx="2857">
                  <c:v>7.66</c:v>
                </c:pt>
                <c:pt idx="2858">
                  <c:v>7.66</c:v>
                </c:pt>
                <c:pt idx="2859">
                  <c:v>7.66</c:v>
                </c:pt>
                <c:pt idx="2860">
                  <c:v>7.6589999999999998</c:v>
                </c:pt>
                <c:pt idx="2861">
                  <c:v>7.6589999999999998</c:v>
                </c:pt>
                <c:pt idx="2862">
                  <c:v>7.66</c:v>
                </c:pt>
                <c:pt idx="2863">
                  <c:v>7.6589999999999998</c:v>
                </c:pt>
                <c:pt idx="2864">
                  <c:v>7.6589999999999998</c:v>
                </c:pt>
                <c:pt idx="2865">
                  <c:v>7.6589999999999998</c:v>
                </c:pt>
                <c:pt idx="2866">
                  <c:v>7.6589999999999998</c:v>
                </c:pt>
                <c:pt idx="2867">
                  <c:v>7.6580000000000004</c:v>
                </c:pt>
                <c:pt idx="2868">
                  <c:v>7.6580000000000004</c:v>
                </c:pt>
                <c:pt idx="2869">
                  <c:v>7.6580000000000004</c:v>
                </c:pt>
                <c:pt idx="2870">
                  <c:v>7.6580000000000004</c:v>
                </c:pt>
                <c:pt idx="2871">
                  <c:v>7.6589999999999998</c:v>
                </c:pt>
                <c:pt idx="2872">
                  <c:v>7.6580000000000004</c:v>
                </c:pt>
                <c:pt idx="2873">
                  <c:v>7.6580000000000004</c:v>
                </c:pt>
                <c:pt idx="2874">
                  <c:v>7.657</c:v>
                </c:pt>
                <c:pt idx="2875">
                  <c:v>7.657</c:v>
                </c:pt>
                <c:pt idx="2876">
                  <c:v>7.657</c:v>
                </c:pt>
                <c:pt idx="2877">
                  <c:v>7.657</c:v>
                </c:pt>
                <c:pt idx="2878">
                  <c:v>7.657</c:v>
                </c:pt>
                <c:pt idx="2879">
                  <c:v>7.657</c:v>
                </c:pt>
                <c:pt idx="2880">
                  <c:v>7.6559999999999997</c:v>
                </c:pt>
                <c:pt idx="2881">
                  <c:v>7.657</c:v>
                </c:pt>
                <c:pt idx="2882">
                  <c:v>7.657</c:v>
                </c:pt>
                <c:pt idx="2883">
                  <c:v>7.6559999999999997</c:v>
                </c:pt>
                <c:pt idx="2884">
                  <c:v>7.6559999999999997</c:v>
                </c:pt>
                <c:pt idx="2885">
                  <c:v>7.6559999999999997</c:v>
                </c:pt>
                <c:pt idx="2886">
                  <c:v>7.6559999999999997</c:v>
                </c:pt>
                <c:pt idx="2887">
                  <c:v>7.6559999999999997</c:v>
                </c:pt>
                <c:pt idx="2888">
                  <c:v>7.6559999999999997</c:v>
                </c:pt>
                <c:pt idx="2889">
                  <c:v>7.6559999999999997</c:v>
                </c:pt>
                <c:pt idx="2890">
                  <c:v>7.6559999999999997</c:v>
                </c:pt>
                <c:pt idx="2891">
                  <c:v>7.6550000000000002</c:v>
                </c:pt>
                <c:pt idx="2892">
                  <c:v>7.6550000000000002</c:v>
                </c:pt>
                <c:pt idx="2893">
                  <c:v>7.6550000000000002</c:v>
                </c:pt>
                <c:pt idx="2894">
                  <c:v>7.6550000000000002</c:v>
                </c:pt>
                <c:pt idx="2895">
                  <c:v>7.6550000000000002</c:v>
                </c:pt>
                <c:pt idx="2896">
                  <c:v>7.6550000000000002</c:v>
                </c:pt>
                <c:pt idx="2897">
                  <c:v>7.6550000000000002</c:v>
                </c:pt>
                <c:pt idx="2898">
                  <c:v>7.6539999999999999</c:v>
                </c:pt>
                <c:pt idx="2899">
                  <c:v>7.6539999999999999</c:v>
                </c:pt>
                <c:pt idx="2900">
                  <c:v>7.6539999999999999</c:v>
                </c:pt>
                <c:pt idx="2901">
                  <c:v>7.6529999999999996</c:v>
                </c:pt>
                <c:pt idx="2902">
                  <c:v>7.6539999999999999</c:v>
                </c:pt>
                <c:pt idx="2903">
                  <c:v>7.6539999999999999</c:v>
                </c:pt>
                <c:pt idx="2904">
                  <c:v>7.6539999999999999</c:v>
                </c:pt>
                <c:pt idx="2905">
                  <c:v>7.6539999999999999</c:v>
                </c:pt>
                <c:pt idx="2906">
                  <c:v>7.6539999999999999</c:v>
                </c:pt>
                <c:pt idx="2907">
                  <c:v>7.6529999999999996</c:v>
                </c:pt>
                <c:pt idx="2908">
                  <c:v>7.6529999999999996</c:v>
                </c:pt>
                <c:pt idx="2909">
                  <c:v>7.6529999999999996</c:v>
                </c:pt>
                <c:pt idx="2910">
                  <c:v>7.6529999999999996</c:v>
                </c:pt>
                <c:pt idx="2911">
                  <c:v>7.6529999999999996</c:v>
                </c:pt>
                <c:pt idx="2912">
                  <c:v>7.6529999999999996</c:v>
                </c:pt>
                <c:pt idx="2913">
                  <c:v>7.6529999999999996</c:v>
                </c:pt>
                <c:pt idx="2914">
                  <c:v>7.6520000000000001</c:v>
                </c:pt>
                <c:pt idx="2915">
                  <c:v>7.6520000000000001</c:v>
                </c:pt>
                <c:pt idx="2916">
                  <c:v>7.6520000000000001</c:v>
                </c:pt>
                <c:pt idx="2917">
                  <c:v>7.6520000000000001</c:v>
                </c:pt>
                <c:pt idx="2918">
                  <c:v>7.6520000000000001</c:v>
                </c:pt>
                <c:pt idx="2919">
                  <c:v>7.6520000000000001</c:v>
                </c:pt>
                <c:pt idx="2920">
                  <c:v>7.6520000000000001</c:v>
                </c:pt>
                <c:pt idx="2921">
                  <c:v>7.6509999999999998</c:v>
                </c:pt>
                <c:pt idx="2922">
                  <c:v>7.6520000000000001</c:v>
                </c:pt>
                <c:pt idx="2923">
                  <c:v>7.6509999999999998</c:v>
                </c:pt>
                <c:pt idx="2924">
                  <c:v>7.6509999999999998</c:v>
                </c:pt>
                <c:pt idx="2925">
                  <c:v>7.6509999999999998</c:v>
                </c:pt>
                <c:pt idx="2926">
                  <c:v>7.6509999999999998</c:v>
                </c:pt>
                <c:pt idx="2927">
                  <c:v>7.6509999999999998</c:v>
                </c:pt>
                <c:pt idx="2928">
                  <c:v>7.6509999999999998</c:v>
                </c:pt>
                <c:pt idx="2929">
                  <c:v>7.65</c:v>
                </c:pt>
                <c:pt idx="2930">
                  <c:v>7.65</c:v>
                </c:pt>
                <c:pt idx="2931">
                  <c:v>7.65</c:v>
                </c:pt>
                <c:pt idx="2932">
                  <c:v>7.65</c:v>
                </c:pt>
                <c:pt idx="2933">
                  <c:v>7.65</c:v>
                </c:pt>
                <c:pt idx="2934">
                  <c:v>7.65</c:v>
                </c:pt>
                <c:pt idx="2935">
                  <c:v>7.6509999999999998</c:v>
                </c:pt>
                <c:pt idx="2936">
                  <c:v>7.65</c:v>
                </c:pt>
                <c:pt idx="2937">
                  <c:v>7.65</c:v>
                </c:pt>
                <c:pt idx="2938">
                  <c:v>7.649</c:v>
                </c:pt>
                <c:pt idx="2939">
                  <c:v>7.65</c:v>
                </c:pt>
                <c:pt idx="2940">
                  <c:v>7.65</c:v>
                </c:pt>
                <c:pt idx="2941">
                  <c:v>7.649</c:v>
                </c:pt>
                <c:pt idx="2942">
                  <c:v>7.649</c:v>
                </c:pt>
                <c:pt idx="2943">
                  <c:v>7.649</c:v>
                </c:pt>
                <c:pt idx="2944">
                  <c:v>7.649</c:v>
                </c:pt>
                <c:pt idx="2945">
                  <c:v>7.6479999999999997</c:v>
                </c:pt>
                <c:pt idx="2946">
                  <c:v>7.649</c:v>
                </c:pt>
                <c:pt idx="2947">
                  <c:v>7.649</c:v>
                </c:pt>
                <c:pt idx="2948">
                  <c:v>7.649</c:v>
                </c:pt>
                <c:pt idx="2949">
                  <c:v>7.6479999999999997</c:v>
                </c:pt>
                <c:pt idx="2950">
                  <c:v>7.6479999999999997</c:v>
                </c:pt>
                <c:pt idx="2951">
                  <c:v>7.6479999999999997</c:v>
                </c:pt>
                <c:pt idx="2952">
                  <c:v>7.6479999999999997</c:v>
                </c:pt>
                <c:pt idx="2953">
                  <c:v>7.6479999999999997</c:v>
                </c:pt>
                <c:pt idx="2954">
                  <c:v>7.6479999999999997</c:v>
                </c:pt>
                <c:pt idx="2955">
                  <c:v>7.6479999999999997</c:v>
                </c:pt>
                <c:pt idx="2956">
                  <c:v>7.6470000000000002</c:v>
                </c:pt>
                <c:pt idx="2957">
                  <c:v>7.6470000000000002</c:v>
                </c:pt>
                <c:pt idx="2958">
                  <c:v>7.6470000000000002</c:v>
                </c:pt>
                <c:pt idx="2959">
                  <c:v>7.6470000000000002</c:v>
                </c:pt>
                <c:pt idx="2960">
                  <c:v>7.6470000000000002</c:v>
                </c:pt>
                <c:pt idx="2961">
                  <c:v>7.6470000000000002</c:v>
                </c:pt>
                <c:pt idx="2962">
                  <c:v>7.6470000000000002</c:v>
                </c:pt>
                <c:pt idx="2963">
                  <c:v>7.6470000000000002</c:v>
                </c:pt>
                <c:pt idx="2964">
                  <c:v>7.6459999999999999</c:v>
                </c:pt>
                <c:pt idx="2965">
                  <c:v>7.6459999999999999</c:v>
                </c:pt>
                <c:pt idx="2966">
                  <c:v>7.6459999999999999</c:v>
                </c:pt>
                <c:pt idx="2967">
                  <c:v>7.6470000000000002</c:v>
                </c:pt>
                <c:pt idx="2968">
                  <c:v>7.6459999999999999</c:v>
                </c:pt>
                <c:pt idx="2969">
                  <c:v>7.6459999999999999</c:v>
                </c:pt>
                <c:pt idx="2970">
                  <c:v>7.6459999999999999</c:v>
                </c:pt>
                <c:pt idx="2971">
                  <c:v>7.6459999999999999</c:v>
                </c:pt>
                <c:pt idx="2972">
                  <c:v>7.6459999999999999</c:v>
                </c:pt>
                <c:pt idx="2973">
                  <c:v>7.6449999999999996</c:v>
                </c:pt>
                <c:pt idx="2974">
                  <c:v>7.6449999999999996</c:v>
                </c:pt>
                <c:pt idx="2975">
                  <c:v>7.6449999999999996</c:v>
                </c:pt>
                <c:pt idx="2976">
                  <c:v>7.6449999999999996</c:v>
                </c:pt>
                <c:pt idx="2977">
                  <c:v>7.6449999999999996</c:v>
                </c:pt>
                <c:pt idx="2978">
                  <c:v>7.6449999999999996</c:v>
                </c:pt>
                <c:pt idx="2979">
                  <c:v>7.6449999999999996</c:v>
                </c:pt>
                <c:pt idx="2980">
                  <c:v>7.6440000000000001</c:v>
                </c:pt>
                <c:pt idx="2981">
                  <c:v>7.6449999999999996</c:v>
                </c:pt>
                <c:pt idx="2982">
                  <c:v>7.6440000000000001</c:v>
                </c:pt>
                <c:pt idx="2983">
                  <c:v>7.6440000000000001</c:v>
                </c:pt>
                <c:pt idx="2984">
                  <c:v>7.6440000000000001</c:v>
                </c:pt>
                <c:pt idx="2985">
                  <c:v>7.6440000000000001</c:v>
                </c:pt>
                <c:pt idx="2986">
                  <c:v>7.6440000000000001</c:v>
                </c:pt>
                <c:pt idx="2987">
                  <c:v>7.6440000000000001</c:v>
                </c:pt>
                <c:pt idx="2988">
                  <c:v>7.6429999999999998</c:v>
                </c:pt>
                <c:pt idx="2989">
                  <c:v>7.6429999999999998</c:v>
                </c:pt>
                <c:pt idx="2990">
                  <c:v>7.6429999999999998</c:v>
                </c:pt>
                <c:pt idx="2991">
                  <c:v>7.6429999999999998</c:v>
                </c:pt>
                <c:pt idx="2992">
                  <c:v>7.6429999999999998</c:v>
                </c:pt>
                <c:pt idx="2993">
                  <c:v>7.6429999999999998</c:v>
                </c:pt>
                <c:pt idx="2994">
                  <c:v>7.6420000000000003</c:v>
                </c:pt>
                <c:pt idx="2995">
                  <c:v>7.6429999999999998</c:v>
                </c:pt>
                <c:pt idx="2996">
                  <c:v>7.6429999999999998</c:v>
                </c:pt>
                <c:pt idx="2997">
                  <c:v>7.6420000000000003</c:v>
                </c:pt>
                <c:pt idx="2998">
                  <c:v>7.6420000000000003</c:v>
                </c:pt>
                <c:pt idx="2999">
                  <c:v>7.6420000000000003</c:v>
                </c:pt>
                <c:pt idx="3000">
                  <c:v>7.6420000000000003</c:v>
                </c:pt>
                <c:pt idx="3001">
                  <c:v>7.6420000000000003</c:v>
                </c:pt>
                <c:pt idx="3002">
                  <c:v>7.6420000000000003</c:v>
                </c:pt>
                <c:pt idx="3003">
                  <c:v>7.6420000000000003</c:v>
                </c:pt>
                <c:pt idx="3004">
                  <c:v>7.641</c:v>
                </c:pt>
                <c:pt idx="3005">
                  <c:v>7.6420000000000003</c:v>
                </c:pt>
                <c:pt idx="3006">
                  <c:v>7.641</c:v>
                </c:pt>
                <c:pt idx="3007">
                  <c:v>7.6420000000000003</c:v>
                </c:pt>
                <c:pt idx="3008">
                  <c:v>7.641</c:v>
                </c:pt>
                <c:pt idx="3009">
                  <c:v>7.641</c:v>
                </c:pt>
                <c:pt idx="3010">
                  <c:v>7.641</c:v>
                </c:pt>
                <c:pt idx="3011">
                  <c:v>7.641</c:v>
                </c:pt>
                <c:pt idx="3012">
                  <c:v>7.641</c:v>
                </c:pt>
                <c:pt idx="3013">
                  <c:v>7.641</c:v>
                </c:pt>
                <c:pt idx="3014">
                  <c:v>7.64</c:v>
                </c:pt>
                <c:pt idx="3015">
                  <c:v>7.64</c:v>
                </c:pt>
                <c:pt idx="3016">
                  <c:v>7.64</c:v>
                </c:pt>
                <c:pt idx="3017">
                  <c:v>7.641</c:v>
                </c:pt>
                <c:pt idx="3018">
                  <c:v>7.64</c:v>
                </c:pt>
                <c:pt idx="3019">
                  <c:v>7.64</c:v>
                </c:pt>
                <c:pt idx="3020">
                  <c:v>7.64</c:v>
                </c:pt>
                <c:pt idx="3021">
                  <c:v>7.64</c:v>
                </c:pt>
                <c:pt idx="3022">
                  <c:v>7.6390000000000002</c:v>
                </c:pt>
                <c:pt idx="3023">
                  <c:v>7.6390000000000002</c:v>
                </c:pt>
                <c:pt idx="3024">
                  <c:v>7.6390000000000002</c:v>
                </c:pt>
                <c:pt idx="3025">
                  <c:v>7.6390000000000002</c:v>
                </c:pt>
                <c:pt idx="3026">
                  <c:v>7.6390000000000002</c:v>
                </c:pt>
                <c:pt idx="3027">
                  <c:v>7.6390000000000002</c:v>
                </c:pt>
                <c:pt idx="3028">
                  <c:v>7.6390000000000002</c:v>
                </c:pt>
                <c:pt idx="3029">
                  <c:v>7.6390000000000002</c:v>
                </c:pt>
                <c:pt idx="3030">
                  <c:v>7.6379999999999999</c:v>
                </c:pt>
                <c:pt idx="3031">
                  <c:v>7.6379999999999999</c:v>
                </c:pt>
                <c:pt idx="3032">
                  <c:v>7.6390000000000002</c:v>
                </c:pt>
                <c:pt idx="3033">
                  <c:v>7.6379999999999999</c:v>
                </c:pt>
                <c:pt idx="3034">
                  <c:v>7.6379999999999999</c:v>
                </c:pt>
                <c:pt idx="3035">
                  <c:v>7.6379999999999999</c:v>
                </c:pt>
                <c:pt idx="3036">
                  <c:v>7.6379999999999999</c:v>
                </c:pt>
                <c:pt idx="3037">
                  <c:v>7.6379999999999999</c:v>
                </c:pt>
                <c:pt idx="3038">
                  <c:v>7.6369999999999996</c:v>
                </c:pt>
                <c:pt idx="3039">
                  <c:v>7.6379999999999999</c:v>
                </c:pt>
                <c:pt idx="3040">
                  <c:v>7.6379999999999999</c:v>
                </c:pt>
                <c:pt idx="3041">
                  <c:v>7.6379999999999999</c:v>
                </c:pt>
                <c:pt idx="3042">
                  <c:v>7.6369999999999996</c:v>
                </c:pt>
                <c:pt idx="3043">
                  <c:v>7.6369999999999996</c:v>
                </c:pt>
                <c:pt idx="3044">
                  <c:v>7.6369999999999996</c:v>
                </c:pt>
                <c:pt idx="3045">
                  <c:v>7.6369999999999996</c:v>
                </c:pt>
                <c:pt idx="3046">
                  <c:v>7.6369999999999996</c:v>
                </c:pt>
                <c:pt idx="3047">
                  <c:v>7.6360000000000001</c:v>
                </c:pt>
                <c:pt idx="3048">
                  <c:v>7.6369999999999996</c:v>
                </c:pt>
                <c:pt idx="3049">
                  <c:v>7.6360000000000001</c:v>
                </c:pt>
                <c:pt idx="3050">
                  <c:v>7.6360000000000001</c:v>
                </c:pt>
                <c:pt idx="3051">
                  <c:v>7.6360000000000001</c:v>
                </c:pt>
                <c:pt idx="3052">
                  <c:v>7.6360000000000001</c:v>
                </c:pt>
                <c:pt idx="3053">
                  <c:v>7.6360000000000001</c:v>
                </c:pt>
                <c:pt idx="3054">
                  <c:v>7.6360000000000001</c:v>
                </c:pt>
                <c:pt idx="3055">
                  <c:v>7.6360000000000001</c:v>
                </c:pt>
                <c:pt idx="3056">
                  <c:v>7.6349999999999998</c:v>
                </c:pt>
                <c:pt idx="3057">
                  <c:v>7.6360000000000001</c:v>
                </c:pt>
                <c:pt idx="3058">
                  <c:v>7.6360000000000001</c:v>
                </c:pt>
                <c:pt idx="3059">
                  <c:v>7.6349999999999998</c:v>
                </c:pt>
                <c:pt idx="3060">
                  <c:v>7.6349999999999998</c:v>
                </c:pt>
                <c:pt idx="3061">
                  <c:v>7.6360000000000001</c:v>
                </c:pt>
                <c:pt idx="3062">
                  <c:v>7.6349999999999998</c:v>
                </c:pt>
                <c:pt idx="3063">
                  <c:v>7.6349999999999998</c:v>
                </c:pt>
                <c:pt idx="3064">
                  <c:v>7.6349999999999998</c:v>
                </c:pt>
                <c:pt idx="3065">
                  <c:v>7.6340000000000003</c:v>
                </c:pt>
                <c:pt idx="3066">
                  <c:v>7.6340000000000003</c:v>
                </c:pt>
                <c:pt idx="3067">
                  <c:v>7.6340000000000003</c:v>
                </c:pt>
                <c:pt idx="3068">
                  <c:v>7.6340000000000003</c:v>
                </c:pt>
                <c:pt idx="3069">
                  <c:v>7.6340000000000003</c:v>
                </c:pt>
                <c:pt idx="3070">
                  <c:v>7.6340000000000003</c:v>
                </c:pt>
                <c:pt idx="3071">
                  <c:v>7.6340000000000003</c:v>
                </c:pt>
                <c:pt idx="3072">
                  <c:v>7.6340000000000003</c:v>
                </c:pt>
                <c:pt idx="3073">
                  <c:v>7.6340000000000003</c:v>
                </c:pt>
                <c:pt idx="3074">
                  <c:v>7.6340000000000003</c:v>
                </c:pt>
                <c:pt idx="3075">
                  <c:v>7.633</c:v>
                </c:pt>
                <c:pt idx="3076">
                  <c:v>7.633</c:v>
                </c:pt>
                <c:pt idx="3077">
                  <c:v>7.633</c:v>
                </c:pt>
                <c:pt idx="3078">
                  <c:v>7.633</c:v>
                </c:pt>
                <c:pt idx="3079">
                  <c:v>7.633</c:v>
                </c:pt>
                <c:pt idx="3080">
                  <c:v>7.633</c:v>
                </c:pt>
                <c:pt idx="3081">
                  <c:v>7.633</c:v>
                </c:pt>
                <c:pt idx="3082">
                  <c:v>7.633</c:v>
                </c:pt>
                <c:pt idx="3083">
                  <c:v>7.6319999999999997</c:v>
                </c:pt>
                <c:pt idx="3084">
                  <c:v>7.633</c:v>
                </c:pt>
                <c:pt idx="3085">
                  <c:v>7.633</c:v>
                </c:pt>
                <c:pt idx="3086">
                  <c:v>7.6319999999999997</c:v>
                </c:pt>
                <c:pt idx="3087">
                  <c:v>7.6319999999999997</c:v>
                </c:pt>
                <c:pt idx="3088">
                  <c:v>7.6319999999999997</c:v>
                </c:pt>
                <c:pt idx="3089">
                  <c:v>7.6319999999999997</c:v>
                </c:pt>
                <c:pt idx="3090">
                  <c:v>7.6319999999999997</c:v>
                </c:pt>
                <c:pt idx="3091">
                  <c:v>7.6319999999999997</c:v>
                </c:pt>
                <c:pt idx="3092">
                  <c:v>7.6310000000000002</c:v>
                </c:pt>
                <c:pt idx="3093">
                  <c:v>7.6319999999999997</c:v>
                </c:pt>
                <c:pt idx="3094">
                  <c:v>7.6310000000000002</c:v>
                </c:pt>
                <c:pt idx="3095">
                  <c:v>7.6310000000000002</c:v>
                </c:pt>
                <c:pt idx="3096">
                  <c:v>7.6310000000000002</c:v>
                </c:pt>
                <c:pt idx="3097">
                  <c:v>7.6310000000000002</c:v>
                </c:pt>
                <c:pt idx="3098">
                  <c:v>7.6310000000000002</c:v>
                </c:pt>
                <c:pt idx="3099">
                  <c:v>7.6310000000000002</c:v>
                </c:pt>
                <c:pt idx="3100">
                  <c:v>7.6310000000000002</c:v>
                </c:pt>
                <c:pt idx="3101">
                  <c:v>7.6310000000000002</c:v>
                </c:pt>
                <c:pt idx="3102">
                  <c:v>7.63</c:v>
                </c:pt>
                <c:pt idx="3103">
                  <c:v>7.6310000000000002</c:v>
                </c:pt>
                <c:pt idx="3104">
                  <c:v>7.63</c:v>
                </c:pt>
                <c:pt idx="3105">
                  <c:v>7.63</c:v>
                </c:pt>
                <c:pt idx="3106">
                  <c:v>7.63</c:v>
                </c:pt>
                <c:pt idx="3107">
                  <c:v>7.63</c:v>
                </c:pt>
                <c:pt idx="3108">
                  <c:v>7.63</c:v>
                </c:pt>
                <c:pt idx="3109">
                  <c:v>7.63</c:v>
                </c:pt>
                <c:pt idx="3110">
                  <c:v>7.63</c:v>
                </c:pt>
                <c:pt idx="3111">
                  <c:v>7.6289999999999996</c:v>
                </c:pt>
                <c:pt idx="3112">
                  <c:v>7.63</c:v>
                </c:pt>
                <c:pt idx="3113">
                  <c:v>7.63</c:v>
                </c:pt>
                <c:pt idx="3114">
                  <c:v>7.63</c:v>
                </c:pt>
                <c:pt idx="3115">
                  <c:v>7.6289999999999996</c:v>
                </c:pt>
                <c:pt idx="3116">
                  <c:v>7.6289999999999996</c:v>
                </c:pt>
                <c:pt idx="3117">
                  <c:v>7.6289999999999996</c:v>
                </c:pt>
                <c:pt idx="3118">
                  <c:v>7.6289999999999996</c:v>
                </c:pt>
                <c:pt idx="3119">
                  <c:v>7.6289999999999996</c:v>
                </c:pt>
                <c:pt idx="3120">
                  <c:v>7.6289999999999996</c:v>
                </c:pt>
                <c:pt idx="3121">
                  <c:v>7.6289999999999996</c:v>
                </c:pt>
                <c:pt idx="3122">
                  <c:v>7.6289999999999996</c:v>
                </c:pt>
                <c:pt idx="3123">
                  <c:v>7.6289999999999996</c:v>
                </c:pt>
                <c:pt idx="3124">
                  <c:v>7.6289999999999996</c:v>
                </c:pt>
                <c:pt idx="3125">
                  <c:v>7.6280000000000001</c:v>
                </c:pt>
                <c:pt idx="3126">
                  <c:v>7.6289999999999996</c:v>
                </c:pt>
                <c:pt idx="3127">
                  <c:v>7.6280000000000001</c:v>
                </c:pt>
                <c:pt idx="3128">
                  <c:v>7.6280000000000001</c:v>
                </c:pt>
                <c:pt idx="3129">
                  <c:v>7.6280000000000001</c:v>
                </c:pt>
                <c:pt idx="3130">
                  <c:v>7.6280000000000001</c:v>
                </c:pt>
                <c:pt idx="3131">
                  <c:v>7.6280000000000001</c:v>
                </c:pt>
                <c:pt idx="3132">
                  <c:v>7.6280000000000001</c:v>
                </c:pt>
                <c:pt idx="3133">
                  <c:v>7.6269999999999998</c:v>
                </c:pt>
                <c:pt idx="3134">
                  <c:v>7.6269999999999998</c:v>
                </c:pt>
                <c:pt idx="3135">
                  <c:v>7.6269999999999998</c:v>
                </c:pt>
                <c:pt idx="3136">
                  <c:v>7.6269999999999998</c:v>
                </c:pt>
                <c:pt idx="3137">
                  <c:v>7.6269999999999998</c:v>
                </c:pt>
                <c:pt idx="3138">
                  <c:v>7.6269999999999998</c:v>
                </c:pt>
                <c:pt idx="3139">
                  <c:v>7.6269999999999998</c:v>
                </c:pt>
                <c:pt idx="3140">
                  <c:v>7.6269999999999998</c:v>
                </c:pt>
                <c:pt idx="3141">
                  <c:v>7.6269999999999998</c:v>
                </c:pt>
                <c:pt idx="3142">
                  <c:v>7.6269999999999998</c:v>
                </c:pt>
                <c:pt idx="3143">
                  <c:v>7.6269999999999998</c:v>
                </c:pt>
                <c:pt idx="3144">
                  <c:v>7.6260000000000003</c:v>
                </c:pt>
                <c:pt idx="3145">
                  <c:v>7.6269999999999998</c:v>
                </c:pt>
                <c:pt idx="3146">
                  <c:v>7.6260000000000003</c:v>
                </c:pt>
                <c:pt idx="3147">
                  <c:v>7.6260000000000003</c:v>
                </c:pt>
                <c:pt idx="3148">
                  <c:v>7.6269999999999998</c:v>
                </c:pt>
                <c:pt idx="3149">
                  <c:v>7.6269999999999998</c:v>
                </c:pt>
                <c:pt idx="3150">
                  <c:v>7.6260000000000003</c:v>
                </c:pt>
                <c:pt idx="3151">
                  <c:v>7.6260000000000003</c:v>
                </c:pt>
                <c:pt idx="3152">
                  <c:v>7.6260000000000003</c:v>
                </c:pt>
                <c:pt idx="3153">
                  <c:v>7.6260000000000003</c:v>
                </c:pt>
                <c:pt idx="3154">
                  <c:v>7.6260000000000003</c:v>
                </c:pt>
                <c:pt idx="3155">
                  <c:v>7.6260000000000003</c:v>
                </c:pt>
                <c:pt idx="3156">
                  <c:v>7.625</c:v>
                </c:pt>
                <c:pt idx="3157">
                  <c:v>7.625</c:v>
                </c:pt>
                <c:pt idx="3158">
                  <c:v>7.625</c:v>
                </c:pt>
                <c:pt idx="3159">
                  <c:v>7.625</c:v>
                </c:pt>
                <c:pt idx="3160">
                  <c:v>7.625</c:v>
                </c:pt>
                <c:pt idx="3161">
                  <c:v>7.625</c:v>
                </c:pt>
                <c:pt idx="3162">
                  <c:v>7.625</c:v>
                </c:pt>
                <c:pt idx="3163">
                  <c:v>7.625</c:v>
                </c:pt>
                <c:pt idx="3164">
                  <c:v>7.625</c:v>
                </c:pt>
                <c:pt idx="3165">
                  <c:v>7.625</c:v>
                </c:pt>
                <c:pt idx="3166">
                  <c:v>7.625</c:v>
                </c:pt>
                <c:pt idx="3167">
                  <c:v>7.6239999999999997</c:v>
                </c:pt>
                <c:pt idx="3168">
                  <c:v>7.6239999999999997</c:v>
                </c:pt>
                <c:pt idx="3169">
                  <c:v>7.6239999999999997</c:v>
                </c:pt>
                <c:pt idx="3170">
                  <c:v>7.6239999999999997</c:v>
                </c:pt>
                <c:pt idx="3171">
                  <c:v>7.6239999999999997</c:v>
                </c:pt>
                <c:pt idx="3172">
                  <c:v>7.6239999999999997</c:v>
                </c:pt>
                <c:pt idx="3173">
                  <c:v>7.6239999999999997</c:v>
                </c:pt>
                <c:pt idx="3174">
                  <c:v>7.6239999999999997</c:v>
                </c:pt>
                <c:pt idx="3175">
                  <c:v>7.6239999999999997</c:v>
                </c:pt>
                <c:pt idx="3176">
                  <c:v>7.6230000000000002</c:v>
                </c:pt>
                <c:pt idx="3177">
                  <c:v>7.6230000000000002</c:v>
                </c:pt>
                <c:pt idx="3178">
                  <c:v>7.6239999999999997</c:v>
                </c:pt>
                <c:pt idx="3179">
                  <c:v>7.6239999999999997</c:v>
                </c:pt>
                <c:pt idx="3180">
                  <c:v>7.6230000000000002</c:v>
                </c:pt>
                <c:pt idx="3181">
                  <c:v>7.6230000000000002</c:v>
                </c:pt>
                <c:pt idx="3182">
                  <c:v>7.6230000000000002</c:v>
                </c:pt>
                <c:pt idx="3183">
                  <c:v>7.6230000000000002</c:v>
                </c:pt>
                <c:pt idx="3184">
                  <c:v>7.6230000000000002</c:v>
                </c:pt>
                <c:pt idx="3185">
                  <c:v>7.6230000000000002</c:v>
                </c:pt>
                <c:pt idx="3186">
                  <c:v>7.6230000000000002</c:v>
                </c:pt>
                <c:pt idx="3187">
                  <c:v>7.6230000000000002</c:v>
                </c:pt>
                <c:pt idx="3188">
                  <c:v>7.6230000000000002</c:v>
                </c:pt>
                <c:pt idx="3189">
                  <c:v>7.6230000000000002</c:v>
                </c:pt>
                <c:pt idx="3190">
                  <c:v>7.6230000000000002</c:v>
                </c:pt>
                <c:pt idx="3191">
                  <c:v>7.6219999999999999</c:v>
                </c:pt>
                <c:pt idx="3192">
                  <c:v>7.6230000000000002</c:v>
                </c:pt>
                <c:pt idx="3193">
                  <c:v>7.6219999999999999</c:v>
                </c:pt>
                <c:pt idx="3194">
                  <c:v>7.6219999999999999</c:v>
                </c:pt>
                <c:pt idx="3195">
                  <c:v>7.6219999999999999</c:v>
                </c:pt>
                <c:pt idx="3196">
                  <c:v>7.6219999999999999</c:v>
                </c:pt>
                <c:pt idx="3197">
                  <c:v>7.6219999999999999</c:v>
                </c:pt>
                <c:pt idx="3198">
                  <c:v>7.6219999999999999</c:v>
                </c:pt>
                <c:pt idx="3199">
                  <c:v>7.6219999999999999</c:v>
                </c:pt>
                <c:pt idx="3200">
                  <c:v>7.6219999999999999</c:v>
                </c:pt>
                <c:pt idx="3201">
                  <c:v>7.6219999999999999</c:v>
                </c:pt>
                <c:pt idx="3202">
                  <c:v>7.6219999999999999</c:v>
                </c:pt>
                <c:pt idx="3203">
                  <c:v>7.6210000000000004</c:v>
                </c:pt>
                <c:pt idx="3204">
                  <c:v>7.6219999999999999</c:v>
                </c:pt>
                <c:pt idx="3205">
                  <c:v>7.6219999999999999</c:v>
                </c:pt>
                <c:pt idx="3206">
                  <c:v>7.6219999999999999</c:v>
                </c:pt>
                <c:pt idx="3207">
                  <c:v>7.6210000000000004</c:v>
                </c:pt>
                <c:pt idx="3208">
                  <c:v>7.6210000000000004</c:v>
                </c:pt>
                <c:pt idx="3209">
                  <c:v>7.6210000000000004</c:v>
                </c:pt>
                <c:pt idx="3210">
                  <c:v>7.6210000000000004</c:v>
                </c:pt>
                <c:pt idx="3211">
                  <c:v>7.6210000000000004</c:v>
                </c:pt>
                <c:pt idx="3212">
                  <c:v>7.6210000000000004</c:v>
                </c:pt>
                <c:pt idx="3213">
                  <c:v>7.62</c:v>
                </c:pt>
                <c:pt idx="3214">
                  <c:v>7.6210000000000004</c:v>
                </c:pt>
                <c:pt idx="3215">
                  <c:v>7.6210000000000004</c:v>
                </c:pt>
                <c:pt idx="3216">
                  <c:v>7.62</c:v>
                </c:pt>
                <c:pt idx="3217">
                  <c:v>7.62</c:v>
                </c:pt>
                <c:pt idx="3218">
                  <c:v>7.62</c:v>
                </c:pt>
                <c:pt idx="3219">
                  <c:v>7.62</c:v>
                </c:pt>
                <c:pt idx="3220">
                  <c:v>7.62</c:v>
                </c:pt>
                <c:pt idx="3221">
                  <c:v>7.62</c:v>
                </c:pt>
                <c:pt idx="3222">
                  <c:v>7.62</c:v>
                </c:pt>
                <c:pt idx="3223">
                  <c:v>7.62</c:v>
                </c:pt>
                <c:pt idx="3224">
                  <c:v>7.62</c:v>
                </c:pt>
                <c:pt idx="3225">
                  <c:v>7.62</c:v>
                </c:pt>
                <c:pt idx="3226">
                  <c:v>7.62</c:v>
                </c:pt>
                <c:pt idx="3227">
                  <c:v>7.6189999999999998</c:v>
                </c:pt>
                <c:pt idx="3228">
                  <c:v>7.6189999999999998</c:v>
                </c:pt>
                <c:pt idx="3229">
                  <c:v>7.62</c:v>
                </c:pt>
                <c:pt idx="3230">
                  <c:v>7.6189999999999998</c:v>
                </c:pt>
                <c:pt idx="3231">
                  <c:v>7.62</c:v>
                </c:pt>
                <c:pt idx="3232">
                  <c:v>7.6189999999999998</c:v>
                </c:pt>
                <c:pt idx="3233">
                  <c:v>7.6189999999999998</c:v>
                </c:pt>
                <c:pt idx="3234">
                  <c:v>7.6189999999999998</c:v>
                </c:pt>
                <c:pt idx="3235">
                  <c:v>7.6189999999999998</c:v>
                </c:pt>
                <c:pt idx="3236">
                  <c:v>7.6189999999999998</c:v>
                </c:pt>
                <c:pt idx="3237">
                  <c:v>7.6189999999999998</c:v>
                </c:pt>
                <c:pt idx="3238">
                  <c:v>7.6180000000000003</c:v>
                </c:pt>
                <c:pt idx="3239">
                  <c:v>7.6180000000000003</c:v>
                </c:pt>
                <c:pt idx="3240">
                  <c:v>7.6180000000000003</c:v>
                </c:pt>
                <c:pt idx="3241">
                  <c:v>7.6180000000000003</c:v>
                </c:pt>
                <c:pt idx="3242">
                  <c:v>7.6180000000000003</c:v>
                </c:pt>
                <c:pt idx="3243">
                  <c:v>7.6180000000000003</c:v>
                </c:pt>
                <c:pt idx="3244">
                  <c:v>7.6180000000000003</c:v>
                </c:pt>
                <c:pt idx="3245">
                  <c:v>7.6180000000000003</c:v>
                </c:pt>
                <c:pt idx="3246">
                  <c:v>7.6180000000000003</c:v>
                </c:pt>
                <c:pt idx="3247">
                  <c:v>7.6180000000000003</c:v>
                </c:pt>
                <c:pt idx="3248">
                  <c:v>7.6180000000000003</c:v>
                </c:pt>
                <c:pt idx="3249">
                  <c:v>7.617</c:v>
                </c:pt>
                <c:pt idx="3250">
                  <c:v>7.6180000000000003</c:v>
                </c:pt>
                <c:pt idx="3251">
                  <c:v>7.6180000000000003</c:v>
                </c:pt>
                <c:pt idx="3252">
                  <c:v>7.617</c:v>
                </c:pt>
                <c:pt idx="3253">
                  <c:v>7.617</c:v>
                </c:pt>
                <c:pt idx="3254">
                  <c:v>7.617</c:v>
                </c:pt>
                <c:pt idx="3255">
                  <c:v>7.617</c:v>
                </c:pt>
                <c:pt idx="3256">
                  <c:v>7.617</c:v>
                </c:pt>
                <c:pt idx="3257">
                  <c:v>7.617</c:v>
                </c:pt>
                <c:pt idx="3258">
                  <c:v>7.617</c:v>
                </c:pt>
                <c:pt idx="3259">
                  <c:v>7.617</c:v>
                </c:pt>
                <c:pt idx="3260">
                  <c:v>7.617</c:v>
                </c:pt>
                <c:pt idx="3261">
                  <c:v>7.617</c:v>
                </c:pt>
                <c:pt idx="3262">
                  <c:v>7.617</c:v>
                </c:pt>
                <c:pt idx="3263">
                  <c:v>7.6159999999999997</c:v>
                </c:pt>
                <c:pt idx="3264">
                  <c:v>7.617</c:v>
                </c:pt>
                <c:pt idx="3265">
                  <c:v>7.617</c:v>
                </c:pt>
                <c:pt idx="3266">
                  <c:v>7.6159999999999997</c:v>
                </c:pt>
                <c:pt idx="3267">
                  <c:v>7.6159999999999997</c:v>
                </c:pt>
                <c:pt idx="3268">
                  <c:v>7.6159999999999997</c:v>
                </c:pt>
                <c:pt idx="3269">
                  <c:v>7.6159999999999997</c:v>
                </c:pt>
                <c:pt idx="3270">
                  <c:v>7.6159999999999997</c:v>
                </c:pt>
                <c:pt idx="3271">
                  <c:v>7.6159999999999997</c:v>
                </c:pt>
                <c:pt idx="3272">
                  <c:v>7.6159999999999997</c:v>
                </c:pt>
                <c:pt idx="3273">
                  <c:v>7.6159999999999997</c:v>
                </c:pt>
                <c:pt idx="3274">
                  <c:v>7.6150000000000002</c:v>
                </c:pt>
                <c:pt idx="3275">
                  <c:v>7.6159999999999997</c:v>
                </c:pt>
                <c:pt idx="3276">
                  <c:v>7.6150000000000002</c:v>
                </c:pt>
                <c:pt idx="3277">
                  <c:v>7.6159999999999997</c:v>
                </c:pt>
                <c:pt idx="3278">
                  <c:v>7.6150000000000002</c:v>
                </c:pt>
                <c:pt idx="3279">
                  <c:v>7.6150000000000002</c:v>
                </c:pt>
                <c:pt idx="3280">
                  <c:v>7.6150000000000002</c:v>
                </c:pt>
                <c:pt idx="3281">
                  <c:v>7.6150000000000002</c:v>
                </c:pt>
                <c:pt idx="3282">
                  <c:v>7.6150000000000002</c:v>
                </c:pt>
                <c:pt idx="3283">
                  <c:v>7.6150000000000002</c:v>
                </c:pt>
                <c:pt idx="3284">
                  <c:v>7.6150000000000002</c:v>
                </c:pt>
                <c:pt idx="3285">
                  <c:v>7.6150000000000002</c:v>
                </c:pt>
                <c:pt idx="3286">
                  <c:v>7.6150000000000002</c:v>
                </c:pt>
                <c:pt idx="3287">
                  <c:v>7.6150000000000002</c:v>
                </c:pt>
                <c:pt idx="3288">
                  <c:v>7.6150000000000002</c:v>
                </c:pt>
                <c:pt idx="3289">
                  <c:v>7.6139999999999999</c:v>
                </c:pt>
                <c:pt idx="3290">
                  <c:v>7.6150000000000002</c:v>
                </c:pt>
                <c:pt idx="3291">
                  <c:v>7.6139999999999999</c:v>
                </c:pt>
                <c:pt idx="3292">
                  <c:v>7.6139999999999999</c:v>
                </c:pt>
                <c:pt idx="3293">
                  <c:v>7.6150000000000002</c:v>
                </c:pt>
                <c:pt idx="3294">
                  <c:v>7.6150000000000002</c:v>
                </c:pt>
                <c:pt idx="3295">
                  <c:v>7.6150000000000002</c:v>
                </c:pt>
                <c:pt idx="3296">
                  <c:v>7.6139999999999999</c:v>
                </c:pt>
                <c:pt idx="3297">
                  <c:v>7.6139999999999999</c:v>
                </c:pt>
                <c:pt idx="3298">
                  <c:v>7.6139999999999999</c:v>
                </c:pt>
                <c:pt idx="3299">
                  <c:v>7.6139999999999999</c:v>
                </c:pt>
                <c:pt idx="3300">
                  <c:v>7.6139999999999999</c:v>
                </c:pt>
                <c:pt idx="3301">
                  <c:v>7.6139999999999999</c:v>
                </c:pt>
                <c:pt idx="3302">
                  <c:v>7.6139999999999999</c:v>
                </c:pt>
                <c:pt idx="3303">
                  <c:v>7.6130000000000004</c:v>
                </c:pt>
                <c:pt idx="3304">
                  <c:v>7.6139999999999999</c:v>
                </c:pt>
                <c:pt idx="3305">
                  <c:v>7.6130000000000004</c:v>
                </c:pt>
                <c:pt idx="3306">
                  <c:v>7.6130000000000004</c:v>
                </c:pt>
                <c:pt idx="3307">
                  <c:v>7.6130000000000004</c:v>
                </c:pt>
                <c:pt idx="3308">
                  <c:v>7.6130000000000004</c:v>
                </c:pt>
                <c:pt idx="3309">
                  <c:v>7.6130000000000004</c:v>
                </c:pt>
                <c:pt idx="3310">
                  <c:v>7.6130000000000004</c:v>
                </c:pt>
                <c:pt idx="3311">
                  <c:v>7.6130000000000004</c:v>
                </c:pt>
                <c:pt idx="3312">
                  <c:v>7.6130000000000004</c:v>
                </c:pt>
                <c:pt idx="3313">
                  <c:v>7.6130000000000004</c:v>
                </c:pt>
                <c:pt idx="3314">
                  <c:v>7.6120000000000001</c:v>
                </c:pt>
                <c:pt idx="3315">
                  <c:v>7.6130000000000004</c:v>
                </c:pt>
                <c:pt idx="3316">
                  <c:v>7.6130000000000004</c:v>
                </c:pt>
                <c:pt idx="3317">
                  <c:v>7.6130000000000004</c:v>
                </c:pt>
                <c:pt idx="3318">
                  <c:v>7.6120000000000001</c:v>
                </c:pt>
                <c:pt idx="3319">
                  <c:v>7.6120000000000001</c:v>
                </c:pt>
                <c:pt idx="3320">
                  <c:v>7.6120000000000001</c:v>
                </c:pt>
                <c:pt idx="3321">
                  <c:v>7.6120000000000001</c:v>
                </c:pt>
                <c:pt idx="3322">
                  <c:v>7.6120000000000001</c:v>
                </c:pt>
                <c:pt idx="3323">
                  <c:v>7.6120000000000001</c:v>
                </c:pt>
                <c:pt idx="3324">
                  <c:v>7.6120000000000001</c:v>
                </c:pt>
                <c:pt idx="3325">
                  <c:v>7.6120000000000001</c:v>
                </c:pt>
                <c:pt idx="3326">
                  <c:v>7.6120000000000001</c:v>
                </c:pt>
                <c:pt idx="3327">
                  <c:v>7.6120000000000001</c:v>
                </c:pt>
                <c:pt idx="3328">
                  <c:v>7.6120000000000001</c:v>
                </c:pt>
                <c:pt idx="3329">
                  <c:v>7.6120000000000001</c:v>
                </c:pt>
                <c:pt idx="3330">
                  <c:v>7.6109999999999998</c:v>
                </c:pt>
                <c:pt idx="3331">
                  <c:v>7.6109999999999998</c:v>
                </c:pt>
                <c:pt idx="3332">
                  <c:v>7.6109999999999998</c:v>
                </c:pt>
                <c:pt idx="3333">
                  <c:v>7.6120000000000001</c:v>
                </c:pt>
                <c:pt idx="3334">
                  <c:v>7.6109999999999998</c:v>
                </c:pt>
                <c:pt idx="3335">
                  <c:v>7.6109999999999998</c:v>
                </c:pt>
                <c:pt idx="3336">
                  <c:v>7.6109999999999998</c:v>
                </c:pt>
                <c:pt idx="3337">
                  <c:v>7.6109999999999998</c:v>
                </c:pt>
                <c:pt idx="3338">
                  <c:v>7.6109999999999998</c:v>
                </c:pt>
                <c:pt idx="3339">
                  <c:v>7.6109999999999998</c:v>
                </c:pt>
                <c:pt idx="3340">
                  <c:v>7.6109999999999998</c:v>
                </c:pt>
                <c:pt idx="3341">
                  <c:v>7.61</c:v>
                </c:pt>
                <c:pt idx="3342">
                  <c:v>7.6109999999999998</c:v>
                </c:pt>
                <c:pt idx="3343">
                  <c:v>7.6109999999999998</c:v>
                </c:pt>
                <c:pt idx="3344">
                  <c:v>7.6109999999999998</c:v>
                </c:pt>
                <c:pt idx="3345">
                  <c:v>7.61</c:v>
                </c:pt>
                <c:pt idx="3346">
                  <c:v>7.61</c:v>
                </c:pt>
                <c:pt idx="3347">
                  <c:v>7.6109999999999998</c:v>
                </c:pt>
                <c:pt idx="3348">
                  <c:v>7.61</c:v>
                </c:pt>
                <c:pt idx="3349">
                  <c:v>7.61</c:v>
                </c:pt>
                <c:pt idx="3350">
                  <c:v>7.61</c:v>
                </c:pt>
                <c:pt idx="3351">
                  <c:v>7.61</c:v>
                </c:pt>
                <c:pt idx="3352">
                  <c:v>7.61</c:v>
                </c:pt>
                <c:pt idx="3353">
                  <c:v>7.609</c:v>
                </c:pt>
                <c:pt idx="3354">
                  <c:v>7.61</c:v>
                </c:pt>
                <c:pt idx="3355">
                  <c:v>7.609</c:v>
                </c:pt>
                <c:pt idx="3356">
                  <c:v>7.609</c:v>
                </c:pt>
                <c:pt idx="3357">
                  <c:v>7.609</c:v>
                </c:pt>
                <c:pt idx="3358">
                  <c:v>7.609</c:v>
                </c:pt>
                <c:pt idx="3359">
                  <c:v>7.609</c:v>
                </c:pt>
                <c:pt idx="3360">
                  <c:v>7.609</c:v>
                </c:pt>
                <c:pt idx="3361">
                  <c:v>7.609</c:v>
                </c:pt>
                <c:pt idx="3362">
                  <c:v>7.609</c:v>
                </c:pt>
                <c:pt idx="3363">
                  <c:v>7.609</c:v>
                </c:pt>
                <c:pt idx="3364">
                  <c:v>7.609</c:v>
                </c:pt>
                <c:pt idx="3365">
                  <c:v>7.609</c:v>
                </c:pt>
                <c:pt idx="3366">
                  <c:v>7.609</c:v>
                </c:pt>
                <c:pt idx="3367">
                  <c:v>7.609</c:v>
                </c:pt>
                <c:pt idx="3368">
                  <c:v>7.6079999999999997</c:v>
                </c:pt>
                <c:pt idx="3369">
                  <c:v>7.6079999999999997</c:v>
                </c:pt>
                <c:pt idx="3370">
                  <c:v>7.6079999999999997</c:v>
                </c:pt>
                <c:pt idx="3371">
                  <c:v>7.6079999999999997</c:v>
                </c:pt>
                <c:pt idx="3372">
                  <c:v>7.6079999999999997</c:v>
                </c:pt>
                <c:pt idx="3373">
                  <c:v>7.6079999999999997</c:v>
                </c:pt>
                <c:pt idx="3374">
                  <c:v>7.6079999999999997</c:v>
                </c:pt>
                <c:pt idx="3375">
                  <c:v>7.6070000000000002</c:v>
                </c:pt>
                <c:pt idx="3376">
                  <c:v>7.6079999999999997</c:v>
                </c:pt>
                <c:pt idx="3377">
                  <c:v>7.6079999999999997</c:v>
                </c:pt>
                <c:pt idx="3378">
                  <c:v>7.6079999999999997</c:v>
                </c:pt>
                <c:pt idx="3379">
                  <c:v>7.6079999999999997</c:v>
                </c:pt>
                <c:pt idx="3380">
                  <c:v>7.6070000000000002</c:v>
                </c:pt>
                <c:pt idx="3381">
                  <c:v>7.6070000000000002</c:v>
                </c:pt>
                <c:pt idx="3382">
                  <c:v>7.6070000000000002</c:v>
                </c:pt>
                <c:pt idx="3383">
                  <c:v>7.6070000000000002</c:v>
                </c:pt>
                <c:pt idx="3384">
                  <c:v>7.6059999999999999</c:v>
                </c:pt>
                <c:pt idx="3385">
                  <c:v>7.6070000000000002</c:v>
                </c:pt>
                <c:pt idx="3386">
                  <c:v>7.6070000000000002</c:v>
                </c:pt>
                <c:pt idx="3387">
                  <c:v>7.6070000000000002</c:v>
                </c:pt>
                <c:pt idx="3388">
                  <c:v>7.6070000000000002</c:v>
                </c:pt>
                <c:pt idx="3389">
                  <c:v>7.6070000000000002</c:v>
                </c:pt>
                <c:pt idx="3390">
                  <c:v>7.6070000000000002</c:v>
                </c:pt>
                <c:pt idx="3391">
                  <c:v>7.6059999999999999</c:v>
                </c:pt>
                <c:pt idx="3392">
                  <c:v>7.6059999999999999</c:v>
                </c:pt>
                <c:pt idx="3393">
                  <c:v>7.6059999999999999</c:v>
                </c:pt>
                <c:pt idx="3394">
                  <c:v>7.6070000000000002</c:v>
                </c:pt>
                <c:pt idx="3395">
                  <c:v>7.6059999999999999</c:v>
                </c:pt>
                <c:pt idx="3396">
                  <c:v>7.6059999999999999</c:v>
                </c:pt>
                <c:pt idx="3397">
                  <c:v>7.6059999999999999</c:v>
                </c:pt>
                <c:pt idx="3398">
                  <c:v>7.6059999999999999</c:v>
                </c:pt>
                <c:pt idx="3399">
                  <c:v>7.6059999999999999</c:v>
                </c:pt>
                <c:pt idx="3400">
                  <c:v>7.6059999999999999</c:v>
                </c:pt>
                <c:pt idx="3401">
                  <c:v>7.6050000000000004</c:v>
                </c:pt>
                <c:pt idx="3402">
                  <c:v>7.6059999999999999</c:v>
                </c:pt>
                <c:pt idx="3403">
                  <c:v>7.6059999999999999</c:v>
                </c:pt>
                <c:pt idx="3404">
                  <c:v>7.6059999999999999</c:v>
                </c:pt>
                <c:pt idx="3405">
                  <c:v>7.6050000000000004</c:v>
                </c:pt>
                <c:pt idx="3406">
                  <c:v>7.6050000000000004</c:v>
                </c:pt>
                <c:pt idx="3407">
                  <c:v>7.6050000000000004</c:v>
                </c:pt>
                <c:pt idx="3408">
                  <c:v>7.6050000000000004</c:v>
                </c:pt>
                <c:pt idx="3409">
                  <c:v>7.6050000000000004</c:v>
                </c:pt>
                <c:pt idx="3410">
                  <c:v>7.6050000000000004</c:v>
                </c:pt>
                <c:pt idx="3411">
                  <c:v>7.6050000000000004</c:v>
                </c:pt>
                <c:pt idx="3412">
                  <c:v>7.6050000000000004</c:v>
                </c:pt>
                <c:pt idx="3413">
                  <c:v>7.6040000000000001</c:v>
                </c:pt>
                <c:pt idx="3414">
                  <c:v>7.6050000000000004</c:v>
                </c:pt>
                <c:pt idx="3415">
                  <c:v>7.6040000000000001</c:v>
                </c:pt>
                <c:pt idx="3416">
                  <c:v>7.6040000000000001</c:v>
                </c:pt>
                <c:pt idx="3417">
                  <c:v>7.6040000000000001</c:v>
                </c:pt>
                <c:pt idx="3418">
                  <c:v>7.6040000000000001</c:v>
                </c:pt>
                <c:pt idx="3419">
                  <c:v>7.6040000000000001</c:v>
                </c:pt>
                <c:pt idx="3420">
                  <c:v>7.6040000000000001</c:v>
                </c:pt>
                <c:pt idx="3421">
                  <c:v>7.6040000000000001</c:v>
                </c:pt>
                <c:pt idx="3422">
                  <c:v>7.6040000000000001</c:v>
                </c:pt>
                <c:pt idx="3423">
                  <c:v>7.6040000000000001</c:v>
                </c:pt>
                <c:pt idx="3424">
                  <c:v>7.6040000000000001</c:v>
                </c:pt>
                <c:pt idx="3425">
                  <c:v>7.6040000000000001</c:v>
                </c:pt>
                <c:pt idx="3426">
                  <c:v>7.6029999999999998</c:v>
                </c:pt>
                <c:pt idx="3427">
                  <c:v>7.6029999999999998</c:v>
                </c:pt>
                <c:pt idx="3428">
                  <c:v>7.6029999999999998</c:v>
                </c:pt>
                <c:pt idx="3429">
                  <c:v>7.6029999999999998</c:v>
                </c:pt>
                <c:pt idx="3430">
                  <c:v>7.6029999999999998</c:v>
                </c:pt>
                <c:pt idx="3431">
                  <c:v>7.6029999999999998</c:v>
                </c:pt>
                <c:pt idx="3432">
                  <c:v>7.6029999999999998</c:v>
                </c:pt>
                <c:pt idx="3433">
                  <c:v>7.6029999999999998</c:v>
                </c:pt>
                <c:pt idx="3434">
                  <c:v>7.6029999999999998</c:v>
                </c:pt>
                <c:pt idx="3435">
                  <c:v>7.6020000000000003</c:v>
                </c:pt>
                <c:pt idx="3436">
                  <c:v>7.6029999999999998</c:v>
                </c:pt>
                <c:pt idx="3437">
                  <c:v>7.6020000000000003</c:v>
                </c:pt>
                <c:pt idx="3438">
                  <c:v>7.6020000000000003</c:v>
                </c:pt>
                <c:pt idx="3439">
                  <c:v>7.6029999999999998</c:v>
                </c:pt>
                <c:pt idx="3440">
                  <c:v>7.6020000000000003</c:v>
                </c:pt>
                <c:pt idx="3441">
                  <c:v>7.6020000000000003</c:v>
                </c:pt>
                <c:pt idx="3442">
                  <c:v>7.6029999999999998</c:v>
                </c:pt>
                <c:pt idx="3443">
                  <c:v>7.6020000000000003</c:v>
                </c:pt>
                <c:pt idx="3444">
                  <c:v>7.6020000000000003</c:v>
                </c:pt>
                <c:pt idx="3445">
                  <c:v>7.6020000000000003</c:v>
                </c:pt>
                <c:pt idx="3446">
                  <c:v>7.6020000000000003</c:v>
                </c:pt>
                <c:pt idx="3447">
                  <c:v>7.6020000000000003</c:v>
                </c:pt>
                <c:pt idx="3448">
                  <c:v>7.601</c:v>
                </c:pt>
                <c:pt idx="3449">
                  <c:v>7.6020000000000003</c:v>
                </c:pt>
                <c:pt idx="3450">
                  <c:v>7.6020000000000003</c:v>
                </c:pt>
                <c:pt idx="3451">
                  <c:v>7.601</c:v>
                </c:pt>
                <c:pt idx="3452">
                  <c:v>7.601</c:v>
                </c:pt>
                <c:pt idx="3453">
                  <c:v>7.601</c:v>
                </c:pt>
                <c:pt idx="3454">
                  <c:v>7.601</c:v>
                </c:pt>
                <c:pt idx="3455">
                  <c:v>7.601</c:v>
                </c:pt>
                <c:pt idx="3456">
                  <c:v>7.601</c:v>
                </c:pt>
                <c:pt idx="3457">
                  <c:v>7.601</c:v>
                </c:pt>
                <c:pt idx="3458">
                  <c:v>7.601</c:v>
                </c:pt>
                <c:pt idx="3459">
                  <c:v>7.601</c:v>
                </c:pt>
                <c:pt idx="3460">
                  <c:v>7.601</c:v>
                </c:pt>
                <c:pt idx="3461">
                  <c:v>7.601</c:v>
                </c:pt>
                <c:pt idx="3462">
                  <c:v>7.601</c:v>
                </c:pt>
                <c:pt idx="3463">
                  <c:v>7.601</c:v>
                </c:pt>
                <c:pt idx="3464">
                  <c:v>7.6</c:v>
                </c:pt>
                <c:pt idx="3465">
                  <c:v>7.601</c:v>
                </c:pt>
                <c:pt idx="3466">
                  <c:v>7.6</c:v>
                </c:pt>
                <c:pt idx="3467">
                  <c:v>7.6</c:v>
                </c:pt>
                <c:pt idx="3468">
                  <c:v>7.6</c:v>
                </c:pt>
                <c:pt idx="3469">
                  <c:v>7.6</c:v>
                </c:pt>
                <c:pt idx="3470">
                  <c:v>7.6</c:v>
                </c:pt>
                <c:pt idx="3471">
                  <c:v>7.6</c:v>
                </c:pt>
                <c:pt idx="3472">
                  <c:v>7.6</c:v>
                </c:pt>
                <c:pt idx="3473">
                  <c:v>7.5990000000000002</c:v>
                </c:pt>
                <c:pt idx="3474">
                  <c:v>7.5990000000000002</c:v>
                </c:pt>
                <c:pt idx="3475">
                  <c:v>7.6</c:v>
                </c:pt>
                <c:pt idx="3476">
                  <c:v>7.6</c:v>
                </c:pt>
                <c:pt idx="3477">
                  <c:v>7.5990000000000002</c:v>
                </c:pt>
                <c:pt idx="3478">
                  <c:v>7.5990000000000002</c:v>
                </c:pt>
                <c:pt idx="3479">
                  <c:v>7.5990000000000002</c:v>
                </c:pt>
                <c:pt idx="3480">
                  <c:v>7.5990000000000002</c:v>
                </c:pt>
                <c:pt idx="3481">
                  <c:v>7.5990000000000002</c:v>
                </c:pt>
                <c:pt idx="3482">
                  <c:v>7.5990000000000002</c:v>
                </c:pt>
                <c:pt idx="3483">
                  <c:v>7.5990000000000002</c:v>
                </c:pt>
                <c:pt idx="3484">
                  <c:v>7.5990000000000002</c:v>
                </c:pt>
                <c:pt idx="3485">
                  <c:v>7.5990000000000002</c:v>
                </c:pt>
                <c:pt idx="3486">
                  <c:v>7.5990000000000002</c:v>
                </c:pt>
                <c:pt idx="3487">
                  <c:v>7.5979999999999999</c:v>
                </c:pt>
                <c:pt idx="3488">
                  <c:v>7.5979999999999999</c:v>
                </c:pt>
                <c:pt idx="3489">
                  <c:v>7.5990000000000002</c:v>
                </c:pt>
                <c:pt idx="3490">
                  <c:v>7.5979999999999999</c:v>
                </c:pt>
                <c:pt idx="3491">
                  <c:v>7.5979999999999999</c:v>
                </c:pt>
                <c:pt idx="3492">
                  <c:v>7.5979999999999999</c:v>
                </c:pt>
                <c:pt idx="3493">
                  <c:v>7.5979999999999999</c:v>
                </c:pt>
                <c:pt idx="3494">
                  <c:v>7.5979999999999999</c:v>
                </c:pt>
                <c:pt idx="3495">
                  <c:v>7.5979999999999999</c:v>
                </c:pt>
                <c:pt idx="3496">
                  <c:v>7.5979999999999999</c:v>
                </c:pt>
                <c:pt idx="3497">
                  <c:v>7.5979999999999999</c:v>
                </c:pt>
                <c:pt idx="3498">
                  <c:v>7.5979999999999999</c:v>
                </c:pt>
                <c:pt idx="3499">
                  <c:v>7.5979999999999999</c:v>
                </c:pt>
                <c:pt idx="3500">
                  <c:v>7.5970000000000004</c:v>
                </c:pt>
                <c:pt idx="3501">
                  <c:v>7.5979999999999999</c:v>
                </c:pt>
                <c:pt idx="3502">
                  <c:v>7.5970000000000004</c:v>
                </c:pt>
                <c:pt idx="3503">
                  <c:v>7.5970000000000004</c:v>
                </c:pt>
                <c:pt idx="3504">
                  <c:v>7.5970000000000004</c:v>
                </c:pt>
                <c:pt idx="3505">
                  <c:v>7.5970000000000004</c:v>
                </c:pt>
                <c:pt idx="3506">
                  <c:v>7.5970000000000004</c:v>
                </c:pt>
                <c:pt idx="3507">
                  <c:v>7.5970000000000004</c:v>
                </c:pt>
                <c:pt idx="3508">
                  <c:v>7.5979999999999999</c:v>
                </c:pt>
                <c:pt idx="3509">
                  <c:v>7.5970000000000004</c:v>
                </c:pt>
                <c:pt idx="3510">
                  <c:v>7.5970000000000004</c:v>
                </c:pt>
                <c:pt idx="3511">
                  <c:v>7.5970000000000004</c:v>
                </c:pt>
                <c:pt idx="3512">
                  <c:v>7.5970000000000004</c:v>
                </c:pt>
                <c:pt idx="3513">
                  <c:v>7.5960000000000001</c:v>
                </c:pt>
                <c:pt idx="3514">
                  <c:v>7.5970000000000004</c:v>
                </c:pt>
                <c:pt idx="3515">
                  <c:v>7.5960000000000001</c:v>
                </c:pt>
                <c:pt idx="3516">
                  <c:v>7.5960000000000001</c:v>
                </c:pt>
                <c:pt idx="3517">
                  <c:v>7.5960000000000001</c:v>
                </c:pt>
                <c:pt idx="3518">
                  <c:v>7.5960000000000001</c:v>
                </c:pt>
                <c:pt idx="3519">
                  <c:v>7.5960000000000001</c:v>
                </c:pt>
                <c:pt idx="3520">
                  <c:v>7.5960000000000001</c:v>
                </c:pt>
                <c:pt idx="3521">
                  <c:v>7.5960000000000001</c:v>
                </c:pt>
                <c:pt idx="3522">
                  <c:v>7.5960000000000001</c:v>
                </c:pt>
                <c:pt idx="3523">
                  <c:v>7.5949999999999998</c:v>
                </c:pt>
                <c:pt idx="3524">
                  <c:v>7.5949999999999998</c:v>
                </c:pt>
                <c:pt idx="3525">
                  <c:v>7.5960000000000001</c:v>
                </c:pt>
                <c:pt idx="3526">
                  <c:v>7.5949999999999998</c:v>
                </c:pt>
                <c:pt idx="3527">
                  <c:v>7.5960000000000001</c:v>
                </c:pt>
                <c:pt idx="3528">
                  <c:v>7.5949999999999998</c:v>
                </c:pt>
                <c:pt idx="3529">
                  <c:v>7.5949999999999998</c:v>
                </c:pt>
                <c:pt idx="3530">
                  <c:v>7.5949999999999998</c:v>
                </c:pt>
                <c:pt idx="3531">
                  <c:v>7.5949999999999998</c:v>
                </c:pt>
                <c:pt idx="3532">
                  <c:v>7.5949999999999998</c:v>
                </c:pt>
                <c:pt idx="3533">
                  <c:v>7.5949999999999998</c:v>
                </c:pt>
                <c:pt idx="3534">
                  <c:v>7.5949999999999998</c:v>
                </c:pt>
                <c:pt idx="3535">
                  <c:v>7.5949999999999998</c:v>
                </c:pt>
                <c:pt idx="3536">
                  <c:v>7.5949999999999998</c:v>
                </c:pt>
                <c:pt idx="3537">
                  <c:v>7.5940000000000003</c:v>
                </c:pt>
                <c:pt idx="3538">
                  <c:v>7.5949999999999998</c:v>
                </c:pt>
                <c:pt idx="3539">
                  <c:v>7.5940000000000003</c:v>
                </c:pt>
                <c:pt idx="3540">
                  <c:v>7.5940000000000003</c:v>
                </c:pt>
                <c:pt idx="3541">
                  <c:v>7.5940000000000003</c:v>
                </c:pt>
                <c:pt idx="3542">
                  <c:v>7.5940000000000003</c:v>
                </c:pt>
                <c:pt idx="3543">
                  <c:v>7.593</c:v>
                </c:pt>
                <c:pt idx="3544">
                  <c:v>7.5940000000000003</c:v>
                </c:pt>
                <c:pt idx="3545">
                  <c:v>7.5940000000000003</c:v>
                </c:pt>
                <c:pt idx="3546">
                  <c:v>7.5940000000000003</c:v>
                </c:pt>
                <c:pt idx="3547">
                  <c:v>7.5940000000000003</c:v>
                </c:pt>
                <c:pt idx="3548">
                  <c:v>7.5940000000000003</c:v>
                </c:pt>
                <c:pt idx="3549">
                  <c:v>7.5940000000000003</c:v>
                </c:pt>
                <c:pt idx="3550">
                  <c:v>7.593</c:v>
                </c:pt>
                <c:pt idx="3551">
                  <c:v>7.593</c:v>
                </c:pt>
                <c:pt idx="3552">
                  <c:v>7.593</c:v>
                </c:pt>
                <c:pt idx="3553">
                  <c:v>7.593</c:v>
                </c:pt>
                <c:pt idx="3554">
                  <c:v>7.593</c:v>
                </c:pt>
                <c:pt idx="3555">
                  <c:v>7.593</c:v>
                </c:pt>
                <c:pt idx="3556">
                  <c:v>7.593</c:v>
                </c:pt>
                <c:pt idx="3557">
                  <c:v>7.593</c:v>
                </c:pt>
                <c:pt idx="3558">
                  <c:v>7.593</c:v>
                </c:pt>
                <c:pt idx="3559">
                  <c:v>7.593</c:v>
                </c:pt>
                <c:pt idx="3560">
                  <c:v>7.5919999999999996</c:v>
                </c:pt>
                <c:pt idx="3561">
                  <c:v>7.593</c:v>
                </c:pt>
                <c:pt idx="3562">
                  <c:v>7.5919999999999996</c:v>
                </c:pt>
                <c:pt idx="3563">
                  <c:v>7.5919999999999996</c:v>
                </c:pt>
                <c:pt idx="3564">
                  <c:v>7.5919999999999996</c:v>
                </c:pt>
                <c:pt idx="3565">
                  <c:v>7.5919999999999996</c:v>
                </c:pt>
                <c:pt idx="3566">
                  <c:v>7.5919999999999996</c:v>
                </c:pt>
                <c:pt idx="3567">
                  <c:v>7.5919999999999996</c:v>
                </c:pt>
                <c:pt idx="3568">
                  <c:v>7.5919999999999996</c:v>
                </c:pt>
                <c:pt idx="3569">
                  <c:v>7.5919999999999996</c:v>
                </c:pt>
                <c:pt idx="3570">
                  <c:v>7.5919999999999996</c:v>
                </c:pt>
                <c:pt idx="3571">
                  <c:v>7.5919999999999996</c:v>
                </c:pt>
                <c:pt idx="3572">
                  <c:v>7.5919999999999996</c:v>
                </c:pt>
                <c:pt idx="3573">
                  <c:v>7.5919999999999996</c:v>
                </c:pt>
                <c:pt idx="3574">
                  <c:v>7.5910000000000002</c:v>
                </c:pt>
                <c:pt idx="3575">
                  <c:v>7.5919999999999996</c:v>
                </c:pt>
                <c:pt idx="3576">
                  <c:v>7.5910000000000002</c:v>
                </c:pt>
                <c:pt idx="3577">
                  <c:v>7.5919999999999996</c:v>
                </c:pt>
                <c:pt idx="3578">
                  <c:v>7.5910000000000002</c:v>
                </c:pt>
                <c:pt idx="3579">
                  <c:v>7.5910000000000002</c:v>
                </c:pt>
                <c:pt idx="3580">
                  <c:v>7.5910000000000002</c:v>
                </c:pt>
                <c:pt idx="3581">
                  <c:v>7.5910000000000002</c:v>
                </c:pt>
                <c:pt idx="3582">
                  <c:v>7.5910000000000002</c:v>
                </c:pt>
                <c:pt idx="3583">
                  <c:v>7.5910000000000002</c:v>
                </c:pt>
                <c:pt idx="3584">
                  <c:v>7.5910000000000002</c:v>
                </c:pt>
                <c:pt idx="3585">
                  <c:v>7.5910000000000002</c:v>
                </c:pt>
                <c:pt idx="3586">
                  <c:v>7.5910000000000002</c:v>
                </c:pt>
                <c:pt idx="3587">
                  <c:v>7.5910000000000002</c:v>
                </c:pt>
                <c:pt idx="3588">
                  <c:v>7.5910000000000002</c:v>
                </c:pt>
                <c:pt idx="3589">
                  <c:v>7.59</c:v>
                </c:pt>
                <c:pt idx="3590">
                  <c:v>7.59</c:v>
                </c:pt>
                <c:pt idx="3591">
                  <c:v>7.59</c:v>
                </c:pt>
                <c:pt idx="3592">
                  <c:v>7.59</c:v>
                </c:pt>
                <c:pt idx="3593">
                  <c:v>7.59</c:v>
                </c:pt>
                <c:pt idx="3594">
                  <c:v>7.59</c:v>
                </c:pt>
                <c:pt idx="3595">
                  <c:v>7.59</c:v>
                </c:pt>
                <c:pt idx="3596">
                  <c:v>7.59</c:v>
                </c:pt>
                <c:pt idx="3597">
                  <c:v>7.59</c:v>
                </c:pt>
                <c:pt idx="3598">
                  <c:v>7.59</c:v>
                </c:pt>
                <c:pt idx="3599">
                  <c:v>7.59</c:v>
                </c:pt>
                <c:pt idx="3600">
                  <c:v>7.5890000000000004</c:v>
                </c:pt>
                <c:pt idx="3601">
                  <c:v>7.59</c:v>
                </c:pt>
                <c:pt idx="3602">
                  <c:v>7.59</c:v>
                </c:pt>
                <c:pt idx="3603">
                  <c:v>7.5890000000000004</c:v>
                </c:pt>
                <c:pt idx="3604">
                  <c:v>7.5890000000000004</c:v>
                </c:pt>
                <c:pt idx="3605">
                  <c:v>7.59</c:v>
                </c:pt>
                <c:pt idx="3606">
                  <c:v>7.5890000000000004</c:v>
                </c:pt>
                <c:pt idx="3607">
                  <c:v>7.5890000000000004</c:v>
                </c:pt>
                <c:pt idx="3608">
                  <c:v>7.5890000000000004</c:v>
                </c:pt>
                <c:pt idx="3609">
                  <c:v>7.5890000000000004</c:v>
                </c:pt>
                <c:pt idx="3610">
                  <c:v>7.5890000000000004</c:v>
                </c:pt>
                <c:pt idx="3611">
                  <c:v>7.5890000000000004</c:v>
                </c:pt>
                <c:pt idx="3612">
                  <c:v>7.5880000000000001</c:v>
                </c:pt>
                <c:pt idx="3613">
                  <c:v>7.5880000000000001</c:v>
                </c:pt>
                <c:pt idx="3614">
                  <c:v>7.5880000000000001</c:v>
                </c:pt>
                <c:pt idx="3615">
                  <c:v>7.5890000000000004</c:v>
                </c:pt>
                <c:pt idx="3616">
                  <c:v>7.5880000000000001</c:v>
                </c:pt>
                <c:pt idx="3617">
                  <c:v>7.5880000000000001</c:v>
                </c:pt>
                <c:pt idx="3618">
                  <c:v>7.5880000000000001</c:v>
                </c:pt>
                <c:pt idx="3619">
                  <c:v>7.5880000000000001</c:v>
                </c:pt>
                <c:pt idx="3620">
                  <c:v>7.5880000000000001</c:v>
                </c:pt>
                <c:pt idx="3621">
                  <c:v>7.5880000000000001</c:v>
                </c:pt>
                <c:pt idx="3622">
                  <c:v>7.5880000000000001</c:v>
                </c:pt>
                <c:pt idx="3623">
                  <c:v>7.5869999999999997</c:v>
                </c:pt>
                <c:pt idx="3624">
                  <c:v>7.5869999999999997</c:v>
                </c:pt>
                <c:pt idx="3625">
                  <c:v>7.5880000000000001</c:v>
                </c:pt>
                <c:pt idx="3626">
                  <c:v>7.5880000000000001</c:v>
                </c:pt>
                <c:pt idx="3627">
                  <c:v>7.5869999999999997</c:v>
                </c:pt>
                <c:pt idx="3628">
                  <c:v>7.5869999999999997</c:v>
                </c:pt>
                <c:pt idx="3629">
                  <c:v>7.5869999999999997</c:v>
                </c:pt>
                <c:pt idx="3630">
                  <c:v>7.5880000000000001</c:v>
                </c:pt>
                <c:pt idx="3631">
                  <c:v>7.5880000000000001</c:v>
                </c:pt>
                <c:pt idx="3632">
                  <c:v>7.5869999999999997</c:v>
                </c:pt>
                <c:pt idx="3633">
                  <c:v>7.5869999999999997</c:v>
                </c:pt>
                <c:pt idx="3634">
                  <c:v>7.5869999999999997</c:v>
                </c:pt>
                <c:pt idx="3635">
                  <c:v>7.5869999999999997</c:v>
                </c:pt>
                <c:pt idx="3636">
                  <c:v>7.5869999999999997</c:v>
                </c:pt>
                <c:pt idx="3637">
                  <c:v>7.5869999999999997</c:v>
                </c:pt>
                <c:pt idx="3638">
                  <c:v>7.5869999999999997</c:v>
                </c:pt>
                <c:pt idx="3639">
                  <c:v>7.5860000000000003</c:v>
                </c:pt>
                <c:pt idx="3640">
                  <c:v>7.5869999999999997</c:v>
                </c:pt>
                <c:pt idx="3641">
                  <c:v>7.5860000000000003</c:v>
                </c:pt>
                <c:pt idx="3642">
                  <c:v>7.5860000000000003</c:v>
                </c:pt>
                <c:pt idx="3643">
                  <c:v>7.5860000000000003</c:v>
                </c:pt>
                <c:pt idx="3644">
                  <c:v>7.5860000000000003</c:v>
                </c:pt>
                <c:pt idx="3645">
                  <c:v>7.5860000000000003</c:v>
                </c:pt>
                <c:pt idx="3646">
                  <c:v>7.5860000000000003</c:v>
                </c:pt>
                <c:pt idx="3647">
                  <c:v>7.5860000000000003</c:v>
                </c:pt>
                <c:pt idx="3648">
                  <c:v>7.5860000000000003</c:v>
                </c:pt>
                <c:pt idx="3649">
                  <c:v>7.5860000000000003</c:v>
                </c:pt>
                <c:pt idx="3650">
                  <c:v>7.5860000000000003</c:v>
                </c:pt>
                <c:pt idx="3651">
                  <c:v>7.5860000000000003</c:v>
                </c:pt>
                <c:pt idx="3652">
                  <c:v>7.5860000000000003</c:v>
                </c:pt>
                <c:pt idx="3653">
                  <c:v>7.585</c:v>
                </c:pt>
                <c:pt idx="3654">
                  <c:v>7.585</c:v>
                </c:pt>
                <c:pt idx="3655">
                  <c:v>7.585</c:v>
                </c:pt>
                <c:pt idx="3656">
                  <c:v>7.585</c:v>
                </c:pt>
                <c:pt idx="3657">
                  <c:v>7.585</c:v>
                </c:pt>
                <c:pt idx="3658">
                  <c:v>7.585</c:v>
                </c:pt>
                <c:pt idx="3659">
                  <c:v>7.585</c:v>
                </c:pt>
                <c:pt idx="3660">
                  <c:v>7.585</c:v>
                </c:pt>
                <c:pt idx="3661">
                  <c:v>7.585</c:v>
                </c:pt>
                <c:pt idx="3662">
                  <c:v>7.585</c:v>
                </c:pt>
                <c:pt idx="3663">
                  <c:v>7.585</c:v>
                </c:pt>
                <c:pt idx="3664">
                  <c:v>7.5839999999999996</c:v>
                </c:pt>
                <c:pt idx="3665">
                  <c:v>7.5839999999999996</c:v>
                </c:pt>
                <c:pt idx="3666">
                  <c:v>7.5839999999999996</c:v>
                </c:pt>
                <c:pt idx="3667">
                  <c:v>7.585</c:v>
                </c:pt>
                <c:pt idx="3668">
                  <c:v>7.5839999999999996</c:v>
                </c:pt>
                <c:pt idx="3669">
                  <c:v>7.5839999999999996</c:v>
                </c:pt>
                <c:pt idx="3670">
                  <c:v>7.5839999999999996</c:v>
                </c:pt>
                <c:pt idx="3671">
                  <c:v>7.5839999999999996</c:v>
                </c:pt>
                <c:pt idx="3672">
                  <c:v>7.5839999999999996</c:v>
                </c:pt>
                <c:pt idx="3673">
                  <c:v>7.5839999999999996</c:v>
                </c:pt>
                <c:pt idx="3674">
                  <c:v>7.5839999999999996</c:v>
                </c:pt>
                <c:pt idx="3675">
                  <c:v>7.5839999999999996</c:v>
                </c:pt>
                <c:pt idx="3676">
                  <c:v>7.5839999999999996</c:v>
                </c:pt>
                <c:pt idx="3677">
                  <c:v>7.5839999999999996</c:v>
                </c:pt>
                <c:pt idx="3678">
                  <c:v>7.5830000000000002</c:v>
                </c:pt>
                <c:pt idx="3679">
                  <c:v>7.5839999999999996</c:v>
                </c:pt>
                <c:pt idx="3680">
                  <c:v>7.5830000000000002</c:v>
                </c:pt>
                <c:pt idx="3681">
                  <c:v>7.5839999999999996</c:v>
                </c:pt>
                <c:pt idx="3682">
                  <c:v>7.5830000000000002</c:v>
                </c:pt>
                <c:pt idx="3683">
                  <c:v>7.5830000000000002</c:v>
                </c:pt>
                <c:pt idx="3684">
                  <c:v>7.5830000000000002</c:v>
                </c:pt>
                <c:pt idx="3685">
                  <c:v>7.5830000000000002</c:v>
                </c:pt>
                <c:pt idx="3686">
                  <c:v>7.5830000000000002</c:v>
                </c:pt>
                <c:pt idx="3687">
                  <c:v>7.5830000000000002</c:v>
                </c:pt>
                <c:pt idx="3688">
                  <c:v>7.5830000000000002</c:v>
                </c:pt>
                <c:pt idx="3689">
                  <c:v>7.5830000000000002</c:v>
                </c:pt>
                <c:pt idx="3690">
                  <c:v>7.5830000000000002</c:v>
                </c:pt>
                <c:pt idx="3691">
                  <c:v>7.5819999999999999</c:v>
                </c:pt>
                <c:pt idx="3692">
                  <c:v>7.5830000000000002</c:v>
                </c:pt>
                <c:pt idx="3693">
                  <c:v>7.5819999999999999</c:v>
                </c:pt>
                <c:pt idx="3694">
                  <c:v>7.5819999999999999</c:v>
                </c:pt>
                <c:pt idx="3695">
                  <c:v>7.5819999999999999</c:v>
                </c:pt>
                <c:pt idx="3696">
                  <c:v>7.5819999999999999</c:v>
                </c:pt>
                <c:pt idx="3697">
                  <c:v>7.5819999999999999</c:v>
                </c:pt>
                <c:pt idx="3698">
                  <c:v>7.5819999999999999</c:v>
                </c:pt>
                <c:pt idx="3699">
                  <c:v>7.5819999999999999</c:v>
                </c:pt>
                <c:pt idx="3700">
                  <c:v>7.5819999999999999</c:v>
                </c:pt>
                <c:pt idx="3701">
                  <c:v>7.5819999999999999</c:v>
                </c:pt>
                <c:pt idx="3702">
                  <c:v>7.5819999999999999</c:v>
                </c:pt>
                <c:pt idx="3703">
                  <c:v>7.5819999999999999</c:v>
                </c:pt>
                <c:pt idx="3704">
                  <c:v>7.5810000000000004</c:v>
                </c:pt>
                <c:pt idx="3705">
                  <c:v>7.5810000000000004</c:v>
                </c:pt>
                <c:pt idx="3706">
                  <c:v>7.5819999999999999</c:v>
                </c:pt>
                <c:pt idx="3707">
                  <c:v>7.5810000000000004</c:v>
                </c:pt>
                <c:pt idx="3708">
                  <c:v>7.5810000000000004</c:v>
                </c:pt>
                <c:pt idx="3709">
                  <c:v>7.5810000000000004</c:v>
                </c:pt>
                <c:pt idx="3710">
                  <c:v>7.5810000000000004</c:v>
                </c:pt>
                <c:pt idx="3711">
                  <c:v>7.5810000000000004</c:v>
                </c:pt>
                <c:pt idx="3712">
                  <c:v>7.5810000000000004</c:v>
                </c:pt>
                <c:pt idx="3713">
                  <c:v>7.5810000000000004</c:v>
                </c:pt>
                <c:pt idx="3714">
                  <c:v>7.58</c:v>
                </c:pt>
                <c:pt idx="3715">
                  <c:v>7.5810000000000004</c:v>
                </c:pt>
                <c:pt idx="3716">
                  <c:v>7.58</c:v>
                </c:pt>
                <c:pt idx="3717">
                  <c:v>7.5810000000000004</c:v>
                </c:pt>
                <c:pt idx="3718">
                  <c:v>7.58</c:v>
                </c:pt>
                <c:pt idx="3719">
                  <c:v>7.58</c:v>
                </c:pt>
                <c:pt idx="3720">
                  <c:v>7.5810000000000004</c:v>
                </c:pt>
                <c:pt idx="3721">
                  <c:v>7.58</c:v>
                </c:pt>
                <c:pt idx="3722">
                  <c:v>7.58</c:v>
                </c:pt>
                <c:pt idx="3723">
                  <c:v>7.58</c:v>
                </c:pt>
                <c:pt idx="3724">
                  <c:v>7.58</c:v>
                </c:pt>
                <c:pt idx="3725">
                  <c:v>7.58</c:v>
                </c:pt>
                <c:pt idx="3726">
                  <c:v>7.5789999999999997</c:v>
                </c:pt>
                <c:pt idx="3727">
                  <c:v>7.5789999999999997</c:v>
                </c:pt>
                <c:pt idx="3728">
                  <c:v>7.58</c:v>
                </c:pt>
                <c:pt idx="3729">
                  <c:v>7.5789999999999997</c:v>
                </c:pt>
                <c:pt idx="3730">
                  <c:v>7.5789999999999997</c:v>
                </c:pt>
                <c:pt idx="3731">
                  <c:v>7.5789999999999997</c:v>
                </c:pt>
                <c:pt idx="3732">
                  <c:v>7.5789999999999997</c:v>
                </c:pt>
                <c:pt idx="3733">
                  <c:v>7.5789999999999997</c:v>
                </c:pt>
                <c:pt idx="3734">
                  <c:v>7.5789999999999997</c:v>
                </c:pt>
                <c:pt idx="3735">
                  <c:v>7.5789999999999997</c:v>
                </c:pt>
                <c:pt idx="3736">
                  <c:v>7.5789999999999997</c:v>
                </c:pt>
                <c:pt idx="3737">
                  <c:v>7.5789999999999997</c:v>
                </c:pt>
                <c:pt idx="3738">
                  <c:v>7.5789999999999997</c:v>
                </c:pt>
                <c:pt idx="3739">
                  <c:v>7.5789999999999997</c:v>
                </c:pt>
                <c:pt idx="3740">
                  <c:v>7.5780000000000003</c:v>
                </c:pt>
                <c:pt idx="3741">
                  <c:v>7.5789999999999997</c:v>
                </c:pt>
                <c:pt idx="3742">
                  <c:v>7.5780000000000003</c:v>
                </c:pt>
                <c:pt idx="3743">
                  <c:v>7.5780000000000003</c:v>
                </c:pt>
                <c:pt idx="3744">
                  <c:v>7.5780000000000003</c:v>
                </c:pt>
                <c:pt idx="3745">
                  <c:v>7.5780000000000003</c:v>
                </c:pt>
                <c:pt idx="3746">
                  <c:v>7.5780000000000003</c:v>
                </c:pt>
                <c:pt idx="3747">
                  <c:v>7.5780000000000003</c:v>
                </c:pt>
                <c:pt idx="3748">
                  <c:v>7.5780000000000003</c:v>
                </c:pt>
                <c:pt idx="3749">
                  <c:v>7.5780000000000003</c:v>
                </c:pt>
                <c:pt idx="3750">
                  <c:v>7.5780000000000003</c:v>
                </c:pt>
                <c:pt idx="3751">
                  <c:v>7.5780000000000003</c:v>
                </c:pt>
                <c:pt idx="3752">
                  <c:v>7.5780000000000003</c:v>
                </c:pt>
                <c:pt idx="3753">
                  <c:v>7.577</c:v>
                </c:pt>
                <c:pt idx="3754">
                  <c:v>7.5780000000000003</c:v>
                </c:pt>
                <c:pt idx="3755">
                  <c:v>7.5780000000000003</c:v>
                </c:pt>
                <c:pt idx="3756">
                  <c:v>7.577</c:v>
                </c:pt>
                <c:pt idx="3757">
                  <c:v>7.577</c:v>
                </c:pt>
                <c:pt idx="3758">
                  <c:v>7.577</c:v>
                </c:pt>
                <c:pt idx="3759">
                  <c:v>7.577</c:v>
                </c:pt>
                <c:pt idx="3760">
                  <c:v>7.577</c:v>
                </c:pt>
                <c:pt idx="3761">
                  <c:v>7.577</c:v>
                </c:pt>
                <c:pt idx="3762">
                  <c:v>7.577</c:v>
                </c:pt>
                <c:pt idx="3763">
                  <c:v>7.577</c:v>
                </c:pt>
                <c:pt idx="3764">
                  <c:v>7.577</c:v>
                </c:pt>
                <c:pt idx="3765">
                  <c:v>7.577</c:v>
                </c:pt>
                <c:pt idx="3766">
                  <c:v>7.5759999999999996</c:v>
                </c:pt>
                <c:pt idx="3767">
                  <c:v>7.5759999999999996</c:v>
                </c:pt>
                <c:pt idx="3768">
                  <c:v>7.5759999999999996</c:v>
                </c:pt>
                <c:pt idx="3769">
                  <c:v>7.5759999999999996</c:v>
                </c:pt>
                <c:pt idx="3770">
                  <c:v>7.5759999999999996</c:v>
                </c:pt>
                <c:pt idx="3771">
                  <c:v>7.5759999999999996</c:v>
                </c:pt>
                <c:pt idx="3772">
                  <c:v>7.5759999999999996</c:v>
                </c:pt>
                <c:pt idx="3773">
                  <c:v>7.5759999999999996</c:v>
                </c:pt>
                <c:pt idx="3774">
                  <c:v>7.5759999999999996</c:v>
                </c:pt>
                <c:pt idx="3775">
                  <c:v>7.5759999999999996</c:v>
                </c:pt>
                <c:pt idx="3776">
                  <c:v>7.5759999999999996</c:v>
                </c:pt>
                <c:pt idx="3777">
                  <c:v>7.5759999999999996</c:v>
                </c:pt>
                <c:pt idx="3778">
                  <c:v>7.5759999999999996</c:v>
                </c:pt>
                <c:pt idx="3779">
                  <c:v>7.5750000000000002</c:v>
                </c:pt>
                <c:pt idx="3780">
                  <c:v>7.5759999999999996</c:v>
                </c:pt>
                <c:pt idx="3781">
                  <c:v>7.5750000000000002</c:v>
                </c:pt>
                <c:pt idx="3782">
                  <c:v>7.5750000000000002</c:v>
                </c:pt>
                <c:pt idx="3783">
                  <c:v>7.5759999999999996</c:v>
                </c:pt>
                <c:pt idx="3784">
                  <c:v>7.5750000000000002</c:v>
                </c:pt>
                <c:pt idx="3785">
                  <c:v>7.5750000000000002</c:v>
                </c:pt>
                <c:pt idx="3786">
                  <c:v>7.5750000000000002</c:v>
                </c:pt>
                <c:pt idx="3787">
                  <c:v>7.5750000000000002</c:v>
                </c:pt>
                <c:pt idx="3788">
                  <c:v>7.5750000000000002</c:v>
                </c:pt>
                <c:pt idx="3789">
                  <c:v>7.5750000000000002</c:v>
                </c:pt>
                <c:pt idx="3790">
                  <c:v>7.5750000000000002</c:v>
                </c:pt>
                <c:pt idx="3791">
                  <c:v>7.5750000000000002</c:v>
                </c:pt>
                <c:pt idx="3792">
                  <c:v>7.5750000000000002</c:v>
                </c:pt>
                <c:pt idx="3793">
                  <c:v>7.5739999999999998</c:v>
                </c:pt>
                <c:pt idx="3794">
                  <c:v>7.5739999999999998</c:v>
                </c:pt>
                <c:pt idx="3795">
                  <c:v>7.5739999999999998</c:v>
                </c:pt>
                <c:pt idx="3796">
                  <c:v>7.5739999999999998</c:v>
                </c:pt>
                <c:pt idx="3797">
                  <c:v>7.5739999999999998</c:v>
                </c:pt>
                <c:pt idx="3798">
                  <c:v>7.5739999999999998</c:v>
                </c:pt>
                <c:pt idx="3799">
                  <c:v>7.5739999999999998</c:v>
                </c:pt>
                <c:pt idx="3800">
                  <c:v>7.5739999999999998</c:v>
                </c:pt>
                <c:pt idx="3801">
                  <c:v>7.5739999999999998</c:v>
                </c:pt>
                <c:pt idx="3802">
                  <c:v>7.5739999999999998</c:v>
                </c:pt>
                <c:pt idx="3803">
                  <c:v>7.5739999999999998</c:v>
                </c:pt>
                <c:pt idx="3804">
                  <c:v>7.5730000000000004</c:v>
                </c:pt>
                <c:pt idx="3805">
                  <c:v>7.5739999999999998</c:v>
                </c:pt>
                <c:pt idx="3806">
                  <c:v>7.5739999999999998</c:v>
                </c:pt>
                <c:pt idx="3807">
                  <c:v>7.5730000000000004</c:v>
                </c:pt>
                <c:pt idx="3808">
                  <c:v>7.5730000000000004</c:v>
                </c:pt>
                <c:pt idx="3809">
                  <c:v>7.5739999999999998</c:v>
                </c:pt>
                <c:pt idx="3810">
                  <c:v>7.5730000000000004</c:v>
                </c:pt>
                <c:pt idx="3811">
                  <c:v>7.5730000000000004</c:v>
                </c:pt>
                <c:pt idx="3812">
                  <c:v>7.5730000000000004</c:v>
                </c:pt>
                <c:pt idx="3813">
                  <c:v>7.5730000000000004</c:v>
                </c:pt>
                <c:pt idx="3814">
                  <c:v>7.5730000000000004</c:v>
                </c:pt>
                <c:pt idx="3815">
                  <c:v>7.5730000000000004</c:v>
                </c:pt>
                <c:pt idx="3816">
                  <c:v>7.5730000000000004</c:v>
                </c:pt>
                <c:pt idx="3817">
                  <c:v>7.5730000000000004</c:v>
                </c:pt>
                <c:pt idx="3818">
                  <c:v>7.5730000000000004</c:v>
                </c:pt>
                <c:pt idx="3819">
                  <c:v>7.5730000000000004</c:v>
                </c:pt>
                <c:pt idx="3820">
                  <c:v>7.5730000000000004</c:v>
                </c:pt>
                <c:pt idx="3821">
                  <c:v>7.5720000000000001</c:v>
                </c:pt>
                <c:pt idx="3822">
                  <c:v>7.5720000000000001</c:v>
                </c:pt>
                <c:pt idx="3823">
                  <c:v>7.5720000000000001</c:v>
                </c:pt>
                <c:pt idx="3824">
                  <c:v>7.5720000000000001</c:v>
                </c:pt>
                <c:pt idx="3825">
                  <c:v>7.5720000000000001</c:v>
                </c:pt>
                <c:pt idx="3826">
                  <c:v>7.5720000000000001</c:v>
                </c:pt>
                <c:pt idx="3827">
                  <c:v>7.5720000000000001</c:v>
                </c:pt>
                <c:pt idx="3828">
                  <c:v>7.5720000000000001</c:v>
                </c:pt>
                <c:pt idx="3829">
                  <c:v>7.5709999999999997</c:v>
                </c:pt>
                <c:pt idx="3830">
                  <c:v>7.5720000000000001</c:v>
                </c:pt>
                <c:pt idx="3831">
                  <c:v>7.5709999999999997</c:v>
                </c:pt>
                <c:pt idx="3832">
                  <c:v>7.5709999999999997</c:v>
                </c:pt>
                <c:pt idx="3833">
                  <c:v>7.5709999999999997</c:v>
                </c:pt>
                <c:pt idx="3834">
                  <c:v>7.5709999999999997</c:v>
                </c:pt>
                <c:pt idx="3835">
                  <c:v>7.5709999999999997</c:v>
                </c:pt>
                <c:pt idx="3836">
                  <c:v>7.5709999999999997</c:v>
                </c:pt>
                <c:pt idx="3837">
                  <c:v>7.5709999999999997</c:v>
                </c:pt>
                <c:pt idx="3838">
                  <c:v>7.5709999999999997</c:v>
                </c:pt>
                <c:pt idx="3839">
                  <c:v>7.5709999999999997</c:v>
                </c:pt>
                <c:pt idx="3840">
                  <c:v>7.5709999999999997</c:v>
                </c:pt>
                <c:pt idx="3841">
                  <c:v>7.5709999999999997</c:v>
                </c:pt>
                <c:pt idx="3842">
                  <c:v>7.57</c:v>
                </c:pt>
                <c:pt idx="3843">
                  <c:v>7.5709999999999997</c:v>
                </c:pt>
                <c:pt idx="3844">
                  <c:v>7.5709999999999997</c:v>
                </c:pt>
                <c:pt idx="3845">
                  <c:v>7.57</c:v>
                </c:pt>
                <c:pt idx="3846">
                  <c:v>7.57</c:v>
                </c:pt>
                <c:pt idx="3847">
                  <c:v>7.57</c:v>
                </c:pt>
                <c:pt idx="3848">
                  <c:v>7.57</c:v>
                </c:pt>
                <c:pt idx="3849">
                  <c:v>7.57</c:v>
                </c:pt>
                <c:pt idx="3850">
                  <c:v>7.57</c:v>
                </c:pt>
                <c:pt idx="3851">
                  <c:v>7.5709999999999997</c:v>
                </c:pt>
                <c:pt idx="3852">
                  <c:v>7.569</c:v>
                </c:pt>
                <c:pt idx="3853">
                  <c:v>7.57</c:v>
                </c:pt>
                <c:pt idx="3854">
                  <c:v>7.57</c:v>
                </c:pt>
                <c:pt idx="3855">
                  <c:v>7.569</c:v>
                </c:pt>
                <c:pt idx="3856">
                  <c:v>7.569</c:v>
                </c:pt>
                <c:pt idx="3857">
                  <c:v>7.569</c:v>
                </c:pt>
                <c:pt idx="3858">
                  <c:v>7.569</c:v>
                </c:pt>
                <c:pt idx="3859">
                  <c:v>7.569</c:v>
                </c:pt>
                <c:pt idx="3860">
                  <c:v>7.569</c:v>
                </c:pt>
                <c:pt idx="3861">
                  <c:v>7.569</c:v>
                </c:pt>
                <c:pt idx="3862">
                  <c:v>7.569</c:v>
                </c:pt>
                <c:pt idx="3863">
                  <c:v>7.569</c:v>
                </c:pt>
                <c:pt idx="3864">
                  <c:v>7.569</c:v>
                </c:pt>
                <c:pt idx="3865">
                  <c:v>7.569</c:v>
                </c:pt>
                <c:pt idx="3866">
                  <c:v>7.5679999999999996</c:v>
                </c:pt>
                <c:pt idx="3867">
                  <c:v>7.5679999999999996</c:v>
                </c:pt>
                <c:pt idx="3868">
                  <c:v>7.569</c:v>
                </c:pt>
                <c:pt idx="3869">
                  <c:v>7.5679999999999996</c:v>
                </c:pt>
                <c:pt idx="3870">
                  <c:v>7.5679999999999996</c:v>
                </c:pt>
                <c:pt idx="3871">
                  <c:v>7.569</c:v>
                </c:pt>
                <c:pt idx="3872">
                  <c:v>7.5679999999999996</c:v>
                </c:pt>
                <c:pt idx="3873">
                  <c:v>7.5679999999999996</c:v>
                </c:pt>
                <c:pt idx="3874">
                  <c:v>7.5679999999999996</c:v>
                </c:pt>
                <c:pt idx="3875">
                  <c:v>7.5679999999999996</c:v>
                </c:pt>
                <c:pt idx="3876">
                  <c:v>7.5679999999999996</c:v>
                </c:pt>
                <c:pt idx="3877">
                  <c:v>7.5679999999999996</c:v>
                </c:pt>
                <c:pt idx="3878">
                  <c:v>7.5679999999999996</c:v>
                </c:pt>
                <c:pt idx="3879">
                  <c:v>7.5670000000000002</c:v>
                </c:pt>
                <c:pt idx="3880">
                  <c:v>7.5679999999999996</c:v>
                </c:pt>
                <c:pt idx="3881">
                  <c:v>7.5679999999999996</c:v>
                </c:pt>
                <c:pt idx="3882">
                  <c:v>7.5679999999999996</c:v>
                </c:pt>
                <c:pt idx="3883">
                  <c:v>7.5679999999999996</c:v>
                </c:pt>
                <c:pt idx="3884">
                  <c:v>7.5670000000000002</c:v>
                </c:pt>
                <c:pt idx="3885">
                  <c:v>7.5670000000000002</c:v>
                </c:pt>
                <c:pt idx="3886">
                  <c:v>7.5670000000000002</c:v>
                </c:pt>
                <c:pt idx="3887">
                  <c:v>7.5670000000000002</c:v>
                </c:pt>
                <c:pt idx="3888">
                  <c:v>7.5670000000000002</c:v>
                </c:pt>
                <c:pt idx="3889">
                  <c:v>7.5679999999999996</c:v>
                </c:pt>
                <c:pt idx="3890">
                  <c:v>7.5670000000000002</c:v>
                </c:pt>
                <c:pt idx="3891">
                  <c:v>7.5670000000000002</c:v>
                </c:pt>
                <c:pt idx="3892">
                  <c:v>7.5670000000000002</c:v>
                </c:pt>
                <c:pt idx="3893">
                  <c:v>7.5670000000000002</c:v>
                </c:pt>
                <c:pt idx="3894">
                  <c:v>7.5670000000000002</c:v>
                </c:pt>
                <c:pt idx="3895">
                  <c:v>7.5659999999999998</c:v>
                </c:pt>
                <c:pt idx="3896">
                  <c:v>7.5659999999999998</c:v>
                </c:pt>
                <c:pt idx="3897">
                  <c:v>7.5659999999999998</c:v>
                </c:pt>
                <c:pt idx="3898">
                  <c:v>7.5670000000000002</c:v>
                </c:pt>
                <c:pt idx="3899">
                  <c:v>7.5659999999999998</c:v>
                </c:pt>
                <c:pt idx="3900">
                  <c:v>7.5659999999999998</c:v>
                </c:pt>
                <c:pt idx="3901">
                  <c:v>7.5670000000000002</c:v>
                </c:pt>
                <c:pt idx="3902">
                  <c:v>7.5659999999999998</c:v>
                </c:pt>
                <c:pt idx="3903">
                  <c:v>7.5659999999999998</c:v>
                </c:pt>
                <c:pt idx="3904">
                  <c:v>7.5659999999999998</c:v>
                </c:pt>
                <c:pt idx="3905">
                  <c:v>7.5659999999999998</c:v>
                </c:pt>
                <c:pt idx="3906">
                  <c:v>7.5659999999999998</c:v>
                </c:pt>
                <c:pt idx="3907">
                  <c:v>7.5659999999999998</c:v>
                </c:pt>
                <c:pt idx="3908">
                  <c:v>7.5650000000000004</c:v>
                </c:pt>
                <c:pt idx="3909">
                  <c:v>7.5659999999999998</c:v>
                </c:pt>
                <c:pt idx="3910">
                  <c:v>7.5659999999999998</c:v>
                </c:pt>
                <c:pt idx="3911">
                  <c:v>7.5650000000000004</c:v>
                </c:pt>
                <c:pt idx="3912">
                  <c:v>7.5659999999999998</c:v>
                </c:pt>
                <c:pt idx="3913">
                  <c:v>7.5650000000000004</c:v>
                </c:pt>
                <c:pt idx="3914">
                  <c:v>7.5650000000000004</c:v>
                </c:pt>
                <c:pt idx="3915">
                  <c:v>7.5650000000000004</c:v>
                </c:pt>
                <c:pt idx="3916">
                  <c:v>7.5650000000000004</c:v>
                </c:pt>
                <c:pt idx="3917">
                  <c:v>7.5650000000000004</c:v>
                </c:pt>
                <c:pt idx="3918">
                  <c:v>7.5650000000000004</c:v>
                </c:pt>
                <c:pt idx="3919">
                  <c:v>7.5650000000000004</c:v>
                </c:pt>
                <c:pt idx="3920">
                  <c:v>7.5650000000000004</c:v>
                </c:pt>
                <c:pt idx="3921">
                  <c:v>7.5650000000000004</c:v>
                </c:pt>
                <c:pt idx="3922">
                  <c:v>7.5650000000000004</c:v>
                </c:pt>
                <c:pt idx="3923">
                  <c:v>7.5650000000000004</c:v>
                </c:pt>
                <c:pt idx="3924">
                  <c:v>7.5640000000000001</c:v>
                </c:pt>
                <c:pt idx="3925">
                  <c:v>7.5640000000000001</c:v>
                </c:pt>
                <c:pt idx="3926">
                  <c:v>7.5640000000000001</c:v>
                </c:pt>
                <c:pt idx="3927">
                  <c:v>7.5640000000000001</c:v>
                </c:pt>
                <c:pt idx="3928">
                  <c:v>7.5640000000000001</c:v>
                </c:pt>
                <c:pt idx="3929">
                  <c:v>7.5650000000000004</c:v>
                </c:pt>
                <c:pt idx="3930">
                  <c:v>7.5640000000000001</c:v>
                </c:pt>
                <c:pt idx="3931">
                  <c:v>7.5640000000000001</c:v>
                </c:pt>
                <c:pt idx="3932">
                  <c:v>7.5640000000000001</c:v>
                </c:pt>
                <c:pt idx="3933">
                  <c:v>7.5640000000000001</c:v>
                </c:pt>
                <c:pt idx="3934">
                  <c:v>7.5640000000000001</c:v>
                </c:pt>
                <c:pt idx="3935">
                  <c:v>7.5629999999999997</c:v>
                </c:pt>
                <c:pt idx="3936">
                  <c:v>7.5640000000000001</c:v>
                </c:pt>
                <c:pt idx="3937">
                  <c:v>7.5640000000000001</c:v>
                </c:pt>
                <c:pt idx="3938">
                  <c:v>7.5629999999999997</c:v>
                </c:pt>
                <c:pt idx="3939">
                  <c:v>7.5629999999999997</c:v>
                </c:pt>
                <c:pt idx="3940">
                  <c:v>7.5629999999999997</c:v>
                </c:pt>
                <c:pt idx="3941">
                  <c:v>7.5629999999999997</c:v>
                </c:pt>
                <c:pt idx="3942">
                  <c:v>7.5629999999999997</c:v>
                </c:pt>
                <c:pt idx="3943">
                  <c:v>7.5629999999999997</c:v>
                </c:pt>
                <c:pt idx="3944">
                  <c:v>7.5629999999999997</c:v>
                </c:pt>
                <c:pt idx="3945">
                  <c:v>7.5629999999999997</c:v>
                </c:pt>
                <c:pt idx="3946">
                  <c:v>7.5629999999999997</c:v>
                </c:pt>
                <c:pt idx="3947">
                  <c:v>7.5629999999999997</c:v>
                </c:pt>
                <c:pt idx="3948">
                  <c:v>7.5629999999999997</c:v>
                </c:pt>
                <c:pt idx="3949">
                  <c:v>7.5629999999999997</c:v>
                </c:pt>
                <c:pt idx="3950">
                  <c:v>7.5629999999999997</c:v>
                </c:pt>
                <c:pt idx="3951">
                  <c:v>7.5629999999999997</c:v>
                </c:pt>
                <c:pt idx="3952">
                  <c:v>7.5620000000000003</c:v>
                </c:pt>
                <c:pt idx="3953">
                  <c:v>7.5620000000000003</c:v>
                </c:pt>
                <c:pt idx="3954">
                  <c:v>7.5629999999999997</c:v>
                </c:pt>
                <c:pt idx="3955">
                  <c:v>7.5620000000000003</c:v>
                </c:pt>
                <c:pt idx="3956">
                  <c:v>7.5620000000000003</c:v>
                </c:pt>
                <c:pt idx="3957">
                  <c:v>7.5620000000000003</c:v>
                </c:pt>
                <c:pt idx="3958">
                  <c:v>7.5620000000000003</c:v>
                </c:pt>
                <c:pt idx="3959">
                  <c:v>7.5620000000000003</c:v>
                </c:pt>
                <c:pt idx="3960">
                  <c:v>7.5620000000000003</c:v>
                </c:pt>
                <c:pt idx="3961">
                  <c:v>7.5620000000000003</c:v>
                </c:pt>
                <c:pt idx="3962">
                  <c:v>7.5620000000000003</c:v>
                </c:pt>
                <c:pt idx="3963">
                  <c:v>7.5609999999999999</c:v>
                </c:pt>
                <c:pt idx="3964">
                  <c:v>7.5620000000000003</c:v>
                </c:pt>
                <c:pt idx="3965">
                  <c:v>7.5609999999999999</c:v>
                </c:pt>
                <c:pt idx="3966">
                  <c:v>7.5609999999999999</c:v>
                </c:pt>
                <c:pt idx="3967">
                  <c:v>7.5609999999999999</c:v>
                </c:pt>
                <c:pt idx="3968">
                  <c:v>7.5609999999999999</c:v>
                </c:pt>
                <c:pt idx="3969">
                  <c:v>7.5609999999999999</c:v>
                </c:pt>
                <c:pt idx="3970">
                  <c:v>7.5609999999999999</c:v>
                </c:pt>
                <c:pt idx="3971">
                  <c:v>7.5609999999999999</c:v>
                </c:pt>
                <c:pt idx="3972">
                  <c:v>7.5609999999999999</c:v>
                </c:pt>
                <c:pt idx="3973">
                  <c:v>7.5609999999999999</c:v>
                </c:pt>
                <c:pt idx="3974">
                  <c:v>7.5609999999999999</c:v>
                </c:pt>
                <c:pt idx="3975">
                  <c:v>7.56</c:v>
                </c:pt>
                <c:pt idx="3976">
                  <c:v>7.5609999999999999</c:v>
                </c:pt>
                <c:pt idx="3977">
                  <c:v>7.56</c:v>
                </c:pt>
                <c:pt idx="3978">
                  <c:v>7.56</c:v>
                </c:pt>
                <c:pt idx="3979">
                  <c:v>7.56</c:v>
                </c:pt>
                <c:pt idx="3980">
                  <c:v>7.56</c:v>
                </c:pt>
                <c:pt idx="3981">
                  <c:v>7.56</c:v>
                </c:pt>
                <c:pt idx="3982">
                  <c:v>7.56</c:v>
                </c:pt>
                <c:pt idx="3983">
                  <c:v>7.56</c:v>
                </c:pt>
                <c:pt idx="3984">
                  <c:v>7.56</c:v>
                </c:pt>
                <c:pt idx="3985">
                  <c:v>7.56</c:v>
                </c:pt>
                <c:pt idx="3986">
                  <c:v>7.56</c:v>
                </c:pt>
                <c:pt idx="3987">
                  <c:v>7.56</c:v>
                </c:pt>
                <c:pt idx="3988">
                  <c:v>7.56</c:v>
                </c:pt>
                <c:pt idx="3989">
                  <c:v>7.5590000000000002</c:v>
                </c:pt>
                <c:pt idx="3990">
                  <c:v>7.5590000000000002</c:v>
                </c:pt>
                <c:pt idx="3991">
                  <c:v>7.5590000000000002</c:v>
                </c:pt>
                <c:pt idx="3992">
                  <c:v>7.5590000000000002</c:v>
                </c:pt>
                <c:pt idx="3993">
                  <c:v>7.5590000000000002</c:v>
                </c:pt>
                <c:pt idx="3994">
                  <c:v>7.5590000000000002</c:v>
                </c:pt>
                <c:pt idx="3995">
                  <c:v>7.5590000000000002</c:v>
                </c:pt>
                <c:pt idx="3996">
                  <c:v>7.5590000000000002</c:v>
                </c:pt>
                <c:pt idx="3997">
                  <c:v>7.5590000000000002</c:v>
                </c:pt>
                <c:pt idx="3998">
                  <c:v>7.5590000000000002</c:v>
                </c:pt>
                <c:pt idx="3999">
                  <c:v>7.5590000000000002</c:v>
                </c:pt>
                <c:pt idx="4000">
                  <c:v>7.5590000000000002</c:v>
                </c:pt>
                <c:pt idx="4001">
                  <c:v>7.5590000000000002</c:v>
                </c:pt>
                <c:pt idx="4002">
                  <c:v>7.5579999999999998</c:v>
                </c:pt>
                <c:pt idx="4003">
                  <c:v>7.5579999999999998</c:v>
                </c:pt>
                <c:pt idx="4004">
                  <c:v>7.5590000000000002</c:v>
                </c:pt>
                <c:pt idx="4005">
                  <c:v>7.5579999999999998</c:v>
                </c:pt>
                <c:pt idx="4006">
                  <c:v>7.5579999999999998</c:v>
                </c:pt>
                <c:pt idx="4007">
                  <c:v>7.5579999999999998</c:v>
                </c:pt>
                <c:pt idx="4008">
                  <c:v>7.5579999999999998</c:v>
                </c:pt>
                <c:pt idx="4009">
                  <c:v>7.5579999999999998</c:v>
                </c:pt>
                <c:pt idx="4010">
                  <c:v>7.5579999999999998</c:v>
                </c:pt>
                <c:pt idx="4011">
                  <c:v>7.5579999999999998</c:v>
                </c:pt>
                <c:pt idx="4012">
                  <c:v>7.5579999999999998</c:v>
                </c:pt>
                <c:pt idx="4013">
                  <c:v>7.5579999999999998</c:v>
                </c:pt>
                <c:pt idx="4014">
                  <c:v>7.5579999999999998</c:v>
                </c:pt>
                <c:pt idx="4015">
                  <c:v>7.5579999999999998</c:v>
                </c:pt>
                <c:pt idx="4016">
                  <c:v>7.5579999999999998</c:v>
                </c:pt>
                <c:pt idx="4017">
                  <c:v>7.5579999999999998</c:v>
                </c:pt>
                <c:pt idx="4018">
                  <c:v>7.5570000000000004</c:v>
                </c:pt>
                <c:pt idx="4019">
                  <c:v>7.5570000000000004</c:v>
                </c:pt>
                <c:pt idx="4020">
                  <c:v>7.5570000000000004</c:v>
                </c:pt>
                <c:pt idx="4021">
                  <c:v>7.5570000000000004</c:v>
                </c:pt>
                <c:pt idx="4022">
                  <c:v>7.5570000000000004</c:v>
                </c:pt>
                <c:pt idx="4023">
                  <c:v>7.5570000000000004</c:v>
                </c:pt>
                <c:pt idx="4024">
                  <c:v>7.5570000000000004</c:v>
                </c:pt>
                <c:pt idx="4025">
                  <c:v>7.5570000000000004</c:v>
                </c:pt>
                <c:pt idx="4026">
                  <c:v>7.5570000000000004</c:v>
                </c:pt>
                <c:pt idx="4027">
                  <c:v>7.5570000000000004</c:v>
                </c:pt>
                <c:pt idx="4028">
                  <c:v>7.5570000000000004</c:v>
                </c:pt>
                <c:pt idx="4029">
                  <c:v>7.5570000000000004</c:v>
                </c:pt>
                <c:pt idx="4030">
                  <c:v>7.5570000000000004</c:v>
                </c:pt>
                <c:pt idx="4031">
                  <c:v>7.5570000000000004</c:v>
                </c:pt>
                <c:pt idx="4032">
                  <c:v>7.556</c:v>
                </c:pt>
                <c:pt idx="4033">
                  <c:v>7.556</c:v>
                </c:pt>
                <c:pt idx="4034">
                  <c:v>7.556</c:v>
                </c:pt>
                <c:pt idx="4035">
                  <c:v>7.556</c:v>
                </c:pt>
                <c:pt idx="4036">
                  <c:v>7.556</c:v>
                </c:pt>
                <c:pt idx="4037">
                  <c:v>7.556</c:v>
                </c:pt>
                <c:pt idx="4038">
                  <c:v>7.556</c:v>
                </c:pt>
                <c:pt idx="4039">
                  <c:v>7.556</c:v>
                </c:pt>
                <c:pt idx="4040">
                  <c:v>7.556</c:v>
                </c:pt>
                <c:pt idx="4041">
                  <c:v>7.5549999999999997</c:v>
                </c:pt>
                <c:pt idx="4042">
                  <c:v>7.556</c:v>
                </c:pt>
                <c:pt idx="4043">
                  <c:v>7.5549999999999997</c:v>
                </c:pt>
                <c:pt idx="4044">
                  <c:v>7.556</c:v>
                </c:pt>
                <c:pt idx="4045">
                  <c:v>7.5549999999999997</c:v>
                </c:pt>
                <c:pt idx="4046">
                  <c:v>7.5549999999999997</c:v>
                </c:pt>
                <c:pt idx="4047">
                  <c:v>7.5549999999999997</c:v>
                </c:pt>
                <c:pt idx="4048">
                  <c:v>7.5549999999999997</c:v>
                </c:pt>
                <c:pt idx="4049">
                  <c:v>7.5549999999999997</c:v>
                </c:pt>
                <c:pt idx="4050">
                  <c:v>7.5549999999999997</c:v>
                </c:pt>
                <c:pt idx="4051">
                  <c:v>7.5549999999999997</c:v>
                </c:pt>
                <c:pt idx="4052">
                  <c:v>7.5540000000000003</c:v>
                </c:pt>
                <c:pt idx="4053">
                  <c:v>7.5549999999999997</c:v>
                </c:pt>
                <c:pt idx="4054">
                  <c:v>7.5549999999999997</c:v>
                </c:pt>
                <c:pt idx="4055">
                  <c:v>7.5540000000000003</c:v>
                </c:pt>
                <c:pt idx="4056">
                  <c:v>7.5549999999999997</c:v>
                </c:pt>
                <c:pt idx="4057">
                  <c:v>7.5540000000000003</c:v>
                </c:pt>
                <c:pt idx="4058">
                  <c:v>7.5540000000000003</c:v>
                </c:pt>
                <c:pt idx="4059">
                  <c:v>7.5540000000000003</c:v>
                </c:pt>
                <c:pt idx="4060">
                  <c:v>7.5540000000000003</c:v>
                </c:pt>
                <c:pt idx="4061">
                  <c:v>7.5540000000000003</c:v>
                </c:pt>
                <c:pt idx="4062">
                  <c:v>7.5540000000000003</c:v>
                </c:pt>
                <c:pt idx="4063">
                  <c:v>7.5540000000000003</c:v>
                </c:pt>
                <c:pt idx="4064">
                  <c:v>7.5540000000000003</c:v>
                </c:pt>
                <c:pt idx="4065">
                  <c:v>7.5529999999999999</c:v>
                </c:pt>
                <c:pt idx="4066">
                  <c:v>7.5529999999999999</c:v>
                </c:pt>
                <c:pt idx="4067">
                  <c:v>7.5529999999999999</c:v>
                </c:pt>
                <c:pt idx="4068">
                  <c:v>7.5529999999999999</c:v>
                </c:pt>
                <c:pt idx="4069">
                  <c:v>7.5529999999999999</c:v>
                </c:pt>
                <c:pt idx="4070">
                  <c:v>7.5529999999999999</c:v>
                </c:pt>
                <c:pt idx="4071">
                  <c:v>7.5529999999999999</c:v>
                </c:pt>
                <c:pt idx="4072">
                  <c:v>7.5529999999999999</c:v>
                </c:pt>
                <c:pt idx="4073">
                  <c:v>7.5529999999999999</c:v>
                </c:pt>
                <c:pt idx="4074">
                  <c:v>7.5529999999999999</c:v>
                </c:pt>
                <c:pt idx="4075">
                  <c:v>7.5529999999999999</c:v>
                </c:pt>
                <c:pt idx="4076">
                  <c:v>7.5529999999999999</c:v>
                </c:pt>
                <c:pt idx="4077">
                  <c:v>7.5529999999999999</c:v>
                </c:pt>
                <c:pt idx="4078">
                  <c:v>7.5529999999999999</c:v>
                </c:pt>
                <c:pt idx="4079">
                  <c:v>7.5529999999999999</c:v>
                </c:pt>
                <c:pt idx="4080">
                  <c:v>7.5529999999999999</c:v>
                </c:pt>
                <c:pt idx="4081">
                  <c:v>7.5529999999999999</c:v>
                </c:pt>
                <c:pt idx="4082">
                  <c:v>7.5529999999999999</c:v>
                </c:pt>
                <c:pt idx="4083">
                  <c:v>7.5519999999999996</c:v>
                </c:pt>
                <c:pt idx="4084">
                  <c:v>7.5519999999999996</c:v>
                </c:pt>
                <c:pt idx="4085">
                  <c:v>7.5519999999999996</c:v>
                </c:pt>
                <c:pt idx="4086">
                  <c:v>7.5519999999999996</c:v>
                </c:pt>
                <c:pt idx="4087">
                  <c:v>7.5519999999999996</c:v>
                </c:pt>
                <c:pt idx="4088">
                  <c:v>7.5519999999999996</c:v>
                </c:pt>
                <c:pt idx="4089">
                  <c:v>7.5519999999999996</c:v>
                </c:pt>
                <c:pt idx="4090">
                  <c:v>7.5510000000000002</c:v>
                </c:pt>
                <c:pt idx="4091">
                  <c:v>7.5510000000000002</c:v>
                </c:pt>
                <c:pt idx="4092">
                  <c:v>7.5510000000000002</c:v>
                </c:pt>
                <c:pt idx="4093">
                  <c:v>7.5519999999999996</c:v>
                </c:pt>
                <c:pt idx="4094">
                  <c:v>7.5510000000000002</c:v>
                </c:pt>
                <c:pt idx="4095">
                  <c:v>7.5510000000000002</c:v>
                </c:pt>
                <c:pt idx="4096">
                  <c:v>7.5510000000000002</c:v>
                </c:pt>
                <c:pt idx="4097">
                  <c:v>7.5510000000000002</c:v>
                </c:pt>
                <c:pt idx="4098">
                  <c:v>7.5510000000000002</c:v>
                </c:pt>
                <c:pt idx="4099">
                  <c:v>7.5510000000000002</c:v>
                </c:pt>
                <c:pt idx="4100">
                  <c:v>7.55</c:v>
                </c:pt>
                <c:pt idx="4101">
                  <c:v>7.5510000000000002</c:v>
                </c:pt>
                <c:pt idx="4102">
                  <c:v>7.5510000000000002</c:v>
                </c:pt>
                <c:pt idx="4103">
                  <c:v>7.55</c:v>
                </c:pt>
                <c:pt idx="4104">
                  <c:v>7.5510000000000002</c:v>
                </c:pt>
                <c:pt idx="4105">
                  <c:v>7.5510000000000002</c:v>
                </c:pt>
                <c:pt idx="4106">
                  <c:v>7.55</c:v>
                </c:pt>
                <c:pt idx="4107">
                  <c:v>7.55</c:v>
                </c:pt>
                <c:pt idx="4108">
                  <c:v>7.55</c:v>
                </c:pt>
                <c:pt idx="4109">
                  <c:v>7.55</c:v>
                </c:pt>
                <c:pt idx="4110">
                  <c:v>7.55</c:v>
                </c:pt>
                <c:pt idx="4111">
                  <c:v>7.55</c:v>
                </c:pt>
                <c:pt idx="4112">
                  <c:v>7.55</c:v>
                </c:pt>
                <c:pt idx="4113">
                  <c:v>7.55</c:v>
                </c:pt>
                <c:pt idx="4114">
                  <c:v>7.55</c:v>
                </c:pt>
                <c:pt idx="4115">
                  <c:v>7.55</c:v>
                </c:pt>
                <c:pt idx="4116">
                  <c:v>7.55</c:v>
                </c:pt>
                <c:pt idx="4117">
                  <c:v>7.55</c:v>
                </c:pt>
                <c:pt idx="4118">
                  <c:v>7.55</c:v>
                </c:pt>
                <c:pt idx="4119">
                  <c:v>7.5490000000000004</c:v>
                </c:pt>
                <c:pt idx="4120">
                  <c:v>7.55</c:v>
                </c:pt>
                <c:pt idx="4121">
                  <c:v>7.5490000000000004</c:v>
                </c:pt>
                <c:pt idx="4122">
                  <c:v>7.5490000000000004</c:v>
                </c:pt>
                <c:pt idx="4123">
                  <c:v>7.5490000000000004</c:v>
                </c:pt>
                <c:pt idx="4124">
                  <c:v>7.5490000000000004</c:v>
                </c:pt>
                <c:pt idx="4125">
                  <c:v>7.5490000000000004</c:v>
                </c:pt>
                <c:pt idx="4126">
                  <c:v>7.5490000000000004</c:v>
                </c:pt>
                <c:pt idx="4127">
                  <c:v>7.5490000000000004</c:v>
                </c:pt>
                <c:pt idx="4128">
                  <c:v>7.5490000000000004</c:v>
                </c:pt>
                <c:pt idx="4129">
                  <c:v>7.5490000000000004</c:v>
                </c:pt>
                <c:pt idx="4130">
                  <c:v>7.5490000000000004</c:v>
                </c:pt>
                <c:pt idx="4131">
                  <c:v>7.5490000000000004</c:v>
                </c:pt>
                <c:pt idx="4132">
                  <c:v>7.548</c:v>
                </c:pt>
                <c:pt idx="4133">
                  <c:v>7.548</c:v>
                </c:pt>
                <c:pt idx="4134">
                  <c:v>7.548</c:v>
                </c:pt>
                <c:pt idx="4135">
                  <c:v>7.548</c:v>
                </c:pt>
                <c:pt idx="4136">
                  <c:v>7.548</c:v>
                </c:pt>
                <c:pt idx="4137">
                  <c:v>7.548</c:v>
                </c:pt>
                <c:pt idx="4138">
                  <c:v>7.548</c:v>
                </c:pt>
                <c:pt idx="4139">
                  <c:v>7.548</c:v>
                </c:pt>
                <c:pt idx="4140">
                  <c:v>7.548</c:v>
                </c:pt>
                <c:pt idx="4141">
                  <c:v>7.548</c:v>
                </c:pt>
                <c:pt idx="4142">
                  <c:v>7.548</c:v>
                </c:pt>
                <c:pt idx="4143">
                  <c:v>7.548</c:v>
                </c:pt>
                <c:pt idx="4144">
                  <c:v>7.548</c:v>
                </c:pt>
                <c:pt idx="4145">
                  <c:v>7.548</c:v>
                </c:pt>
                <c:pt idx="4146">
                  <c:v>7.548</c:v>
                </c:pt>
                <c:pt idx="4147">
                  <c:v>7.5469999999999997</c:v>
                </c:pt>
                <c:pt idx="4148">
                  <c:v>7.548</c:v>
                </c:pt>
                <c:pt idx="4149">
                  <c:v>7.5469999999999997</c:v>
                </c:pt>
                <c:pt idx="4150">
                  <c:v>7.5469999999999997</c:v>
                </c:pt>
                <c:pt idx="4151">
                  <c:v>7.5469999999999997</c:v>
                </c:pt>
                <c:pt idx="4152">
                  <c:v>7.5469999999999997</c:v>
                </c:pt>
                <c:pt idx="4153">
                  <c:v>7.5469999999999997</c:v>
                </c:pt>
                <c:pt idx="4154">
                  <c:v>7.5469999999999997</c:v>
                </c:pt>
                <c:pt idx="4155">
                  <c:v>7.5469999999999997</c:v>
                </c:pt>
                <c:pt idx="4156">
                  <c:v>7.5469999999999997</c:v>
                </c:pt>
                <c:pt idx="4157">
                  <c:v>7.5469999999999997</c:v>
                </c:pt>
                <c:pt idx="4158">
                  <c:v>7.5460000000000003</c:v>
                </c:pt>
                <c:pt idx="4159">
                  <c:v>7.5469999999999997</c:v>
                </c:pt>
                <c:pt idx="4160">
                  <c:v>7.5469999999999997</c:v>
                </c:pt>
                <c:pt idx="4161">
                  <c:v>7.5469999999999997</c:v>
                </c:pt>
                <c:pt idx="4162">
                  <c:v>7.5469999999999997</c:v>
                </c:pt>
                <c:pt idx="4163">
                  <c:v>7.5460000000000003</c:v>
                </c:pt>
                <c:pt idx="4164">
                  <c:v>7.5469999999999997</c:v>
                </c:pt>
                <c:pt idx="4165">
                  <c:v>7.5460000000000003</c:v>
                </c:pt>
                <c:pt idx="4166">
                  <c:v>7.5460000000000003</c:v>
                </c:pt>
                <c:pt idx="4167">
                  <c:v>7.5460000000000003</c:v>
                </c:pt>
                <c:pt idx="4168">
                  <c:v>7.5460000000000003</c:v>
                </c:pt>
                <c:pt idx="4169">
                  <c:v>7.5460000000000003</c:v>
                </c:pt>
                <c:pt idx="4170">
                  <c:v>7.5460000000000003</c:v>
                </c:pt>
                <c:pt idx="4171">
                  <c:v>7.5460000000000003</c:v>
                </c:pt>
                <c:pt idx="4172">
                  <c:v>7.5460000000000003</c:v>
                </c:pt>
                <c:pt idx="4173">
                  <c:v>7.5460000000000003</c:v>
                </c:pt>
                <c:pt idx="4174">
                  <c:v>7.5460000000000003</c:v>
                </c:pt>
                <c:pt idx="4175">
                  <c:v>7.5449999999999999</c:v>
                </c:pt>
                <c:pt idx="4176">
                  <c:v>7.5460000000000003</c:v>
                </c:pt>
                <c:pt idx="4177">
                  <c:v>7.5449999999999999</c:v>
                </c:pt>
                <c:pt idx="4178">
                  <c:v>7.5449999999999999</c:v>
                </c:pt>
                <c:pt idx="4179">
                  <c:v>7.5449999999999999</c:v>
                </c:pt>
                <c:pt idx="4180">
                  <c:v>7.5449999999999999</c:v>
                </c:pt>
                <c:pt idx="4181">
                  <c:v>7.5449999999999999</c:v>
                </c:pt>
                <c:pt idx="4182">
                  <c:v>7.5449999999999999</c:v>
                </c:pt>
                <c:pt idx="4183">
                  <c:v>7.5449999999999999</c:v>
                </c:pt>
                <c:pt idx="4184">
                  <c:v>7.5449999999999999</c:v>
                </c:pt>
                <c:pt idx="4185">
                  <c:v>7.5449999999999999</c:v>
                </c:pt>
                <c:pt idx="4186">
                  <c:v>7.5449999999999999</c:v>
                </c:pt>
                <c:pt idx="4187">
                  <c:v>7.5439999999999996</c:v>
                </c:pt>
                <c:pt idx="4188">
                  <c:v>7.5449999999999999</c:v>
                </c:pt>
                <c:pt idx="4189">
                  <c:v>7.5449999999999999</c:v>
                </c:pt>
                <c:pt idx="4190">
                  <c:v>7.5449999999999999</c:v>
                </c:pt>
                <c:pt idx="4191">
                  <c:v>7.5439999999999996</c:v>
                </c:pt>
                <c:pt idx="4192">
                  <c:v>7.5439999999999996</c:v>
                </c:pt>
                <c:pt idx="4193">
                  <c:v>7.5439999999999996</c:v>
                </c:pt>
                <c:pt idx="4194">
                  <c:v>7.5439999999999996</c:v>
                </c:pt>
                <c:pt idx="4195">
                  <c:v>7.5439999999999996</c:v>
                </c:pt>
                <c:pt idx="4196">
                  <c:v>7.5439999999999996</c:v>
                </c:pt>
                <c:pt idx="4197">
                  <c:v>7.5439999999999996</c:v>
                </c:pt>
                <c:pt idx="4198">
                  <c:v>7.5439999999999996</c:v>
                </c:pt>
                <c:pt idx="4199">
                  <c:v>7.5439999999999996</c:v>
                </c:pt>
                <c:pt idx="4200">
                  <c:v>7.5439999999999996</c:v>
                </c:pt>
                <c:pt idx="4201">
                  <c:v>7.5430000000000001</c:v>
                </c:pt>
                <c:pt idx="4202">
                  <c:v>7.5439999999999996</c:v>
                </c:pt>
                <c:pt idx="4203">
                  <c:v>7.5430000000000001</c:v>
                </c:pt>
                <c:pt idx="4204">
                  <c:v>7.5430000000000001</c:v>
                </c:pt>
                <c:pt idx="4205">
                  <c:v>7.5430000000000001</c:v>
                </c:pt>
                <c:pt idx="4206">
                  <c:v>7.5430000000000001</c:v>
                </c:pt>
                <c:pt idx="4207">
                  <c:v>7.5430000000000001</c:v>
                </c:pt>
                <c:pt idx="4208">
                  <c:v>7.5430000000000001</c:v>
                </c:pt>
                <c:pt idx="4209">
                  <c:v>7.5430000000000001</c:v>
                </c:pt>
                <c:pt idx="4210">
                  <c:v>7.5430000000000001</c:v>
                </c:pt>
                <c:pt idx="4211">
                  <c:v>7.5430000000000001</c:v>
                </c:pt>
                <c:pt idx="4212">
                  <c:v>7.5430000000000001</c:v>
                </c:pt>
                <c:pt idx="4213">
                  <c:v>7.5419999999999998</c:v>
                </c:pt>
                <c:pt idx="4214">
                  <c:v>7.5419999999999998</c:v>
                </c:pt>
                <c:pt idx="4215">
                  <c:v>7.5430000000000001</c:v>
                </c:pt>
                <c:pt idx="4216">
                  <c:v>7.5430000000000001</c:v>
                </c:pt>
                <c:pt idx="4217">
                  <c:v>7.5419999999999998</c:v>
                </c:pt>
                <c:pt idx="4218">
                  <c:v>7.5419999999999998</c:v>
                </c:pt>
                <c:pt idx="4219">
                  <c:v>7.5419999999999998</c:v>
                </c:pt>
                <c:pt idx="4220">
                  <c:v>7.5419999999999998</c:v>
                </c:pt>
                <c:pt idx="4221">
                  <c:v>7.5419999999999998</c:v>
                </c:pt>
                <c:pt idx="4222">
                  <c:v>7.5410000000000004</c:v>
                </c:pt>
                <c:pt idx="4223">
                  <c:v>7.5419999999999998</c:v>
                </c:pt>
                <c:pt idx="4224">
                  <c:v>7.5419999999999998</c:v>
                </c:pt>
                <c:pt idx="4225">
                  <c:v>7.5419999999999998</c:v>
                </c:pt>
                <c:pt idx="4226">
                  <c:v>7.5419999999999998</c:v>
                </c:pt>
                <c:pt idx="4227">
                  <c:v>7.5419999999999998</c:v>
                </c:pt>
                <c:pt idx="4228">
                  <c:v>7.5419999999999998</c:v>
                </c:pt>
                <c:pt idx="4229">
                  <c:v>7.5419999999999998</c:v>
                </c:pt>
                <c:pt idx="4230">
                  <c:v>7.5419999999999998</c:v>
                </c:pt>
                <c:pt idx="4231">
                  <c:v>7.5410000000000004</c:v>
                </c:pt>
                <c:pt idx="4232">
                  <c:v>7.5410000000000004</c:v>
                </c:pt>
                <c:pt idx="4233">
                  <c:v>7.5410000000000004</c:v>
                </c:pt>
                <c:pt idx="4234">
                  <c:v>7.5410000000000004</c:v>
                </c:pt>
                <c:pt idx="4235">
                  <c:v>7.5410000000000004</c:v>
                </c:pt>
                <c:pt idx="4236">
                  <c:v>7.5410000000000004</c:v>
                </c:pt>
                <c:pt idx="4237">
                  <c:v>7.5410000000000004</c:v>
                </c:pt>
                <c:pt idx="4238">
                  <c:v>7.5410000000000004</c:v>
                </c:pt>
                <c:pt idx="4239">
                  <c:v>7.54</c:v>
                </c:pt>
                <c:pt idx="4240">
                  <c:v>7.54</c:v>
                </c:pt>
                <c:pt idx="4241">
                  <c:v>7.54</c:v>
                </c:pt>
                <c:pt idx="4242">
                  <c:v>7.54</c:v>
                </c:pt>
                <c:pt idx="4243">
                  <c:v>7.54</c:v>
                </c:pt>
                <c:pt idx="4244">
                  <c:v>7.5410000000000004</c:v>
                </c:pt>
                <c:pt idx="4245">
                  <c:v>7.54</c:v>
                </c:pt>
                <c:pt idx="4246">
                  <c:v>7.54</c:v>
                </c:pt>
                <c:pt idx="4247">
                  <c:v>7.54</c:v>
                </c:pt>
                <c:pt idx="4248">
                  <c:v>7.54</c:v>
                </c:pt>
                <c:pt idx="4249">
                  <c:v>7.54</c:v>
                </c:pt>
                <c:pt idx="4250">
                  <c:v>7.54</c:v>
                </c:pt>
                <c:pt idx="4251">
                  <c:v>7.54</c:v>
                </c:pt>
                <c:pt idx="4252">
                  <c:v>7.54</c:v>
                </c:pt>
                <c:pt idx="4253">
                  <c:v>7.5389999999999997</c:v>
                </c:pt>
                <c:pt idx="4254">
                  <c:v>7.5389999999999997</c:v>
                </c:pt>
                <c:pt idx="4255">
                  <c:v>7.5389999999999997</c:v>
                </c:pt>
                <c:pt idx="4256">
                  <c:v>7.5389999999999997</c:v>
                </c:pt>
                <c:pt idx="4257">
                  <c:v>7.5389999999999997</c:v>
                </c:pt>
                <c:pt idx="4258">
                  <c:v>7.5389999999999997</c:v>
                </c:pt>
                <c:pt idx="4259">
                  <c:v>7.5389999999999997</c:v>
                </c:pt>
                <c:pt idx="4260">
                  <c:v>7.5389999999999997</c:v>
                </c:pt>
                <c:pt idx="4261">
                  <c:v>7.5389999999999997</c:v>
                </c:pt>
                <c:pt idx="4262">
                  <c:v>7.5389999999999997</c:v>
                </c:pt>
                <c:pt idx="4263">
                  <c:v>7.5389999999999997</c:v>
                </c:pt>
                <c:pt idx="4264">
                  <c:v>7.5389999999999997</c:v>
                </c:pt>
                <c:pt idx="4265">
                  <c:v>7.5380000000000003</c:v>
                </c:pt>
                <c:pt idx="4266">
                  <c:v>7.5380000000000003</c:v>
                </c:pt>
                <c:pt idx="4267">
                  <c:v>7.5380000000000003</c:v>
                </c:pt>
                <c:pt idx="4268">
                  <c:v>7.5380000000000003</c:v>
                </c:pt>
                <c:pt idx="4269">
                  <c:v>7.5389999999999997</c:v>
                </c:pt>
                <c:pt idx="4270">
                  <c:v>7.5380000000000003</c:v>
                </c:pt>
                <c:pt idx="4271">
                  <c:v>7.5389999999999997</c:v>
                </c:pt>
                <c:pt idx="4272">
                  <c:v>7.5380000000000003</c:v>
                </c:pt>
                <c:pt idx="4273">
                  <c:v>7.5380000000000003</c:v>
                </c:pt>
                <c:pt idx="4274">
                  <c:v>7.5380000000000003</c:v>
                </c:pt>
                <c:pt idx="4275">
                  <c:v>7.5380000000000003</c:v>
                </c:pt>
                <c:pt idx="4276">
                  <c:v>7.5380000000000003</c:v>
                </c:pt>
                <c:pt idx="4277">
                  <c:v>7.5380000000000003</c:v>
                </c:pt>
                <c:pt idx="4278">
                  <c:v>7.5380000000000003</c:v>
                </c:pt>
                <c:pt idx="4279">
                  <c:v>7.5380000000000003</c:v>
                </c:pt>
                <c:pt idx="4280">
                  <c:v>7.5380000000000003</c:v>
                </c:pt>
                <c:pt idx="4281">
                  <c:v>7.5380000000000003</c:v>
                </c:pt>
                <c:pt idx="4282">
                  <c:v>7.5369999999999999</c:v>
                </c:pt>
                <c:pt idx="4283">
                  <c:v>7.5369999999999999</c:v>
                </c:pt>
                <c:pt idx="4284">
                  <c:v>7.5369999999999999</c:v>
                </c:pt>
                <c:pt idx="4285">
                  <c:v>7.5369999999999999</c:v>
                </c:pt>
                <c:pt idx="4286">
                  <c:v>7.5369999999999999</c:v>
                </c:pt>
                <c:pt idx="4287">
                  <c:v>7.5369999999999999</c:v>
                </c:pt>
                <c:pt idx="4288">
                  <c:v>7.5369999999999999</c:v>
                </c:pt>
                <c:pt idx="4289">
                  <c:v>7.5369999999999999</c:v>
                </c:pt>
                <c:pt idx="4290">
                  <c:v>7.5369999999999999</c:v>
                </c:pt>
                <c:pt idx="4291">
                  <c:v>7.5369999999999999</c:v>
                </c:pt>
                <c:pt idx="4292">
                  <c:v>7.5369999999999999</c:v>
                </c:pt>
                <c:pt idx="4293">
                  <c:v>7.5369999999999999</c:v>
                </c:pt>
                <c:pt idx="4294">
                  <c:v>7.5359999999999996</c:v>
                </c:pt>
                <c:pt idx="4295">
                  <c:v>7.5369999999999999</c:v>
                </c:pt>
                <c:pt idx="4296">
                  <c:v>7.5369999999999999</c:v>
                </c:pt>
                <c:pt idx="4297">
                  <c:v>7.5359999999999996</c:v>
                </c:pt>
                <c:pt idx="4298">
                  <c:v>7.5359999999999996</c:v>
                </c:pt>
                <c:pt idx="4299">
                  <c:v>7.5369999999999999</c:v>
                </c:pt>
                <c:pt idx="4300">
                  <c:v>7.5359999999999996</c:v>
                </c:pt>
                <c:pt idx="4301">
                  <c:v>7.5359999999999996</c:v>
                </c:pt>
                <c:pt idx="4302">
                  <c:v>7.5359999999999996</c:v>
                </c:pt>
                <c:pt idx="4303">
                  <c:v>7.5359999999999996</c:v>
                </c:pt>
                <c:pt idx="4304">
                  <c:v>7.5359999999999996</c:v>
                </c:pt>
                <c:pt idx="4305">
                  <c:v>7.5359999999999996</c:v>
                </c:pt>
                <c:pt idx="4306">
                  <c:v>7.5359999999999996</c:v>
                </c:pt>
                <c:pt idx="4307">
                  <c:v>7.5359999999999996</c:v>
                </c:pt>
                <c:pt idx="4308">
                  <c:v>7.5359999999999996</c:v>
                </c:pt>
                <c:pt idx="4309">
                  <c:v>7.5350000000000001</c:v>
                </c:pt>
                <c:pt idx="4310">
                  <c:v>7.5359999999999996</c:v>
                </c:pt>
                <c:pt idx="4311">
                  <c:v>7.5359999999999996</c:v>
                </c:pt>
                <c:pt idx="4312">
                  <c:v>7.5350000000000001</c:v>
                </c:pt>
                <c:pt idx="4313">
                  <c:v>7.5350000000000001</c:v>
                </c:pt>
                <c:pt idx="4314">
                  <c:v>7.5350000000000001</c:v>
                </c:pt>
                <c:pt idx="4315">
                  <c:v>7.5350000000000001</c:v>
                </c:pt>
                <c:pt idx="4316">
                  <c:v>7.5350000000000001</c:v>
                </c:pt>
                <c:pt idx="4317">
                  <c:v>7.5350000000000001</c:v>
                </c:pt>
                <c:pt idx="4318">
                  <c:v>7.5350000000000001</c:v>
                </c:pt>
                <c:pt idx="4319">
                  <c:v>7.5350000000000001</c:v>
                </c:pt>
                <c:pt idx="4320">
                  <c:v>7.5350000000000001</c:v>
                </c:pt>
                <c:pt idx="4321">
                  <c:v>7.5350000000000001</c:v>
                </c:pt>
                <c:pt idx="4322">
                  <c:v>7.5350000000000001</c:v>
                </c:pt>
                <c:pt idx="4323">
                  <c:v>7.5350000000000001</c:v>
                </c:pt>
                <c:pt idx="4324">
                  <c:v>7.5350000000000001</c:v>
                </c:pt>
                <c:pt idx="4325">
                  <c:v>7.5350000000000001</c:v>
                </c:pt>
                <c:pt idx="4326">
                  <c:v>7.5339999999999998</c:v>
                </c:pt>
                <c:pt idx="4327">
                  <c:v>7.5350000000000001</c:v>
                </c:pt>
                <c:pt idx="4328">
                  <c:v>7.5339999999999998</c:v>
                </c:pt>
                <c:pt idx="4329">
                  <c:v>7.5339999999999998</c:v>
                </c:pt>
                <c:pt idx="4330">
                  <c:v>7.5339999999999998</c:v>
                </c:pt>
                <c:pt idx="4331">
                  <c:v>7.5339999999999998</c:v>
                </c:pt>
                <c:pt idx="4332">
                  <c:v>7.5339999999999998</c:v>
                </c:pt>
                <c:pt idx="4333">
                  <c:v>7.5339999999999998</c:v>
                </c:pt>
                <c:pt idx="4334">
                  <c:v>7.5339999999999998</c:v>
                </c:pt>
                <c:pt idx="4335">
                  <c:v>7.5339999999999998</c:v>
                </c:pt>
                <c:pt idx="4336">
                  <c:v>7.5339999999999998</c:v>
                </c:pt>
                <c:pt idx="4337">
                  <c:v>7.5339999999999998</c:v>
                </c:pt>
                <c:pt idx="4338">
                  <c:v>7.5339999999999998</c:v>
                </c:pt>
                <c:pt idx="4339">
                  <c:v>7.5339999999999998</c:v>
                </c:pt>
                <c:pt idx="4340">
                  <c:v>7.5339999999999998</c:v>
                </c:pt>
                <c:pt idx="4341">
                  <c:v>7.5339999999999998</c:v>
                </c:pt>
                <c:pt idx="4342">
                  <c:v>7.5330000000000004</c:v>
                </c:pt>
                <c:pt idx="4343">
                  <c:v>7.5330000000000004</c:v>
                </c:pt>
                <c:pt idx="4344">
                  <c:v>7.5330000000000004</c:v>
                </c:pt>
                <c:pt idx="4345">
                  <c:v>7.5330000000000004</c:v>
                </c:pt>
                <c:pt idx="4346">
                  <c:v>7.5339999999999998</c:v>
                </c:pt>
                <c:pt idx="4347">
                  <c:v>7.5330000000000004</c:v>
                </c:pt>
                <c:pt idx="4348">
                  <c:v>7.5330000000000004</c:v>
                </c:pt>
                <c:pt idx="4349">
                  <c:v>7.5330000000000004</c:v>
                </c:pt>
                <c:pt idx="4350">
                  <c:v>7.5330000000000004</c:v>
                </c:pt>
                <c:pt idx="4351">
                  <c:v>7.5330000000000004</c:v>
                </c:pt>
                <c:pt idx="4352">
                  <c:v>7.5330000000000004</c:v>
                </c:pt>
                <c:pt idx="4353">
                  <c:v>7.5330000000000004</c:v>
                </c:pt>
                <c:pt idx="4354">
                  <c:v>7.5330000000000004</c:v>
                </c:pt>
                <c:pt idx="4355">
                  <c:v>7.532</c:v>
                </c:pt>
                <c:pt idx="4356">
                  <c:v>7.5330000000000004</c:v>
                </c:pt>
                <c:pt idx="4357">
                  <c:v>7.532</c:v>
                </c:pt>
                <c:pt idx="4358">
                  <c:v>7.532</c:v>
                </c:pt>
                <c:pt idx="4359">
                  <c:v>7.5330000000000004</c:v>
                </c:pt>
                <c:pt idx="4360">
                  <c:v>7.532</c:v>
                </c:pt>
                <c:pt idx="4361">
                  <c:v>7.532</c:v>
                </c:pt>
                <c:pt idx="4362">
                  <c:v>7.532</c:v>
                </c:pt>
                <c:pt idx="4363">
                  <c:v>7.532</c:v>
                </c:pt>
                <c:pt idx="4364">
                  <c:v>7.532</c:v>
                </c:pt>
                <c:pt idx="4365">
                  <c:v>7.532</c:v>
                </c:pt>
                <c:pt idx="4366">
                  <c:v>7.532</c:v>
                </c:pt>
                <c:pt idx="4367">
                  <c:v>7.532</c:v>
                </c:pt>
                <c:pt idx="4368">
                  <c:v>7.532</c:v>
                </c:pt>
                <c:pt idx="4369">
                  <c:v>7.532</c:v>
                </c:pt>
                <c:pt idx="4370">
                  <c:v>7.5309999999999997</c:v>
                </c:pt>
                <c:pt idx="4371">
                  <c:v>7.532</c:v>
                </c:pt>
                <c:pt idx="4372">
                  <c:v>7.5309999999999997</c:v>
                </c:pt>
                <c:pt idx="4373">
                  <c:v>7.5309999999999997</c:v>
                </c:pt>
                <c:pt idx="4374">
                  <c:v>7.5309999999999997</c:v>
                </c:pt>
                <c:pt idx="4375">
                  <c:v>7.5309999999999997</c:v>
                </c:pt>
                <c:pt idx="4376">
                  <c:v>7.5309999999999997</c:v>
                </c:pt>
                <c:pt idx="4377">
                  <c:v>7.5309999999999997</c:v>
                </c:pt>
                <c:pt idx="4378">
                  <c:v>7.5309999999999997</c:v>
                </c:pt>
                <c:pt idx="4379">
                  <c:v>7.53</c:v>
                </c:pt>
                <c:pt idx="4380">
                  <c:v>7.5309999999999997</c:v>
                </c:pt>
                <c:pt idx="4381">
                  <c:v>7.5309999999999997</c:v>
                </c:pt>
                <c:pt idx="4382">
                  <c:v>7.53</c:v>
                </c:pt>
                <c:pt idx="4383">
                  <c:v>7.53</c:v>
                </c:pt>
                <c:pt idx="4384">
                  <c:v>7.5309999999999997</c:v>
                </c:pt>
                <c:pt idx="4385">
                  <c:v>7.53</c:v>
                </c:pt>
                <c:pt idx="4386">
                  <c:v>7.5309999999999997</c:v>
                </c:pt>
                <c:pt idx="4387">
                  <c:v>7.53</c:v>
                </c:pt>
                <c:pt idx="4388">
                  <c:v>7.53</c:v>
                </c:pt>
                <c:pt idx="4389">
                  <c:v>7.53</c:v>
                </c:pt>
                <c:pt idx="4390">
                  <c:v>7.53</c:v>
                </c:pt>
                <c:pt idx="4391">
                  <c:v>7.53</c:v>
                </c:pt>
                <c:pt idx="4392">
                  <c:v>7.53</c:v>
                </c:pt>
                <c:pt idx="4393">
                  <c:v>7.53</c:v>
                </c:pt>
                <c:pt idx="4394">
                  <c:v>7.53</c:v>
                </c:pt>
                <c:pt idx="4395">
                  <c:v>7.53</c:v>
                </c:pt>
                <c:pt idx="4396">
                  <c:v>7.53</c:v>
                </c:pt>
                <c:pt idx="4397">
                  <c:v>7.5289999999999999</c:v>
                </c:pt>
                <c:pt idx="4398">
                  <c:v>7.5289999999999999</c:v>
                </c:pt>
                <c:pt idx="4399">
                  <c:v>7.53</c:v>
                </c:pt>
                <c:pt idx="4400">
                  <c:v>7.5289999999999999</c:v>
                </c:pt>
                <c:pt idx="4401">
                  <c:v>7.53</c:v>
                </c:pt>
                <c:pt idx="4402">
                  <c:v>7.5289999999999999</c:v>
                </c:pt>
                <c:pt idx="4403">
                  <c:v>7.5289999999999999</c:v>
                </c:pt>
                <c:pt idx="4404">
                  <c:v>7.5289999999999999</c:v>
                </c:pt>
                <c:pt idx="4405">
                  <c:v>7.5289999999999999</c:v>
                </c:pt>
                <c:pt idx="4406">
                  <c:v>7.5289999999999999</c:v>
                </c:pt>
                <c:pt idx="4407">
                  <c:v>7.5289999999999999</c:v>
                </c:pt>
                <c:pt idx="4408">
                  <c:v>7.5289999999999999</c:v>
                </c:pt>
                <c:pt idx="4409">
                  <c:v>7.5289999999999999</c:v>
                </c:pt>
                <c:pt idx="4410">
                  <c:v>7.5289999999999999</c:v>
                </c:pt>
                <c:pt idx="4411">
                  <c:v>7.5289999999999999</c:v>
                </c:pt>
                <c:pt idx="4412">
                  <c:v>7.5289999999999999</c:v>
                </c:pt>
                <c:pt idx="4413">
                  <c:v>7.5289999999999999</c:v>
                </c:pt>
                <c:pt idx="4414">
                  <c:v>7.5279999999999996</c:v>
                </c:pt>
                <c:pt idx="4415">
                  <c:v>7.5289999999999999</c:v>
                </c:pt>
                <c:pt idx="4416">
                  <c:v>7.5279999999999996</c:v>
                </c:pt>
                <c:pt idx="4417">
                  <c:v>7.5279999999999996</c:v>
                </c:pt>
                <c:pt idx="4418">
                  <c:v>7.5279999999999996</c:v>
                </c:pt>
                <c:pt idx="4419">
                  <c:v>7.5279999999999996</c:v>
                </c:pt>
                <c:pt idx="4420">
                  <c:v>7.5279999999999996</c:v>
                </c:pt>
                <c:pt idx="4421">
                  <c:v>7.5279999999999996</c:v>
                </c:pt>
                <c:pt idx="4422">
                  <c:v>7.5279999999999996</c:v>
                </c:pt>
                <c:pt idx="4423">
                  <c:v>7.5279999999999996</c:v>
                </c:pt>
                <c:pt idx="4424">
                  <c:v>7.5279999999999996</c:v>
                </c:pt>
                <c:pt idx="4425">
                  <c:v>7.5279999999999996</c:v>
                </c:pt>
                <c:pt idx="4426">
                  <c:v>7.5279999999999996</c:v>
                </c:pt>
                <c:pt idx="4427">
                  <c:v>7.5279999999999996</c:v>
                </c:pt>
                <c:pt idx="4428">
                  <c:v>7.5270000000000001</c:v>
                </c:pt>
                <c:pt idx="4429">
                  <c:v>7.5270000000000001</c:v>
                </c:pt>
                <c:pt idx="4430">
                  <c:v>7.5279999999999996</c:v>
                </c:pt>
                <c:pt idx="4431">
                  <c:v>7.5270000000000001</c:v>
                </c:pt>
                <c:pt idx="4432">
                  <c:v>7.5270000000000001</c:v>
                </c:pt>
                <c:pt idx="4433">
                  <c:v>7.5270000000000001</c:v>
                </c:pt>
                <c:pt idx="4434">
                  <c:v>7.5270000000000001</c:v>
                </c:pt>
                <c:pt idx="4435">
                  <c:v>7.5270000000000001</c:v>
                </c:pt>
                <c:pt idx="4436">
                  <c:v>7.5270000000000001</c:v>
                </c:pt>
                <c:pt idx="4437">
                  <c:v>7.5270000000000001</c:v>
                </c:pt>
                <c:pt idx="4438">
                  <c:v>7.5270000000000001</c:v>
                </c:pt>
                <c:pt idx="4439">
                  <c:v>7.5270000000000001</c:v>
                </c:pt>
                <c:pt idx="4440">
                  <c:v>7.5270000000000001</c:v>
                </c:pt>
                <c:pt idx="4441">
                  <c:v>7.5259999999999998</c:v>
                </c:pt>
                <c:pt idx="4442">
                  <c:v>7.5259999999999998</c:v>
                </c:pt>
                <c:pt idx="4443">
                  <c:v>7.5270000000000001</c:v>
                </c:pt>
                <c:pt idx="4444">
                  <c:v>7.5259999999999998</c:v>
                </c:pt>
                <c:pt idx="4445">
                  <c:v>7.5259999999999998</c:v>
                </c:pt>
                <c:pt idx="4446">
                  <c:v>7.5270000000000001</c:v>
                </c:pt>
                <c:pt idx="4447">
                  <c:v>7.5270000000000001</c:v>
                </c:pt>
                <c:pt idx="4448">
                  <c:v>7.5259999999999998</c:v>
                </c:pt>
                <c:pt idx="4449">
                  <c:v>7.5259999999999998</c:v>
                </c:pt>
                <c:pt idx="4450">
                  <c:v>7.5259999999999998</c:v>
                </c:pt>
                <c:pt idx="4451">
                  <c:v>7.5259999999999998</c:v>
                </c:pt>
                <c:pt idx="4452">
                  <c:v>7.5259999999999998</c:v>
                </c:pt>
                <c:pt idx="4453">
                  <c:v>7.5250000000000004</c:v>
                </c:pt>
                <c:pt idx="4454">
                  <c:v>7.5259999999999998</c:v>
                </c:pt>
                <c:pt idx="4455">
                  <c:v>7.5259999999999998</c:v>
                </c:pt>
                <c:pt idx="4456">
                  <c:v>7.5250000000000004</c:v>
                </c:pt>
                <c:pt idx="4457">
                  <c:v>7.5259999999999998</c:v>
                </c:pt>
                <c:pt idx="4458">
                  <c:v>7.5250000000000004</c:v>
                </c:pt>
                <c:pt idx="4459">
                  <c:v>7.5250000000000004</c:v>
                </c:pt>
                <c:pt idx="4460">
                  <c:v>7.5250000000000004</c:v>
                </c:pt>
                <c:pt idx="4461">
                  <c:v>7.5250000000000004</c:v>
                </c:pt>
                <c:pt idx="4462">
                  <c:v>7.5250000000000004</c:v>
                </c:pt>
                <c:pt idx="4463">
                  <c:v>7.5250000000000004</c:v>
                </c:pt>
                <c:pt idx="4464">
                  <c:v>7.5250000000000004</c:v>
                </c:pt>
                <c:pt idx="4465">
                  <c:v>7.5250000000000004</c:v>
                </c:pt>
                <c:pt idx="4466">
                  <c:v>7.5250000000000004</c:v>
                </c:pt>
                <c:pt idx="4467">
                  <c:v>7.5250000000000004</c:v>
                </c:pt>
                <c:pt idx="4468">
                  <c:v>7.5250000000000004</c:v>
                </c:pt>
                <c:pt idx="4469">
                  <c:v>7.5250000000000004</c:v>
                </c:pt>
                <c:pt idx="4470">
                  <c:v>7.524</c:v>
                </c:pt>
                <c:pt idx="4471">
                  <c:v>7.524</c:v>
                </c:pt>
                <c:pt idx="4472">
                  <c:v>7.524</c:v>
                </c:pt>
                <c:pt idx="4473">
                  <c:v>7.524</c:v>
                </c:pt>
                <c:pt idx="4474">
                  <c:v>7.524</c:v>
                </c:pt>
                <c:pt idx="4475">
                  <c:v>7.524</c:v>
                </c:pt>
                <c:pt idx="4476">
                  <c:v>7.524</c:v>
                </c:pt>
                <c:pt idx="4477">
                  <c:v>7.524</c:v>
                </c:pt>
                <c:pt idx="4478">
                  <c:v>7.524</c:v>
                </c:pt>
                <c:pt idx="4479">
                  <c:v>7.524</c:v>
                </c:pt>
                <c:pt idx="4480">
                  <c:v>7.524</c:v>
                </c:pt>
                <c:pt idx="4481">
                  <c:v>7.524</c:v>
                </c:pt>
                <c:pt idx="4482">
                  <c:v>7.524</c:v>
                </c:pt>
                <c:pt idx="4483">
                  <c:v>7.5229999999999997</c:v>
                </c:pt>
                <c:pt idx="4484">
                  <c:v>7.5229999999999997</c:v>
                </c:pt>
                <c:pt idx="4485">
                  <c:v>7.5229999999999997</c:v>
                </c:pt>
                <c:pt idx="4486">
                  <c:v>7.5229999999999997</c:v>
                </c:pt>
                <c:pt idx="4487">
                  <c:v>7.524</c:v>
                </c:pt>
                <c:pt idx="4488">
                  <c:v>7.5229999999999997</c:v>
                </c:pt>
                <c:pt idx="4489">
                  <c:v>7.5229999999999997</c:v>
                </c:pt>
                <c:pt idx="4490">
                  <c:v>7.5229999999999997</c:v>
                </c:pt>
                <c:pt idx="4491">
                  <c:v>7.5229999999999997</c:v>
                </c:pt>
                <c:pt idx="4492">
                  <c:v>7.5229999999999997</c:v>
                </c:pt>
                <c:pt idx="4493">
                  <c:v>7.5229999999999997</c:v>
                </c:pt>
                <c:pt idx="4494">
                  <c:v>7.5229999999999997</c:v>
                </c:pt>
                <c:pt idx="4495">
                  <c:v>7.5220000000000002</c:v>
                </c:pt>
                <c:pt idx="4496">
                  <c:v>7.5229999999999997</c:v>
                </c:pt>
                <c:pt idx="4497">
                  <c:v>7.5229999999999997</c:v>
                </c:pt>
                <c:pt idx="4498">
                  <c:v>7.5229999999999997</c:v>
                </c:pt>
                <c:pt idx="4499">
                  <c:v>7.5220000000000002</c:v>
                </c:pt>
                <c:pt idx="4500">
                  <c:v>7.5229999999999997</c:v>
                </c:pt>
                <c:pt idx="4501">
                  <c:v>7.5229999999999997</c:v>
                </c:pt>
                <c:pt idx="4502">
                  <c:v>7.5220000000000002</c:v>
                </c:pt>
                <c:pt idx="4503">
                  <c:v>7.5220000000000002</c:v>
                </c:pt>
                <c:pt idx="4504">
                  <c:v>7.5220000000000002</c:v>
                </c:pt>
                <c:pt idx="4505">
                  <c:v>7.5220000000000002</c:v>
                </c:pt>
                <c:pt idx="4506">
                  <c:v>7.5220000000000002</c:v>
                </c:pt>
                <c:pt idx="4507">
                  <c:v>7.5220000000000002</c:v>
                </c:pt>
                <c:pt idx="4508">
                  <c:v>7.5220000000000002</c:v>
                </c:pt>
                <c:pt idx="4509">
                  <c:v>7.5220000000000002</c:v>
                </c:pt>
                <c:pt idx="4510">
                  <c:v>7.5220000000000002</c:v>
                </c:pt>
                <c:pt idx="4511">
                  <c:v>7.5220000000000002</c:v>
                </c:pt>
                <c:pt idx="4512">
                  <c:v>7.5220000000000002</c:v>
                </c:pt>
                <c:pt idx="4513">
                  <c:v>7.5220000000000002</c:v>
                </c:pt>
                <c:pt idx="4514">
                  <c:v>7.5220000000000002</c:v>
                </c:pt>
                <c:pt idx="4515">
                  <c:v>7.5220000000000002</c:v>
                </c:pt>
                <c:pt idx="4516">
                  <c:v>7.5209999999999999</c:v>
                </c:pt>
                <c:pt idx="4517">
                  <c:v>7.5209999999999999</c:v>
                </c:pt>
                <c:pt idx="4518">
                  <c:v>7.5220000000000002</c:v>
                </c:pt>
                <c:pt idx="4519">
                  <c:v>7.5220000000000002</c:v>
                </c:pt>
                <c:pt idx="4520">
                  <c:v>7.5209999999999999</c:v>
                </c:pt>
                <c:pt idx="4521">
                  <c:v>7.5209999999999999</c:v>
                </c:pt>
                <c:pt idx="4522">
                  <c:v>7.5209999999999999</c:v>
                </c:pt>
                <c:pt idx="4523">
                  <c:v>7.5209999999999999</c:v>
                </c:pt>
                <c:pt idx="4524">
                  <c:v>7.5209999999999999</c:v>
                </c:pt>
                <c:pt idx="4525">
                  <c:v>7.5209999999999999</c:v>
                </c:pt>
                <c:pt idx="4526">
                  <c:v>7.5209999999999999</c:v>
                </c:pt>
                <c:pt idx="4527">
                  <c:v>7.5209999999999999</c:v>
                </c:pt>
                <c:pt idx="4528">
                  <c:v>7.5209999999999999</c:v>
                </c:pt>
                <c:pt idx="4529">
                  <c:v>7.5209999999999999</c:v>
                </c:pt>
                <c:pt idx="4530">
                  <c:v>7.5209999999999999</c:v>
                </c:pt>
                <c:pt idx="4531">
                  <c:v>7.52</c:v>
                </c:pt>
                <c:pt idx="4532">
                  <c:v>7.52</c:v>
                </c:pt>
                <c:pt idx="4533">
                  <c:v>7.52</c:v>
                </c:pt>
                <c:pt idx="4534">
                  <c:v>7.52</c:v>
                </c:pt>
                <c:pt idx="4535">
                  <c:v>7.52</c:v>
                </c:pt>
                <c:pt idx="4536">
                  <c:v>7.52</c:v>
                </c:pt>
                <c:pt idx="4537">
                  <c:v>7.52</c:v>
                </c:pt>
                <c:pt idx="4538">
                  <c:v>7.52</c:v>
                </c:pt>
                <c:pt idx="4539">
                  <c:v>7.52</c:v>
                </c:pt>
                <c:pt idx="4540">
                  <c:v>7.52</c:v>
                </c:pt>
                <c:pt idx="4541">
                  <c:v>7.52</c:v>
                </c:pt>
                <c:pt idx="4542">
                  <c:v>7.52</c:v>
                </c:pt>
                <c:pt idx="4543">
                  <c:v>7.52</c:v>
                </c:pt>
                <c:pt idx="4544">
                  <c:v>7.52</c:v>
                </c:pt>
                <c:pt idx="4545">
                  <c:v>7.52</c:v>
                </c:pt>
                <c:pt idx="4546">
                  <c:v>7.5190000000000001</c:v>
                </c:pt>
                <c:pt idx="4547">
                  <c:v>7.52</c:v>
                </c:pt>
                <c:pt idx="4548">
                  <c:v>7.5190000000000001</c:v>
                </c:pt>
                <c:pt idx="4549">
                  <c:v>7.5190000000000001</c:v>
                </c:pt>
                <c:pt idx="4550">
                  <c:v>7.5190000000000001</c:v>
                </c:pt>
                <c:pt idx="4551">
                  <c:v>7.5190000000000001</c:v>
                </c:pt>
                <c:pt idx="4552">
                  <c:v>7.5190000000000001</c:v>
                </c:pt>
                <c:pt idx="4553">
                  <c:v>7.5190000000000001</c:v>
                </c:pt>
                <c:pt idx="4554">
                  <c:v>7.5190000000000001</c:v>
                </c:pt>
                <c:pt idx="4555">
                  <c:v>7.5190000000000001</c:v>
                </c:pt>
                <c:pt idx="4556">
                  <c:v>7.5190000000000001</c:v>
                </c:pt>
                <c:pt idx="4557">
                  <c:v>7.5190000000000001</c:v>
                </c:pt>
                <c:pt idx="4558">
                  <c:v>7.5190000000000001</c:v>
                </c:pt>
                <c:pt idx="4559">
                  <c:v>7.5190000000000001</c:v>
                </c:pt>
                <c:pt idx="4560">
                  <c:v>7.5190000000000001</c:v>
                </c:pt>
                <c:pt idx="4561">
                  <c:v>7.5190000000000001</c:v>
                </c:pt>
                <c:pt idx="4562">
                  <c:v>7.5190000000000001</c:v>
                </c:pt>
                <c:pt idx="4563">
                  <c:v>7.5190000000000001</c:v>
                </c:pt>
                <c:pt idx="4564">
                  <c:v>7.5179999999999998</c:v>
                </c:pt>
                <c:pt idx="4565">
                  <c:v>7.5179999999999998</c:v>
                </c:pt>
                <c:pt idx="4566">
                  <c:v>7.5179999999999998</c:v>
                </c:pt>
                <c:pt idx="4567">
                  <c:v>7.5179999999999998</c:v>
                </c:pt>
                <c:pt idx="4568">
                  <c:v>7.5179999999999998</c:v>
                </c:pt>
                <c:pt idx="4569">
                  <c:v>7.5179999999999998</c:v>
                </c:pt>
                <c:pt idx="4570">
                  <c:v>7.5179999999999998</c:v>
                </c:pt>
                <c:pt idx="4571">
                  <c:v>7.5179999999999998</c:v>
                </c:pt>
                <c:pt idx="4572">
                  <c:v>7.5179999999999998</c:v>
                </c:pt>
                <c:pt idx="4573">
                  <c:v>7.5179999999999998</c:v>
                </c:pt>
                <c:pt idx="4574">
                  <c:v>7.5179999999999998</c:v>
                </c:pt>
                <c:pt idx="4575">
                  <c:v>7.5179999999999998</c:v>
                </c:pt>
                <c:pt idx="4576">
                  <c:v>7.5179999999999998</c:v>
                </c:pt>
                <c:pt idx="4577">
                  <c:v>7.5179999999999998</c:v>
                </c:pt>
                <c:pt idx="4578">
                  <c:v>7.5179999999999998</c:v>
                </c:pt>
                <c:pt idx="4579">
                  <c:v>7.5170000000000003</c:v>
                </c:pt>
                <c:pt idx="4580">
                  <c:v>7.5170000000000003</c:v>
                </c:pt>
                <c:pt idx="4581">
                  <c:v>7.5170000000000003</c:v>
                </c:pt>
                <c:pt idx="4582">
                  <c:v>7.5170000000000003</c:v>
                </c:pt>
                <c:pt idx="4583">
                  <c:v>7.5170000000000003</c:v>
                </c:pt>
                <c:pt idx="4584">
                  <c:v>7.5170000000000003</c:v>
                </c:pt>
                <c:pt idx="4585">
                  <c:v>7.516</c:v>
                </c:pt>
                <c:pt idx="4586">
                  <c:v>7.5170000000000003</c:v>
                </c:pt>
                <c:pt idx="4587">
                  <c:v>7.5170000000000003</c:v>
                </c:pt>
                <c:pt idx="4588">
                  <c:v>7.5170000000000003</c:v>
                </c:pt>
                <c:pt idx="4589">
                  <c:v>7.5170000000000003</c:v>
                </c:pt>
                <c:pt idx="4590">
                  <c:v>7.5170000000000003</c:v>
                </c:pt>
                <c:pt idx="4591">
                  <c:v>7.516</c:v>
                </c:pt>
                <c:pt idx="4592">
                  <c:v>7.516</c:v>
                </c:pt>
                <c:pt idx="4593">
                  <c:v>7.5170000000000003</c:v>
                </c:pt>
                <c:pt idx="4594">
                  <c:v>7.516</c:v>
                </c:pt>
                <c:pt idx="4595">
                  <c:v>7.516</c:v>
                </c:pt>
                <c:pt idx="4596">
                  <c:v>7.516</c:v>
                </c:pt>
                <c:pt idx="4597">
                  <c:v>7.516</c:v>
                </c:pt>
                <c:pt idx="4598">
                  <c:v>7.516</c:v>
                </c:pt>
                <c:pt idx="4599">
                  <c:v>7.516</c:v>
                </c:pt>
                <c:pt idx="4600">
                  <c:v>7.516</c:v>
                </c:pt>
                <c:pt idx="4601">
                  <c:v>7.516</c:v>
                </c:pt>
                <c:pt idx="4602">
                  <c:v>7.516</c:v>
                </c:pt>
                <c:pt idx="4603">
                  <c:v>7.516</c:v>
                </c:pt>
                <c:pt idx="4604">
                  <c:v>7.5149999999999997</c:v>
                </c:pt>
                <c:pt idx="4605">
                  <c:v>7.5149999999999997</c:v>
                </c:pt>
                <c:pt idx="4606">
                  <c:v>7.516</c:v>
                </c:pt>
                <c:pt idx="4607">
                  <c:v>7.516</c:v>
                </c:pt>
                <c:pt idx="4608">
                  <c:v>7.5149999999999997</c:v>
                </c:pt>
                <c:pt idx="4609">
                  <c:v>7.5149999999999997</c:v>
                </c:pt>
                <c:pt idx="4610">
                  <c:v>7.5149999999999997</c:v>
                </c:pt>
                <c:pt idx="4611">
                  <c:v>7.5149999999999997</c:v>
                </c:pt>
                <c:pt idx="4612">
                  <c:v>7.5149999999999997</c:v>
                </c:pt>
                <c:pt idx="4613">
                  <c:v>7.5149999999999997</c:v>
                </c:pt>
                <c:pt idx="4614">
                  <c:v>7.5149999999999997</c:v>
                </c:pt>
                <c:pt idx="4615">
                  <c:v>7.5149999999999997</c:v>
                </c:pt>
                <c:pt idx="4616">
                  <c:v>7.5149999999999997</c:v>
                </c:pt>
                <c:pt idx="4617">
                  <c:v>7.5149999999999997</c:v>
                </c:pt>
                <c:pt idx="4618">
                  <c:v>7.5140000000000002</c:v>
                </c:pt>
                <c:pt idx="4619">
                  <c:v>7.5140000000000002</c:v>
                </c:pt>
                <c:pt idx="4620">
                  <c:v>7.5140000000000002</c:v>
                </c:pt>
                <c:pt idx="4621">
                  <c:v>7.5149999999999997</c:v>
                </c:pt>
                <c:pt idx="4622">
                  <c:v>7.5140000000000002</c:v>
                </c:pt>
                <c:pt idx="4623">
                  <c:v>7.5140000000000002</c:v>
                </c:pt>
                <c:pt idx="4624">
                  <c:v>7.5140000000000002</c:v>
                </c:pt>
                <c:pt idx="4625">
                  <c:v>7.5149999999999997</c:v>
                </c:pt>
                <c:pt idx="4626">
                  <c:v>7.5140000000000002</c:v>
                </c:pt>
                <c:pt idx="4627">
                  <c:v>7.5140000000000002</c:v>
                </c:pt>
                <c:pt idx="4628">
                  <c:v>7.5140000000000002</c:v>
                </c:pt>
                <c:pt idx="4629">
                  <c:v>7.5149999999999997</c:v>
                </c:pt>
                <c:pt idx="4630">
                  <c:v>7.5140000000000002</c:v>
                </c:pt>
                <c:pt idx="4631">
                  <c:v>7.5140000000000002</c:v>
                </c:pt>
                <c:pt idx="4632">
                  <c:v>7.5140000000000002</c:v>
                </c:pt>
                <c:pt idx="4633">
                  <c:v>7.5140000000000002</c:v>
                </c:pt>
                <c:pt idx="4634">
                  <c:v>7.5140000000000002</c:v>
                </c:pt>
                <c:pt idx="4635">
                  <c:v>7.5140000000000002</c:v>
                </c:pt>
                <c:pt idx="4636">
                  <c:v>7.5129999999999999</c:v>
                </c:pt>
                <c:pt idx="4637">
                  <c:v>7.5129999999999999</c:v>
                </c:pt>
                <c:pt idx="4638">
                  <c:v>7.5140000000000002</c:v>
                </c:pt>
                <c:pt idx="4639">
                  <c:v>7.5129999999999999</c:v>
                </c:pt>
                <c:pt idx="4640">
                  <c:v>7.5129999999999999</c:v>
                </c:pt>
                <c:pt idx="4641">
                  <c:v>7.5140000000000002</c:v>
                </c:pt>
                <c:pt idx="4642">
                  <c:v>7.5129999999999999</c:v>
                </c:pt>
                <c:pt idx="4643">
                  <c:v>7.5129999999999999</c:v>
                </c:pt>
                <c:pt idx="4644">
                  <c:v>7.5129999999999999</c:v>
                </c:pt>
                <c:pt idx="4645">
                  <c:v>7.5129999999999999</c:v>
                </c:pt>
                <c:pt idx="4646">
                  <c:v>7.5129999999999999</c:v>
                </c:pt>
                <c:pt idx="4647">
                  <c:v>7.5129999999999999</c:v>
                </c:pt>
                <c:pt idx="4648">
                  <c:v>7.5129999999999999</c:v>
                </c:pt>
                <c:pt idx="4649">
                  <c:v>7.5129999999999999</c:v>
                </c:pt>
                <c:pt idx="4650">
                  <c:v>7.5119999999999996</c:v>
                </c:pt>
                <c:pt idx="4651">
                  <c:v>7.5129999999999999</c:v>
                </c:pt>
                <c:pt idx="4652">
                  <c:v>7.5129999999999999</c:v>
                </c:pt>
                <c:pt idx="4653">
                  <c:v>7.5129999999999999</c:v>
                </c:pt>
                <c:pt idx="4654">
                  <c:v>7.5119999999999996</c:v>
                </c:pt>
                <c:pt idx="4655">
                  <c:v>7.5119999999999996</c:v>
                </c:pt>
                <c:pt idx="4656">
                  <c:v>7.5129999999999999</c:v>
                </c:pt>
                <c:pt idx="4657">
                  <c:v>7.5119999999999996</c:v>
                </c:pt>
                <c:pt idx="4658">
                  <c:v>7.5129999999999999</c:v>
                </c:pt>
                <c:pt idx="4659">
                  <c:v>7.5119999999999996</c:v>
                </c:pt>
                <c:pt idx="4660">
                  <c:v>7.5119999999999996</c:v>
                </c:pt>
                <c:pt idx="4661">
                  <c:v>7.5119999999999996</c:v>
                </c:pt>
                <c:pt idx="4662">
                  <c:v>7.5119999999999996</c:v>
                </c:pt>
                <c:pt idx="4663">
                  <c:v>7.5119999999999996</c:v>
                </c:pt>
                <c:pt idx="4664">
                  <c:v>7.5119999999999996</c:v>
                </c:pt>
                <c:pt idx="4665">
                  <c:v>7.5119999999999996</c:v>
                </c:pt>
                <c:pt idx="4666">
                  <c:v>7.5119999999999996</c:v>
                </c:pt>
                <c:pt idx="4667">
                  <c:v>7.5110000000000001</c:v>
                </c:pt>
                <c:pt idx="4668">
                  <c:v>7.5110000000000001</c:v>
                </c:pt>
                <c:pt idx="4669">
                  <c:v>7.5110000000000001</c:v>
                </c:pt>
                <c:pt idx="4670">
                  <c:v>7.5110000000000001</c:v>
                </c:pt>
                <c:pt idx="4671">
                  <c:v>7.5119999999999996</c:v>
                </c:pt>
                <c:pt idx="4672">
                  <c:v>7.5119999999999996</c:v>
                </c:pt>
                <c:pt idx="4673">
                  <c:v>7.5110000000000001</c:v>
                </c:pt>
                <c:pt idx="4674">
                  <c:v>7.5110000000000001</c:v>
                </c:pt>
                <c:pt idx="4675">
                  <c:v>7.5110000000000001</c:v>
                </c:pt>
                <c:pt idx="4676">
                  <c:v>7.5110000000000001</c:v>
                </c:pt>
                <c:pt idx="4677">
                  <c:v>7.51</c:v>
                </c:pt>
                <c:pt idx="4678">
                  <c:v>7.5110000000000001</c:v>
                </c:pt>
                <c:pt idx="4679">
                  <c:v>7.5110000000000001</c:v>
                </c:pt>
                <c:pt idx="4680">
                  <c:v>7.5110000000000001</c:v>
                </c:pt>
                <c:pt idx="4681">
                  <c:v>7.51</c:v>
                </c:pt>
                <c:pt idx="4682">
                  <c:v>7.5110000000000001</c:v>
                </c:pt>
                <c:pt idx="4683">
                  <c:v>7.5110000000000001</c:v>
                </c:pt>
                <c:pt idx="4684">
                  <c:v>7.51</c:v>
                </c:pt>
                <c:pt idx="4685">
                  <c:v>7.51</c:v>
                </c:pt>
                <c:pt idx="4686">
                  <c:v>7.51</c:v>
                </c:pt>
                <c:pt idx="4687">
                  <c:v>7.51</c:v>
                </c:pt>
                <c:pt idx="4688">
                  <c:v>7.5110000000000001</c:v>
                </c:pt>
                <c:pt idx="4689">
                  <c:v>7.51</c:v>
                </c:pt>
                <c:pt idx="4690">
                  <c:v>7.51</c:v>
                </c:pt>
                <c:pt idx="4691">
                  <c:v>7.51</c:v>
                </c:pt>
                <c:pt idx="4692">
                  <c:v>7.51</c:v>
                </c:pt>
                <c:pt idx="4693">
                  <c:v>7.51</c:v>
                </c:pt>
                <c:pt idx="4694">
                  <c:v>7.51</c:v>
                </c:pt>
                <c:pt idx="4695">
                  <c:v>7.51</c:v>
                </c:pt>
                <c:pt idx="4696">
                  <c:v>7.51</c:v>
                </c:pt>
                <c:pt idx="4697">
                  <c:v>7.5090000000000003</c:v>
                </c:pt>
                <c:pt idx="4698">
                  <c:v>7.5090000000000003</c:v>
                </c:pt>
                <c:pt idx="4699">
                  <c:v>7.5090000000000003</c:v>
                </c:pt>
                <c:pt idx="4700">
                  <c:v>7.5090000000000003</c:v>
                </c:pt>
                <c:pt idx="4701">
                  <c:v>7.5090000000000003</c:v>
                </c:pt>
                <c:pt idx="4702">
                  <c:v>7.5090000000000003</c:v>
                </c:pt>
                <c:pt idx="4703">
                  <c:v>7.5090000000000003</c:v>
                </c:pt>
                <c:pt idx="4704">
                  <c:v>7.5090000000000003</c:v>
                </c:pt>
                <c:pt idx="4705">
                  <c:v>7.5090000000000003</c:v>
                </c:pt>
                <c:pt idx="4706">
                  <c:v>7.5090000000000003</c:v>
                </c:pt>
                <c:pt idx="4707">
                  <c:v>7.5090000000000003</c:v>
                </c:pt>
                <c:pt idx="4708">
                  <c:v>7.5090000000000003</c:v>
                </c:pt>
                <c:pt idx="4709">
                  <c:v>7.5090000000000003</c:v>
                </c:pt>
                <c:pt idx="4710">
                  <c:v>7.5090000000000003</c:v>
                </c:pt>
                <c:pt idx="4711">
                  <c:v>7.508</c:v>
                </c:pt>
                <c:pt idx="4712">
                  <c:v>7.5090000000000003</c:v>
                </c:pt>
                <c:pt idx="4713">
                  <c:v>7.508</c:v>
                </c:pt>
                <c:pt idx="4714">
                  <c:v>7.508</c:v>
                </c:pt>
                <c:pt idx="4715">
                  <c:v>7.508</c:v>
                </c:pt>
                <c:pt idx="4716">
                  <c:v>7.5090000000000003</c:v>
                </c:pt>
                <c:pt idx="4717">
                  <c:v>7.508</c:v>
                </c:pt>
                <c:pt idx="4718">
                  <c:v>7.508</c:v>
                </c:pt>
                <c:pt idx="4719">
                  <c:v>7.508</c:v>
                </c:pt>
                <c:pt idx="4720">
                  <c:v>7.508</c:v>
                </c:pt>
                <c:pt idx="4721">
                  <c:v>7.5069999999999997</c:v>
                </c:pt>
                <c:pt idx="4722">
                  <c:v>7.508</c:v>
                </c:pt>
                <c:pt idx="4723">
                  <c:v>7.508</c:v>
                </c:pt>
                <c:pt idx="4724">
                  <c:v>7.508</c:v>
                </c:pt>
                <c:pt idx="4725">
                  <c:v>7.508</c:v>
                </c:pt>
                <c:pt idx="4726">
                  <c:v>7.508</c:v>
                </c:pt>
                <c:pt idx="4727">
                  <c:v>7.5069999999999997</c:v>
                </c:pt>
                <c:pt idx="4728">
                  <c:v>7.5069999999999997</c:v>
                </c:pt>
                <c:pt idx="4729">
                  <c:v>7.508</c:v>
                </c:pt>
                <c:pt idx="4730">
                  <c:v>7.5069999999999997</c:v>
                </c:pt>
                <c:pt idx="4731">
                  <c:v>7.508</c:v>
                </c:pt>
                <c:pt idx="4732">
                  <c:v>7.5069999999999997</c:v>
                </c:pt>
                <c:pt idx="4733">
                  <c:v>7.5069999999999997</c:v>
                </c:pt>
                <c:pt idx="4734">
                  <c:v>7.508</c:v>
                </c:pt>
                <c:pt idx="4735">
                  <c:v>7.5069999999999997</c:v>
                </c:pt>
                <c:pt idx="4736">
                  <c:v>7.5069999999999997</c:v>
                </c:pt>
                <c:pt idx="4737">
                  <c:v>7.5069999999999997</c:v>
                </c:pt>
                <c:pt idx="4738">
                  <c:v>7.5069999999999997</c:v>
                </c:pt>
                <c:pt idx="4739">
                  <c:v>7.5069999999999997</c:v>
                </c:pt>
                <c:pt idx="4740">
                  <c:v>7.5069999999999997</c:v>
                </c:pt>
                <c:pt idx="4741">
                  <c:v>7.5069999999999997</c:v>
                </c:pt>
                <c:pt idx="4742">
                  <c:v>7.5069999999999997</c:v>
                </c:pt>
                <c:pt idx="4743">
                  <c:v>7.5069999999999997</c:v>
                </c:pt>
                <c:pt idx="4744">
                  <c:v>7.5060000000000002</c:v>
                </c:pt>
                <c:pt idx="4745">
                  <c:v>7.5069999999999997</c:v>
                </c:pt>
                <c:pt idx="4746">
                  <c:v>7.5060000000000002</c:v>
                </c:pt>
                <c:pt idx="4747">
                  <c:v>7.5060000000000002</c:v>
                </c:pt>
                <c:pt idx="4748">
                  <c:v>7.5060000000000002</c:v>
                </c:pt>
                <c:pt idx="4749">
                  <c:v>7.5060000000000002</c:v>
                </c:pt>
                <c:pt idx="4750">
                  <c:v>7.5060000000000002</c:v>
                </c:pt>
                <c:pt idx="4751">
                  <c:v>7.5060000000000002</c:v>
                </c:pt>
                <c:pt idx="4752">
                  <c:v>7.5060000000000002</c:v>
                </c:pt>
                <c:pt idx="4753">
                  <c:v>7.5060000000000002</c:v>
                </c:pt>
                <c:pt idx="4754">
                  <c:v>7.5049999999999999</c:v>
                </c:pt>
                <c:pt idx="4755">
                  <c:v>7.5049999999999999</c:v>
                </c:pt>
                <c:pt idx="4756">
                  <c:v>7.5060000000000002</c:v>
                </c:pt>
                <c:pt idx="4757">
                  <c:v>7.5060000000000002</c:v>
                </c:pt>
                <c:pt idx="4758">
                  <c:v>7.5049999999999999</c:v>
                </c:pt>
                <c:pt idx="4759">
                  <c:v>7.5049999999999999</c:v>
                </c:pt>
                <c:pt idx="4760">
                  <c:v>7.5060000000000002</c:v>
                </c:pt>
                <c:pt idx="4761">
                  <c:v>7.5049999999999999</c:v>
                </c:pt>
                <c:pt idx="4762">
                  <c:v>7.5049999999999999</c:v>
                </c:pt>
                <c:pt idx="4763">
                  <c:v>7.5049999999999999</c:v>
                </c:pt>
                <c:pt idx="4764">
                  <c:v>7.5049999999999999</c:v>
                </c:pt>
                <c:pt idx="4765">
                  <c:v>7.5049999999999999</c:v>
                </c:pt>
                <c:pt idx="4766">
                  <c:v>7.5049999999999999</c:v>
                </c:pt>
                <c:pt idx="4767">
                  <c:v>7.5049999999999999</c:v>
                </c:pt>
                <c:pt idx="4768">
                  <c:v>7.5049999999999999</c:v>
                </c:pt>
                <c:pt idx="4769">
                  <c:v>7.5049999999999999</c:v>
                </c:pt>
                <c:pt idx="4770">
                  <c:v>7.5049999999999999</c:v>
                </c:pt>
                <c:pt idx="4771">
                  <c:v>7.5049999999999999</c:v>
                </c:pt>
                <c:pt idx="4772">
                  <c:v>7.5049999999999999</c:v>
                </c:pt>
                <c:pt idx="4773">
                  <c:v>7.5049999999999999</c:v>
                </c:pt>
                <c:pt idx="4774">
                  <c:v>7.5039999999999996</c:v>
                </c:pt>
                <c:pt idx="4775">
                  <c:v>7.5049999999999999</c:v>
                </c:pt>
                <c:pt idx="4776">
                  <c:v>7.5039999999999996</c:v>
                </c:pt>
                <c:pt idx="4777">
                  <c:v>7.5039999999999996</c:v>
                </c:pt>
                <c:pt idx="4778">
                  <c:v>7.5039999999999996</c:v>
                </c:pt>
                <c:pt idx="4779">
                  <c:v>7.5039999999999996</c:v>
                </c:pt>
                <c:pt idx="4780">
                  <c:v>7.5039999999999996</c:v>
                </c:pt>
                <c:pt idx="4781">
                  <c:v>7.5039999999999996</c:v>
                </c:pt>
                <c:pt idx="4782">
                  <c:v>7.5039999999999996</c:v>
                </c:pt>
                <c:pt idx="4783">
                  <c:v>7.5039999999999996</c:v>
                </c:pt>
                <c:pt idx="4784">
                  <c:v>7.5039999999999996</c:v>
                </c:pt>
                <c:pt idx="4785">
                  <c:v>7.5039999999999996</c:v>
                </c:pt>
                <c:pt idx="4786">
                  <c:v>7.5039999999999996</c:v>
                </c:pt>
                <c:pt idx="4787">
                  <c:v>7.5030000000000001</c:v>
                </c:pt>
                <c:pt idx="4788">
                  <c:v>7.5030000000000001</c:v>
                </c:pt>
                <c:pt idx="4789">
                  <c:v>7.5030000000000001</c:v>
                </c:pt>
                <c:pt idx="4790">
                  <c:v>7.5030000000000001</c:v>
                </c:pt>
                <c:pt idx="4791">
                  <c:v>7.5030000000000001</c:v>
                </c:pt>
                <c:pt idx="4792">
                  <c:v>7.5030000000000001</c:v>
                </c:pt>
                <c:pt idx="4793">
                  <c:v>7.5030000000000001</c:v>
                </c:pt>
                <c:pt idx="4794">
                  <c:v>7.5030000000000001</c:v>
                </c:pt>
                <c:pt idx="4795">
                  <c:v>7.5030000000000001</c:v>
                </c:pt>
                <c:pt idx="4796">
                  <c:v>7.5030000000000001</c:v>
                </c:pt>
                <c:pt idx="4797">
                  <c:v>7.5019999999999998</c:v>
                </c:pt>
                <c:pt idx="4798">
                  <c:v>7.5030000000000001</c:v>
                </c:pt>
                <c:pt idx="4799">
                  <c:v>7.5030000000000001</c:v>
                </c:pt>
                <c:pt idx="4800">
                  <c:v>7.5019999999999998</c:v>
                </c:pt>
                <c:pt idx="4801">
                  <c:v>7.5030000000000001</c:v>
                </c:pt>
                <c:pt idx="4802">
                  <c:v>7.5019999999999998</c:v>
                </c:pt>
                <c:pt idx="4803">
                  <c:v>7.5019999999999998</c:v>
                </c:pt>
                <c:pt idx="4804">
                  <c:v>7.5019999999999998</c:v>
                </c:pt>
                <c:pt idx="4805">
                  <c:v>7.5030000000000001</c:v>
                </c:pt>
                <c:pt idx="4806">
                  <c:v>7.5030000000000001</c:v>
                </c:pt>
                <c:pt idx="4807">
                  <c:v>7.5019999999999998</c:v>
                </c:pt>
                <c:pt idx="4808">
                  <c:v>7.5019999999999998</c:v>
                </c:pt>
                <c:pt idx="4809">
                  <c:v>7.5019999999999998</c:v>
                </c:pt>
                <c:pt idx="4810">
                  <c:v>7.5019999999999998</c:v>
                </c:pt>
                <c:pt idx="4811">
                  <c:v>7.5019999999999998</c:v>
                </c:pt>
                <c:pt idx="4812">
                  <c:v>7.5019999999999998</c:v>
                </c:pt>
                <c:pt idx="4813">
                  <c:v>7.5019999999999998</c:v>
                </c:pt>
                <c:pt idx="4814">
                  <c:v>7.5019999999999998</c:v>
                </c:pt>
                <c:pt idx="4815">
                  <c:v>7.5010000000000003</c:v>
                </c:pt>
                <c:pt idx="4816">
                  <c:v>7.5019999999999998</c:v>
                </c:pt>
                <c:pt idx="4817">
                  <c:v>7.5010000000000003</c:v>
                </c:pt>
                <c:pt idx="4818">
                  <c:v>7.5019999999999998</c:v>
                </c:pt>
                <c:pt idx="4819">
                  <c:v>7.5010000000000003</c:v>
                </c:pt>
                <c:pt idx="4820">
                  <c:v>7.5010000000000003</c:v>
                </c:pt>
                <c:pt idx="4821">
                  <c:v>7.5010000000000003</c:v>
                </c:pt>
                <c:pt idx="4822">
                  <c:v>7.5010000000000003</c:v>
                </c:pt>
                <c:pt idx="4823">
                  <c:v>7.5010000000000003</c:v>
                </c:pt>
                <c:pt idx="4824">
                  <c:v>7.5010000000000003</c:v>
                </c:pt>
                <c:pt idx="4825">
                  <c:v>7.5010000000000003</c:v>
                </c:pt>
                <c:pt idx="4826">
                  <c:v>7.5010000000000003</c:v>
                </c:pt>
                <c:pt idx="4827">
                  <c:v>7.5010000000000003</c:v>
                </c:pt>
                <c:pt idx="4828">
                  <c:v>7.5010000000000003</c:v>
                </c:pt>
                <c:pt idx="4829">
                  <c:v>7.5010000000000003</c:v>
                </c:pt>
                <c:pt idx="4830">
                  <c:v>7.5010000000000003</c:v>
                </c:pt>
                <c:pt idx="4831">
                  <c:v>7.5010000000000003</c:v>
                </c:pt>
                <c:pt idx="4832">
                  <c:v>7.5</c:v>
                </c:pt>
                <c:pt idx="4833">
                  <c:v>7.5010000000000003</c:v>
                </c:pt>
                <c:pt idx="4834">
                  <c:v>7.5010000000000003</c:v>
                </c:pt>
                <c:pt idx="4835">
                  <c:v>7.5</c:v>
                </c:pt>
                <c:pt idx="4836">
                  <c:v>7.5010000000000003</c:v>
                </c:pt>
                <c:pt idx="4837">
                  <c:v>7.5</c:v>
                </c:pt>
                <c:pt idx="4838">
                  <c:v>7.5</c:v>
                </c:pt>
                <c:pt idx="4839">
                  <c:v>7.5010000000000003</c:v>
                </c:pt>
                <c:pt idx="4840">
                  <c:v>7.5</c:v>
                </c:pt>
                <c:pt idx="4841">
                  <c:v>7.5</c:v>
                </c:pt>
                <c:pt idx="4842">
                  <c:v>7.5</c:v>
                </c:pt>
                <c:pt idx="4843">
                  <c:v>7.5</c:v>
                </c:pt>
                <c:pt idx="4844">
                  <c:v>7.5</c:v>
                </c:pt>
                <c:pt idx="4845">
                  <c:v>7.5</c:v>
                </c:pt>
                <c:pt idx="4846">
                  <c:v>7.5</c:v>
                </c:pt>
                <c:pt idx="4847">
                  <c:v>7.5</c:v>
                </c:pt>
                <c:pt idx="4848">
                  <c:v>7.5</c:v>
                </c:pt>
                <c:pt idx="4849">
                  <c:v>7.4989999999999997</c:v>
                </c:pt>
                <c:pt idx="4850">
                  <c:v>7.5</c:v>
                </c:pt>
                <c:pt idx="4851">
                  <c:v>7.5</c:v>
                </c:pt>
                <c:pt idx="4852">
                  <c:v>7.4989999999999997</c:v>
                </c:pt>
                <c:pt idx="4853">
                  <c:v>7.4989999999999997</c:v>
                </c:pt>
                <c:pt idx="4854">
                  <c:v>7.4989999999999997</c:v>
                </c:pt>
                <c:pt idx="4855">
                  <c:v>7.4989999999999997</c:v>
                </c:pt>
                <c:pt idx="4856">
                  <c:v>7.4989999999999997</c:v>
                </c:pt>
                <c:pt idx="4857">
                  <c:v>7.4989999999999997</c:v>
                </c:pt>
                <c:pt idx="4858">
                  <c:v>7.4989999999999997</c:v>
                </c:pt>
                <c:pt idx="4859">
                  <c:v>7.4989999999999997</c:v>
                </c:pt>
                <c:pt idx="4860">
                  <c:v>7.4989999999999997</c:v>
                </c:pt>
                <c:pt idx="4861">
                  <c:v>7.4989999999999997</c:v>
                </c:pt>
                <c:pt idx="4862">
                  <c:v>7.4989999999999997</c:v>
                </c:pt>
                <c:pt idx="4863">
                  <c:v>7.4980000000000002</c:v>
                </c:pt>
                <c:pt idx="4864">
                  <c:v>7.4980000000000002</c:v>
                </c:pt>
                <c:pt idx="4865">
                  <c:v>7.4980000000000002</c:v>
                </c:pt>
                <c:pt idx="4866">
                  <c:v>7.4989999999999997</c:v>
                </c:pt>
                <c:pt idx="4867">
                  <c:v>7.4980000000000002</c:v>
                </c:pt>
                <c:pt idx="4868">
                  <c:v>7.4980000000000002</c:v>
                </c:pt>
                <c:pt idx="4869">
                  <c:v>7.4980000000000002</c:v>
                </c:pt>
                <c:pt idx="4870">
                  <c:v>7.4980000000000002</c:v>
                </c:pt>
                <c:pt idx="4871">
                  <c:v>7.4980000000000002</c:v>
                </c:pt>
                <c:pt idx="4872">
                  <c:v>7.4980000000000002</c:v>
                </c:pt>
                <c:pt idx="4873">
                  <c:v>7.4980000000000002</c:v>
                </c:pt>
                <c:pt idx="4874">
                  <c:v>7.4980000000000002</c:v>
                </c:pt>
                <c:pt idx="4875">
                  <c:v>7.4980000000000002</c:v>
                </c:pt>
                <c:pt idx="4876">
                  <c:v>7.4980000000000002</c:v>
                </c:pt>
                <c:pt idx="4877">
                  <c:v>7.4980000000000002</c:v>
                </c:pt>
                <c:pt idx="4878">
                  <c:v>7.4980000000000002</c:v>
                </c:pt>
                <c:pt idx="4879">
                  <c:v>7.4980000000000002</c:v>
                </c:pt>
                <c:pt idx="4880">
                  <c:v>7.4969999999999999</c:v>
                </c:pt>
                <c:pt idx="4881">
                  <c:v>7.4969999999999999</c:v>
                </c:pt>
                <c:pt idx="4882">
                  <c:v>7.4980000000000002</c:v>
                </c:pt>
                <c:pt idx="4883">
                  <c:v>7.4969999999999999</c:v>
                </c:pt>
                <c:pt idx="4884">
                  <c:v>7.4969999999999999</c:v>
                </c:pt>
                <c:pt idx="4885">
                  <c:v>7.4969999999999999</c:v>
                </c:pt>
                <c:pt idx="4886">
                  <c:v>7.4969999999999999</c:v>
                </c:pt>
                <c:pt idx="4887">
                  <c:v>7.4980000000000002</c:v>
                </c:pt>
                <c:pt idx="4888">
                  <c:v>7.4969999999999999</c:v>
                </c:pt>
                <c:pt idx="4889">
                  <c:v>7.4969999999999999</c:v>
                </c:pt>
                <c:pt idx="4890">
                  <c:v>7.4960000000000004</c:v>
                </c:pt>
                <c:pt idx="4891">
                  <c:v>7.4969999999999999</c:v>
                </c:pt>
                <c:pt idx="4892">
                  <c:v>7.4969999999999999</c:v>
                </c:pt>
                <c:pt idx="4893">
                  <c:v>7.4969999999999999</c:v>
                </c:pt>
                <c:pt idx="4894">
                  <c:v>7.4969999999999999</c:v>
                </c:pt>
                <c:pt idx="4895">
                  <c:v>7.4969999999999999</c:v>
                </c:pt>
                <c:pt idx="4896">
                  <c:v>7.4969999999999999</c:v>
                </c:pt>
                <c:pt idx="4897">
                  <c:v>7.4960000000000004</c:v>
                </c:pt>
                <c:pt idx="4898">
                  <c:v>7.4960000000000004</c:v>
                </c:pt>
                <c:pt idx="4899">
                  <c:v>7.4960000000000004</c:v>
                </c:pt>
                <c:pt idx="4900">
                  <c:v>7.4960000000000004</c:v>
                </c:pt>
                <c:pt idx="4901">
                  <c:v>7.4960000000000004</c:v>
                </c:pt>
                <c:pt idx="4902">
                  <c:v>7.4960000000000004</c:v>
                </c:pt>
                <c:pt idx="4903">
                  <c:v>7.4960000000000004</c:v>
                </c:pt>
                <c:pt idx="4904">
                  <c:v>7.4960000000000004</c:v>
                </c:pt>
                <c:pt idx="4905">
                  <c:v>7.4960000000000004</c:v>
                </c:pt>
                <c:pt idx="4906">
                  <c:v>7.4960000000000004</c:v>
                </c:pt>
                <c:pt idx="4907">
                  <c:v>7.4960000000000004</c:v>
                </c:pt>
                <c:pt idx="4908">
                  <c:v>7.4960000000000004</c:v>
                </c:pt>
                <c:pt idx="4909">
                  <c:v>7.4960000000000004</c:v>
                </c:pt>
                <c:pt idx="4910">
                  <c:v>7.4960000000000004</c:v>
                </c:pt>
                <c:pt idx="4911">
                  <c:v>7.4960000000000004</c:v>
                </c:pt>
                <c:pt idx="4912">
                  <c:v>7.4950000000000001</c:v>
                </c:pt>
                <c:pt idx="4913">
                  <c:v>7.4950000000000001</c:v>
                </c:pt>
                <c:pt idx="4914">
                  <c:v>7.4960000000000004</c:v>
                </c:pt>
                <c:pt idx="4915">
                  <c:v>7.4960000000000004</c:v>
                </c:pt>
                <c:pt idx="4916">
                  <c:v>7.4950000000000001</c:v>
                </c:pt>
                <c:pt idx="4917">
                  <c:v>7.4950000000000001</c:v>
                </c:pt>
                <c:pt idx="4918">
                  <c:v>7.4950000000000001</c:v>
                </c:pt>
                <c:pt idx="4919">
                  <c:v>7.4950000000000001</c:v>
                </c:pt>
                <c:pt idx="4920">
                  <c:v>7.4950000000000001</c:v>
                </c:pt>
                <c:pt idx="4921">
                  <c:v>7.4950000000000001</c:v>
                </c:pt>
                <c:pt idx="4922">
                  <c:v>7.4950000000000001</c:v>
                </c:pt>
                <c:pt idx="4923">
                  <c:v>7.4950000000000001</c:v>
                </c:pt>
                <c:pt idx="4924">
                  <c:v>7.4950000000000001</c:v>
                </c:pt>
                <c:pt idx="4925">
                  <c:v>7.4950000000000001</c:v>
                </c:pt>
                <c:pt idx="4926">
                  <c:v>7.4950000000000001</c:v>
                </c:pt>
                <c:pt idx="4927">
                  <c:v>7.4950000000000001</c:v>
                </c:pt>
                <c:pt idx="4928">
                  <c:v>7.4950000000000001</c:v>
                </c:pt>
                <c:pt idx="4929">
                  <c:v>7.4950000000000001</c:v>
                </c:pt>
                <c:pt idx="4930">
                  <c:v>7.4950000000000001</c:v>
                </c:pt>
                <c:pt idx="4931">
                  <c:v>7.4939999999999998</c:v>
                </c:pt>
                <c:pt idx="4932">
                  <c:v>7.4950000000000001</c:v>
                </c:pt>
                <c:pt idx="4933">
                  <c:v>7.4939999999999998</c:v>
                </c:pt>
                <c:pt idx="4934">
                  <c:v>7.4939999999999998</c:v>
                </c:pt>
                <c:pt idx="4935">
                  <c:v>7.4939999999999998</c:v>
                </c:pt>
                <c:pt idx="4936">
                  <c:v>7.4939999999999998</c:v>
                </c:pt>
                <c:pt idx="4937">
                  <c:v>7.4939999999999998</c:v>
                </c:pt>
                <c:pt idx="4938">
                  <c:v>7.4939999999999998</c:v>
                </c:pt>
                <c:pt idx="4939">
                  <c:v>7.4939999999999998</c:v>
                </c:pt>
                <c:pt idx="4940">
                  <c:v>7.4939999999999998</c:v>
                </c:pt>
                <c:pt idx="4941">
                  <c:v>7.4939999999999998</c:v>
                </c:pt>
                <c:pt idx="4942">
                  <c:v>7.4939999999999998</c:v>
                </c:pt>
                <c:pt idx="4943">
                  <c:v>7.4930000000000003</c:v>
                </c:pt>
                <c:pt idx="4944">
                  <c:v>7.4930000000000003</c:v>
                </c:pt>
                <c:pt idx="4945">
                  <c:v>7.4939999999999998</c:v>
                </c:pt>
                <c:pt idx="4946">
                  <c:v>7.4930000000000003</c:v>
                </c:pt>
                <c:pt idx="4947">
                  <c:v>7.4930000000000003</c:v>
                </c:pt>
                <c:pt idx="4948">
                  <c:v>7.4939999999999998</c:v>
                </c:pt>
                <c:pt idx="4949">
                  <c:v>7.4930000000000003</c:v>
                </c:pt>
                <c:pt idx="4950">
                  <c:v>7.4930000000000003</c:v>
                </c:pt>
                <c:pt idx="4951">
                  <c:v>7.4930000000000003</c:v>
                </c:pt>
                <c:pt idx="4952">
                  <c:v>7.4930000000000003</c:v>
                </c:pt>
                <c:pt idx="4953">
                  <c:v>7.4930000000000003</c:v>
                </c:pt>
                <c:pt idx="4954">
                  <c:v>7.4930000000000003</c:v>
                </c:pt>
                <c:pt idx="4955">
                  <c:v>7.4930000000000003</c:v>
                </c:pt>
                <c:pt idx="4956">
                  <c:v>7.4930000000000003</c:v>
                </c:pt>
                <c:pt idx="4957">
                  <c:v>7.4930000000000003</c:v>
                </c:pt>
                <c:pt idx="4958">
                  <c:v>7.492</c:v>
                </c:pt>
                <c:pt idx="4959">
                  <c:v>7.4930000000000003</c:v>
                </c:pt>
                <c:pt idx="4960">
                  <c:v>7.492</c:v>
                </c:pt>
                <c:pt idx="4961">
                  <c:v>7.492</c:v>
                </c:pt>
                <c:pt idx="4962">
                  <c:v>7.4930000000000003</c:v>
                </c:pt>
                <c:pt idx="4963">
                  <c:v>7.4930000000000003</c:v>
                </c:pt>
                <c:pt idx="4964">
                  <c:v>7.492</c:v>
                </c:pt>
                <c:pt idx="4965">
                  <c:v>7.492</c:v>
                </c:pt>
                <c:pt idx="4966">
                  <c:v>7.4909999999999997</c:v>
                </c:pt>
                <c:pt idx="4967">
                  <c:v>7.492</c:v>
                </c:pt>
                <c:pt idx="4968">
                  <c:v>7.492</c:v>
                </c:pt>
                <c:pt idx="4969">
                  <c:v>7.492</c:v>
                </c:pt>
                <c:pt idx="4970">
                  <c:v>7.492</c:v>
                </c:pt>
                <c:pt idx="4971">
                  <c:v>7.492</c:v>
                </c:pt>
                <c:pt idx="4972">
                  <c:v>7.492</c:v>
                </c:pt>
                <c:pt idx="4973">
                  <c:v>7.492</c:v>
                </c:pt>
                <c:pt idx="4974">
                  <c:v>7.492</c:v>
                </c:pt>
                <c:pt idx="4975">
                  <c:v>7.492</c:v>
                </c:pt>
                <c:pt idx="4976">
                  <c:v>7.492</c:v>
                </c:pt>
                <c:pt idx="4977">
                  <c:v>7.4909999999999997</c:v>
                </c:pt>
                <c:pt idx="4978">
                  <c:v>7.4909999999999997</c:v>
                </c:pt>
                <c:pt idx="4979">
                  <c:v>7.4909999999999997</c:v>
                </c:pt>
                <c:pt idx="4980">
                  <c:v>7.4909999999999997</c:v>
                </c:pt>
                <c:pt idx="4981">
                  <c:v>7.4909999999999997</c:v>
                </c:pt>
                <c:pt idx="4982">
                  <c:v>7.4909999999999997</c:v>
                </c:pt>
                <c:pt idx="4983">
                  <c:v>7.4909999999999997</c:v>
                </c:pt>
                <c:pt idx="4984">
                  <c:v>7.4909999999999997</c:v>
                </c:pt>
                <c:pt idx="4985">
                  <c:v>7.4909999999999997</c:v>
                </c:pt>
                <c:pt idx="4986">
                  <c:v>7.4909999999999997</c:v>
                </c:pt>
                <c:pt idx="4987">
                  <c:v>7.4909999999999997</c:v>
                </c:pt>
                <c:pt idx="4988">
                  <c:v>7.49</c:v>
                </c:pt>
                <c:pt idx="4989">
                  <c:v>7.4909999999999997</c:v>
                </c:pt>
                <c:pt idx="4990">
                  <c:v>7.49</c:v>
                </c:pt>
                <c:pt idx="4991">
                  <c:v>7.49</c:v>
                </c:pt>
                <c:pt idx="4992">
                  <c:v>7.4909999999999997</c:v>
                </c:pt>
                <c:pt idx="4993">
                  <c:v>7.4909999999999997</c:v>
                </c:pt>
                <c:pt idx="4994">
                  <c:v>7.49</c:v>
                </c:pt>
                <c:pt idx="4995">
                  <c:v>7.49</c:v>
                </c:pt>
                <c:pt idx="4996">
                  <c:v>7.49</c:v>
                </c:pt>
                <c:pt idx="4997">
                  <c:v>7.49</c:v>
                </c:pt>
                <c:pt idx="4998">
                  <c:v>7.49</c:v>
                </c:pt>
                <c:pt idx="4999">
                  <c:v>7.49</c:v>
                </c:pt>
                <c:pt idx="5000">
                  <c:v>7.49</c:v>
                </c:pt>
                <c:pt idx="5001">
                  <c:v>7.49</c:v>
                </c:pt>
                <c:pt idx="5002">
                  <c:v>7.49</c:v>
                </c:pt>
                <c:pt idx="5003">
                  <c:v>7.49</c:v>
                </c:pt>
                <c:pt idx="5004">
                  <c:v>7.49</c:v>
                </c:pt>
                <c:pt idx="5005">
                  <c:v>7.4889999999999999</c:v>
                </c:pt>
                <c:pt idx="5006">
                  <c:v>7.4889999999999999</c:v>
                </c:pt>
                <c:pt idx="5007">
                  <c:v>7.4889999999999999</c:v>
                </c:pt>
                <c:pt idx="5008">
                  <c:v>7.4889999999999999</c:v>
                </c:pt>
                <c:pt idx="5009">
                  <c:v>7.4889999999999999</c:v>
                </c:pt>
                <c:pt idx="5010">
                  <c:v>7.4889999999999999</c:v>
                </c:pt>
                <c:pt idx="5011">
                  <c:v>7.49</c:v>
                </c:pt>
                <c:pt idx="5012">
                  <c:v>7.4889999999999999</c:v>
                </c:pt>
                <c:pt idx="5013">
                  <c:v>7.4889999999999999</c:v>
                </c:pt>
                <c:pt idx="5014">
                  <c:v>7.4889999999999999</c:v>
                </c:pt>
                <c:pt idx="5015">
                  <c:v>7.4889999999999999</c:v>
                </c:pt>
                <c:pt idx="5016">
                  <c:v>7.4880000000000004</c:v>
                </c:pt>
                <c:pt idx="5017">
                  <c:v>7.4880000000000004</c:v>
                </c:pt>
                <c:pt idx="5018">
                  <c:v>7.4889999999999999</c:v>
                </c:pt>
                <c:pt idx="5019">
                  <c:v>7.4889999999999999</c:v>
                </c:pt>
                <c:pt idx="5020">
                  <c:v>7.4889999999999999</c:v>
                </c:pt>
                <c:pt idx="5021">
                  <c:v>7.4889999999999999</c:v>
                </c:pt>
                <c:pt idx="5022">
                  <c:v>7.4880000000000004</c:v>
                </c:pt>
                <c:pt idx="5023">
                  <c:v>7.4889999999999999</c:v>
                </c:pt>
                <c:pt idx="5024">
                  <c:v>7.4889999999999999</c:v>
                </c:pt>
                <c:pt idx="5025">
                  <c:v>7.4880000000000004</c:v>
                </c:pt>
                <c:pt idx="5026">
                  <c:v>7.4889999999999999</c:v>
                </c:pt>
                <c:pt idx="5027">
                  <c:v>7.4880000000000004</c:v>
                </c:pt>
                <c:pt idx="5028">
                  <c:v>7.4880000000000004</c:v>
                </c:pt>
                <c:pt idx="5029">
                  <c:v>7.4880000000000004</c:v>
                </c:pt>
                <c:pt idx="5030">
                  <c:v>7.4880000000000004</c:v>
                </c:pt>
                <c:pt idx="5031">
                  <c:v>7.4880000000000004</c:v>
                </c:pt>
                <c:pt idx="5032">
                  <c:v>7.4880000000000004</c:v>
                </c:pt>
                <c:pt idx="5033">
                  <c:v>7.4880000000000004</c:v>
                </c:pt>
                <c:pt idx="5034">
                  <c:v>7.4880000000000004</c:v>
                </c:pt>
                <c:pt idx="5035">
                  <c:v>7.4880000000000004</c:v>
                </c:pt>
                <c:pt idx="5036">
                  <c:v>7.4880000000000004</c:v>
                </c:pt>
                <c:pt idx="5037">
                  <c:v>7.4870000000000001</c:v>
                </c:pt>
                <c:pt idx="5038">
                  <c:v>7.4880000000000004</c:v>
                </c:pt>
                <c:pt idx="5039">
                  <c:v>7.4870000000000001</c:v>
                </c:pt>
                <c:pt idx="5040">
                  <c:v>7.4870000000000001</c:v>
                </c:pt>
                <c:pt idx="5041">
                  <c:v>7.4870000000000001</c:v>
                </c:pt>
                <c:pt idx="5042">
                  <c:v>7.4880000000000004</c:v>
                </c:pt>
                <c:pt idx="5043">
                  <c:v>7.4870000000000001</c:v>
                </c:pt>
                <c:pt idx="5044">
                  <c:v>7.4870000000000001</c:v>
                </c:pt>
                <c:pt idx="5045">
                  <c:v>7.4870000000000001</c:v>
                </c:pt>
                <c:pt idx="5046">
                  <c:v>7.4870000000000001</c:v>
                </c:pt>
                <c:pt idx="5047">
                  <c:v>7.4870000000000001</c:v>
                </c:pt>
                <c:pt idx="5048">
                  <c:v>7.4870000000000001</c:v>
                </c:pt>
                <c:pt idx="5049">
                  <c:v>7.4870000000000001</c:v>
                </c:pt>
                <c:pt idx="5050">
                  <c:v>7.4859999999999998</c:v>
                </c:pt>
                <c:pt idx="5051">
                  <c:v>7.4870000000000001</c:v>
                </c:pt>
                <c:pt idx="5052">
                  <c:v>7.4870000000000001</c:v>
                </c:pt>
                <c:pt idx="5053">
                  <c:v>7.4859999999999998</c:v>
                </c:pt>
                <c:pt idx="5054">
                  <c:v>7.4870000000000001</c:v>
                </c:pt>
                <c:pt idx="5055">
                  <c:v>7.4870000000000001</c:v>
                </c:pt>
                <c:pt idx="5056">
                  <c:v>7.4859999999999998</c:v>
                </c:pt>
                <c:pt idx="5057">
                  <c:v>7.4870000000000001</c:v>
                </c:pt>
                <c:pt idx="5058">
                  <c:v>7.4870000000000001</c:v>
                </c:pt>
                <c:pt idx="5059">
                  <c:v>7.4859999999999998</c:v>
                </c:pt>
                <c:pt idx="5060">
                  <c:v>7.4859999999999998</c:v>
                </c:pt>
                <c:pt idx="5061">
                  <c:v>7.4859999999999998</c:v>
                </c:pt>
                <c:pt idx="5062">
                  <c:v>7.4859999999999998</c:v>
                </c:pt>
                <c:pt idx="5063">
                  <c:v>7.4859999999999998</c:v>
                </c:pt>
                <c:pt idx="5064">
                  <c:v>7.4859999999999998</c:v>
                </c:pt>
                <c:pt idx="5065">
                  <c:v>7.4859999999999998</c:v>
                </c:pt>
                <c:pt idx="5066">
                  <c:v>7.4859999999999998</c:v>
                </c:pt>
                <c:pt idx="5067">
                  <c:v>7.4859999999999998</c:v>
                </c:pt>
                <c:pt idx="5068">
                  <c:v>7.4859999999999998</c:v>
                </c:pt>
                <c:pt idx="5069">
                  <c:v>7.4859999999999998</c:v>
                </c:pt>
                <c:pt idx="5070">
                  <c:v>7.4850000000000003</c:v>
                </c:pt>
                <c:pt idx="5071">
                  <c:v>7.4850000000000003</c:v>
                </c:pt>
                <c:pt idx="5072">
                  <c:v>7.4850000000000003</c:v>
                </c:pt>
                <c:pt idx="5073">
                  <c:v>7.4859999999999998</c:v>
                </c:pt>
                <c:pt idx="5074">
                  <c:v>7.4859999999999998</c:v>
                </c:pt>
                <c:pt idx="5075">
                  <c:v>7.4850000000000003</c:v>
                </c:pt>
                <c:pt idx="5076">
                  <c:v>7.4850000000000003</c:v>
                </c:pt>
                <c:pt idx="5077">
                  <c:v>7.4850000000000003</c:v>
                </c:pt>
                <c:pt idx="5078">
                  <c:v>7.4850000000000003</c:v>
                </c:pt>
                <c:pt idx="5079">
                  <c:v>7.4850000000000003</c:v>
                </c:pt>
                <c:pt idx="5080">
                  <c:v>7.4850000000000003</c:v>
                </c:pt>
                <c:pt idx="5081">
                  <c:v>7.4850000000000003</c:v>
                </c:pt>
                <c:pt idx="5082">
                  <c:v>7.4850000000000003</c:v>
                </c:pt>
                <c:pt idx="5083">
                  <c:v>7.4850000000000003</c:v>
                </c:pt>
                <c:pt idx="5084">
                  <c:v>7.4850000000000003</c:v>
                </c:pt>
                <c:pt idx="5085">
                  <c:v>7.4850000000000003</c:v>
                </c:pt>
                <c:pt idx="5086">
                  <c:v>7.4850000000000003</c:v>
                </c:pt>
                <c:pt idx="5087">
                  <c:v>7.4850000000000003</c:v>
                </c:pt>
                <c:pt idx="5088">
                  <c:v>7.484</c:v>
                </c:pt>
                <c:pt idx="5089">
                  <c:v>7.484</c:v>
                </c:pt>
                <c:pt idx="5090">
                  <c:v>7.484</c:v>
                </c:pt>
                <c:pt idx="5091">
                  <c:v>7.484</c:v>
                </c:pt>
                <c:pt idx="5092">
                  <c:v>7.4850000000000003</c:v>
                </c:pt>
                <c:pt idx="5093">
                  <c:v>7.484</c:v>
                </c:pt>
                <c:pt idx="5094">
                  <c:v>7.484</c:v>
                </c:pt>
                <c:pt idx="5095">
                  <c:v>7.484</c:v>
                </c:pt>
                <c:pt idx="5096">
                  <c:v>7.484</c:v>
                </c:pt>
                <c:pt idx="5097">
                  <c:v>7.484</c:v>
                </c:pt>
                <c:pt idx="5098">
                  <c:v>7.484</c:v>
                </c:pt>
                <c:pt idx="5099">
                  <c:v>7.4829999999999997</c:v>
                </c:pt>
                <c:pt idx="5100">
                  <c:v>7.4829999999999997</c:v>
                </c:pt>
                <c:pt idx="5101">
                  <c:v>7.4829999999999997</c:v>
                </c:pt>
                <c:pt idx="5102">
                  <c:v>7.4829999999999997</c:v>
                </c:pt>
                <c:pt idx="5103">
                  <c:v>7.4829999999999997</c:v>
                </c:pt>
                <c:pt idx="5104">
                  <c:v>7.4829999999999997</c:v>
                </c:pt>
                <c:pt idx="5105">
                  <c:v>7.4829999999999997</c:v>
                </c:pt>
                <c:pt idx="5106">
                  <c:v>7.4829999999999997</c:v>
                </c:pt>
                <c:pt idx="5107">
                  <c:v>7.4829999999999997</c:v>
                </c:pt>
                <c:pt idx="5108">
                  <c:v>7.4829999999999997</c:v>
                </c:pt>
                <c:pt idx="5109">
                  <c:v>7.4829999999999997</c:v>
                </c:pt>
                <c:pt idx="5110">
                  <c:v>7.4829999999999997</c:v>
                </c:pt>
                <c:pt idx="5111">
                  <c:v>7.4829999999999997</c:v>
                </c:pt>
                <c:pt idx="5112">
                  <c:v>7.4829999999999997</c:v>
                </c:pt>
                <c:pt idx="5113">
                  <c:v>7.4829999999999997</c:v>
                </c:pt>
                <c:pt idx="5114">
                  <c:v>7.4829999999999997</c:v>
                </c:pt>
                <c:pt idx="5115">
                  <c:v>7.4829999999999997</c:v>
                </c:pt>
                <c:pt idx="5116">
                  <c:v>7.4829999999999997</c:v>
                </c:pt>
                <c:pt idx="5117">
                  <c:v>7.4829999999999997</c:v>
                </c:pt>
                <c:pt idx="5118">
                  <c:v>7.4820000000000002</c:v>
                </c:pt>
                <c:pt idx="5119">
                  <c:v>7.4820000000000002</c:v>
                </c:pt>
                <c:pt idx="5120">
                  <c:v>7.4820000000000002</c:v>
                </c:pt>
                <c:pt idx="5121">
                  <c:v>7.4820000000000002</c:v>
                </c:pt>
                <c:pt idx="5122">
                  <c:v>7.4820000000000002</c:v>
                </c:pt>
                <c:pt idx="5123">
                  <c:v>7.4820000000000002</c:v>
                </c:pt>
                <c:pt idx="5124">
                  <c:v>7.4820000000000002</c:v>
                </c:pt>
                <c:pt idx="5125">
                  <c:v>7.4820000000000002</c:v>
                </c:pt>
                <c:pt idx="5126">
                  <c:v>7.4820000000000002</c:v>
                </c:pt>
                <c:pt idx="5127">
                  <c:v>7.4820000000000002</c:v>
                </c:pt>
                <c:pt idx="5128">
                  <c:v>7.4809999999999999</c:v>
                </c:pt>
                <c:pt idx="5129">
                  <c:v>7.4820000000000002</c:v>
                </c:pt>
                <c:pt idx="5130">
                  <c:v>7.4809999999999999</c:v>
                </c:pt>
                <c:pt idx="5131">
                  <c:v>7.4820000000000002</c:v>
                </c:pt>
                <c:pt idx="5132">
                  <c:v>7.4820000000000002</c:v>
                </c:pt>
                <c:pt idx="5133">
                  <c:v>7.4809999999999999</c:v>
                </c:pt>
                <c:pt idx="5134">
                  <c:v>7.4809999999999999</c:v>
                </c:pt>
                <c:pt idx="5135">
                  <c:v>7.4809999999999999</c:v>
                </c:pt>
                <c:pt idx="5136">
                  <c:v>7.4809999999999999</c:v>
                </c:pt>
                <c:pt idx="5137">
                  <c:v>7.4809999999999999</c:v>
                </c:pt>
                <c:pt idx="5138">
                  <c:v>7.4809999999999999</c:v>
                </c:pt>
                <c:pt idx="5139">
                  <c:v>7.4809999999999999</c:v>
                </c:pt>
                <c:pt idx="5140">
                  <c:v>7.4809999999999999</c:v>
                </c:pt>
                <c:pt idx="5141">
                  <c:v>7.4809999999999999</c:v>
                </c:pt>
                <c:pt idx="5142">
                  <c:v>7.48</c:v>
                </c:pt>
                <c:pt idx="5143">
                  <c:v>7.4809999999999999</c:v>
                </c:pt>
                <c:pt idx="5144">
                  <c:v>7.4809999999999999</c:v>
                </c:pt>
                <c:pt idx="5145">
                  <c:v>7.4809999999999999</c:v>
                </c:pt>
                <c:pt idx="5146">
                  <c:v>7.4809999999999999</c:v>
                </c:pt>
                <c:pt idx="5147">
                  <c:v>7.4809999999999999</c:v>
                </c:pt>
                <c:pt idx="5148">
                  <c:v>7.48</c:v>
                </c:pt>
                <c:pt idx="5149">
                  <c:v>7.4809999999999999</c:v>
                </c:pt>
                <c:pt idx="5150">
                  <c:v>7.4809999999999999</c:v>
                </c:pt>
                <c:pt idx="5151">
                  <c:v>7.48</c:v>
                </c:pt>
                <c:pt idx="5152">
                  <c:v>7.48</c:v>
                </c:pt>
                <c:pt idx="5153">
                  <c:v>7.48</c:v>
                </c:pt>
                <c:pt idx="5154">
                  <c:v>7.48</c:v>
                </c:pt>
                <c:pt idx="5155">
                  <c:v>7.4809999999999999</c:v>
                </c:pt>
                <c:pt idx="5156">
                  <c:v>7.48</c:v>
                </c:pt>
                <c:pt idx="5157">
                  <c:v>7.48</c:v>
                </c:pt>
                <c:pt idx="5158">
                  <c:v>7.48</c:v>
                </c:pt>
                <c:pt idx="5159">
                  <c:v>7.48</c:v>
                </c:pt>
                <c:pt idx="5160">
                  <c:v>7.48</c:v>
                </c:pt>
                <c:pt idx="5161">
                  <c:v>7.48</c:v>
                </c:pt>
                <c:pt idx="5162">
                  <c:v>7.48</c:v>
                </c:pt>
                <c:pt idx="5163">
                  <c:v>7.48</c:v>
                </c:pt>
                <c:pt idx="5164">
                  <c:v>7.48</c:v>
                </c:pt>
                <c:pt idx="5165">
                  <c:v>7.4790000000000001</c:v>
                </c:pt>
                <c:pt idx="5166">
                  <c:v>7.4790000000000001</c:v>
                </c:pt>
                <c:pt idx="5167">
                  <c:v>7.48</c:v>
                </c:pt>
                <c:pt idx="5168">
                  <c:v>7.48</c:v>
                </c:pt>
                <c:pt idx="5169">
                  <c:v>7.4790000000000001</c:v>
                </c:pt>
                <c:pt idx="5170">
                  <c:v>7.4790000000000001</c:v>
                </c:pt>
                <c:pt idx="5171">
                  <c:v>7.4790000000000001</c:v>
                </c:pt>
                <c:pt idx="5172">
                  <c:v>7.4790000000000001</c:v>
                </c:pt>
                <c:pt idx="5173">
                  <c:v>7.4790000000000001</c:v>
                </c:pt>
                <c:pt idx="5174">
                  <c:v>7.4790000000000001</c:v>
                </c:pt>
                <c:pt idx="5175">
                  <c:v>7.4790000000000001</c:v>
                </c:pt>
                <c:pt idx="5176">
                  <c:v>7.4790000000000001</c:v>
                </c:pt>
                <c:pt idx="5177">
                  <c:v>7.4779999999999998</c:v>
                </c:pt>
                <c:pt idx="5178">
                  <c:v>7.4790000000000001</c:v>
                </c:pt>
                <c:pt idx="5179">
                  <c:v>7.4779999999999998</c:v>
                </c:pt>
                <c:pt idx="5180">
                  <c:v>7.4779999999999998</c:v>
                </c:pt>
                <c:pt idx="5181">
                  <c:v>7.4790000000000001</c:v>
                </c:pt>
                <c:pt idx="5182">
                  <c:v>7.4779999999999998</c:v>
                </c:pt>
                <c:pt idx="5183">
                  <c:v>7.4790000000000001</c:v>
                </c:pt>
                <c:pt idx="5184">
                  <c:v>7.4779999999999998</c:v>
                </c:pt>
                <c:pt idx="5185">
                  <c:v>7.4779999999999998</c:v>
                </c:pt>
                <c:pt idx="5186">
                  <c:v>7.4779999999999998</c:v>
                </c:pt>
                <c:pt idx="5187">
                  <c:v>7.4779999999999998</c:v>
                </c:pt>
                <c:pt idx="5188">
                  <c:v>7.4779999999999998</c:v>
                </c:pt>
                <c:pt idx="5189">
                  <c:v>7.4779999999999998</c:v>
                </c:pt>
                <c:pt idx="5190">
                  <c:v>7.4779999999999998</c:v>
                </c:pt>
                <c:pt idx="5191">
                  <c:v>7.4779999999999998</c:v>
                </c:pt>
                <c:pt idx="5192">
                  <c:v>7.4779999999999998</c:v>
                </c:pt>
                <c:pt idx="5193">
                  <c:v>7.4779999999999998</c:v>
                </c:pt>
                <c:pt idx="5194">
                  <c:v>7.4779999999999998</c:v>
                </c:pt>
                <c:pt idx="5195">
                  <c:v>7.4779999999999998</c:v>
                </c:pt>
                <c:pt idx="5196">
                  <c:v>7.4779999999999998</c:v>
                </c:pt>
                <c:pt idx="5197">
                  <c:v>7.4779999999999998</c:v>
                </c:pt>
                <c:pt idx="5198">
                  <c:v>7.4770000000000003</c:v>
                </c:pt>
                <c:pt idx="5199">
                  <c:v>7.4770000000000003</c:v>
                </c:pt>
                <c:pt idx="5200">
                  <c:v>7.4770000000000003</c:v>
                </c:pt>
                <c:pt idx="5201">
                  <c:v>7.4770000000000003</c:v>
                </c:pt>
                <c:pt idx="5202">
                  <c:v>7.4770000000000003</c:v>
                </c:pt>
                <c:pt idx="5203">
                  <c:v>7.4770000000000003</c:v>
                </c:pt>
                <c:pt idx="5204">
                  <c:v>7.4770000000000003</c:v>
                </c:pt>
                <c:pt idx="5205">
                  <c:v>7.4770000000000003</c:v>
                </c:pt>
                <c:pt idx="5206">
                  <c:v>7.4770000000000003</c:v>
                </c:pt>
                <c:pt idx="5207">
                  <c:v>7.4770000000000003</c:v>
                </c:pt>
                <c:pt idx="5208">
                  <c:v>7.4770000000000003</c:v>
                </c:pt>
                <c:pt idx="5209">
                  <c:v>7.4770000000000003</c:v>
                </c:pt>
                <c:pt idx="5210">
                  <c:v>7.4770000000000003</c:v>
                </c:pt>
                <c:pt idx="5211">
                  <c:v>7.4770000000000003</c:v>
                </c:pt>
                <c:pt idx="5212">
                  <c:v>7.476</c:v>
                </c:pt>
                <c:pt idx="5213">
                  <c:v>7.4770000000000003</c:v>
                </c:pt>
                <c:pt idx="5214">
                  <c:v>7.4770000000000003</c:v>
                </c:pt>
                <c:pt idx="5215">
                  <c:v>7.4770000000000003</c:v>
                </c:pt>
                <c:pt idx="5216">
                  <c:v>7.476</c:v>
                </c:pt>
                <c:pt idx="5217">
                  <c:v>7.476</c:v>
                </c:pt>
                <c:pt idx="5218">
                  <c:v>7.476</c:v>
                </c:pt>
                <c:pt idx="5219">
                  <c:v>7.476</c:v>
                </c:pt>
                <c:pt idx="5220">
                  <c:v>7.476</c:v>
                </c:pt>
                <c:pt idx="5221">
                  <c:v>7.476</c:v>
                </c:pt>
                <c:pt idx="5222">
                  <c:v>7.476</c:v>
                </c:pt>
                <c:pt idx="5223">
                  <c:v>7.476</c:v>
                </c:pt>
                <c:pt idx="5224">
                  <c:v>7.476</c:v>
                </c:pt>
                <c:pt idx="5225">
                  <c:v>7.476</c:v>
                </c:pt>
                <c:pt idx="5226">
                  <c:v>7.476</c:v>
                </c:pt>
                <c:pt idx="5227">
                  <c:v>7.4749999999999996</c:v>
                </c:pt>
                <c:pt idx="5228">
                  <c:v>7.4749999999999996</c:v>
                </c:pt>
                <c:pt idx="5229">
                  <c:v>7.476</c:v>
                </c:pt>
                <c:pt idx="5230">
                  <c:v>7.476</c:v>
                </c:pt>
                <c:pt idx="5231">
                  <c:v>7.4749999999999996</c:v>
                </c:pt>
                <c:pt idx="5232">
                  <c:v>7.476</c:v>
                </c:pt>
                <c:pt idx="5233">
                  <c:v>7.476</c:v>
                </c:pt>
                <c:pt idx="5234">
                  <c:v>7.4749999999999996</c:v>
                </c:pt>
                <c:pt idx="5235">
                  <c:v>7.4749999999999996</c:v>
                </c:pt>
                <c:pt idx="5236">
                  <c:v>7.4749999999999996</c:v>
                </c:pt>
                <c:pt idx="5237">
                  <c:v>7.4749999999999996</c:v>
                </c:pt>
                <c:pt idx="5238">
                  <c:v>7.4749999999999996</c:v>
                </c:pt>
                <c:pt idx="5239">
                  <c:v>7.4749999999999996</c:v>
                </c:pt>
                <c:pt idx="5240">
                  <c:v>7.4749999999999996</c:v>
                </c:pt>
                <c:pt idx="5241">
                  <c:v>7.4749999999999996</c:v>
                </c:pt>
                <c:pt idx="5242">
                  <c:v>7.4749999999999996</c:v>
                </c:pt>
                <c:pt idx="5243">
                  <c:v>7.4749999999999996</c:v>
                </c:pt>
                <c:pt idx="5244">
                  <c:v>7.4749999999999996</c:v>
                </c:pt>
                <c:pt idx="5245">
                  <c:v>7.4749999999999996</c:v>
                </c:pt>
                <c:pt idx="5246">
                  <c:v>7.4749999999999996</c:v>
                </c:pt>
                <c:pt idx="5247">
                  <c:v>7.4740000000000002</c:v>
                </c:pt>
                <c:pt idx="5248">
                  <c:v>7.4749999999999996</c:v>
                </c:pt>
                <c:pt idx="5249">
                  <c:v>7.4740000000000002</c:v>
                </c:pt>
                <c:pt idx="5250">
                  <c:v>7.4740000000000002</c:v>
                </c:pt>
                <c:pt idx="5251">
                  <c:v>7.4740000000000002</c:v>
                </c:pt>
                <c:pt idx="5252">
                  <c:v>7.4740000000000002</c:v>
                </c:pt>
                <c:pt idx="5253">
                  <c:v>7.4740000000000002</c:v>
                </c:pt>
                <c:pt idx="5254">
                  <c:v>7.4740000000000002</c:v>
                </c:pt>
                <c:pt idx="5255">
                  <c:v>7.4740000000000002</c:v>
                </c:pt>
                <c:pt idx="5256">
                  <c:v>7.4740000000000002</c:v>
                </c:pt>
                <c:pt idx="5257">
                  <c:v>7.4740000000000002</c:v>
                </c:pt>
                <c:pt idx="5258">
                  <c:v>7.4740000000000002</c:v>
                </c:pt>
                <c:pt idx="5259">
                  <c:v>7.4740000000000002</c:v>
                </c:pt>
                <c:pt idx="5260">
                  <c:v>7.4729999999999999</c:v>
                </c:pt>
                <c:pt idx="5261">
                  <c:v>7.4740000000000002</c:v>
                </c:pt>
                <c:pt idx="5262">
                  <c:v>7.4729999999999999</c:v>
                </c:pt>
                <c:pt idx="5263">
                  <c:v>7.4729999999999999</c:v>
                </c:pt>
                <c:pt idx="5264">
                  <c:v>7.4729999999999999</c:v>
                </c:pt>
                <c:pt idx="5265">
                  <c:v>7.4729999999999999</c:v>
                </c:pt>
                <c:pt idx="5266">
                  <c:v>7.4729999999999999</c:v>
                </c:pt>
                <c:pt idx="5267">
                  <c:v>7.4729999999999999</c:v>
                </c:pt>
                <c:pt idx="5268">
                  <c:v>7.4729999999999999</c:v>
                </c:pt>
                <c:pt idx="5269">
                  <c:v>7.4729999999999999</c:v>
                </c:pt>
                <c:pt idx="5270">
                  <c:v>7.4729999999999999</c:v>
                </c:pt>
                <c:pt idx="5271">
                  <c:v>7.4729999999999999</c:v>
                </c:pt>
                <c:pt idx="5272">
                  <c:v>7.4729999999999999</c:v>
                </c:pt>
                <c:pt idx="5273">
                  <c:v>7.4729999999999999</c:v>
                </c:pt>
                <c:pt idx="5274">
                  <c:v>7.4729999999999999</c:v>
                </c:pt>
                <c:pt idx="5275">
                  <c:v>7.4720000000000004</c:v>
                </c:pt>
                <c:pt idx="5276">
                  <c:v>7.4729999999999999</c:v>
                </c:pt>
                <c:pt idx="5277">
                  <c:v>7.4729999999999999</c:v>
                </c:pt>
                <c:pt idx="5278">
                  <c:v>7.4729999999999999</c:v>
                </c:pt>
                <c:pt idx="5279">
                  <c:v>7.4729999999999999</c:v>
                </c:pt>
                <c:pt idx="5280">
                  <c:v>7.4729999999999999</c:v>
                </c:pt>
                <c:pt idx="5281">
                  <c:v>7.4720000000000004</c:v>
                </c:pt>
                <c:pt idx="5282">
                  <c:v>7.4729999999999999</c:v>
                </c:pt>
                <c:pt idx="5283">
                  <c:v>7.4720000000000004</c:v>
                </c:pt>
                <c:pt idx="5284">
                  <c:v>7.4729999999999999</c:v>
                </c:pt>
                <c:pt idx="5285">
                  <c:v>7.4720000000000004</c:v>
                </c:pt>
                <c:pt idx="5286">
                  <c:v>7.4720000000000004</c:v>
                </c:pt>
                <c:pt idx="5287">
                  <c:v>7.4720000000000004</c:v>
                </c:pt>
                <c:pt idx="5288">
                  <c:v>7.4720000000000004</c:v>
                </c:pt>
                <c:pt idx="5289">
                  <c:v>7.4720000000000004</c:v>
                </c:pt>
                <c:pt idx="5290">
                  <c:v>7.4720000000000004</c:v>
                </c:pt>
                <c:pt idx="5291">
                  <c:v>7.4720000000000004</c:v>
                </c:pt>
                <c:pt idx="5292">
                  <c:v>7.4720000000000004</c:v>
                </c:pt>
                <c:pt idx="5293">
                  <c:v>7.4720000000000004</c:v>
                </c:pt>
                <c:pt idx="5294">
                  <c:v>7.4720000000000004</c:v>
                </c:pt>
                <c:pt idx="5295">
                  <c:v>7.4720000000000004</c:v>
                </c:pt>
                <c:pt idx="5296">
                  <c:v>7.4720000000000004</c:v>
                </c:pt>
                <c:pt idx="5297">
                  <c:v>7.4720000000000004</c:v>
                </c:pt>
                <c:pt idx="5298">
                  <c:v>7.4720000000000004</c:v>
                </c:pt>
                <c:pt idx="5299">
                  <c:v>7.4710000000000001</c:v>
                </c:pt>
                <c:pt idx="5300">
                  <c:v>7.4720000000000004</c:v>
                </c:pt>
                <c:pt idx="5301">
                  <c:v>7.4710000000000001</c:v>
                </c:pt>
                <c:pt idx="5302">
                  <c:v>7.4720000000000004</c:v>
                </c:pt>
                <c:pt idx="5303">
                  <c:v>7.4710000000000001</c:v>
                </c:pt>
                <c:pt idx="5304">
                  <c:v>7.4710000000000001</c:v>
                </c:pt>
                <c:pt idx="5305">
                  <c:v>7.4720000000000004</c:v>
                </c:pt>
                <c:pt idx="5306">
                  <c:v>7.4710000000000001</c:v>
                </c:pt>
                <c:pt idx="5307">
                  <c:v>7.4710000000000001</c:v>
                </c:pt>
                <c:pt idx="5308">
                  <c:v>7.4710000000000001</c:v>
                </c:pt>
                <c:pt idx="5309">
                  <c:v>7.4710000000000001</c:v>
                </c:pt>
                <c:pt idx="5310">
                  <c:v>7.4710000000000001</c:v>
                </c:pt>
                <c:pt idx="5311">
                  <c:v>7.4710000000000001</c:v>
                </c:pt>
                <c:pt idx="5312">
                  <c:v>7.47</c:v>
                </c:pt>
                <c:pt idx="5313">
                  <c:v>7.4710000000000001</c:v>
                </c:pt>
                <c:pt idx="5314">
                  <c:v>7.4710000000000001</c:v>
                </c:pt>
                <c:pt idx="5315">
                  <c:v>7.4710000000000001</c:v>
                </c:pt>
                <c:pt idx="5316">
                  <c:v>7.4710000000000001</c:v>
                </c:pt>
                <c:pt idx="5317">
                  <c:v>7.4710000000000001</c:v>
                </c:pt>
                <c:pt idx="5318">
                  <c:v>7.47</c:v>
                </c:pt>
                <c:pt idx="5319">
                  <c:v>7.47</c:v>
                </c:pt>
                <c:pt idx="5320">
                  <c:v>7.47</c:v>
                </c:pt>
                <c:pt idx="5321">
                  <c:v>7.47</c:v>
                </c:pt>
                <c:pt idx="5322">
                  <c:v>7.4710000000000001</c:v>
                </c:pt>
                <c:pt idx="5323">
                  <c:v>7.47</c:v>
                </c:pt>
                <c:pt idx="5324">
                  <c:v>7.47</c:v>
                </c:pt>
                <c:pt idx="5325">
                  <c:v>7.47</c:v>
                </c:pt>
                <c:pt idx="5326">
                  <c:v>7.47</c:v>
                </c:pt>
                <c:pt idx="5327">
                  <c:v>7.47</c:v>
                </c:pt>
                <c:pt idx="5328">
                  <c:v>7.47</c:v>
                </c:pt>
                <c:pt idx="5329">
                  <c:v>7.47</c:v>
                </c:pt>
                <c:pt idx="5330">
                  <c:v>7.47</c:v>
                </c:pt>
                <c:pt idx="5331">
                  <c:v>7.47</c:v>
                </c:pt>
                <c:pt idx="5332">
                  <c:v>7.47</c:v>
                </c:pt>
                <c:pt idx="5333">
                  <c:v>7.4690000000000003</c:v>
                </c:pt>
                <c:pt idx="5334">
                  <c:v>7.47</c:v>
                </c:pt>
                <c:pt idx="5335">
                  <c:v>7.4690000000000003</c:v>
                </c:pt>
                <c:pt idx="5336">
                  <c:v>7.4690000000000003</c:v>
                </c:pt>
                <c:pt idx="5337">
                  <c:v>7.47</c:v>
                </c:pt>
                <c:pt idx="5338">
                  <c:v>7.4690000000000003</c:v>
                </c:pt>
                <c:pt idx="5339">
                  <c:v>7.4690000000000003</c:v>
                </c:pt>
                <c:pt idx="5340">
                  <c:v>7.4690000000000003</c:v>
                </c:pt>
                <c:pt idx="5341">
                  <c:v>7.4690000000000003</c:v>
                </c:pt>
                <c:pt idx="5342">
                  <c:v>7.4690000000000003</c:v>
                </c:pt>
                <c:pt idx="5343">
                  <c:v>7.4690000000000003</c:v>
                </c:pt>
                <c:pt idx="5344">
                  <c:v>7.4690000000000003</c:v>
                </c:pt>
                <c:pt idx="5345">
                  <c:v>7.4690000000000003</c:v>
                </c:pt>
                <c:pt idx="5346">
                  <c:v>7.4690000000000003</c:v>
                </c:pt>
                <c:pt idx="5347">
                  <c:v>7.4690000000000003</c:v>
                </c:pt>
                <c:pt idx="5348">
                  <c:v>7.4690000000000003</c:v>
                </c:pt>
                <c:pt idx="5349">
                  <c:v>7.4690000000000003</c:v>
                </c:pt>
                <c:pt idx="5350">
                  <c:v>7.4690000000000003</c:v>
                </c:pt>
                <c:pt idx="5351">
                  <c:v>7.468</c:v>
                </c:pt>
                <c:pt idx="5352">
                  <c:v>7.468</c:v>
                </c:pt>
                <c:pt idx="5353">
                  <c:v>7.4690000000000003</c:v>
                </c:pt>
                <c:pt idx="5354">
                  <c:v>7.468</c:v>
                </c:pt>
                <c:pt idx="5355">
                  <c:v>7.4690000000000003</c:v>
                </c:pt>
                <c:pt idx="5356">
                  <c:v>7.468</c:v>
                </c:pt>
                <c:pt idx="5357">
                  <c:v>7.468</c:v>
                </c:pt>
                <c:pt idx="5358">
                  <c:v>7.468</c:v>
                </c:pt>
                <c:pt idx="5359">
                  <c:v>7.468</c:v>
                </c:pt>
                <c:pt idx="5360">
                  <c:v>7.468</c:v>
                </c:pt>
                <c:pt idx="5361">
                  <c:v>7.468</c:v>
                </c:pt>
                <c:pt idx="5362">
                  <c:v>7.468</c:v>
                </c:pt>
                <c:pt idx="5363">
                  <c:v>7.468</c:v>
                </c:pt>
                <c:pt idx="5364">
                  <c:v>7.468</c:v>
                </c:pt>
                <c:pt idx="5365">
                  <c:v>7.468</c:v>
                </c:pt>
                <c:pt idx="5366">
                  <c:v>7.468</c:v>
                </c:pt>
                <c:pt idx="5367">
                  <c:v>7.468</c:v>
                </c:pt>
                <c:pt idx="5368">
                  <c:v>7.468</c:v>
                </c:pt>
                <c:pt idx="5369">
                  <c:v>7.4669999999999996</c:v>
                </c:pt>
                <c:pt idx="5370">
                  <c:v>7.4669999999999996</c:v>
                </c:pt>
                <c:pt idx="5371">
                  <c:v>7.4669999999999996</c:v>
                </c:pt>
                <c:pt idx="5372">
                  <c:v>7.4669999999999996</c:v>
                </c:pt>
                <c:pt idx="5373">
                  <c:v>7.468</c:v>
                </c:pt>
                <c:pt idx="5374">
                  <c:v>7.4669999999999996</c:v>
                </c:pt>
                <c:pt idx="5375">
                  <c:v>7.4669999999999996</c:v>
                </c:pt>
                <c:pt idx="5376">
                  <c:v>7.4669999999999996</c:v>
                </c:pt>
                <c:pt idx="5377">
                  <c:v>7.4669999999999996</c:v>
                </c:pt>
                <c:pt idx="5378">
                  <c:v>7.4669999999999996</c:v>
                </c:pt>
                <c:pt idx="5379">
                  <c:v>7.4669999999999996</c:v>
                </c:pt>
                <c:pt idx="5380">
                  <c:v>7.4669999999999996</c:v>
                </c:pt>
                <c:pt idx="5381">
                  <c:v>7.4669999999999996</c:v>
                </c:pt>
                <c:pt idx="5382">
                  <c:v>7.4660000000000002</c:v>
                </c:pt>
                <c:pt idx="5383">
                  <c:v>7.4660000000000002</c:v>
                </c:pt>
                <c:pt idx="5384">
                  <c:v>7.4660000000000002</c:v>
                </c:pt>
                <c:pt idx="5385">
                  <c:v>7.4660000000000002</c:v>
                </c:pt>
                <c:pt idx="5386">
                  <c:v>7.4660000000000002</c:v>
                </c:pt>
                <c:pt idx="5387">
                  <c:v>7.4660000000000002</c:v>
                </c:pt>
                <c:pt idx="5388">
                  <c:v>7.4669999999999996</c:v>
                </c:pt>
                <c:pt idx="5389">
                  <c:v>7.4660000000000002</c:v>
                </c:pt>
                <c:pt idx="5390">
                  <c:v>7.4660000000000002</c:v>
                </c:pt>
                <c:pt idx="5391">
                  <c:v>7.4660000000000002</c:v>
                </c:pt>
                <c:pt idx="5392">
                  <c:v>7.4660000000000002</c:v>
                </c:pt>
                <c:pt idx="5393">
                  <c:v>7.4660000000000002</c:v>
                </c:pt>
                <c:pt idx="5394">
                  <c:v>7.4660000000000002</c:v>
                </c:pt>
                <c:pt idx="5395">
                  <c:v>7.4660000000000002</c:v>
                </c:pt>
                <c:pt idx="5396">
                  <c:v>7.4660000000000002</c:v>
                </c:pt>
                <c:pt idx="5397">
                  <c:v>7.4660000000000002</c:v>
                </c:pt>
                <c:pt idx="5398">
                  <c:v>7.4660000000000002</c:v>
                </c:pt>
                <c:pt idx="5399">
                  <c:v>7.4649999999999999</c:v>
                </c:pt>
                <c:pt idx="5400">
                  <c:v>7.4649999999999999</c:v>
                </c:pt>
                <c:pt idx="5401">
                  <c:v>7.4660000000000002</c:v>
                </c:pt>
                <c:pt idx="5402">
                  <c:v>7.4660000000000002</c:v>
                </c:pt>
                <c:pt idx="5403">
                  <c:v>7.4660000000000002</c:v>
                </c:pt>
                <c:pt idx="5404">
                  <c:v>7.4660000000000002</c:v>
                </c:pt>
                <c:pt idx="5405">
                  <c:v>7.4649999999999999</c:v>
                </c:pt>
                <c:pt idx="5406">
                  <c:v>7.4660000000000002</c:v>
                </c:pt>
                <c:pt idx="5407">
                  <c:v>7.4649999999999999</c:v>
                </c:pt>
                <c:pt idx="5408">
                  <c:v>7.4649999999999999</c:v>
                </c:pt>
                <c:pt idx="5409">
                  <c:v>7.4649999999999999</c:v>
                </c:pt>
                <c:pt idx="5410">
                  <c:v>7.4649999999999999</c:v>
                </c:pt>
                <c:pt idx="5411">
                  <c:v>7.4649999999999999</c:v>
                </c:pt>
                <c:pt idx="5412">
                  <c:v>7.4649999999999999</c:v>
                </c:pt>
                <c:pt idx="5413">
                  <c:v>7.4649999999999999</c:v>
                </c:pt>
                <c:pt idx="5414">
                  <c:v>7.4649999999999999</c:v>
                </c:pt>
                <c:pt idx="5415">
                  <c:v>7.4649999999999999</c:v>
                </c:pt>
                <c:pt idx="5416">
                  <c:v>7.4649999999999999</c:v>
                </c:pt>
                <c:pt idx="5417">
                  <c:v>7.4649999999999999</c:v>
                </c:pt>
                <c:pt idx="5418">
                  <c:v>7.4649999999999999</c:v>
                </c:pt>
                <c:pt idx="5419">
                  <c:v>7.4649999999999999</c:v>
                </c:pt>
                <c:pt idx="5420">
                  <c:v>7.4640000000000004</c:v>
                </c:pt>
                <c:pt idx="5421">
                  <c:v>7.4649999999999999</c:v>
                </c:pt>
                <c:pt idx="5422">
                  <c:v>7.4649999999999999</c:v>
                </c:pt>
                <c:pt idx="5423">
                  <c:v>7.4640000000000004</c:v>
                </c:pt>
                <c:pt idx="5424">
                  <c:v>7.4640000000000004</c:v>
                </c:pt>
                <c:pt idx="5425">
                  <c:v>7.4649999999999999</c:v>
                </c:pt>
                <c:pt idx="5426">
                  <c:v>7.4640000000000004</c:v>
                </c:pt>
                <c:pt idx="5427">
                  <c:v>7.4640000000000004</c:v>
                </c:pt>
                <c:pt idx="5428">
                  <c:v>7.4640000000000004</c:v>
                </c:pt>
                <c:pt idx="5429">
                  <c:v>7.4640000000000004</c:v>
                </c:pt>
                <c:pt idx="5430">
                  <c:v>7.4640000000000004</c:v>
                </c:pt>
                <c:pt idx="5431">
                  <c:v>7.4640000000000004</c:v>
                </c:pt>
                <c:pt idx="5432">
                  <c:v>7.4640000000000004</c:v>
                </c:pt>
                <c:pt idx="5433">
                  <c:v>7.4640000000000004</c:v>
                </c:pt>
                <c:pt idx="5434">
                  <c:v>7.4640000000000004</c:v>
                </c:pt>
                <c:pt idx="5435">
                  <c:v>7.4640000000000004</c:v>
                </c:pt>
                <c:pt idx="5436">
                  <c:v>7.4640000000000004</c:v>
                </c:pt>
                <c:pt idx="5437">
                  <c:v>7.4640000000000004</c:v>
                </c:pt>
                <c:pt idx="5438">
                  <c:v>7.4630000000000001</c:v>
                </c:pt>
                <c:pt idx="5439">
                  <c:v>7.4640000000000004</c:v>
                </c:pt>
                <c:pt idx="5440">
                  <c:v>7.4640000000000004</c:v>
                </c:pt>
                <c:pt idx="5441">
                  <c:v>7.4630000000000001</c:v>
                </c:pt>
                <c:pt idx="5442">
                  <c:v>7.4640000000000004</c:v>
                </c:pt>
                <c:pt idx="5443">
                  <c:v>7.4640000000000004</c:v>
                </c:pt>
                <c:pt idx="5444">
                  <c:v>7.4630000000000001</c:v>
                </c:pt>
                <c:pt idx="5445">
                  <c:v>7.4630000000000001</c:v>
                </c:pt>
                <c:pt idx="5446">
                  <c:v>7.4630000000000001</c:v>
                </c:pt>
                <c:pt idx="5447">
                  <c:v>7.4630000000000001</c:v>
                </c:pt>
                <c:pt idx="5448">
                  <c:v>7.4640000000000004</c:v>
                </c:pt>
                <c:pt idx="5449">
                  <c:v>7.4630000000000001</c:v>
                </c:pt>
                <c:pt idx="5450">
                  <c:v>7.4630000000000001</c:v>
                </c:pt>
                <c:pt idx="5451">
                  <c:v>7.4630000000000001</c:v>
                </c:pt>
                <c:pt idx="5452">
                  <c:v>7.4630000000000001</c:v>
                </c:pt>
                <c:pt idx="5453">
                  <c:v>7.4630000000000001</c:v>
                </c:pt>
                <c:pt idx="5454">
                  <c:v>7.4630000000000001</c:v>
                </c:pt>
                <c:pt idx="5455">
                  <c:v>7.4630000000000001</c:v>
                </c:pt>
                <c:pt idx="5456">
                  <c:v>7.4630000000000001</c:v>
                </c:pt>
                <c:pt idx="5457">
                  <c:v>7.4630000000000001</c:v>
                </c:pt>
                <c:pt idx="5458">
                  <c:v>7.4630000000000001</c:v>
                </c:pt>
                <c:pt idx="5459">
                  <c:v>7.4619999999999997</c:v>
                </c:pt>
                <c:pt idx="5460">
                  <c:v>7.4619999999999997</c:v>
                </c:pt>
                <c:pt idx="5461">
                  <c:v>7.4619999999999997</c:v>
                </c:pt>
                <c:pt idx="5462">
                  <c:v>7.4619999999999997</c:v>
                </c:pt>
                <c:pt idx="5463">
                  <c:v>7.4619999999999997</c:v>
                </c:pt>
                <c:pt idx="5464">
                  <c:v>7.4619999999999997</c:v>
                </c:pt>
                <c:pt idx="5465">
                  <c:v>7.4619999999999997</c:v>
                </c:pt>
                <c:pt idx="5466">
                  <c:v>7.4619999999999997</c:v>
                </c:pt>
                <c:pt idx="5467">
                  <c:v>7.4619999999999997</c:v>
                </c:pt>
                <c:pt idx="5468">
                  <c:v>7.4619999999999997</c:v>
                </c:pt>
                <c:pt idx="5469">
                  <c:v>7.4619999999999997</c:v>
                </c:pt>
                <c:pt idx="5470">
                  <c:v>7.4619999999999997</c:v>
                </c:pt>
                <c:pt idx="5471">
                  <c:v>7.4619999999999997</c:v>
                </c:pt>
                <c:pt idx="5472">
                  <c:v>7.4619999999999997</c:v>
                </c:pt>
                <c:pt idx="5473">
                  <c:v>7.4619999999999997</c:v>
                </c:pt>
                <c:pt idx="5474">
                  <c:v>7.4619999999999997</c:v>
                </c:pt>
                <c:pt idx="5475">
                  <c:v>7.4619999999999997</c:v>
                </c:pt>
                <c:pt idx="5476">
                  <c:v>7.4619999999999997</c:v>
                </c:pt>
                <c:pt idx="5477">
                  <c:v>7.4619999999999997</c:v>
                </c:pt>
                <c:pt idx="5478">
                  <c:v>7.4619999999999997</c:v>
                </c:pt>
                <c:pt idx="5479">
                  <c:v>7.4619999999999997</c:v>
                </c:pt>
                <c:pt idx="5480">
                  <c:v>7.4610000000000003</c:v>
                </c:pt>
                <c:pt idx="5481">
                  <c:v>7.4610000000000003</c:v>
                </c:pt>
                <c:pt idx="5482">
                  <c:v>7.4610000000000003</c:v>
                </c:pt>
                <c:pt idx="5483">
                  <c:v>7.4619999999999997</c:v>
                </c:pt>
                <c:pt idx="5484">
                  <c:v>7.4619999999999997</c:v>
                </c:pt>
                <c:pt idx="5485">
                  <c:v>7.4610000000000003</c:v>
                </c:pt>
                <c:pt idx="5486">
                  <c:v>7.4610000000000003</c:v>
                </c:pt>
                <c:pt idx="5487">
                  <c:v>7.4610000000000003</c:v>
                </c:pt>
                <c:pt idx="5488">
                  <c:v>7.4610000000000003</c:v>
                </c:pt>
                <c:pt idx="5489">
                  <c:v>7.4610000000000003</c:v>
                </c:pt>
                <c:pt idx="5490">
                  <c:v>7.4610000000000003</c:v>
                </c:pt>
                <c:pt idx="5491">
                  <c:v>7.4610000000000003</c:v>
                </c:pt>
                <c:pt idx="5492">
                  <c:v>7.4610000000000003</c:v>
                </c:pt>
                <c:pt idx="5493">
                  <c:v>7.4610000000000003</c:v>
                </c:pt>
                <c:pt idx="5494">
                  <c:v>7.46</c:v>
                </c:pt>
                <c:pt idx="5495">
                  <c:v>7.4610000000000003</c:v>
                </c:pt>
                <c:pt idx="5496">
                  <c:v>7.4610000000000003</c:v>
                </c:pt>
                <c:pt idx="5497">
                  <c:v>7.4610000000000003</c:v>
                </c:pt>
                <c:pt idx="5498">
                  <c:v>7.46</c:v>
                </c:pt>
                <c:pt idx="5499">
                  <c:v>7.46</c:v>
                </c:pt>
                <c:pt idx="5500">
                  <c:v>7.46</c:v>
                </c:pt>
                <c:pt idx="5501">
                  <c:v>7.46</c:v>
                </c:pt>
                <c:pt idx="5502">
                  <c:v>7.46</c:v>
                </c:pt>
                <c:pt idx="5503">
                  <c:v>7.46</c:v>
                </c:pt>
                <c:pt idx="5504">
                  <c:v>7.46</c:v>
                </c:pt>
                <c:pt idx="5505">
                  <c:v>7.46</c:v>
                </c:pt>
                <c:pt idx="5506">
                  <c:v>7.46</c:v>
                </c:pt>
                <c:pt idx="5507">
                  <c:v>7.46</c:v>
                </c:pt>
                <c:pt idx="5508">
                  <c:v>7.46</c:v>
                </c:pt>
                <c:pt idx="5509">
                  <c:v>7.46</c:v>
                </c:pt>
                <c:pt idx="5510">
                  <c:v>7.46</c:v>
                </c:pt>
                <c:pt idx="5511">
                  <c:v>7.46</c:v>
                </c:pt>
                <c:pt idx="5512">
                  <c:v>7.46</c:v>
                </c:pt>
                <c:pt idx="5513">
                  <c:v>7.46</c:v>
                </c:pt>
                <c:pt idx="5514">
                  <c:v>7.46</c:v>
                </c:pt>
                <c:pt idx="5515">
                  <c:v>7.4589999999999996</c:v>
                </c:pt>
                <c:pt idx="5516">
                  <c:v>7.4589999999999996</c:v>
                </c:pt>
                <c:pt idx="5517">
                  <c:v>7.46</c:v>
                </c:pt>
                <c:pt idx="5518">
                  <c:v>7.4589999999999996</c:v>
                </c:pt>
                <c:pt idx="5519">
                  <c:v>7.4589999999999996</c:v>
                </c:pt>
                <c:pt idx="5520">
                  <c:v>7.4589999999999996</c:v>
                </c:pt>
                <c:pt idx="5521">
                  <c:v>7.46</c:v>
                </c:pt>
                <c:pt idx="5522">
                  <c:v>7.4589999999999996</c:v>
                </c:pt>
                <c:pt idx="5523">
                  <c:v>7.4589999999999996</c:v>
                </c:pt>
                <c:pt idx="5524">
                  <c:v>7.4589999999999996</c:v>
                </c:pt>
                <c:pt idx="5525">
                  <c:v>7.4589999999999996</c:v>
                </c:pt>
                <c:pt idx="5526">
                  <c:v>7.4589999999999996</c:v>
                </c:pt>
                <c:pt idx="5527">
                  <c:v>7.4589999999999996</c:v>
                </c:pt>
                <c:pt idx="5528">
                  <c:v>7.4589999999999996</c:v>
                </c:pt>
                <c:pt idx="5529">
                  <c:v>7.4589999999999996</c:v>
                </c:pt>
                <c:pt idx="5530">
                  <c:v>7.4589999999999996</c:v>
                </c:pt>
                <c:pt idx="5531">
                  <c:v>7.4589999999999996</c:v>
                </c:pt>
                <c:pt idx="5532">
                  <c:v>7.4589999999999996</c:v>
                </c:pt>
                <c:pt idx="5533">
                  <c:v>7.4589999999999996</c:v>
                </c:pt>
                <c:pt idx="5534">
                  <c:v>7.4589999999999996</c:v>
                </c:pt>
                <c:pt idx="5535">
                  <c:v>7.4589999999999996</c:v>
                </c:pt>
                <c:pt idx="5536">
                  <c:v>7.4589999999999996</c:v>
                </c:pt>
                <c:pt idx="5537">
                  <c:v>7.4589999999999996</c:v>
                </c:pt>
                <c:pt idx="5538">
                  <c:v>7.4589999999999996</c:v>
                </c:pt>
                <c:pt idx="5539">
                  <c:v>7.4589999999999996</c:v>
                </c:pt>
                <c:pt idx="5540">
                  <c:v>7.4589999999999996</c:v>
                </c:pt>
                <c:pt idx="5541">
                  <c:v>7.4580000000000002</c:v>
                </c:pt>
                <c:pt idx="5542">
                  <c:v>7.4589999999999996</c:v>
                </c:pt>
                <c:pt idx="5543">
                  <c:v>7.4580000000000002</c:v>
                </c:pt>
                <c:pt idx="5544">
                  <c:v>7.4580000000000002</c:v>
                </c:pt>
                <c:pt idx="5545">
                  <c:v>7.4580000000000002</c:v>
                </c:pt>
                <c:pt idx="5546">
                  <c:v>7.4580000000000002</c:v>
                </c:pt>
                <c:pt idx="5547">
                  <c:v>7.4580000000000002</c:v>
                </c:pt>
                <c:pt idx="5548">
                  <c:v>7.4580000000000002</c:v>
                </c:pt>
                <c:pt idx="5549">
                  <c:v>7.4580000000000002</c:v>
                </c:pt>
                <c:pt idx="5550">
                  <c:v>7.4580000000000002</c:v>
                </c:pt>
                <c:pt idx="5551">
                  <c:v>7.4580000000000002</c:v>
                </c:pt>
                <c:pt idx="5552">
                  <c:v>7.4580000000000002</c:v>
                </c:pt>
                <c:pt idx="5553">
                  <c:v>7.4569999999999999</c:v>
                </c:pt>
                <c:pt idx="5554">
                  <c:v>7.4580000000000002</c:v>
                </c:pt>
                <c:pt idx="5555">
                  <c:v>7.4569999999999999</c:v>
                </c:pt>
                <c:pt idx="5556">
                  <c:v>7.4580000000000002</c:v>
                </c:pt>
                <c:pt idx="5557">
                  <c:v>7.4580000000000002</c:v>
                </c:pt>
                <c:pt idx="5558">
                  <c:v>7.4569999999999999</c:v>
                </c:pt>
                <c:pt idx="5559">
                  <c:v>7.4569999999999999</c:v>
                </c:pt>
                <c:pt idx="5560">
                  <c:v>7.4569999999999999</c:v>
                </c:pt>
                <c:pt idx="5561">
                  <c:v>7.4569999999999999</c:v>
                </c:pt>
                <c:pt idx="5562">
                  <c:v>7.4569999999999999</c:v>
                </c:pt>
                <c:pt idx="5563">
                  <c:v>7.4569999999999999</c:v>
                </c:pt>
                <c:pt idx="5564">
                  <c:v>7.4569999999999999</c:v>
                </c:pt>
                <c:pt idx="5565">
                  <c:v>7.4569999999999999</c:v>
                </c:pt>
                <c:pt idx="5566">
                  <c:v>7.4569999999999999</c:v>
                </c:pt>
                <c:pt idx="5567">
                  <c:v>7.4569999999999999</c:v>
                </c:pt>
                <c:pt idx="5568">
                  <c:v>7.4569999999999999</c:v>
                </c:pt>
                <c:pt idx="5569">
                  <c:v>7.4569999999999999</c:v>
                </c:pt>
                <c:pt idx="5570">
                  <c:v>7.4569999999999999</c:v>
                </c:pt>
                <c:pt idx="5571">
                  <c:v>7.4569999999999999</c:v>
                </c:pt>
                <c:pt idx="5572">
                  <c:v>7.4569999999999999</c:v>
                </c:pt>
                <c:pt idx="5573">
                  <c:v>7.4569999999999999</c:v>
                </c:pt>
                <c:pt idx="5574">
                  <c:v>7.4569999999999999</c:v>
                </c:pt>
                <c:pt idx="5575">
                  <c:v>7.4560000000000004</c:v>
                </c:pt>
                <c:pt idx="5576">
                  <c:v>7.4569999999999999</c:v>
                </c:pt>
                <c:pt idx="5577">
                  <c:v>7.4569999999999999</c:v>
                </c:pt>
                <c:pt idx="5578">
                  <c:v>7.4560000000000004</c:v>
                </c:pt>
                <c:pt idx="5579">
                  <c:v>7.4569999999999999</c:v>
                </c:pt>
                <c:pt idx="5580">
                  <c:v>7.4560000000000004</c:v>
                </c:pt>
                <c:pt idx="5581">
                  <c:v>7.4560000000000004</c:v>
                </c:pt>
                <c:pt idx="5582">
                  <c:v>7.4560000000000004</c:v>
                </c:pt>
                <c:pt idx="5583">
                  <c:v>7.4560000000000004</c:v>
                </c:pt>
                <c:pt idx="5584">
                  <c:v>7.4560000000000004</c:v>
                </c:pt>
                <c:pt idx="5585">
                  <c:v>7.4560000000000004</c:v>
                </c:pt>
                <c:pt idx="5586">
                  <c:v>7.4560000000000004</c:v>
                </c:pt>
                <c:pt idx="5587">
                  <c:v>7.4560000000000004</c:v>
                </c:pt>
                <c:pt idx="5588">
                  <c:v>7.4560000000000004</c:v>
                </c:pt>
                <c:pt idx="5589">
                  <c:v>7.4560000000000004</c:v>
                </c:pt>
                <c:pt idx="5590">
                  <c:v>7.4550000000000001</c:v>
                </c:pt>
                <c:pt idx="5591">
                  <c:v>7.4560000000000004</c:v>
                </c:pt>
                <c:pt idx="5592">
                  <c:v>7.4560000000000004</c:v>
                </c:pt>
                <c:pt idx="5593">
                  <c:v>7.4560000000000004</c:v>
                </c:pt>
                <c:pt idx="5594">
                  <c:v>7.4550000000000001</c:v>
                </c:pt>
                <c:pt idx="5595">
                  <c:v>7.4560000000000004</c:v>
                </c:pt>
                <c:pt idx="5596">
                  <c:v>7.4560000000000004</c:v>
                </c:pt>
                <c:pt idx="5597">
                  <c:v>7.4550000000000001</c:v>
                </c:pt>
                <c:pt idx="5598">
                  <c:v>7.4560000000000004</c:v>
                </c:pt>
                <c:pt idx="5599">
                  <c:v>7.4560000000000004</c:v>
                </c:pt>
                <c:pt idx="5600">
                  <c:v>7.4550000000000001</c:v>
                </c:pt>
                <c:pt idx="5601">
                  <c:v>7.4550000000000001</c:v>
                </c:pt>
                <c:pt idx="5602">
                  <c:v>7.4550000000000001</c:v>
                </c:pt>
                <c:pt idx="5603">
                  <c:v>7.4550000000000001</c:v>
                </c:pt>
                <c:pt idx="5604">
                  <c:v>7.4550000000000001</c:v>
                </c:pt>
                <c:pt idx="5605">
                  <c:v>7.4550000000000001</c:v>
                </c:pt>
                <c:pt idx="5606">
                  <c:v>7.4550000000000001</c:v>
                </c:pt>
                <c:pt idx="5607">
                  <c:v>7.4550000000000001</c:v>
                </c:pt>
                <c:pt idx="5608">
                  <c:v>7.4550000000000001</c:v>
                </c:pt>
                <c:pt idx="5609">
                  <c:v>7.4550000000000001</c:v>
                </c:pt>
                <c:pt idx="5610">
                  <c:v>7.4550000000000001</c:v>
                </c:pt>
                <c:pt idx="5611">
                  <c:v>7.4550000000000001</c:v>
                </c:pt>
                <c:pt idx="5612">
                  <c:v>7.4550000000000001</c:v>
                </c:pt>
                <c:pt idx="5613">
                  <c:v>7.4550000000000001</c:v>
                </c:pt>
                <c:pt idx="5614">
                  <c:v>7.4550000000000001</c:v>
                </c:pt>
                <c:pt idx="5615">
                  <c:v>7.4539999999999997</c:v>
                </c:pt>
                <c:pt idx="5616">
                  <c:v>7.4539999999999997</c:v>
                </c:pt>
                <c:pt idx="5617">
                  <c:v>7.4539999999999997</c:v>
                </c:pt>
                <c:pt idx="5618">
                  <c:v>7.4539999999999997</c:v>
                </c:pt>
                <c:pt idx="5619">
                  <c:v>7.4539999999999997</c:v>
                </c:pt>
                <c:pt idx="5620">
                  <c:v>7.4550000000000001</c:v>
                </c:pt>
                <c:pt idx="5621">
                  <c:v>7.4539999999999997</c:v>
                </c:pt>
                <c:pt idx="5622">
                  <c:v>7.4539999999999997</c:v>
                </c:pt>
                <c:pt idx="5623">
                  <c:v>7.4539999999999997</c:v>
                </c:pt>
                <c:pt idx="5624">
                  <c:v>7.4539999999999997</c:v>
                </c:pt>
                <c:pt idx="5625">
                  <c:v>7.4539999999999997</c:v>
                </c:pt>
                <c:pt idx="5626">
                  <c:v>7.4539999999999997</c:v>
                </c:pt>
                <c:pt idx="5627">
                  <c:v>7.4539999999999997</c:v>
                </c:pt>
                <c:pt idx="5628">
                  <c:v>7.4539999999999997</c:v>
                </c:pt>
                <c:pt idx="5629">
                  <c:v>7.4539999999999997</c:v>
                </c:pt>
                <c:pt idx="5630">
                  <c:v>7.4530000000000003</c:v>
                </c:pt>
                <c:pt idx="5631">
                  <c:v>7.4539999999999997</c:v>
                </c:pt>
                <c:pt idx="5632">
                  <c:v>7.4539999999999997</c:v>
                </c:pt>
                <c:pt idx="5633">
                  <c:v>7.4539999999999997</c:v>
                </c:pt>
                <c:pt idx="5634">
                  <c:v>7.4539999999999997</c:v>
                </c:pt>
                <c:pt idx="5635">
                  <c:v>7.4530000000000003</c:v>
                </c:pt>
                <c:pt idx="5636">
                  <c:v>7.4530000000000003</c:v>
                </c:pt>
                <c:pt idx="5637">
                  <c:v>7.4530000000000003</c:v>
                </c:pt>
                <c:pt idx="5638">
                  <c:v>7.4530000000000003</c:v>
                </c:pt>
                <c:pt idx="5639">
                  <c:v>7.4530000000000003</c:v>
                </c:pt>
                <c:pt idx="5640">
                  <c:v>7.4530000000000003</c:v>
                </c:pt>
                <c:pt idx="5641">
                  <c:v>7.4530000000000003</c:v>
                </c:pt>
                <c:pt idx="5642">
                  <c:v>7.4530000000000003</c:v>
                </c:pt>
                <c:pt idx="5643">
                  <c:v>7.4530000000000003</c:v>
                </c:pt>
                <c:pt idx="5644">
                  <c:v>7.4530000000000003</c:v>
                </c:pt>
                <c:pt idx="5645">
                  <c:v>7.4530000000000003</c:v>
                </c:pt>
                <c:pt idx="5646">
                  <c:v>7.4530000000000003</c:v>
                </c:pt>
                <c:pt idx="5647">
                  <c:v>7.4530000000000003</c:v>
                </c:pt>
                <c:pt idx="5648">
                  <c:v>7.4530000000000003</c:v>
                </c:pt>
                <c:pt idx="5649">
                  <c:v>7.4530000000000003</c:v>
                </c:pt>
                <c:pt idx="5650">
                  <c:v>7.4530000000000003</c:v>
                </c:pt>
                <c:pt idx="5651">
                  <c:v>7.452</c:v>
                </c:pt>
                <c:pt idx="5652">
                  <c:v>7.4530000000000003</c:v>
                </c:pt>
                <c:pt idx="5653">
                  <c:v>7.452</c:v>
                </c:pt>
                <c:pt idx="5654">
                  <c:v>7.4530000000000003</c:v>
                </c:pt>
                <c:pt idx="5655">
                  <c:v>7.452</c:v>
                </c:pt>
                <c:pt idx="5656">
                  <c:v>7.452</c:v>
                </c:pt>
                <c:pt idx="5657">
                  <c:v>7.452</c:v>
                </c:pt>
                <c:pt idx="5658">
                  <c:v>7.452</c:v>
                </c:pt>
                <c:pt idx="5659">
                  <c:v>7.452</c:v>
                </c:pt>
                <c:pt idx="5660">
                  <c:v>7.452</c:v>
                </c:pt>
                <c:pt idx="5661">
                  <c:v>7.452</c:v>
                </c:pt>
                <c:pt idx="5662">
                  <c:v>7.452</c:v>
                </c:pt>
                <c:pt idx="5663">
                  <c:v>7.452</c:v>
                </c:pt>
                <c:pt idx="5664">
                  <c:v>7.452</c:v>
                </c:pt>
                <c:pt idx="5665">
                  <c:v>7.452</c:v>
                </c:pt>
                <c:pt idx="5666">
                  <c:v>7.4509999999999996</c:v>
                </c:pt>
                <c:pt idx="5667">
                  <c:v>7.452</c:v>
                </c:pt>
                <c:pt idx="5668">
                  <c:v>7.452</c:v>
                </c:pt>
                <c:pt idx="5669">
                  <c:v>7.4509999999999996</c:v>
                </c:pt>
                <c:pt idx="5670">
                  <c:v>7.4509999999999996</c:v>
                </c:pt>
                <c:pt idx="5671">
                  <c:v>7.4509999999999996</c:v>
                </c:pt>
                <c:pt idx="5672">
                  <c:v>7.4509999999999996</c:v>
                </c:pt>
                <c:pt idx="5673">
                  <c:v>7.452</c:v>
                </c:pt>
                <c:pt idx="5674">
                  <c:v>7.4509999999999996</c:v>
                </c:pt>
                <c:pt idx="5675">
                  <c:v>7.4509999999999996</c:v>
                </c:pt>
                <c:pt idx="5676">
                  <c:v>7.4509999999999996</c:v>
                </c:pt>
                <c:pt idx="5677">
                  <c:v>7.4509999999999996</c:v>
                </c:pt>
                <c:pt idx="5678">
                  <c:v>7.4509999999999996</c:v>
                </c:pt>
                <c:pt idx="5679">
                  <c:v>7.4509999999999996</c:v>
                </c:pt>
                <c:pt idx="5680">
                  <c:v>7.4509999999999996</c:v>
                </c:pt>
                <c:pt idx="5681">
                  <c:v>7.4509999999999996</c:v>
                </c:pt>
                <c:pt idx="5682">
                  <c:v>7.4509999999999996</c:v>
                </c:pt>
                <c:pt idx="5683">
                  <c:v>7.45</c:v>
                </c:pt>
                <c:pt idx="5684">
                  <c:v>7.4509999999999996</c:v>
                </c:pt>
                <c:pt idx="5685">
                  <c:v>7.4509999999999996</c:v>
                </c:pt>
                <c:pt idx="5686">
                  <c:v>7.4509999999999996</c:v>
                </c:pt>
                <c:pt idx="5687">
                  <c:v>7.4509999999999996</c:v>
                </c:pt>
                <c:pt idx="5688">
                  <c:v>7.4509999999999996</c:v>
                </c:pt>
                <c:pt idx="5689">
                  <c:v>7.45</c:v>
                </c:pt>
                <c:pt idx="5690">
                  <c:v>7.45</c:v>
                </c:pt>
                <c:pt idx="5691">
                  <c:v>7.45</c:v>
                </c:pt>
                <c:pt idx="5692">
                  <c:v>7.45</c:v>
                </c:pt>
                <c:pt idx="5693">
                  <c:v>7.45</c:v>
                </c:pt>
                <c:pt idx="5694">
                  <c:v>7.45</c:v>
                </c:pt>
                <c:pt idx="5695">
                  <c:v>7.45</c:v>
                </c:pt>
                <c:pt idx="5696">
                  <c:v>7.45</c:v>
                </c:pt>
                <c:pt idx="5697">
                  <c:v>7.45</c:v>
                </c:pt>
                <c:pt idx="5698">
                  <c:v>7.45</c:v>
                </c:pt>
                <c:pt idx="5699">
                  <c:v>7.45</c:v>
                </c:pt>
                <c:pt idx="5700">
                  <c:v>7.45</c:v>
                </c:pt>
                <c:pt idx="5701">
                  <c:v>7.45</c:v>
                </c:pt>
                <c:pt idx="5702">
                  <c:v>7.45</c:v>
                </c:pt>
                <c:pt idx="5703">
                  <c:v>7.4489999999999998</c:v>
                </c:pt>
                <c:pt idx="5704">
                  <c:v>7.4489999999999998</c:v>
                </c:pt>
                <c:pt idx="5705">
                  <c:v>7.4489999999999998</c:v>
                </c:pt>
                <c:pt idx="5706">
                  <c:v>7.4489999999999998</c:v>
                </c:pt>
                <c:pt idx="5707">
                  <c:v>7.45</c:v>
                </c:pt>
                <c:pt idx="5708">
                  <c:v>7.4489999999999998</c:v>
                </c:pt>
                <c:pt idx="5709">
                  <c:v>7.45</c:v>
                </c:pt>
                <c:pt idx="5710">
                  <c:v>7.4489999999999998</c:v>
                </c:pt>
                <c:pt idx="5711">
                  <c:v>7.4489999999999998</c:v>
                </c:pt>
                <c:pt idx="5712">
                  <c:v>7.4489999999999998</c:v>
                </c:pt>
                <c:pt idx="5713">
                  <c:v>7.4489999999999998</c:v>
                </c:pt>
                <c:pt idx="5714">
                  <c:v>7.4489999999999998</c:v>
                </c:pt>
                <c:pt idx="5715">
                  <c:v>7.4489999999999998</c:v>
                </c:pt>
                <c:pt idx="5716">
                  <c:v>7.4489999999999998</c:v>
                </c:pt>
                <c:pt idx="5717">
                  <c:v>7.4489999999999998</c:v>
                </c:pt>
                <c:pt idx="5718">
                  <c:v>7.4489999999999998</c:v>
                </c:pt>
                <c:pt idx="5719">
                  <c:v>7.4489999999999998</c:v>
                </c:pt>
                <c:pt idx="5720">
                  <c:v>7.4489999999999998</c:v>
                </c:pt>
                <c:pt idx="5721">
                  <c:v>7.4489999999999998</c:v>
                </c:pt>
                <c:pt idx="5722">
                  <c:v>7.4480000000000004</c:v>
                </c:pt>
                <c:pt idx="5723">
                  <c:v>7.4480000000000004</c:v>
                </c:pt>
                <c:pt idx="5724">
                  <c:v>7.4480000000000004</c:v>
                </c:pt>
                <c:pt idx="5725">
                  <c:v>7.4489999999999998</c:v>
                </c:pt>
                <c:pt idx="5726">
                  <c:v>7.4489999999999998</c:v>
                </c:pt>
                <c:pt idx="5727">
                  <c:v>7.4489999999999998</c:v>
                </c:pt>
                <c:pt idx="5728">
                  <c:v>7.4480000000000004</c:v>
                </c:pt>
                <c:pt idx="5729">
                  <c:v>7.4480000000000004</c:v>
                </c:pt>
                <c:pt idx="5730">
                  <c:v>7.4480000000000004</c:v>
                </c:pt>
                <c:pt idx="5731">
                  <c:v>7.4480000000000004</c:v>
                </c:pt>
                <c:pt idx="5732">
                  <c:v>7.4480000000000004</c:v>
                </c:pt>
                <c:pt idx="5733">
                  <c:v>7.4480000000000004</c:v>
                </c:pt>
                <c:pt idx="5734">
                  <c:v>7.4480000000000004</c:v>
                </c:pt>
                <c:pt idx="5735">
                  <c:v>7.4480000000000004</c:v>
                </c:pt>
                <c:pt idx="5736">
                  <c:v>7.4480000000000004</c:v>
                </c:pt>
                <c:pt idx="5737">
                  <c:v>7.4480000000000004</c:v>
                </c:pt>
                <c:pt idx="5738">
                  <c:v>7.4480000000000004</c:v>
                </c:pt>
                <c:pt idx="5739">
                  <c:v>7.4470000000000001</c:v>
                </c:pt>
                <c:pt idx="5740">
                  <c:v>7.4470000000000001</c:v>
                </c:pt>
                <c:pt idx="5741">
                  <c:v>7.4480000000000004</c:v>
                </c:pt>
                <c:pt idx="5742">
                  <c:v>7.4470000000000001</c:v>
                </c:pt>
                <c:pt idx="5743">
                  <c:v>7.4480000000000004</c:v>
                </c:pt>
                <c:pt idx="5744">
                  <c:v>7.4470000000000001</c:v>
                </c:pt>
                <c:pt idx="5745">
                  <c:v>7.4470000000000001</c:v>
                </c:pt>
                <c:pt idx="5746">
                  <c:v>7.4480000000000004</c:v>
                </c:pt>
                <c:pt idx="5747">
                  <c:v>7.4470000000000001</c:v>
                </c:pt>
                <c:pt idx="5748">
                  <c:v>7.4470000000000001</c:v>
                </c:pt>
                <c:pt idx="5749">
                  <c:v>7.4470000000000001</c:v>
                </c:pt>
                <c:pt idx="5750">
                  <c:v>7.4470000000000001</c:v>
                </c:pt>
                <c:pt idx="5751">
                  <c:v>7.4470000000000001</c:v>
                </c:pt>
                <c:pt idx="5752">
                  <c:v>7.4470000000000001</c:v>
                </c:pt>
                <c:pt idx="5753">
                  <c:v>7.4470000000000001</c:v>
                </c:pt>
                <c:pt idx="5754">
                  <c:v>7.4470000000000001</c:v>
                </c:pt>
                <c:pt idx="5755">
                  <c:v>7.4470000000000001</c:v>
                </c:pt>
                <c:pt idx="5756">
                  <c:v>7.4470000000000001</c:v>
                </c:pt>
                <c:pt idx="5757">
                  <c:v>7.4470000000000001</c:v>
                </c:pt>
                <c:pt idx="5758">
                  <c:v>7.4470000000000001</c:v>
                </c:pt>
                <c:pt idx="5759">
                  <c:v>7.4459999999999997</c:v>
                </c:pt>
                <c:pt idx="5760">
                  <c:v>7.4470000000000001</c:v>
                </c:pt>
                <c:pt idx="5761">
                  <c:v>7.4459999999999997</c:v>
                </c:pt>
                <c:pt idx="5762">
                  <c:v>7.4470000000000001</c:v>
                </c:pt>
                <c:pt idx="5763">
                  <c:v>7.4459999999999997</c:v>
                </c:pt>
                <c:pt idx="5764">
                  <c:v>7.4459999999999997</c:v>
                </c:pt>
                <c:pt idx="5765">
                  <c:v>7.4470000000000001</c:v>
                </c:pt>
                <c:pt idx="5766">
                  <c:v>7.4470000000000001</c:v>
                </c:pt>
                <c:pt idx="5767">
                  <c:v>7.4459999999999997</c:v>
                </c:pt>
                <c:pt idx="5768">
                  <c:v>7.4459999999999997</c:v>
                </c:pt>
                <c:pt idx="5769">
                  <c:v>7.4459999999999997</c:v>
                </c:pt>
                <c:pt idx="5770">
                  <c:v>7.4459999999999997</c:v>
                </c:pt>
                <c:pt idx="5771">
                  <c:v>7.4459999999999997</c:v>
                </c:pt>
                <c:pt idx="5772">
                  <c:v>7.4459999999999997</c:v>
                </c:pt>
                <c:pt idx="5773">
                  <c:v>7.4459999999999997</c:v>
                </c:pt>
                <c:pt idx="5774">
                  <c:v>7.4459999999999997</c:v>
                </c:pt>
                <c:pt idx="5775">
                  <c:v>7.4459999999999997</c:v>
                </c:pt>
                <c:pt idx="5776">
                  <c:v>7.4459999999999997</c:v>
                </c:pt>
                <c:pt idx="5777">
                  <c:v>7.4459999999999997</c:v>
                </c:pt>
                <c:pt idx="5778">
                  <c:v>7.4450000000000003</c:v>
                </c:pt>
                <c:pt idx="5779">
                  <c:v>7.4450000000000003</c:v>
                </c:pt>
                <c:pt idx="5780">
                  <c:v>7.4459999999999997</c:v>
                </c:pt>
                <c:pt idx="5781">
                  <c:v>7.4450000000000003</c:v>
                </c:pt>
                <c:pt idx="5782">
                  <c:v>7.4450000000000003</c:v>
                </c:pt>
                <c:pt idx="5783">
                  <c:v>7.4450000000000003</c:v>
                </c:pt>
                <c:pt idx="5784">
                  <c:v>7.4450000000000003</c:v>
                </c:pt>
                <c:pt idx="5785">
                  <c:v>7.4450000000000003</c:v>
                </c:pt>
                <c:pt idx="5786">
                  <c:v>7.4450000000000003</c:v>
                </c:pt>
                <c:pt idx="5787">
                  <c:v>7.4450000000000003</c:v>
                </c:pt>
                <c:pt idx="5788">
                  <c:v>7.4450000000000003</c:v>
                </c:pt>
                <c:pt idx="5789">
                  <c:v>7.4450000000000003</c:v>
                </c:pt>
                <c:pt idx="5790">
                  <c:v>7.4450000000000003</c:v>
                </c:pt>
                <c:pt idx="5791">
                  <c:v>7.4450000000000003</c:v>
                </c:pt>
                <c:pt idx="5792">
                  <c:v>7.4450000000000003</c:v>
                </c:pt>
                <c:pt idx="5793">
                  <c:v>7.444</c:v>
                </c:pt>
                <c:pt idx="5794">
                  <c:v>7.444</c:v>
                </c:pt>
                <c:pt idx="5795">
                  <c:v>7.444</c:v>
                </c:pt>
                <c:pt idx="5796">
                  <c:v>7.444</c:v>
                </c:pt>
                <c:pt idx="5797">
                  <c:v>7.444</c:v>
                </c:pt>
                <c:pt idx="5798">
                  <c:v>7.444</c:v>
                </c:pt>
                <c:pt idx="5799">
                  <c:v>7.4450000000000003</c:v>
                </c:pt>
                <c:pt idx="5800">
                  <c:v>7.444</c:v>
                </c:pt>
                <c:pt idx="5801">
                  <c:v>7.444</c:v>
                </c:pt>
                <c:pt idx="5802">
                  <c:v>7.444</c:v>
                </c:pt>
                <c:pt idx="5803">
                  <c:v>7.444</c:v>
                </c:pt>
                <c:pt idx="5804">
                  <c:v>7.444</c:v>
                </c:pt>
                <c:pt idx="5805">
                  <c:v>7.444</c:v>
                </c:pt>
                <c:pt idx="5806">
                  <c:v>7.444</c:v>
                </c:pt>
                <c:pt idx="5807">
                  <c:v>7.4429999999999996</c:v>
                </c:pt>
                <c:pt idx="5808">
                  <c:v>7.444</c:v>
                </c:pt>
                <c:pt idx="5809">
                  <c:v>7.444</c:v>
                </c:pt>
                <c:pt idx="5810">
                  <c:v>7.444</c:v>
                </c:pt>
                <c:pt idx="5811">
                  <c:v>7.444</c:v>
                </c:pt>
                <c:pt idx="5812">
                  <c:v>7.444</c:v>
                </c:pt>
                <c:pt idx="5813">
                  <c:v>7.444</c:v>
                </c:pt>
                <c:pt idx="5814">
                  <c:v>7.444</c:v>
                </c:pt>
                <c:pt idx="5815">
                  <c:v>7.444</c:v>
                </c:pt>
                <c:pt idx="5816">
                  <c:v>7.4429999999999996</c:v>
                </c:pt>
                <c:pt idx="5817">
                  <c:v>7.4429999999999996</c:v>
                </c:pt>
                <c:pt idx="5818">
                  <c:v>7.444</c:v>
                </c:pt>
                <c:pt idx="5819">
                  <c:v>7.4429999999999996</c:v>
                </c:pt>
                <c:pt idx="5820">
                  <c:v>7.4429999999999996</c:v>
                </c:pt>
                <c:pt idx="5821">
                  <c:v>7.444</c:v>
                </c:pt>
                <c:pt idx="5822">
                  <c:v>7.444</c:v>
                </c:pt>
                <c:pt idx="5823">
                  <c:v>7.4429999999999996</c:v>
                </c:pt>
                <c:pt idx="5824">
                  <c:v>7.4429999999999996</c:v>
                </c:pt>
                <c:pt idx="5825">
                  <c:v>7.4429999999999996</c:v>
                </c:pt>
                <c:pt idx="5826">
                  <c:v>7.4429999999999996</c:v>
                </c:pt>
                <c:pt idx="5827">
                  <c:v>7.4429999999999996</c:v>
                </c:pt>
                <c:pt idx="5828">
                  <c:v>7.4429999999999996</c:v>
                </c:pt>
                <c:pt idx="5829">
                  <c:v>7.4429999999999996</c:v>
                </c:pt>
                <c:pt idx="5830">
                  <c:v>7.4429999999999996</c:v>
                </c:pt>
                <c:pt idx="5831">
                  <c:v>7.4429999999999996</c:v>
                </c:pt>
                <c:pt idx="5832">
                  <c:v>7.4429999999999996</c:v>
                </c:pt>
                <c:pt idx="5833">
                  <c:v>7.4429999999999996</c:v>
                </c:pt>
                <c:pt idx="5834">
                  <c:v>7.4429999999999996</c:v>
                </c:pt>
                <c:pt idx="5835">
                  <c:v>7.4420000000000002</c:v>
                </c:pt>
                <c:pt idx="5836">
                  <c:v>7.4420000000000002</c:v>
                </c:pt>
                <c:pt idx="5837">
                  <c:v>7.4420000000000002</c:v>
                </c:pt>
                <c:pt idx="5838">
                  <c:v>7.4429999999999996</c:v>
                </c:pt>
                <c:pt idx="5839">
                  <c:v>7.4420000000000002</c:v>
                </c:pt>
                <c:pt idx="5840">
                  <c:v>7.4420000000000002</c:v>
                </c:pt>
                <c:pt idx="5841">
                  <c:v>7.4420000000000002</c:v>
                </c:pt>
                <c:pt idx="5842">
                  <c:v>7.4420000000000002</c:v>
                </c:pt>
                <c:pt idx="5843">
                  <c:v>7.4420000000000002</c:v>
                </c:pt>
                <c:pt idx="5844">
                  <c:v>7.4420000000000002</c:v>
                </c:pt>
                <c:pt idx="5845">
                  <c:v>7.4420000000000002</c:v>
                </c:pt>
                <c:pt idx="5846">
                  <c:v>7.4420000000000002</c:v>
                </c:pt>
                <c:pt idx="5847">
                  <c:v>7.4420000000000002</c:v>
                </c:pt>
                <c:pt idx="5848">
                  <c:v>7.4420000000000002</c:v>
                </c:pt>
                <c:pt idx="5849">
                  <c:v>7.4420000000000002</c:v>
                </c:pt>
                <c:pt idx="5850">
                  <c:v>7.4420000000000002</c:v>
                </c:pt>
                <c:pt idx="5851">
                  <c:v>7.4420000000000002</c:v>
                </c:pt>
                <c:pt idx="5852">
                  <c:v>7.4420000000000002</c:v>
                </c:pt>
                <c:pt idx="5853">
                  <c:v>7.4420000000000002</c:v>
                </c:pt>
                <c:pt idx="5854">
                  <c:v>7.4420000000000002</c:v>
                </c:pt>
                <c:pt idx="5855">
                  <c:v>7.4420000000000002</c:v>
                </c:pt>
                <c:pt idx="5856">
                  <c:v>7.4409999999999998</c:v>
                </c:pt>
                <c:pt idx="5857">
                  <c:v>7.4409999999999998</c:v>
                </c:pt>
                <c:pt idx="5858">
                  <c:v>7.4409999999999998</c:v>
                </c:pt>
                <c:pt idx="5859">
                  <c:v>7.4409999999999998</c:v>
                </c:pt>
                <c:pt idx="5860">
                  <c:v>7.4409999999999998</c:v>
                </c:pt>
                <c:pt idx="5861">
                  <c:v>7.4409999999999998</c:v>
                </c:pt>
                <c:pt idx="5862">
                  <c:v>7.4409999999999998</c:v>
                </c:pt>
                <c:pt idx="5863">
                  <c:v>7.4409999999999998</c:v>
                </c:pt>
                <c:pt idx="5864">
                  <c:v>7.4409999999999998</c:v>
                </c:pt>
                <c:pt idx="5865">
                  <c:v>7.4409999999999998</c:v>
                </c:pt>
                <c:pt idx="5866">
                  <c:v>7.4409999999999998</c:v>
                </c:pt>
                <c:pt idx="5867">
                  <c:v>7.4409999999999998</c:v>
                </c:pt>
                <c:pt idx="5868">
                  <c:v>7.4409999999999998</c:v>
                </c:pt>
                <c:pt idx="5869">
                  <c:v>7.4409999999999998</c:v>
                </c:pt>
                <c:pt idx="5870">
                  <c:v>7.44</c:v>
                </c:pt>
                <c:pt idx="5871">
                  <c:v>7.4409999999999998</c:v>
                </c:pt>
                <c:pt idx="5872">
                  <c:v>7.4409999999999998</c:v>
                </c:pt>
                <c:pt idx="5873">
                  <c:v>7.44</c:v>
                </c:pt>
                <c:pt idx="5874">
                  <c:v>7.44</c:v>
                </c:pt>
                <c:pt idx="5875">
                  <c:v>7.4409999999999998</c:v>
                </c:pt>
                <c:pt idx="5876">
                  <c:v>7.44</c:v>
                </c:pt>
                <c:pt idx="5877">
                  <c:v>7.44</c:v>
                </c:pt>
                <c:pt idx="5878">
                  <c:v>7.44</c:v>
                </c:pt>
                <c:pt idx="5879">
                  <c:v>7.44</c:v>
                </c:pt>
                <c:pt idx="5880">
                  <c:v>7.44</c:v>
                </c:pt>
                <c:pt idx="5881">
                  <c:v>7.44</c:v>
                </c:pt>
                <c:pt idx="5882">
                  <c:v>7.44</c:v>
                </c:pt>
                <c:pt idx="5883">
                  <c:v>7.44</c:v>
                </c:pt>
                <c:pt idx="5884">
                  <c:v>7.44</c:v>
                </c:pt>
                <c:pt idx="5885">
                  <c:v>7.44</c:v>
                </c:pt>
                <c:pt idx="5886">
                  <c:v>7.4390000000000001</c:v>
                </c:pt>
                <c:pt idx="5887">
                  <c:v>7.4390000000000001</c:v>
                </c:pt>
                <c:pt idx="5888">
                  <c:v>7.44</c:v>
                </c:pt>
                <c:pt idx="5889">
                  <c:v>7.4390000000000001</c:v>
                </c:pt>
                <c:pt idx="5890">
                  <c:v>7.4390000000000001</c:v>
                </c:pt>
                <c:pt idx="5891">
                  <c:v>7.4390000000000001</c:v>
                </c:pt>
                <c:pt idx="5892">
                  <c:v>7.4390000000000001</c:v>
                </c:pt>
                <c:pt idx="5893">
                  <c:v>7.4390000000000001</c:v>
                </c:pt>
                <c:pt idx="5894">
                  <c:v>7.4390000000000001</c:v>
                </c:pt>
                <c:pt idx="5895">
                  <c:v>7.4390000000000001</c:v>
                </c:pt>
                <c:pt idx="5896">
                  <c:v>7.4390000000000001</c:v>
                </c:pt>
                <c:pt idx="5897">
                  <c:v>7.4390000000000001</c:v>
                </c:pt>
                <c:pt idx="5898">
                  <c:v>7.4390000000000001</c:v>
                </c:pt>
                <c:pt idx="5899">
                  <c:v>7.4390000000000001</c:v>
                </c:pt>
                <c:pt idx="5900">
                  <c:v>7.4390000000000001</c:v>
                </c:pt>
                <c:pt idx="5901">
                  <c:v>7.4390000000000001</c:v>
                </c:pt>
                <c:pt idx="5902">
                  <c:v>7.4390000000000001</c:v>
                </c:pt>
                <c:pt idx="5903">
                  <c:v>7.4390000000000001</c:v>
                </c:pt>
                <c:pt idx="5904">
                  <c:v>7.4390000000000001</c:v>
                </c:pt>
                <c:pt idx="5905">
                  <c:v>7.4390000000000001</c:v>
                </c:pt>
                <c:pt idx="5906">
                  <c:v>7.4390000000000001</c:v>
                </c:pt>
                <c:pt idx="5907">
                  <c:v>7.4390000000000001</c:v>
                </c:pt>
                <c:pt idx="5908">
                  <c:v>7.4379999999999997</c:v>
                </c:pt>
                <c:pt idx="5909">
                  <c:v>7.4390000000000001</c:v>
                </c:pt>
                <c:pt idx="5910">
                  <c:v>7.4390000000000001</c:v>
                </c:pt>
                <c:pt idx="5911">
                  <c:v>7.4390000000000001</c:v>
                </c:pt>
                <c:pt idx="5912">
                  <c:v>7.4379999999999997</c:v>
                </c:pt>
                <c:pt idx="5913">
                  <c:v>7.4390000000000001</c:v>
                </c:pt>
                <c:pt idx="5914">
                  <c:v>7.4379999999999997</c:v>
                </c:pt>
                <c:pt idx="5915">
                  <c:v>7.4379999999999997</c:v>
                </c:pt>
                <c:pt idx="5916">
                  <c:v>7.4379999999999997</c:v>
                </c:pt>
                <c:pt idx="5917">
                  <c:v>7.4390000000000001</c:v>
                </c:pt>
                <c:pt idx="5918">
                  <c:v>7.4390000000000001</c:v>
                </c:pt>
                <c:pt idx="5919">
                  <c:v>7.4379999999999997</c:v>
                </c:pt>
                <c:pt idx="5920">
                  <c:v>7.4379999999999997</c:v>
                </c:pt>
                <c:pt idx="5921">
                  <c:v>7.4379999999999997</c:v>
                </c:pt>
                <c:pt idx="5922">
                  <c:v>7.4379999999999997</c:v>
                </c:pt>
                <c:pt idx="5923">
                  <c:v>7.4379999999999997</c:v>
                </c:pt>
                <c:pt idx="5924">
                  <c:v>7.4379999999999997</c:v>
                </c:pt>
                <c:pt idx="5925">
                  <c:v>7.4379999999999997</c:v>
                </c:pt>
                <c:pt idx="5926">
                  <c:v>7.4379999999999997</c:v>
                </c:pt>
                <c:pt idx="5927">
                  <c:v>7.4379999999999997</c:v>
                </c:pt>
                <c:pt idx="5928">
                  <c:v>7.4379999999999997</c:v>
                </c:pt>
                <c:pt idx="5929">
                  <c:v>7.4379999999999997</c:v>
                </c:pt>
                <c:pt idx="5930">
                  <c:v>7.4379999999999997</c:v>
                </c:pt>
                <c:pt idx="5931">
                  <c:v>7.4379999999999997</c:v>
                </c:pt>
                <c:pt idx="5932">
                  <c:v>7.4379999999999997</c:v>
                </c:pt>
                <c:pt idx="5933">
                  <c:v>7.4379999999999997</c:v>
                </c:pt>
                <c:pt idx="5934">
                  <c:v>7.4379999999999997</c:v>
                </c:pt>
                <c:pt idx="5935">
                  <c:v>7.4379999999999997</c:v>
                </c:pt>
                <c:pt idx="5936">
                  <c:v>7.4370000000000003</c:v>
                </c:pt>
                <c:pt idx="5937">
                  <c:v>7.4370000000000003</c:v>
                </c:pt>
                <c:pt idx="5938">
                  <c:v>7.4370000000000003</c:v>
                </c:pt>
                <c:pt idx="5939">
                  <c:v>7.4370000000000003</c:v>
                </c:pt>
                <c:pt idx="5940">
                  <c:v>7.4370000000000003</c:v>
                </c:pt>
                <c:pt idx="5941">
                  <c:v>7.4370000000000003</c:v>
                </c:pt>
                <c:pt idx="5942">
                  <c:v>7.4370000000000003</c:v>
                </c:pt>
                <c:pt idx="5943">
                  <c:v>7.4370000000000003</c:v>
                </c:pt>
                <c:pt idx="5944">
                  <c:v>7.4370000000000003</c:v>
                </c:pt>
                <c:pt idx="5945">
                  <c:v>7.4370000000000003</c:v>
                </c:pt>
                <c:pt idx="5946">
                  <c:v>7.4370000000000003</c:v>
                </c:pt>
                <c:pt idx="5947">
                  <c:v>7.4370000000000003</c:v>
                </c:pt>
                <c:pt idx="5948">
                  <c:v>7.4370000000000003</c:v>
                </c:pt>
                <c:pt idx="5949">
                  <c:v>7.4359999999999999</c:v>
                </c:pt>
                <c:pt idx="5950">
                  <c:v>7.4370000000000003</c:v>
                </c:pt>
                <c:pt idx="5951">
                  <c:v>7.4359999999999999</c:v>
                </c:pt>
                <c:pt idx="5952">
                  <c:v>7.4359999999999999</c:v>
                </c:pt>
                <c:pt idx="5953">
                  <c:v>7.4359999999999999</c:v>
                </c:pt>
                <c:pt idx="5954">
                  <c:v>7.4359999999999999</c:v>
                </c:pt>
                <c:pt idx="5955">
                  <c:v>7.4359999999999999</c:v>
                </c:pt>
                <c:pt idx="5956">
                  <c:v>7.4359999999999999</c:v>
                </c:pt>
                <c:pt idx="5957">
                  <c:v>7.4359999999999999</c:v>
                </c:pt>
                <c:pt idx="5958">
                  <c:v>7.4349999999999996</c:v>
                </c:pt>
                <c:pt idx="5959">
                  <c:v>7.4349999999999996</c:v>
                </c:pt>
                <c:pt idx="5960">
                  <c:v>7.4349999999999996</c:v>
                </c:pt>
                <c:pt idx="5961">
                  <c:v>7.4349999999999996</c:v>
                </c:pt>
                <c:pt idx="5962">
                  <c:v>7.4349999999999996</c:v>
                </c:pt>
                <c:pt idx="5963">
                  <c:v>7.4349999999999996</c:v>
                </c:pt>
                <c:pt idx="5964">
                  <c:v>7.4340000000000002</c:v>
                </c:pt>
                <c:pt idx="5965">
                  <c:v>7.4340000000000002</c:v>
                </c:pt>
                <c:pt idx="5966">
                  <c:v>7.4340000000000002</c:v>
                </c:pt>
                <c:pt idx="5967">
                  <c:v>7.4340000000000002</c:v>
                </c:pt>
                <c:pt idx="5968">
                  <c:v>7.4340000000000002</c:v>
                </c:pt>
                <c:pt idx="5969">
                  <c:v>7.4340000000000002</c:v>
                </c:pt>
                <c:pt idx="5970">
                  <c:v>7.4340000000000002</c:v>
                </c:pt>
                <c:pt idx="5971">
                  <c:v>7.4340000000000002</c:v>
                </c:pt>
                <c:pt idx="5972">
                  <c:v>7.4340000000000002</c:v>
                </c:pt>
                <c:pt idx="5973">
                  <c:v>7.4340000000000002</c:v>
                </c:pt>
                <c:pt idx="5974">
                  <c:v>7.4340000000000002</c:v>
                </c:pt>
                <c:pt idx="5975">
                  <c:v>7.4329999999999998</c:v>
                </c:pt>
                <c:pt idx="5976">
                  <c:v>7.4329999999999998</c:v>
                </c:pt>
                <c:pt idx="5977">
                  <c:v>7.4329999999999998</c:v>
                </c:pt>
                <c:pt idx="5978">
                  <c:v>7.4329999999999998</c:v>
                </c:pt>
                <c:pt idx="5979">
                  <c:v>7.4329999999999998</c:v>
                </c:pt>
                <c:pt idx="5980">
                  <c:v>7.4329999999999998</c:v>
                </c:pt>
                <c:pt idx="5981">
                  <c:v>7.4329999999999998</c:v>
                </c:pt>
                <c:pt idx="5982">
                  <c:v>7.4329999999999998</c:v>
                </c:pt>
                <c:pt idx="5983">
                  <c:v>7.4329999999999998</c:v>
                </c:pt>
                <c:pt idx="5984">
                  <c:v>7.4329999999999998</c:v>
                </c:pt>
                <c:pt idx="5985">
                  <c:v>7.4320000000000004</c:v>
                </c:pt>
                <c:pt idx="5986">
                  <c:v>7.4320000000000004</c:v>
                </c:pt>
                <c:pt idx="5987">
                  <c:v>7.4320000000000004</c:v>
                </c:pt>
                <c:pt idx="5988">
                  <c:v>7.4320000000000004</c:v>
                </c:pt>
                <c:pt idx="5989">
                  <c:v>7.4320000000000004</c:v>
                </c:pt>
                <c:pt idx="5990">
                  <c:v>7.4320000000000004</c:v>
                </c:pt>
                <c:pt idx="5991">
                  <c:v>7.4320000000000004</c:v>
                </c:pt>
                <c:pt idx="5992">
                  <c:v>7.4320000000000004</c:v>
                </c:pt>
                <c:pt idx="5993">
                  <c:v>7.4320000000000004</c:v>
                </c:pt>
                <c:pt idx="5994">
                  <c:v>7.4320000000000004</c:v>
                </c:pt>
                <c:pt idx="5995">
                  <c:v>7.431</c:v>
                </c:pt>
                <c:pt idx="5996">
                  <c:v>7.431</c:v>
                </c:pt>
                <c:pt idx="5997">
                  <c:v>7.431</c:v>
                </c:pt>
                <c:pt idx="5998">
                  <c:v>7.431</c:v>
                </c:pt>
                <c:pt idx="5999">
                  <c:v>7.431</c:v>
                </c:pt>
                <c:pt idx="6000">
                  <c:v>7.431</c:v>
                </c:pt>
                <c:pt idx="6001">
                  <c:v>7.431</c:v>
                </c:pt>
                <c:pt idx="6002">
                  <c:v>7.431</c:v>
                </c:pt>
                <c:pt idx="6003">
                  <c:v>7.431</c:v>
                </c:pt>
                <c:pt idx="6004">
                  <c:v>7.43</c:v>
                </c:pt>
                <c:pt idx="6005">
                  <c:v>7.43</c:v>
                </c:pt>
                <c:pt idx="6006">
                  <c:v>7.43</c:v>
                </c:pt>
                <c:pt idx="6007">
                  <c:v>7.43</c:v>
                </c:pt>
                <c:pt idx="6008">
                  <c:v>7.43</c:v>
                </c:pt>
                <c:pt idx="6009">
                  <c:v>7.43</c:v>
                </c:pt>
                <c:pt idx="6010">
                  <c:v>7.43</c:v>
                </c:pt>
                <c:pt idx="6011">
                  <c:v>7.43</c:v>
                </c:pt>
                <c:pt idx="6012">
                  <c:v>7.43</c:v>
                </c:pt>
                <c:pt idx="6013">
                  <c:v>7.43</c:v>
                </c:pt>
                <c:pt idx="6014">
                  <c:v>7.43</c:v>
                </c:pt>
                <c:pt idx="6015">
                  <c:v>7.43</c:v>
                </c:pt>
                <c:pt idx="6016">
                  <c:v>7.43</c:v>
                </c:pt>
                <c:pt idx="6017">
                  <c:v>7.43</c:v>
                </c:pt>
                <c:pt idx="6018">
                  <c:v>7.4290000000000003</c:v>
                </c:pt>
                <c:pt idx="6019">
                  <c:v>7.4290000000000003</c:v>
                </c:pt>
                <c:pt idx="6020">
                  <c:v>7.43</c:v>
                </c:pt>
                <c:pt idx="6021">
                  <c:v>7.43</c:v>
                </c:pt>
                <c:pt idx="6022">
                  <c:v>7.4290000000000003</c:v>
                </c:pt>
                <c:pt idx="6023">
                  <c:v>7.4290000000000003</c:v>
                </c:pt>
                <c:pt idx="6024">
                  <c:v>7.4290000000000003</c:v>
                </c:pt>
                <c:pt idx="6025">
                  <c:v>7.4290000000000003</c:v>
                </c:pt>
                <c:pt idx="6026">
                  <c:v>7.4290000000000003</c:v>
                </c:pt>
                <c:pt idx="6027">
                  <c:v>7.4290000000000003</c:v>
                </c:pt>
                <c:pt idx="6028">
                  <c:v>7.4290000000000003</c:v>
                </c:pt>
                <c:pt idx="6029">
                  <c:v>7.43</c:v>
                </c:pt>
                <c:pt idx="6030">
                  <c:v>7.4290000000000003</c:v>
                </c:pt>
                <c:pt idx="6031">
                  <c:v>7.43</c:v>
                </c:pt>
                <c:pt idx="6032">
                  <c:v>7.43</c:v>
                </c:pt>
                <c:pt idx="6033">
                  <c:v>7.43</c:v>
                </c:pt>
                <c:pt idx="6034">
                  <c:v>7.43</c:v>
                </c:pt>
                <c:pt idx="6035">
                  <c:v>7.43</c:v>
                </c:pt>
                <c:pt idx="6036">
                  <c:v>7.431</c:v>
                </c:pt>
                <c:pt idx="6037">
                  <c:v>7.431</c:v>
                </c:pt>
                <c:pt idx="6038">
                  <c:v>7.431</c:v>
                </c:pt>
                <c:pt idx="6039">
                  <c:v>7.431</c:v>
                </c:pt>
                <c:pt idx="6040">
                  <c:v>7.431</c:v>
                </c:pt>
                <c:pt idx="6041">
                  <c:v>7.4320000000000004</c:v>
                </c:pt>
                <c:pt idx="6042">
                  <c:v>7.4320000000000004</c:v>
                </c:pt>
                <c:pt idx="6043">
                  <c:v>7.431</c:v>
                </c:pt>
                <c:pt idx="6044">
                  <c:v>7.431</c:v>
                </c:pt>
                <c:pt idx="6045">
                  <c:v>7.431</c:v>
                </c:pt>
                <c:pt idx="6046">
                  <c:v>7.4320000000000004</c:v>
                </c:pt>
                <c:pt idx="6047">
                  <c:v>7.4320000000000004</c:v>
                </c:pt>
                <c:pt idx="6048">
                  <c:v>7.431</c:v>
                </c:pt>
                <c:pt idx="6049">
                  <c:v>7.4320000000000004</c:v>
                </c:pt>
                <c:pt idx="6050">
                  <c:v>7.431</c:v>
                </c:pt>
                <c:pt idx="6051">
                  <c:v>7.431</c:v>
                </c:pt>
                <c:pt idx="6052">
                  <c:v>7.431</c:v>
                </c:pt>
                <c:pt idx="6053">
                  <c:v>7.431</c:v>
                </c:pt>
                <c:pt idx="6054">
                  <c:v>7.431</c:v>
                </c:pt>
                <c:pt idx="6055">
                  <c:v>7.431</c:v>
                </c:pt>
                <c:pt idx="6056">
                  <c:v>7.431</c:v>
                </c:pt>
                <c:pt idx="6057">
                  <c:v>7.431</c:v>
                </c:pt>
                <c:pt idx="6058">
                  <c:v>7.431</c:v>
                </c:pt>
                <c:pt idx="6059">
                  <c:v>7.431</c:v>
                </c:pt>
                <c:pt idx="6060">
                  <c:v>7.431</c:v>
                </c:pt>
                <c:pt idx="6061">
                  <c:v>7.43</c:v>
                </c:pt>
                <c:pt idx="6062">
                  <c:v>7.43</c:v>
                </c:pt>
                <c:pt idx="6063">
                  <c:v>7.43</c:v>
                </c:pt>
                <c:pt idx="6064">
                  <c:v>7.43</c:v>
                </c:pt>
                <c:pt idx="6065">
                  <c:v>7.431</c:v>
                </c:pt>
                <c:pt idx="6066">
                  <c:v>7.431</c:v>
                </c:pt>
                <c:pt idx="6067">
                  <c:v>7.43</c:v>
                </c:pt>
                <c:pt idx="6068">
                  <c:v>7.43</c:v>
                </c:pt>
                <c:pt idx="6069">
                  <c:v>7.43</c:v>
                </c:pt>
                <c:pt idx="6070">
                  <c:v>7.43</c:v>
                </c:pt>
                <c:pt idx="6071">
                  <c:v>7.43</c:v>
                </c:pt>
                <c:pt idx="6072">
                  <c:v>7.43</c:v>
                </c:pt>
                <c:pt idx="6073">
                  <c:v>7.43</c:v>
                </c:pt>
                <c:pt idx="6074">
                  <c:v>7.43</c:v>
                </c:pt>
                <c:pt idx="6075">
                  <c:v>7.43</c:v>
                </c:pt>
                <c:pt idx="6076">
                  <c:v>7.43</c:v>
                </c:pt>
                <c:pt idx="6077">
                  <c:v>7.43</c:v>
                </c:pt>
                <c:pt idx="6078">
                  <c:v>7.4290000000000003</c:v>
                </c:pt>
                <c:pt idx="6079">
                  <c:v>7.43</c:v>
                </c:pt>
                <c:pt idx="6080">
                  <c:v>7.4290000000000003</c:v>
                </c:pt>
                <c:pt idx="6081">
                  <c:v>7.4290000000000003</c:v>
                </c:pt>
                <c:pt idx="6082">
                  <c:v>7.4290000000000003</c:v>
                </c:pt>
                <c:pt idx="6083">
                  <c:v>7.4290000000000003</c:v>
                </c:pt>
                <c:pt idx="6084">
                  <c:v>7.4290000000000003</c:v>
                </c:pt>
                <c:pt idx="6085">
                  <c:v>7.4290000000000003</c:v>
                </c:pt>
                <c:pt idx="6086">
                  <c:v>7.4290000000000003</c:v>
                </c:pt>
                <c:pt idx="6087">
                  <c:v>7.4290000000000003</c:v>
                </c:pt>
                <c:pt idx="6088">
                  <c:v>7.4290000000000003</c:v>
                </c:pt>
                <c:pt idx="6089">
                  <c:v>7.4279999999999999</c:v>
                </c:pt>
                <c:pt idx="6090">
                  <c:v>7.4290000000000003</c:v>
                </c:pt>
                <c:pt idx="6091">
                  <c:v>7.4279999999999999</c:v>
                </c:pt>
                <c:pt idx="6092">
                  <c:v>7.4279999999999999</c:v>
                </c:pt>
                <c:pt idx="6093">
                  <c:v>7.4279999999999999</c:v>
                </c:pt>
                <c:pt idx="6094">
                  <c:v>7.4279999999999999</c:v>
                </c:pt>
                <c:pt idx="6095">
                  <c:v>7.4279999999999999</c:v>
                </c:pt>
                <c:pt idx="6096">
                  <c:v>7.4279999999999999</c:v>
                </c:pt>
                <c:pt idx="6097">
                  <c:v>7.4279999999999999</c:v>
                </c:pt>
                <c:pt idx="6098">
                  <c:v>7.4279999999999999</c:v>
                </c:pt>
                <c:pt idx="6099">
                  <c:v>7.4269999999999996</c:v>
                </c:pt>
                <c:pt idx="6100">
                  <c:v>7.4279999999999999</c:v>
                </c:pt>
                <c:pt idx="6101">
                  <c:v>7.4269999999999996</c:v>
                </c:pt>
                <c:pt idx="6102">
                  <c:v>7.4269999999999996</c:v>
                </c:pt>
                <c:pt idx="6103">
                  <c:v>7.4269999999999996</c:v>
                </c:pt>
                <c:pt idx="6104">
                  <c:v>7.4269999999999996</c:v>
                </c:pt>
                <c:pt idx="6105">
                  <c:v>7.4269999999999996</c:v>
                </c:pt>
                <c:pt idx="6106">
                  <c:v>7.4269999999999996</c:v>
                </c:pt>
                <c:pt idx="6107">
                  <c:v>7.4269999999999996</c:v>
                </c:pt>
                <c:pt idx="6108">
                  <c:v>7.4269999999999996</c:v>
                </c:pt>
                <c:pt idx="6109">
                  <c:v>7.4269999999999996</c:v>
                </c:pt>
                <c:pt idx="6110">
                  <c:v>7.4269999999999996</c:v>
                </c:pt>
                <c:pt idx="6111">
                  <c:v>7.4269999999999996</c:v>
                </c:pt>
                <c:pt idx="6112">
                  <c:v>7.4260000000000002</c:v>
                </c:pt>
                <c:pt idx="6113">
                  <c:v>7.4260000000000002</c:v>
                </c:pt>
                <c:pt idx="6114">
                  <c:v>7.4260000000000002</c:v>
                </c:pt>
                <c:pt idx="6115">
                  <c:v>7.4260000000000002</c:v>
                </c:pt>
                <c:pt idx="6116">
                  <c:v>7.4260000000000002</c:v>
                </c:pt>
                <c:pt idx="6117">
                  <c:v>7.4260000000000002</c:v>
                </c:pt>
                <c:pt idx="6118">
                  <c:v>7.4260000000000002</c:v>
                </c:pt>
                <c:pt idx="6119">
                  <c:v>7.4260000000000002</c:v>
                </c:pt>
                <c:pt idx="6120">
                  <c:v>7.4260000000000002</c:v>
                </c:pt>
                <c:pt idx="6121">
                  <c:v>7.4260000000000002</c:v>
                </c:pt>
                <c:pt idx="6122">
                  <c:v>7.4260000000000002</c:v>
                </c:pt>
                <c:pt idx="6123">
                  <c:v>7.4260000000000002</c:v>
                </c:pt>
                <c:pt idx="6124">
                  <c:v>7.4260000000000002</c:v>
                </c:pt>
                <c:pt idx="6125">
                  <c:v>7.4260000000000002</c:v>
                </c:pt>
                <c:pt idx="6126">
                  <c:v>7.4260000000000002</c:v>
                </c:pt>
                <c:pt idx="6127">
                  <c:v>7.4260000000000002</c:v>
                </c:pt>
                <c:pt idx="6128">
                  <c:v>7.4260000000000002</c:v>
                </c:pt>
                <c:pt idx="6129">
                  <c:v>7.4260000000000002</c:v>
                </c:pt>
                <c:pt idx="6130">
                  <c:v>7.4260000000000002</c:v>
                </c:pt>
                <c:pt idx="6131">
                  <c:v>7.4249999999999998</c:v>
                </c:pt>
                <c:pt idx="6132">
                  <c:v>7.4249999999999998</c:v>
                </c:pt>
                <c:pt idx="6133">
                  <c:v>7.4249999999999998</c:v>
                </c:pt>
                <c:pt idx="6134">
                  <c:v>7.4249999999999998</c:v>
                </c:pt>
                <c:pt idx="6135">
                  <c:v>7.4249999999999998</c:v>
                </c:pt>
                <c:pt idx="6136">
                  <c:v>7.4249999999999998</c:v>
                </c:pt>
                <c:pt idx="6137">
                  <c:v>7.4249999999999998</c:v>
                </c:pt>
                <c:pt idx="6138">
                  <c:v>7.4249999999999998</c:v>
                </c:pt>
                <c:pt idx="6139">
                  <c:v>7.4249999999999998</c:v>
                </c:pt>
                <c:pt idx="6140">
                  <c:v>7.4249999999999998</c:v>
                </c:pt>
                <c:pt idx="6141">
                  <c:v>7.4249999999999998</c:v>
                </c:pt>
                <c:pt idx="6142">
                  <c:v>7.4249999999999998</c:v>
                </c:pt>
                <c:pt idx="6143">
                  <c:v>7.4249999999999998</c:v>
                </c:pt>
                <c:pt idx="6144">
                  <c:v>7.4249999999999998</c:v>
                </c:pt>
                <c:pt idx="6145">
                  <c:v>7.4249999999999998</c:v>
                </c:pt>
                <c:pt idx="6146">
                  <c:v>7.4249999999999998</c:v>
                </c:pt>
                <c:pt idx="6147">
                  <c:v>7.4240000000000004</c:v>
                </c:pt>
                <c:pt idx="6148">
                  <c:v>7.4249999999999998</c:v>
                </c:pt>
                <c:pt idx="6149">
                  <c:v>7.4240000000000004</c:v>
                </c:pt>
                <c:pt idx="6150">
                  <c:v>7.4240000000000004</c:v>
                </c:pt>
                <c:pt idx="6151">
                  <c:v>7.4240000000000004</c:v>
                </c:pt>
                <c:pt idx="6152">
                  <c:v>7.4240000000000004</c:v>
                </c:pt>
                <c:pt idx="6153">
                  <c:v>7.4240000000000004</c:v>
                </c:pt>
                <c:pt idx="6154">
                  <c:v>7.4240000000000004</c:v>
                </c:pt>
                <c:pt idx="6155">
                  <c:v>7.4240000000000004</c:v>
                </c:pt>
                <c:pt idx="6156">
                  <c:v>7.4240000000000004</c:v>
                </c:pt>
                <c:pt idx="6157">
                  <c:v>7.4240000000000004</c:v>
                </c:pt>
                <c:pt idx="6158">
                  <c:v>7.4240000000000004</c:v>
                </c:pt>
                <c:pt idx="6159">
                  <c:v>7.4240000000000004</c:v>
                </c:pt>
                <c:pt idx="6160">
                  <c:v>7.4240000000000004</c:v>
                </c:pt>
                <c:pt idx="6161">
                  <c:v>7.4240000000000004</c:v>
                </c:pt>
                <c:pt idx="6162">
                  <c:v>7.4240000000000004</c:v>
                </c:pt>
                <c:pt idx="6163">
                  <c:v>7.4240000000000004</c:v>
                </c:pt>
                <c:pt idx="6164">
                  <c:v>7.4240000000000004</c:v>
                </c:pt>
                <c:pt idx="6165">
                  <c:v>7.423</c:v>
                </c:pt>
                <c:pt idx="6166">
                  <c:v>7.423</c:v>
                </c:pt>
                <c:pt idx="6167">
                  <c:v>7.423</c:v>
                </c:pt>
                <c:pt idx="6168">
                  <c:v>7.423</c:v>
                </c:pt>
                <c:pt idx="6169">
                  <c:v>7.423</c:v>
                </c:pt>
                <c:pt idx="6170">
                  <c:v>7.4240000000000004</c:v>
                </c:pt>
                <c:pt idx="6171">
                  <c:v>7.423</c:v>
                </c:pt>
                <c:pt idx="6172">
                  <c:v>7.4240000000000004</c:v>
                </c:pt>
                <c:pt idx="6173">
                  <c:v>7.423</c:v>
                </c:pt>
                <c:pt idx="6174">
                  <c:v>7.423</c:v>
                </c:pt>
                <c:pt idx="6175">
                  <c:v>7.423</c:v>
                </c:pt>
                <c:pt idx="6176">
                  <c:v>7.423</c:v>
                </c:pt>
                <c:pt idx="6177">
                  <c:v>7.423</c:v>
                </c:pt>
                <c:pt idx="6178">
                  <c:v>7.423</c:v>
                </c:pt>
                <c:pt idx="6179">
                  <c:v>7.423</c:v>
                </c:pt>
                <c:pt idx="6180">
                  <c:v>7.423</c:v>
                </c:pt>
                <c:pt idx="6181">
                  <c:v>7.423</c:v>
                </c:pt>
                <c:pt idx="6182">
                  <c:v>7.423</c:v>
                </c:pt>
                <c:pt idx="6183">
                  <c:v>7.423</c:v>
                </c:pt>
                <c:pt idx="6184">
                  <c:v>7.423</c:v>
                </c:pt>
                <c:pt idx="6185">
                  <c:v>7.423</c:v>
                </c:pt>
                <c:pt idx="6186">
                  <c:v>7.423</c:v>
                </c:pt>
                <c:pt idx="6187">
                  <c:v>7.423</c:v>
                </c:pt>
                <c:pt idx="6188">
                  <c:v>7.423</c:v>
                </c:pt>
                <c:pt idx="6189">
                  <c:v>7.4219999999999997</c:v>
                </c:pt>
                <c:pt idx="6190">
                  <c:v>7.4219999999999997</c:v>
                </c:pt>
                <c:pt idx="6191">
                  <c:v>7.4219999999999997</c:v>
                </c:pt>
                <c:pt idx="6192">
                  <c:v>7.4219999999999997</c:v>
                </c:pt>
                <c:pt idx="6193">
                  <c:v>7.4219999999999997</c:v>
                </c:pt>
                <c:pt idx="6194">
                  <c:v>7.4219999999999997</c:v>
                </c:pt>
                <c:pt idx="6195">
                  <c:v>7.4219999999999997</c:v>
                </c:pt>
                <c:pt idx="6196">
                  <c:v>7.4219999999999997</c:v>
                </c:pt>
                <c:pt idx="6197">
                  <c:v>7.4219999999999997</c:v>
                </c:pt>
                <c:pt idx="6198">
                  <c:v>7.4219999999999997</c:v>
                </c:pt>
                <c:pt idx="6199">
                  <c:v>7.4210000000000003</c:v>
                </c:pt>
                <c:pt idx="6200">
                  <c:v>7.4210000000000003</c:v>
                </c:pt>
                <c:pt idx="6201">
                  <c:v>7.4210000000000003</c:v>
                </c:pt>
                <c:pt idx="6202">
                  <c:v>7.4210000000000003</c:v>
                </c:pt>
                <c:pt idx="6203">
                  <c:v>7.4210000000000003</c:v>
                </c:pt>
                <c:pt idx="6204">
                  <c:v>7.4210000000000003</c:v>
                </c:pt>
                <c:pt idx="6205">
                  <c:v>7.4210000000000003</c:v>
                </c:pt>
                <c:pt idx="6206">
                  <c:v>7.4210000000000003</c:v>
                </c:pt>
                <c:pt idx="6207">
                  <c:v>7.4210000000000003</c:v>
                </c:pt>
                <c:pt idx="6208">
                  <c:v>7.4210000000000003</c:v>
                </c:pt>
                <c:pt idx="6209">
                  <c:v>7.4210000000000003</c:v>
                </c:pt>
                <c:pt idx="6210">
                  <c:v>7.4210000000000003</c:v>
                </c:pt>
                <c:pt idx="6211">
                  <c:v>7.4210000000000003</c:v>
                </c:pt>
                <c:pt idx="6212">
                  <c:v>7.42</c:v>
                </c:pt>
                <c:pt idx="6213">
                  <c:v>7.4210000000000003</c:v>
                </c:pt>
                <c:pt idx="6214">
                  <c:v>7.4210000000000003</c:v>
                </c:pt>
                <c:pt idx="6215">
                  <c:v>7.4210000000000003</c:v>
                </c:pt>
                <c:pt idx="6216">
                  <c:v>7.42</c:v>
                </c:pt>
                <c:pt idx="6217">
                  <c:v>7.42</c:v>
                </c:pt>
                <c:pt idx="6218">
                  <c:v>7.42</c:v>
                </c:pt>
                <c:pt idx="6219">
                  <c:v>7.42</c:v>
                </c:pt>
                <c:pt idx="6220">
                  <c:v>7.42</c:v>
                </c:pt>
                <c:pt idx="6221">
                  <c:v>7.42</c:v>
                </c:pt>
                <c:pt idx="6222">
                  <c:v>7.42</c:v>
                </c:pt>
                <c:pt idx="6223">
                  <c:v>7.42</c:v>
                </c:pt>
                <c:pt idx="6224">
                  <c:v>7.42</c:v>
                </c:pt>
                <c:pt idx="6225">
                  <c:v>7.42</c:v>
                </c:pt>
                <c:pt idx="6226">
                  <c:v>7.42</c:v>
                </c:pt>
                <c:pt idx="6227">
                  <c:v>7.42</c:v>
                </c:pt>
                <c:pt idx="6228">
                  <c:v>7.42</c:v>
                </c:pt>
                <c:pt idx="6229">
                  <c:v>7.42</c:v>
                </c:pt>
                <c:pt idx="6230">
                  <c:v>7.4189999999999996</c:v>
                </c:pt>
                <c:pt idx="6231">
                  <c:v>7.4189999999999996</c:v>
                </c:pt>
                <c:pt idx="6232">
                  <c:v>7.4189999999999996</c:v>
                </c:pt>
                <c:pt idx="6233">
                  <c:v>7.4189999999999996</c:v>
                </c:pt>
                <c:pt idx="6234">
                  <c:v>7.4189999999999996</c:v>
                </c:pt>
                <c:pt idx="6235">
                  <c:v>7.4189999999999996</c:v>
                </c:pt>
                <c:pt idx="6236">
                  <c:v>7.4189999999999996</c:v>
                </c:pt>
                <c:pt idx="6237">
                  <c:v>7.4189999999999996</c:v>
                </c:pt>
                <c:pt idx="6238">
                  <c:v>7.4189999999999996</c:v>
                </c:pt>
                <c:pt idx="6239">
                  <c:v>7.4180000000000001</c:v>
                </c:pt>
                <c:pt idx="6240">
                  <c:v>7.4180000000000001</c:v>
                </c:pt>
                <c:pt idx="6241">
                  <c:v>7.4180000000000001</c:v>
                </c:pt>
                <c:pt idx="6242">
                  <c:v>7.4180000000000001</c:v>
                </c:pt>
                <c:pt idx="6243">
                  <c:v>7.4180000000000001</c:v>
                </c:pt>
                <c:pt idx="6244">
                  <c:v>7.4180000000000001</c:v>
                </c:pt>
                <c:pt idx="6245">
                  <c:v>7.4180000000000001</c:v>
                </c:pt>
                <c:pt idx="6246">
                  <c:v>7.4180000000000001</c:v>
                </c:pt>
                <c:pt idx="6247">
                  <c:v>7.4180000000000001</c:v>
                </c:pt>
                <c:pt idx="6248">
                  <c:v>7.4180000000000001</c:v>
                </c:pt>
                <c:pt idx="6249">
                  <c:v>7.4169999999999998</c:v>
                </c:pt>
                <c:pt idx="6250">
                  <c:v>7.4180000000000001</c:v>
                </c:pt>
                <c:pt idx="6251">
                  <c:v>7.4169999999999998</c:v>
                </c:pt>
                <c:pt idx="6252">
                  <c:v>7.4169999999999998</c:v>
                </c:pt>
                <c:pt idx="6253">
                  <c:v>7.4169999999999998</c:v>
                </c:pt>
                <c:pt idx="6254">
                  <c:v>7.4169999999999998</c:v>
                </c:pt>
                <c:pt idx="6255">
                  <c:v>7.4169999999999998</c:v>
                </c:pt>
                <c:pt idx="6256">
                  <c:v>7.4169999999999998</c:v>
                </c:pt>
                <c:pt idx="6257">
                  <c:v>7.4169999999999998</c:v>
                </c:pt>
                <c:pt idx="6258">
                  <c:v>7.4169999999999998</c:v>
                </c:pt>
                <c:pt idx="6259">
                  <c:v>7.4169999999999998</c:v>
                </c:pt>
                <c:pt idx="6260">
                  <c:v>7.4160000000000004</c:v>
                </c:pt>
                <c:pt idx="6261">
                  <c:v>7.4160000000000004</c:v>
                </c:pt>
                <c:pt idx="6262">
                  <c:v>7.4160000000000004</c:v>
                </c:pt>
                <c:pt idx="6263">
                  <c:v>7.4160000000000004</c:v>
                </c:pt>
                <c:pt idx="6264">
                  <c:v>7.4160000000000004</c:v>
                </c:pt>
                <c:pt idx="6265">
                  <c:v>7.4160000000000004</c:v>
                </c:pt>
                <c:pt idx="6266">
                  <c:v>7.4160000000000004</c:v>
                </c:pt>
                <c:pt idx="6267">
                  <c:v>7.4160000000000004</c:v>
                </c:pt>
                <c:pt idx="6268">
                  <c:v>7.4160000000000004</c:v>
                </c:pt>
                <c:pt idx="6269">
                  <c:v>7.4160000000000004</c:v>
                </c:pt>
                <c:pt idx="6270">
                  <c:v>7.4160000000000004</c:v>
                </c:pt>
                <c:pt idx="6271">
                  <c:v>7.4160000000000004</c:v>
                </c:pt>
                <c:pt idx="6272">
                  <c:v>7.415</c:v>
                </c:pt>
                <c:pt idx="6273">
                  <c:v>7.4160000000000004</c:v>
                </c:pt>
                <c:pt idx="6274">
                  <c:v>7.415</c:v>
                </c:pt>
                <c:pt idx="6275">
                  <c:v>7.415</c:v>
                </c:pt>
                <c:pt idx="6276">
                  <c:v>7.415</c:v>
                </c:pt>
                <c:pt idx="6277">
                  <c:v>7.415</c:v>
                </c:pt>
                <c:pt idx="6278">
                  <c:v>7.415</c:v>
                </c:pt>
                <c:pt idx="6279">
                  <c:v>7.415</c:v>
                </c:pt>
                <c:pt idx="6280">
                  <c:v>7.415</c:v>
                </c:pt>
                <c:pt idx="6281">
                  <c:v>7.415</c:v>
                </c:pt>
                <c:pt idx="6282">
                  <c:v>7.415</c:v>
                </c:pt>
                <c:pt idx="6283">
                  <c:v>7.415</c:v>
                </c:pt>
                <c:pt idx="6284">
                  <c:v>7.415</c:v>
                </c:pt>
                <c:pt idx="6285">
                  <c:v>7.4139999999999997</c:v>
                </c:pt>
                <c:pt idx="6286">
                  <c:v>7.415</c:v>
                </c:pt>
                <c:pt idx="6287">
                  <c:v>7.4139999999999997</c:v>
                </c:pt>
                <c:pt idx="6288">
                  <c:v>7.415</c:v>
                </c:pt>
                <c:pt idx="6289">
                  <c:v>7.415</c:v>
                </c:pt>
                <c:pt idx="6290">
                  <c:v>7.4139999999999997</c:v>
                </c:pt>
                <c:pt idx="6291">
                  <c:v>7.4139999999999997</c:v>
                </c:pt>
                <c:pt idx="6292">
                  <c:v>7.4139999999999997</c:v>
                </c:pt>
                <c:pt idx="6293">
                  <c:v>7.4139999999999997</c:v>
                </c:pt>
                <c:pt idx="6294">
                  <c:v>7.4139999999999997</c:v>
                </c:pt>
                <c:pt idx="6295">
                  <c:v>7.4139999999999997</c:v>
                </c:pt>
                <c:pt idx="6296">
                  <c:v>7.4139999999999997</c:v>
                </c:pt>
                <c:pt idx="6297">
                  <c:v>7.4139999999999997</c:v>
                </c:pt>
                <c:pt idx="6298">
                  <c:v>7.4139999999999997</c:v>
                </c:pt>
                <c:pt idx="6299">
                  <c:v>7.4139999999999997</c:v>
                </c:pt>
                <c:pt idx="6300">
                  <c:v>7.4139999999999997</c:v>
                </c:pt>
                <c:pt idx="6301">
                  <c:v>7.4130000000000003</c:v>
                </c:pt>
                <c:pt idx="6302">
                  <c:v>7.4139999999999997</c:v>
                </c:pt>
                <c:pt idx="6303">
                  <c:v>7.4139999999999997</c:v>
                </c:pt>
                <c:pt idx="6304">
                  <c:v>7.4130000000000003</c:v>
                </c:pt>
                <c:pt idx="6305">
                  <c:v>7.4130000000000003</c:v>
                </c:pt>
                <c:pt idx="6306">
                  <c:v>7.4130000000000003</c:v>
                </c:pt>
                <c:pt idx="6307">
                  <c:v>7.4130000000000003</c:v>
                </c:pt>
                <c:pt idx="6308">
                  <c:v>7.4130000000000003</c:v>
                </c:pt>
                <c:pt idx="6309">
                  <c:v>7.4130000000000003</c:v>
                </c:pt>
                <c:pt idx="6310">
                  <c:v>7.4119999999999999</c:v>
                </c:pt>
                <c:pt idx="6311">
                  <c:v>7.4130000000000003</c:v>
                </c:pt>
                <c:pt idx="6312">
                  <c:v>7.4119999999999999</c:v>
                </c:pt>
                <c:pt idx="6313">
                  <c:v>7.4119999999999999</c:v>
                </c:pt>
                <c:pt idx="6314">
                  <c:v>7.4119999999999999</c:v>
                </c:pt>
                <c:pt idx="6315">
                  <c:v>7.4119999999999999</c:v>
                </c:pt>
                <c:pt idx="6316">
                  <c:v>7.4119999999999999</c:v>
                </c:pt>
                <c:pt idx="6317">
                  <c:v>7.4109999999999996</c:v>
                </c:pt>
                <c:pt idx="6318">
                  <c:v>7.4109999999999996</c:v>
                </c:pt>
                <c:pt idx="6319">
                  <c:v>7.4119999999999999</c:v>
                </c:pt>
                <c:pt idx="6320">
                  <c:v>7.4119999999999999</c:v>
                </c:pt>
                <c:pt idx="6321">
                  <c:v>7.4119999999999999</c:v>
                </c:pt>
                <c:pt idx="6322">
                  <c:v>7.4109999999999996</c:v>
                </c:pt>
                <c:pt idx="6323">
                  <c:v>7.4109999999999996</c:v>
                </c:pt>
                <c:pt idx="6324">
                  <c:v>7.4109999999999996</c:v>
                </c:pt>
                <c:pt idx="6325">
                  <c:v>7.4109999999999996</c:v>
                </c:pt>
                <c:pt idx="6326">
                  <c:v>7.41</c:v>
                </c:pt>
                <c:pt idx="6327">
                  <c:v>7.4109999999999996</c:v>
                </c:pt>
                <c:pt idx="6328">
                  <c:v>7.41</c:v>
                </c:pt>
                <c:pt idx="6329">
                  <c:v>7.41</c:v>
                </c:pt>
                <c:pt idx="6330">
                  <c:v>7.41</c:v>
                </c:pt>
                <c:pt idx="6331">
                  <c:v>7.41</c:v>
                </c:pt>
                <c:pt idx="6332">
                  <c:v>7.41</c:v>
                </c:pt>
                <c:pt idx="6333">
                  <c:v>7.41</c:v>
                </c:pt>
                <c:pt idx="6334">
                  <c:v>7.41</c:v>
                </c:pt>
                <c:pt idx="6335">
                  <c:v>7.41</c:v>
                </c:pt>
                <c:pt idx="6336">
                  <c:v>7.4089999999999998</c:v>
                </c:pt>
                <c:pt idx="6337">
                  <c:v>7.4089999999999998</c:v>
                </c:pt>
                <c:pt idx="6338">
                  <c:v>7.4089999999999998</c:v>
                </c:pt>
                <c:pt idx="6339">
                  <c:v>7.41</c:v>
                </c:pt>
                <c:pt idx="6340">
                  <c:v>7.4089999999999998</c:v>
                </c:pt>
                <c:pt idx="6341">
                  <c:v>7.41</c:v>
                </c:pt>
                <c:pt idx="6342">
                  <c:v>7.4089999999999998</c:v>
                </c:pt>
                <c:pt idx="6343">
                  <c:v>7.4080000000000004</c:v>
                </c:pt>
                <c:pt idx="6344">
                  <c:v>7.4089999999999998</c:v>
                </c:pt>
                <c:pt idx="6345">
                  <c:v>7.4080000000000004</c:v>
                </c:pt>
                <c:pt idx="6346">
                  <c:v>7.4080000000000004</c:v>
                </c:pt>
                <c:pt idx="6347">
                  <c:v>7.4080000000000004</c:v>
                </c:pt>
                <c:pt idx="6348">
                  <c:v>7.4080000000000004</c:v>
                </c:pt>
                <c:pt idx="6349">
                  <c:v>7.4080000000000004</c:v>
                </c:pt>
                <c:pt idx="6350">
                  <c:v>7.4080000000000004</c:v>
                </c:pt>
                <c:pt idx="6351">
                  <c:v>7.4080000000000004</c:v>
                </c:pt>
                <c:pt idx="6352">
                  <c:v>7.407</c:v>
                </c:pt>
                <c:pt idx="6353">
                  <c:v>7.407</c:v>
                </c:pt>
                <c:pt idx="6354">
                  <c:v>7.407</c:v>
                </c:pt>
                <c:pt idx="6355">
                  <c:v>7.407</c:v>
                </c:pt>
                <c:pt idx="6356">
                  <c:v>7.407</c:v>
                </c:pt>
                <c:pt idx="6357">
                  <c:v>7.4080000000000004</c:v>
                </c:pt>
                <c:pt idx="6358">
                  <c:v>7.4080000000000004</c:v>
                </c:pt>
                <c:pt idx="6359">
                  <c:v>7.407</c:v>
                </c:pt>
                <c:pt idx="6360">
                  <c:v>7.407</c:v>
                </c:pt>
                <c:pt idx="6361">
                  <c:v>7.407</c:v>
                </c:pt>
                <c:pt idx="6362">
                  <c:v>7.407</c:v>
                </c:pt>
                <c:pt idx="6363">
                  <c:v>7.407</c:v>
                </c:pt>
                <c:pt idx="6364">
                  <c:v>7.407</c:v>
                </c:pt>
                <c:pt idx="6365">
                  <c:v>7.4059999999999997</c:v>
                </c:pt>
                <c:pt idx="6366">
                  <c:v>7.4059999999999997</c:v>
                </c:pt>
                <c:pt idx="6367">
                  <c:v>7.4059999999999997</c:v>
                </c:pt>
                <c:pt idx="6368">
                  <c:v>7.4059999999999997</c:v>
                </c:pt>
                <c:pt idx="6369">
                  <c:v>7.4059999999999997</c:v>
                </c:pt>
                <c:pt idx="6370">
                  <c:v>7.4059999999999997</c:v>
                </c:pt>
                <c:pt idx="6371">
                  <c:v>7.4059999999999997</c:v>
                </c:pt>
                <c:pt idx="6372">
                  <c:v>7.4059999999999997</c:v>
                </c:pt>
                <c:pt idx="6373">
                  <c:v>7.4050000000000002</c:v>
                </c:pt>
                <c:pt idx="6374">
                  <c:v>7.4059999999999997</c:v>
                </c:pt>
                <c:pt idx="6375">
                  <c:v>7.4059999999999997</c:v>
                </c:pt>
                <c:pt idx="6376">
                  <c:v>7.4050000000000002</c:v>
                </c:pt>
                <c:pt idx="6377">
                  <c:v>7.4050000000000002</c:v>
                </c:pt>
                <c:pt idx="6378">
                  <c:v>7.4050000000000002</c:v>
                </c:pt>
                <c:pt idx="6379">
                  <c:v>7.4050000000000002</c:v>
                </c:pt>
                <c:pt idx="6380">
                  <c:v>7.4050000000000002</c:v>
                </c:pt>
                <c:pt idx="6381">
                  <c:v>7.4050000000000002</c:v>
                </c:pt>
                <c:pt idx="6382">
                  <c:v>7.4050000000000002</c:v>
                </c:pt>
                <c:pt idx="6383">
                  <c:v>7.4050000000000002</c:v>
                </c:pt>
                <c:pt idx="6384">
                  <c:v>7.4050000000000002</c:v>
                </c:pt>
                <c:pt idx="6385">
                  <c:v>7.4050000000000002</c:v>
                </c:pt>
                <c:pt idx="6386">
                  <c:v>7.4050000000000002</c:v>
                </c:pt>
                <c:pt idx="6387">
                  <c:v>7.4050000000000002</c:v>
                </c:pt>
                <c:pt idx="6388">
                  <c:v>7.4050000000000002</c:v>
                </c:pt>
                <c:pt idx="6389">
                  <c:v>7.4050000000000002</c:v>
                </c:pt>
                <c:pt idx="6390">
                  <c:v>7.4050000000000002</c:v>
                </c:pt>
                <c:pt idx="6391">
                  <c:v>7.4039999999999999</c:v>
                </c:pt>
                <c:pt idx="6392">
                  <c:v>7.4039999999999999</c:v>
                </c:pt>
                <c:pt idx="6393">
                  <c:v>7.4039999999999999</c:v>
                </c:pt>
                <c:pt idx="6394">
                  <c:v>7.4039999999999999</c:v>
                </c:pt>
                <c:pt idx="6395">
                  <c:v>7.4050000000000002</c:v>
                </c:pt>
                <c:pt idx="6396">
                  <c:v>7.4039999999999999</c:v>
                </c:pt>
                <c:pt idx="6397">
                  <c:v>7.4039999999999999</c:v>
                </c:pt>
                <c:pt idx="6398">
                  <c:v>7.4050000000000002</c:v>
                </c:pt>
                <c:pt idx="6399">
                  <c:v>7.4039999999999999</c:v>
                </c:pt>
                <c:pt idx="6400">
                  <c:v>7.4029999999999996</c:v>
                </c:pt>
                <c:pt idx="6401">
                  <c:v>7.4039999999999999</c:v>
                </c:pt>
                <c:pt idx="6402">
                  <c:v>7.4039999999999999</c:v>
                </c:pt>
                <c:pt idx="6403">
                  <c:v>7.4039999999999999</c:v>
                </c:pt>
                <c:pt idx="6404">
                  <c:v>7.4029999999999996</c:v>
                </c:pt>
                <c:pt idx="6405">
                  <c:v>7.4029999999999996</c:v>
                </c:pt>
                <c:pt idx="6406">
                  <c:v>7.4029999999999996</c:v>
                </c:pt>
                <c:pt idx="6407">
                  <c:v>7.4029999999999996</c:v>
                </c:pt>
                <c:pt idx="6408">
                  <c:v>7.4029999999999996</c:v>
                </c:pt>
                <c:pt idx="6409">
                  <c:v>7.4029999999999996</c:v>
                </c:pt>
                <c:pt idx="6410">
                  <c:v>7.4029999999999996</c:v>
                </c:pt>
                <c:pt idx="6411">
                  <c:v>7.4029999999999996</c:v>
                </c:pt>
                <c:pt idx="6412">
                  <c:v>7.4029999999999996</c:v>
                </c:pt>
                <c:pt idx="6413">
                  <c:v>7.4029999999999996</c:v>
                </c:pt>
                <c:pt idx="6414">
                  <c:v>7.4029999999999996</c:v>
                </c:pt>
                <c:pt idx="6415">
                  <c:v>7.4020000000000001</c:v>
                </c:pt>
                <c:pt idx="6416">
                  <c:v>7.4020000000000001</c:v>
                </c:pt>
                <c:pt idx="6417">
                  <c:v>7.4020000000000001</c:v>
                </c:pt>
                <c:pt idx="6418">
                  <c:v>7.4029999999999996</c:v>
                </c:pt>
                <c:pt idx="6419">
                  <c:v>7.4029999999999996</c:v>
                </c:pt>
                <c:pt idx="6420">
                  <c:v>7.4029999999999996</c:v>
                </c:pt>
                <c:pt idx="6421">
                  <c:v>7.4029999999999996</c:v>
                </c:pt>
                <c:pt idx="6422">
                  <c:v>7.4020000000000001</c:v>
                </c:pt>
                <c:pt idx="6423">
                  <c:v>7.4020000000000001</c:v>
                </c:pt>
                <c:pt idx="6424">
                  <c:v>7.4020000000000001</c:v>
                </c:pt>
                <c:pt idx="6425">
                  <c:v>7.4020000000000001</c:v>
                </c:pt>
                <c:pt idx="6426">
                  <c:v>7.4020000000000001</c:v>
                </c:pt>
                <c:pt idx="6427">
                  <c:v>7.4029999999999996</c:v>
                </c:pt>
                <c:pt idx="6428">
                  <c:v>7.4020000000000001</c:v>
                </c:pt>
                <c:pt idx="6429">
                  <c:v>7.4020000000000001</c:v>
                </c:pt>
                <c:pt idx="6430">
                  <c:v>7.4020000000000001</c:v>
                </c:pt>
                <c:pt idx="6431">
                  <c:v>7.4020000000000001</c:v>
                </c:pt>
                <c:pt idx="6432">
                  <c:v>7.4020000000000001</c:v>
                </c:pt>
                <c:pt idx="6433">
                  <c:v>7.4020000000000001</c:v>
                </c:pt>
                <c:pt idx="6434">
                  <c:v>7.4020000000000001</c:v>
                </c:pt>
                <c:pt idx="6435">
                  <c:v>7.4020000000000001</c:v>
                </c:pt>
                <c:pt idx="6436">
                  <c:v>7.4029999999999996</c:v>
                </c:pt>
                <c:pt idx="6437">
                  <c:v>7.4020000000000001</c:v>
                </c:pt>
                <c:pt idx="6438">
                  <c:v>7.4009999999999998</c:v>
                </c:pt>
                <c:pt idx="6439">
                  <c:v>7.4009999999999998</c:v>
                </c:pt>
                <c:pt idx="6440">
                  <c:v>7.4009999999999998</c:v>
                </c:pt>
                <c:pt idx="6441">
                  <c:v>7.4009999999999998</c:v>
                </c:pt>
                <c:pt idx="6442">
                  <c:v>7.4009999999999998</c:v>
                </c:pt>
                <c:pt idx="6443">
                  <c:v>7.4020000000000001</c:v>
                </c:pt>
                <c:pt idx="6444">
                  <c:v>7.4009999999999998</c:v>
                </c:pt>
                <c:pt idx="6445">
                  <c:v>7.4009999999999998</c:v>
                </c:pt>
                <c:pt idx="6446">
                  <c:v>7.4020000000000001</c:v>
                </c:pt>
                <c:pt idx="6447">
                  <c:v>7.4</c:v>
                </c:pt>
                <c:pt idx="6448">
                  <c:v>7.4</c:v>
                </c:pt>
                <c:pt idx="6449">
                  <c:v>7.4</c:v>
                </c:pt>
                <c:pt idx="6450">
                  <c:v>7.4009999999999998</c:v>
                </c:pt>
                <c:pt idx="6451">
                  <c:v>7.4</c:v>
                </c:pt>
                <c:pt idx="6452">
                  <c:v>7.4</c:v>
                </c:pt>
                <c:pt idx="6453">
                  <c:v>7.4</c:v>
                </c:pt>
                <c:pt idx="6454">
                  <c:v>7.4009999999999998</c:v>
                </c:pt>
                <c:pt idx="6455">
                  <c:v>7.4</c:v>
                </c:pt>
                <c:pt idx="6456">
                  <c:v>7.4</c:v>
                </c:pt>
                <c:pt idx="6457">
                  <c:v>7.4020000000000001</c:v>
                </c:pt>
                <c:pt idx="6458">
                  <c:v>7.4009999999999998</c:v>
                </c:pt>
                <c:pt idx="6459">
                  <c:v>7.4</c:v>
                </c:pt>
                <c:pt idx="6460">
                  <c:v>7.4</c:v>
                </c:pt>
                <c:pt idx="6461">
                  <c:v>7.4</c:v>
                </c:pt>
                <c:pt idx="6462">
                  <c:v>7.4009999999999998</c:v>
                </c:pt>
                <c:pt idx="6463">
                  <c:v>7.399</c:v>
                </c:pt>
                <c:pt idx="6464">
                  <c:v>7.4</c:v>
                </c:pt>
                <c:pt idx="6465">
                  <c:v>7.4</c:v>
                </c:pt>
                <c:pt idx="6466">
                  <c:v>7.399</c:v>
                </c:pt>
                <c:pt idx="6467">
                  <c:v>7.4</c:v>
                </c:pt>
                <c:pt idx="6468">
                  <c:v>7.4009999999999998</c:v>
                </c:pt>
                <c:pt idx="6469">
                  <c:v>7.4</c:v>
                </c:pt>
                <c:pt idx="6470">
                  <c:v>7.4009999999999998</c:v>
                </c:pt>
                <c:pt idx="6471">
                  <c:v>7.4</c:v>
                </c:pt>
                <c:pt idx="6472">
                  <c:v>7.399</c:v>
                </c:pt>
                <c:pt idx="6473">
                  <c:v>7.4</c:v>
                </c:pt>
                <c:pt idx="6474">
                  <c:v>7.4</c:v>
                </c:pt>
                <c:pt idx="6475">
                  <c:v>7.399</c:v>
                </c:pt>
                <c:pt idx="6476">
                  <c:v>7.399</c:v>
                </c:pt>
                <c:pt idx="6477">
                  <c:v>7.399</c:v>
                </c:pt>
                <c:pt idx="6478">
                  <c:v>7.399</c:v>
                </c:pt>
                <c:pt idx="6479">
                  <c:v>7.399</c:v>
                </c:pt>
                <c:pt idx="6480">
                  <c:v>7.399</c:v>
                </c:pt>
                <c:pt idx="6481">
                  <c:v>7.399</c:v>
                </c:pt>
                <c:pt idx="6482">
                  <c:v>7.399</c:v>
                </c:pt>
                <c:pt idx="6483">
                  <c:v>7.399</c:v>
                </c:pt>
                <c:pt idx="6484">
                  <c:v>7.3979999999999997</c:v>
                </c:pt>
                <c:pt idx="6485">
                  <c:v>7.399</c:v>
                </c:pt>
                <c:pt idx="6486">
                  <c:v>7.399</c:v>
                </c:pt>
                <c:pt idx="6487">
                  <c:v>7.3979999999999997</c:v>
                </c:pt>
                <c:pt idx="6488">
                  <c:v>7.399</c:v>
                </c:pt>
                <c:pt idx="6489">
                  <c:v>7.3979999999999997</c:v>
                </c:pt>
                <c:pt idx="6490">
                  <c:v>7.4</c:v>
                </c:pt>
                <c:pt idx="6491">
                  <c:v>7.399</c:v>
                </c:pt>
                <c:pt idx="6492">
                  <c:v>7.3979999999999997</c:v>
                </c:pt>
                <c:pt idx="6493">
                  <c:v>7.399</c:v>
                </c:pt>
                <c:pt idx="6494">
                  <c:v>7.399</c:v>
                </c:pt>
                <c:pt idx="6495">
                  <c:v>7.3970000000000002</c:v>
                </c:pt>
                <c:pt idx="6496">
                  <c:v>7.3970000000000002</c:v>
                </c:pt>
                <c:pt idx="6497">
                  <c:v>7.399</c:v>
                </c:pt>
                <c:pt idx="6498">
                  <c:v>7.3979999999999997</c:v>
                </c:pt>
                <c:pt idx="6499">
                  <c:v>7.3979999999999997</c:v>
                </c:pt>
                <c:pt idx="6500">
                  <c:v>7.3979999999999997</c:v>
                </c:pt>
                <c:pt idx="6501">
                  <c:v>7.399</c:v>
                </c:pt>
                <c:pt idx="6502">
                  <c:v>7.3979999999999997</c:v>
                </c:pt>
                <c:pt idx="6503">
                  <c:v>7.399</c:v>
                </c:pt>
                <c:pt idx="6504">
                  <c:v>7.3970000000000002</c:v>
                </c:pt>
                <c:pt idx="6505">
                  <c:v>7.3979999999999997</c:v>
                </c:pt>
                <c:pt idx="6506">
                  <c:v>7.3970000000000002</c:v>
                </c:pt>
                <c:pt idx="6507">
                  <c:v>7.3979999999999997</c:v>
                </c:pt>
                <c:pt idx="6508">
                  <c:v>7.3979999999999997</c:v>
                </c:pt>
                <c:pt idx="6509">
                  <c:v>7.3970000000000002</c:v>
                </c:pt>
                <c:pt idx="6510">
                  <c:v>7.3979999999999997</c:v>
                </c:pt>
                <c:pt idx="6511">
                  <c:v>7.3979999999999997</c:v>
                </c:pt>
                <c:pt idx="6512">
                  <c:v>7.3979999999999997</c:v>
                </c:pt>
                <c:pt idx="6513">
                  <c:v>7.3979999999999997</c:v>
                </c:pt>
                <c:pt idx="6514">
                  <c:v>7.3979999999999997</c:v>
                </c:pt>
                <c:pt idx="6515">
                  <c:v>7.3970000000000002</c:v>
                </c:pt>
                <c:pt idx="6516">
                  <c:v>7.3979999999999997</c:v>
                </c:pt>
                <c:pt idx="6517">
                  <c:v>7.3970000000000002</c:v>
                </c:pt>
                <c:pt idx="6518">
                  <c:v>7.3970000000000002</c:v>
                </c:pt>
                <c:pt idx="6519">
                  <c:v>7.3970000000000002</c:v>
                </c:pt>
                <c:pt idx="6520">
                  <c:v>7.3970000000000002</c:v>
                </c:pt>
                <c:pt idx="6521">
                  <c:v>7.3970000000000002</c:v>
                </c:pt>
                <c:pt idx="6522">
                  <c:v>7.3970000000000002</c:v>
                </c:pt>
                <c:pt idx="6523">
                  <c:v>7.3959999999999999</c:v>
                </c:pt>
                <c:pt idx="6524">
                  <c:v>7.3979999999999997</c:v>
                </c:pt>
                <c:pt idx="6525">
                  <c:v>7.3959999999999999</c:v>
                </c:pt>
                <c:pt idx="6526">
                  <c:v>7.3959999999999999</c:v>
                </c:pt>
                <c:pt idx="6527">
                  <c:v>7.3970000000000002</c:v>
                </c:pt>
                <c:pt idx="6528">
                  <c:v>7.3959999999999999</c:v>
                </c:pt>
                <c:pt idx="6529">
                  <c:v>7.3970000000000002</c:v>
                </c:pt>
                <c:pt idx="6530">
                  <c:v>7.3970000000000002</c:v>
                </c:pt>
                <c:pt idx="6531">
                  <c:v>7.3970000000000002</c:v>
                </c:pt>
                <c:pt idx="6532">
                  <c:v>7.3959999999999999</c:v>
                </c:pt>
                <c:pt idx="6533">
                  <c:v>7.3949999999999996</c:v>
                </c:pt>
                <c:pt idx="6534">
                  <c:v>7.3959999999999999</c:v>
                </c:pt>
                <c:pt idx="6535">
                  <c:v>7.3970000000000002</c:v>
                </c:pt>
                <c:pt idx="6536">
                  <c:v>7.3959999999999999</c:v>
                </c:pt>
                <c:pt idx="6537">
                  <c:v>7.3970000000000002</c:v>
                </c:pt>
                <c:pt idx="6538">
                  <c:v>7.3959999999999999</c:v>
                </c:pt>
                <c:pt idx="6539">
                  <c:v>7.3959999999999999</c:v>
                </c:pt>
                <c:pt idx="6540">
                  <c:v>7.3959999999999999</c:v>
                </c:pt>
                <c:pt idx="6541">
                  <c:v>7.3959999999999999</c:v>
                </c:pt>
                <c:pt idx="6542">
                  <c:v>7.3959999999999999</c:v>
                </c:pt>
                <c:pt idx="6543">
                  <c:v>7.3959999999999999</c:v>
                </c:pt>
                <c:pt idx="6544">
                  <c:v>7.3959999999999999</c:v>
                </c:pt>
                <c:pt idx="6545">
                  <c:v>7.3959999999999999</c:v>
                </c:pt>
                <c:pt idx="6546">
                  <c:v>7.3959999999999999</c:v>
                </c:pt>
                <c:pt idx="6547">
                  <c:v>7.3959999999999999</c:v>
                </c:pt>
                <c:pt idx="6548">
                  <c:v>7.3959999999999999</c:v>
                </c:pt>
                <c:pt idx="6549">
                  <c:v>7.3959999999999999</c:v>
                </c:pt>
                <c:pt idx="6550">
                  <c:v>7.3959999999999999</c:v>
                </c:pt>
                <c:pt idx="6551">
                  <c:v>7.3970000000000002</c:v>
                </c:pt>
                <c:pt idx="6552">
                  <c:v>7.3959999999999999</c:v>
                </c:pt>
                <c:pt idx="6553">
                  <c:v>7.3959999999999999</c:v>
                </c:pt>
                <c:pt idx="6554">
                  <c:v>7.3949999999999996</c:v>
                </c:pt>
                <c:pt idx="6555">
                  <c:v>7.3949999999999996</c:v>
                </c:pt>
                <c:pt idx="6556">
                  <c:v>7.3959999999999999</c:v>
                </c:pt>
                <c:pt idx="6557">
                  <c:v>7.3949999999999996</c:v>
                </c:pt>
                <c:pt idx="6558">
                  <c:v>7.3949999999999996</c:v>
                </c:pt>
                <c:pt idx="6559">
                  <c:v>7.3959999999999999</c:v>
                </c:pt>
                <c:pt idx="6560">
                  <c:v>7.3949999999999996</c:v>
                </c:pt>
                <c:pt idx="6561">
                  <c:v>7.3949999999999996</c:v>
                </c:pt>
                <c:pt idx="6562">
                  <c:v>7.3949999999999996</c:v>
                </c:pt>
                <c:pt idx="6563">
                  <c:v>7.3949999999999996</c:v>
                </c:pt>
                <c:pt idx="6564">
                  <c:v>7.3949999999999996</c:v>
                </c:pt>
                <c:pt idx="6565">
                  <c:v>7.3959999999999999</c:v>
                </c:pt>
                <c:pt idx="6566">
                  <c:v>7.3959999999999999</c:v>
                </c:pt>
                <c:pt idx="6567">
                  <c:v>7.3940000000000001</c:v>
                </c:pt>
                <c:pt idx="6568">
                  <c:v>7.3959999999999999</c:v>
                </c:pt>
                <c:pt idx="6569">
                  <c:v>7.3949999999999996</c:v>
                </c:pt>
                <c:pt idx="6570">
                  <c:v>7.3949999999999996</c:v>
                </c:pt>
                <c:pt idx="6571">
                  <c:v>7.3949999999999996</c:v>
                </c:pt>
                <c:pt idx="6572">
                  <c:v>7.3949999999999996</c:v>
                </c:pt>
                <c:pt idx="6573">
                  <c:v>7.3940000000000001</c:v>
                </c:pt>
                <c:pt idx="6574">
                  <c:v>7.3940000000000001</c:v>
                </c:pt>
                <c:pt idx="6575">
                  <c:v>7.3940000000000001</c:v>
                </c:pt>
                <c:pt idx="6576">
                  <c:v>7.3940000000000001</c:v>
                </c:pt>
                <c:pt idx="6577">
                  <c:v>7.3929999999999998</c:v>
                </c:pt>
                <c:pt idx="6578">
                  <c:v>7.3949999999999996</c:v>
                </c:pt>
                <c:pt idx="6579">
                  <c:v>7.3929999999999998</c:v>
                </c:pt>
                <c:pt idx="6580">
                  <c:v>7.3940000000000001</c:v>
                </c:pt>
                <c:pt idx="6581">
                  <c:v>7.3940000000000001</c:v>
                </c:pt>
                <c:pt idx="6582">
                  <c:v>7.3940000000000001</c:v>
                </c:pt>
                <c:pt idx="6583">
                  <c:v>7.3940000000000001</c:v>
                </c:pt>
                <c:pt idx="6584">
                  <c:v>7.3940000000000001</c:v>
                </c:pt>
                <c:pt idx="6585">
                  <c:v>7.3949999999999996</c:v>
                </c:pt>
                <c:pt idx="6586">
                  <c:v>7.3949999999999996</c:v>
                </c:pt>
                <c:pt idx="6587">
                  <c:v>7.3949999999999996</c:v>
                </c:pt>
                <c:pt idx="6588">
                  <c:v>7.3949999999999996</c:v>
                </c:pt>
                <c:pt idx="6589">
                  <c:v>7.3929999999999998</c:v>
                </c:pt>
                <c:pt idx="6590">
                  <c:v>7.3940000000000001</c:v>
                </c:pt>
                <c:pt idx="6591">
                  <c:v>7.3940000000000001</c:v>
                </c:pt>
                <c:pt idx="6592">
                  <c:v>7.3929999999999998</c:v>
                </c:pt>
                <c:pt idx="6593">
                  <c:v>7.3949999999999996</c:v>
                </c:pt>
                <c:pt idx="6594">
                  <c:v>7.3949999999999996</c:v>
                </c:pt>
                <c:pt idx="6595">
                  <c:v>7.3940000000000001</c:v>
                </c:pt>
                <c:pt idx="6596">
                  <c:v>7.3940000000000001</c:v>
                </c:pt>
                <c:pt idx="6597">
                  <c:v>7.3929999999999998</c:v>
                </c:pt>
                <c:pt idx="6598">
                  <c:v>7.3940000000000001</c:v>
                </c:pt>
                <c:pt idx="6599">
                  <c:v>7.3929999999999998</c:v>
                </c:pt>
                <c:pt idx="6600">
                  <c:v>7.3929999999999998</c:v>
                </c:pt>
                <c:pt idx="6601">
                  <c:v>7.3929999999999998</c:v>
                </c:pt>
                <c:pt idx="6602">
                  <c:v>7.3940000000000001</c:v>
                </c:pt>
                <c:pt idx="6603">
                  <c:v>7.3929999999999998</c:v>
                </c:pt>
                <c:pt idx="6604">
                  <c:v>7.3920000000000003</c:v>
                </c:pt>
                <c:pt idx="6605">
                  <c:v>7.3929999999999998</c:v>
                </c:pt>
                <c:pt idx="6606">
                  <c:v>7.3929999999999998</c:v>
                </c:pt>
                <c:pt idx="6607">
                  <c:v>7.3929999999999998</c:v>
                </c:pt>
                <c:pt idx="6608">
                  <c:v>7.3929999999999998</c:v>
                </c:pt>
                <c:pt idx="6609">
                  <c:v>7.3929999999999998</c:v>
                </c:pt>
                <c:pt idx="6610">
                  <c:v>7.3929999999999998</c:v>
                </c:pt>
                <c:pt idx="6611">
                  <c:v>7.3940000000000001</c:v>
                </c:pt>
                <c:pt idx="6612">
                  <c:v>7.3929999999999998</c:v>
                </c:pt>
                <c:pt idx="6613">
                  <c:v>7.3940000000000001</c:v>
                </c:pt>
                <c:pt idx="6614">
                  <c:v>7.3940000000000001</c:v>
                </c:pt>
                <c:pt idx="6615">
                  <c:v>7.3929999999999998</c:v>
                </c:pt>
                <c:pt idx="6616">
                  <c:v>7.3929999999999998</c:v>
                </c:pt>
                <c:pt idx="6617">
                  <c:v>7.3940000000000001</c:v>
                </c:pt>
                <c:pt idx="6618">
                  <c:v>7.3929999999999998</c:v>
                </c:pt>
                <c:pt idx="6619">
                  <c:v>7.3929999999999998</c:v>
                </c:pt>
                <c:pt idx="6620">
                  <c:v>7.3940000000000001</c:v>
                </c:pt>
                <c:pt idx="6621">
                  <c:v>7.3929999999999998</c:v>
                </c:pt>
                <c:pt idx="6622">
                  <c:v>7.3920000000000003</c:v>
                </c:pt>
                <c:pt idx="6623">
                  <c:v>7.3929999999999998</c:v>
                </c:pt>
                <c:pt idx="6624">
                  <c:v>7.3929999999999998</c:v>
                </c:pt>
                <c:pt idx="6625">
                  <c:v>7.3929999999999998</c:v>
                </c:pt>
                <c:pt idx="6626">
                  <c:v>7.3920000000000003</c:v>
                </c:pt>
                <c:pt idx="6627">
                  <c:v>7.3929999999999998</c:v>
                </c:pt>
                <c:pt idx="6628">
                  <c:v>7.3929999999999998</c:v>
                </c:pt>
                <c:pt idx="6629">
                  <c:v>7.3929999999999998</c:v>
                </c:pt>
                <c:pt idx="6630">
                  <c:v>7.3940000000000001</c:v>
                </c:pt>
                <c:pt idx="6631">
                  <c:v>7.3929999999999998</c:v>
                </c:pt>
                <c:pt idx="6632">
                  <c:v>7.3929999999999998</c:v>
                </c:pt>
                <c:pt idx="6633">
                  <c:v>7.3929999999999998</c:v>
                </c:pt>
                <c:pt idx="6634">
                  <c:v>7.3929999999999998</c:v>
                </c:pt>
                <c:pt idx="6635">
                  <c:v>7.3929999999999998</c:v>
                </c:pt>
                <c:pt idx="6636">
                  <c:v>7.3929999999999998</c:v>
                </c:pt>
                <c:pt idx="6637">
                  <c:v>7.3929999999999998</c:v>
                </c:pt>
                <c:pt idx="6638">
                  <c:v>7.3929999999999998</c:v>
                </c:pt>
                <c:pt idx="6639">
                  <c:v>7.3920000000000003</c:v>
                </c:pt>
                <c:pt idx="6640">
                  <c:v>7.3920000000000003</c:v>
                </c:pt>
                <c:pt idx="6641">
                  <c:v>7.3920000000000003</c:v>
                </c:pt>
                <c:pt idx="6642">
                  <c:v>7.3929999999999998</c:v>
                </c:pt>
                <c:pt idx="6643">
                  <c:v>7.3929999999999998</c:v>
                </c:pt>
                <c:pt idx="6644">
                  <c:v>7.3929999999999998</c:v>
                </c:pt>
                <c:pt idx="6645">
                  <c:v>7.3929999999999998</c:v>
                </c:pt>
                <c:pt idx="6646">
                  <c:v>7.3929999999999998</c:v>
                </c:pt>
                <c:pt idx="6647">
                  <c:v>7.3920000000000003</c:v>
                </c:pt>
                <c:pt idx="6648">
                  <c:v>7.3920000000000003</c:v>
                </c:pt>
                <c:pt idx="6649">
                  <c:v>7.3929999999999998</c:v>
                </c:pt>
                <c:pt idx="6650">
                  <c:v>7.3920000000000003</c:v>
                </c:pt>
                <c:pt idx="6651">
                  <c:v>7.3929999999999998</c:v>
                </c:pt>
                <c:pt idx="6652">
                  <c:v>7.3920000000000003</c:v>
                </c:pt>
                <c:pt idx="6653">
                  <c:v>7.3920000000000003</c:v>
                </c:pt>
                <c:pt idx="6654">
                  <c:v>7.391</c:v>
                </c:pt>
                <c:pt idx="6655">
                  <c:v>7.391</c:v>
                </c:pt>
                <c:pt idx="6656">
                  <c:v>7.3929999999999998</c:v>
                </c:pt>
                <c:pt idx="6657">
                  <c:v>7.3920000000000003</c:v>
                </c:pt>
                <c:pt idx="6658">
                  <c:v>7.3920000000000003</c:v>
                </c:pt>
                <c:pt idx="6659">
                  <c:v>7.3920000000000003</c:v>
                </c:pt>
                <c:pt idx="6660">
                  <c:v>7.3929999999999998</c:v>
                </c:pt>
                <c:pt idx="6661">
                  <c:v>7.391</c:v>
                </c:pt>
                <c:pt idx="6662">
                  <c:v>7.3920000000000003</c:v>
                </c:pt>
                <c:pt idx="6663">
                  <c:v>7.3920000000000003</c:v>
                </c:pt>
                <c:pt idx="6664">
                  <c:v>7.391</c:v>
                </c:pt>
                <c:pt idx="6665">
                  <c:v>7.391</c:v>
                </c:pt>
                <c:pt idx="6666">
                  <c:v>7.391</c:v>
                </c:pt>
                <c:pt idx="6667">
                  <c:v>7.391</c:v>
                </c:pt>
                <c:pt idx="6668">
                  <c:v>7.39</c:v>
                </c:pt>
                <c:pt idx="6669">
                  <c:v>7.39</c:v>
                </c:pt>
                <c:pt idx="6670">
                  <c:v>7.391</c:v>
                </c:pt>
                <c:pt idx="6671">
                  <c:v>7.391</c:v>
                </c:pt>
                <c:pt idx="6672">
                  <c:v>7.391</c:v>
                </c:pt>
                <c:pt idx="6673">
                  <c:v>7.391</c:v>
                </c:pt>
                <c:pt idx="6674">
                  <c:v>7.39</c:v>
                </c:pt>
                <c:pt idx="6675">
                  <c:v>7.39</c:v>
                </c:pt>
                <c:pt idx="6676">
                  <c:v>7.39</c:v>
                </c:pt>
                <c:pt idx="6677">
                  <c:v>7.391</c:v>
                </c:pt>
                <c:pt idx="6678">
                  <c:v>7.391</c:v>
                </c:pt>
                <c:pt idx="6679">
                  <c:v>7.39</c:v>
                </c:pt>
                <c:pt idx="6680">
                  <c:v>7.391</c:v>
                </c:pt>
                <c:pt idx="6681">
                  <c:v>7.391</c:v>
                </c:pt>
                <c:pt idx="6682">
                  <c:v>7.39</c:v>
                </c:pt>
                <c:pt idx="6683">
                  <c:v>7.39</c:v>
                </c:pt>
                <c:pt idx="6684">
                  <c:v>7.391</c:v>
                </c:pt>
                <c:pt idx="6685">
                  <c:v>7.39</c:v>
                </c:pt>
                <c:pt idx="6686">
                  <c:v>7.39</c:v>
                </c:pt>
                <c:pt idx="6687">
                  <c:v>7.39</c:v>
                </c:pt>
                <c:pt idx="6688">
                  <c:v>7.391</c:v>
                </c:pt>
                <c:pt idx="6689">
                  <c:v>7.39</c:v>
                </c:pt>
                <c:pt idx="6690">
                  <c:v>7.39</c:v>
                </c:pt>
                <c:pt idx="6691">
                  <c:v>7.3890000000000002</c:v>
                </c:pt>
                <c:pt idx="6692">
                  <c:v>7.39</c:v>
                </c:pt>
                <c:pt idx="6693">
                  <c:v>7.39</c:v>
                </c:pt>
                <c:pt idx="6694">
                  <c:v>7.39</c:v>
                </c:pt>
                <c:pt idx="6695">
                  <c:v>7.39</c:v>
                </c:pt>
                <c:pt idx="6696">
                  <c:v>7.39</c:v>
                </c:pt>
                <c:pt idx="6697">
                  <c:v>7.39</c:v>
                </c:pt>
                <c:pt idx="6698">
                  <c:v>7.39</c:v>
                </c:pt>
                <c:pt idx="6699">
                  <c:v>7.39</c:v>
                </c:pt>
                <c:pt idx="6700">
                  <c:v>7.39</c:v>
                </c:pt>
                <c:pt idx="6701">
                  <c:v>7.3890000000000002</c:v>
                </c:pt>
                <c:pt idx="6702">
                  <c:v>7.39</c:v>
                </c:pt>
                <c:pt idx="6703">
                  <c:v>7.3890000000000002</c:v>
                </c:pt>
                <c:pt idx="6704">
                  <c:v>7.39</c:v>
                </c:pt>
                <c:pt idx="6705">
                  <c:v>7.3890000000000002</c:v>
                </c:pt>
                <c:pt idx="6706">
                  <c:v>7.3890000000000002</c:v>
                </c:pt>
                <c:pt idx="6707">
                  <c:v>7.3890000000000002</c:v>
                </c:pt>
                <c:pt idx="6708">
                  <c:v>7.3890000000000002</c:v>
                </c:pt>
                <c:pt idx="6709">
                  <c:v>7.3890000000000002</c:v>
                </c:pt>
                <c:pt idx="6710">
                  <c:v>7.3890000000000002</c:v>
                </c:pt>
                <c:pt idx="6711">
                  <c:v>7.39</c:v>
                </c:pt>
                <c:pt idx="6712">
                  <c:v>7.3890000000000002</c:v>
                </c:pt>
                <c:pt idx="6713">
                  <c:v>7.3890000000000002</c:v>
                </c:pt>
                <c:pt idx="6714">
                  <c:v>7.3890000000000002</c:v>
                </c:pt>
                <c:pt idx="6715">
                  <c:v>7.3890000000000002</c:v>
                </c:pt>
                <c:pt idx="6716">
                  <c:v>7.39</c:v>
                </c:pt>
                <c:pt idx="6717">
                  <c:v>7.3890000000000002</c:v>
                </c:pt>
                <c:pt idx="6718">
                  <c:v>7.3879999999999999</c:v>
                </c:pt>
                <c:pt idx="6719">
                  <c:v>7.3890000000000002</c:v>
                </c:pt>
                <c:pt idx="6720">
                  <c:v>7.3879999999999999</c:v>
                </c:pt>
                <c:pt idx="6721">
                  <c:v>7.3890000000000002</c:v>
                </c:pt>
                <c:pt idx="6722">
                  <c:v>7.3879999999999999</c:v>
                </c:pt>
                <c:pt idx="6723">
                  <c:v>7.3890000000000002</c:v>
                </c:pt>
                <c:pt idx="6724">
                  <c:v>7.3890000000000002</c:v>
                </c:pt>
                <c:pt idx="6725">
                  <c:v>7.3879999999999999</c:v>
                </c:pt>
                <c:pt idx="6726">
                  <c:v>7.3879999999999999</c:v>
                </c:pt>
                <c:pt idx="6727">
                  <c:v>7.3869999999999996</c:v>
                </c:pt>
                <c:pt idx="6728">
                  <c:v>7.3890000000000002</c:v>
                </c:pt>
                <c:pt idx="6729">
                  <c:v>7.3890000000000002</c:v>
                </c:pt>
                <c:pt idx="6730">
                  <c:v>7.3890000000000002</c:v>
                </c:pt>
                <c:pt idx="6731">
                  <c:v>7.3869999999999996</c:v>
                </c:pt>
                <c:pt idx="6732">
                  <c:v>7.3879999999999999</c:v>
                </c:pt>
                <c:pt idx="6733">
                  <c:v>7.3879999999999999</c:v>
                </c:pt>
                <c:pt idx="6734">
                  <c:v>7.3879999999999999</c:v>
                </c:pt>
                <c:pt idx="6735">
                  <c:v>7.3879999999999999</c:v>
                </c:pt>
                <c:pt idx="6736">
                  <c:v>7.3879999999999999</c:v>
                </c:pt>
                <c:pt idx="6737">
                  <c:v>7.3879999999999999</c:v>
                </c:pt>
                <c:pt idx="6738">
                  <c:v>7.3869999999999996</c:v>
                </c:pt>
                <c:pt idx="6739">
                  <c:v>7.3890000000000002</c:v>
                </c:pt>
                <c:pt idx="6740">
                  <c:v>7.3890000000000002</c:v>
                </c:pt>
                <c:pt idx="6741">
                  <c:v>7.3879999999999999</c:v>
                </c:pt>
                <c:pt idx="6742">
                  <c:v>7.3879999999999999</c:v>
                </c:pt>
                <c:pt idx="6743">
                  <c:v>7.3879999999999999</c:v>
                </c:pt>
                <c:pt idx="6744">
                  <c:v>7.3879999999999999</c:v>
                </c:pt>
                <c:pt idx="6745">
                  <c:v>7.3879999999999999</c:v>
                </c:pt>
                <c:pt idx="6746">
                  <c:v>7.3879999999999999</c:v>
                </c:pt>
                <c:pt idx="6747">
                  <c:v>7.3879999999999999</c:v>
                </c:pt>
                <c:pt idx="6748">
                  <c:v>7.3879999999999999</c:v>
                </c:pt>
                <c:pt idx="6749">
                  <c:v>7.3879999999999999</c:v>
                </c:pt>
                <c:pt idx="6750">
                  <c:v>7.3869999999999996</c:v>
                </c:pt>
                <c:pt idx="6751">
                  <c:v>7.3869999999999996</c:v>
                </c:pt>
                <c:pt idx="6752">
                  <c:v>7.3879999999999999</c:v>
                </c:pt>
                <c:pt idx="6753">
                  <c:v>7.3860000000000001</c:v>
                </c:pt>
                <c:pt idx="6754">
                  <c:v>7.3869999999999996</c:v>
                </c:pt>
                <c:pt idx="6755">
                  <c:v>7.3879999999999999</c:v>
                </c:pt>
                <c:pt idx="6756">
                  <c:v>7.3869999999999996</c:v>
                </c:pt>
                <c:pt idx="6757">
                  <c:v>7.3869999999999996</c:v>
                </c:pt>
                <c:pt idx="6758">
                  <c:v>7.3869999999999996</c:v>
                </c:pt>
                <c:pt idx="6759">
                  <c:v>7.3869999999999996</c:v>
                </c:pt>
                <c:pt idx="6760">
                  <c:v>7.3869999999999996</c:v>
                </c:pt>
                <c:pt idx="6761">
                  <c:v>7.3869999999999996</c:v>
                </c:pt>
                <c:pt idx="6762">
                  <c:v>7.3879999999999999</c:v>
                </c:pt>
                <c:pt idx="6763">
                  <c:v>7.3879999999999999</c:v>
                </c:pt>
                <c:pt idx="6764">
                  <c:v>7.3879999999999999</c:v>
                </c:pt>
                <c:pt idx="6765">
                  <c:v>7.3879999999999999</c:v>
                </c:pt>
                <c:pt idx="6766">
                  <c:v>7.3869999999999996</c:v>
                </c:pt>
                <c:pt idx="6767">
                  <c:v>7.3869999999999996</c:v>
                </c:pt>
                <c:pt idx="6768">
                  <c:v>7.3879999999999999</c:v>
                </c:pt>
                <c:pt idx="6769">
                  <c:v>7.3879999999999999</c:v>
                </c:pt>
                <c:pt idx="6770">
                  <c:v>7.3860000000000001</c:v>
                </c:pt>
                <c:pt idx="6771">
                  <c:v>7.3869999999999996</c:v>
                </c:pt>
                <c:pt idx="6772">
                  <c:v>7.3869999999999996</c:v>
                </c:pt>
                <c:pt idx="6773">
                  <c:v>7.3869999999999996</c:v>
                </c:pt>
                <c:pt idx="6774">
                  <c:v>7.3869999999999996</c:v>
                </c:pt>
                <c:pt idx="6775">
                  <c:v>7.3860000000000001</c:v>
                </c:pt>
                <c:pt idx="6776">
                  <c:v>7.3849999999999998</c:v>
                </c:pt>
                <c:pt idx="6777">
                  <c:v>7.3860000000000001</c:v>
                </c:pt>
                <c:pt idx="6778">
                  <c:v>7.3869999999999996</c:v>
                </c:pt>
                <c:pt idx="6779">
                  <c:v>7.3869999999999996</c:v>
                </c:pt>
                <c:pt idx="6780">
                  <c:v>7.3869999999999996</c:v>
                </c:pt>
                <c:pt idx="6781">
                  <c:v>7.3860000000000001</c:v>
                </c:pt>
                <c:pt idx="6782">
                  <c:v>7.3860000000000001</c:v>
                </c:pt>
                <c:pt idx="6783">
                  <c:v>7.3860000000000001</c:v>
                </c:pt>
                <c:pt idx="6784">
                  <c:v>7.3860000000000001</c:v>
                </c:pt>
                <c:pt idx="6785">
                  <c:v>7.3860000000000001</c:v>
                </c:pt>
                <c:pt idx="6786">
                  <c:v>7.3849999999999998</c:v>
                </c:pt>
                <c:pt idx="6787">
                  <c:v>7.3849999999999998</c:v>
                </c:pt>
                <c:pt idx="6788">
                  <c:v>7.3869999999999996</c:v>
                </c:pt>
                <c:pt idx="6789">
                  <c:v>7.3860000000000001</c:v>
                </c:pt>
                <c:pt idx="6790">
                  <c:v>7.3860000000000001</c:v>
                </c:pt>
                <c:pt idx="6791">
                  <c:v>7.3860000000000001</c:v>
                </c:pt>
                <c:pt idx="6792">
                  <c:v>7.3860000000000001</c:v>
                </c:pt>
                <c:pt idx="6793">
                  <c:v>7.3849999999999998</c:v>
                </c:pt>
                <c:pt idx="6794">
                  <c:v>7.3860000000000001</c:v>
                </c:pt>
                <c:pt idx="6795">
                  <c:v>7.3860000000000001</c:v>
                </c:pt>
                <c:pt idx="6796">
                  <c:v>7.3849999999999998</c:v>
                </c:pt>
                <c:pt idx="6797">
                  <c:v>7.3860000000000001</c:v>
                </c:pt>
                <c:pt idx="6798">
                  <c:v>7.3849999999999998</c:v>
                </c:pt>
                <c:pt idx="6799">
                  <c:v>7.3849999999999998</c:v>
                </c:pt>
                <c:pt idx="6800">
                  <c:v>7.3849999999999998</c:v>
                </c:pt>
                <c:pt idx="6801">
                  <c:v>7.3860000000000001</c:v>
                </c:pt>
                <c:pt idx="6802">
                  <c:v>7.3849999999999998</c:v>
                </c:pt>
                <c:pt idx="6803">
                  <c:v>7.3849999999999998</c:v>
                </c:pt>
                <c:pt idx="6804">
                  <c:v>7.3849999999999998</c:v>
                </c:pt>
                <c:pt idx="6805">
                  <c:v>7.3860000000000001</c:v>
                </c:pt>
                <c:pt idx="6806">
                  <c:v>7.3849999999999998</c:v>
                </c:pt>
                <c:pt idx="6807">
                  <c:v>7.3849999999999998</c:v>
                </c:pt>
                <c:pt idx="6808">
                  <c:v>7.3860000000000001</c:v>
                </c:pt>
                <c:pt idx="6809">
                  <c:v>7.3860000000000001</c:v>
                </c:pt>
                <c:pt idx="6810">
                  <c:v>7.3849999999999998</c:v>
                </c:pt>
                <c:pt idx="6811">
                  <c:v>7.3849999999999998</c:v>
                </c:pt>
                <c:pt idx="6812">
                  <c:v>7.3840000000000003</c:v>
                </c:pt>
                <c:pt idx="6813">
                  <c:v>7.3849999999999998</c:v>
                </c:pt>
                <c:pt idx="6814">
                  <c:v>7.3840000000000003</c:v>
                </c:pt>
                <c:pt idx="6815">
                  <c:v>7.3840000000000003</c:v>
                </c:pt>
                <c:pt idx="6816">
                  <c:v>7.3849999999999998</c:v>
                </c:pt>
                <c:pt idx="6817">
                  <c:v>7.3840000000000003</c:v>
                </c:pt>
                <c:pt idx="6818">
                  <c:v>7.3840000000000003</c:v>
                </c:pt>
                <c:pt idx="6819">
                  <c:v>7.3849999999999998</c:v>
                </c:pt>
                <c:pt idx="6820">
                  <c:v>7.3849999999999998</c:v>
                </c:pt>
                <c:pt idx="6821">
                  <c:v>7.3849999999999998</c:v>
                </c:pt>
                <c:pt idx="6822">
                  <c:v>7.3840000000000003</c:v>
                </c:pt>
                <c:pt idx="6823">
                  <c:v>7.3840000000000003</c:v>
                </c:pt>
                <c:pt idx="6824">
                  <c:v>7.3840000000000003</c:v>
                </c:pt>
                <c:pt idx="6825">
                  <c:v>7.3849999999999998</c:v>
                </c:pt>
                <c:pt idx="6826">
                  <c:v>7.3840000000000003</c:v>
                </c:pt>
                <c:pt idx="6827">
                  <c:v>7.3840000000000003</c:v>
                </c:pt>
                <c:pt idx="6828">
                  <c:v>7.3840000000000003</c:v>
                </c:pt>
                <c:pt idx="6829">
                  <c:v>7.3840000000000003</c:v>
                </c:pt>
                <c:pt idx="6830">
                  <c:v>7.3840000000000003</c:v>
                </c:pt>
                <c:pt idx="6831">
                  <c:v>7.3840000000000003</c:v>
                </c:pt>
                <c:pt idx="6832">
                  <c:v>7.3840000000000003</c:v>
                </c:pt>
                <c:pt idx="6833">
                  <c:v>7.3840000000000003</c:v>
                </c:pt>
                <c:pt idx="6834">
                  <c:v>7.3840000000000003</c:v>
                </c:pt>
                <c:pt idx="6835">
                  <c:v>7.3840000000000003</c:v>
                </c:pt>
                <c:pt idx="6836">
                  <c:v>7.3840000000000003</c:v>
                </c:pt>
                <c:pt idx="6837">
                  <c:v>7.3840000000000003</c:v>
                </c:pt>
                <c:pt idx="6838">
                  <c:v>7.3840000000000003</c:v>
                </c:pt>
                <c:pt idx="6839">
                  <c:v>7.3840000000000003</c:v>
                </c:pt>
                <c:pt idx="6840">
                  <c:v>7.383</c:v>
                </c:pt>
                <c:pt idx="6841">
                  <c:v>7.3819999999999997</c:v>
                </c:pt>
                <c:pt idx="6842">
                  <c:v>7.383</c:v>
                </c:pt>
                <c:pt idx="6843">
                  <c:v>7.3849999999999998</c:v>
                </c:pt>
                <c:pt idx="6844">
                  <c:v>7.3840000000000003</c:v>
                </c:pt>
                <c:pt idx="6845">
                  <c:v>7.3840000000000003</c:v>
                </c:pt>
                <c:pt idx="6846">
                  <c:v>7.3840000000000003</c:v>
                </c:pt>
                <c:pt idx="6847">
                  <c:v>7.3840000000000003</c:v>
                </c:pt>
                <c:pt idx="6848">
                  <c:v>7.3840000000000003</c:v>
                </c:pt>
                <c:pt idx="6849">
                  <c:v>7.3840000000000003</c:v>
                </c:pt>
                <c:pt idx="6850">
                  <c:v>7.383</c:v>
                </c:pt>
                <c:pt idx="6851">
                  <c:v>7.383</c:v>
                </c:pt>
                <c:pt idx="6852">
                  <c:v>7.383</c:v>
                </c:pt>
                <c:pt idx="6853">
                  <c:v>7.383</c:v>
                </c:pt>
                <c:pt idx="6854">
                  <c:v>7.3840000000000003</c:v>
                </c:pt>
                <c:pt idx="6855">
                  <c:v>7.3840000000000003</c:v>
                </c:pt>
                <c:pt idx="6856">
                  <c:v>7.3840000000000003</c:v>
                </c:pt>
                <c:pt idx="6857">
                  <c:v>7.3840000000000003</c:v>
                </c:pt>
                <c:pt idx="6858">
                  <c:v>7.383</c:v>
                </c:pt>
                <c:pt idx="6859">
                  <c:v>7.383</c:v>
                </c:pt>
                <c:pt idx="6860">
                  <c:v>7.3840000000000003</c:v>
                </c:pt>
                <c:pt idx="6861">
                  <c:v>7.383</c:v>
                </c:pt>
                <c:pt idx="6862">
                  <c:v>7.383</c:v>
                </c:pt>
                <c:pt idx="6863">
                  <c:v>7.383</c:v>
                </c:pt>
                <c:pt idx="6864">
                  <c:v>7.3840000000000003</c:v>
                </c:pt>
                <c:pt idx="6865">
                  <c:v>7.3840000000000003</c:v>
                </c:pt>
                <c:pt idx="6866">
                  <c:v>7.383</c:v>
                </c:pt>
                <c:pt idx="6867">
                  <c:v>7.383</c:v>
                </c:pt>
                <c:pt idx="6868">
                  <c:v>7.383</c:v>
                </c:pt>
                <c:pt idx="6869">
                  <c:v>7.3819999999999997</c:v>
                </c:pt>
                <c:pt idx="6870">
                  <c:v>7.3819999999999997</c:v>
                </c:pt>
                <c:pt idx="6871">
                  <c:v>7.383</c:v>
                </c:pt>
                <c:pt idx="6872">
                  <c:v>7.3819999999999997</c:v>
                </c:pt>
                <c:pt idx="6873">
                  <c:v>7.3840000000000003</c:v>
                </c:pt>
                <c:pt idx="6874">
                  <c:v>7.383</c:v>
                </c:pt>
                <c:pt idx="6875">
                  <c:v>7.383</c:v>
                </c:pt>
                <c:pt idx="6876">
                  <c:v>7.383</c:v>
                </c:pt>
                <c:pt idx="6877">
                  <c:v>7.383</c:v>
                </c:pt>
                <c:pt idx="6878">
                  <c:v>7.383</c:v>
                </c:pt>
                <c:pt idx="6879">
                  <c:v>7.3819999999999997</c:v>
                </c:pt>
                <c:pt idx="6880">
                  <c:v>7.383</c:v>
                </c:pt>
                <c:pt idx="6881">
                  <c:v>7.383</c:v>
                </c:pt>
                <c:pt idx="6882">
                  <c:v>7.383</c:v>
                </c:pt>
                <c:pt idx="6883">
                  <c:v>7.3819999999999997</c:v>
                </c:pt>
                <c:pt idx="6884">
                  <c:v>7.3819999999999997</c:v>
                </c:pt>
                <c:pt idx="6885">
                  <c:v>7.3819999999999997</c:v>
                </c:pt>
                <c:pt idx="6886">
                  <c:v>7.3819999999999997</c:v>
                </c:pt>
                <c:pt idx="6887">
                  <c:v>7.3819999999999997</c:v>
                </c:pt>
                <c:pt idx="6888">
                  <c:v>7.3819999999999997</c:v>
                </c:pt>
                <c:pt idx="6889">
                  <c:v>7.3810000000000002</c:v>
                </c:pt>
                <c:pt idx="6890">
                  <c:v>7.383</c:v>
                </c:pt>
                <c:pt idx="6891">
                  <c:v>7.383</c:v>
                </c:pt>
                <c:pt idx="6892">
                  <c:v>7.3819999999999997</c:v>
                </c:pt>
                <c:pt idx="6893">
                  <c:v>7.383</c:v>
                </c:pt>
                <c:pt idx="6894">
                  <c:v>7.3819999999999997</c:v>
                </c:pt>
                <c:pt idx="6895">
                  <c:v>7.3819999999999997</c:v>
                </c:pt>
                <c:pt idx="6896">
                  <c:v>7.3819999999999997</c:v>
                </c:pt>
                <c:pt idx="6897">
                  <c:v>7.3819999999999997</c:v>
                </c:pt>
                <c:pt idx="6898">
                  <c:v>7.3819999999999997</c:v>
                </c:pt>
                <c:pt idx="6899">
                  <c:v>7.3810000000000002</c:v>
                </c:pt>
                <c:pt idx="6900">
                  <c:v>7.3819999999999997</c:v>
                </c:pt>
                <c:pt idx="6901">
                  <c:v>7.3819999999999997</c:v>
                </c:pt>
                <c:pt idx="6902">
                  <c:v>7.3819999999999997</c:v>
                </c:pt>
                <c:pt idx="6903">
                  <c:v>7.3819999999999997</c:v>
                </c:pt>
                <c:pt idx="6904">
                  <c:v>7.3819999999999997</c:v>
                </c:pt>
                <c:pt idx="6905">
                  <c:v>7.3819999999999997</c:v>
                </c:pt>
                <c:pt idx="6906">
                  <c:v>7.3819999999999997</c:v>
                </c:pt>
                <c:pt idx="6907">
                  <c:v>7.3810000000000002</c:v>
                </c:pt>
                <c:pt idx="6908">
                  <c:v>7.3819999999999997</c:v>
                </c:pt>
                <c:pt idx="6909">
                  <c:v>7.3810000000000002</c:v>
                </c:pt>
                <c:pt idx="6910">
                  <c:v>7.3810000000000002</c:v>
                </c:pt>
                <c:pt idx="6911">
                  <c:v>7.3810000000000002</c:v>
                </c:pt>
                <c:pt idx="6912">
                  <c:v>7.3810000000000002</c:v>
                </c:pt>
                <c:pt idx="6913">
                  <c:v>7.3810000000000002</c:v>
                </c:pt>
                <c:pt idx="6914">
                  <c:v>7.3810000000000002</c:v>
                </c:pt>
                <c:pt idx="6915">
                  <c:v>7.3819999999999997</c:v>
                </c:pt>
                <c:pt idx="6916">
                  <c:v>7.3810000000000002</c:v>
                </c:pt>
                <c:pt idx="6917">
                  <c:v>7.3810000000000002</c:v>
                </c:pt>
                <c:pt idx="6918">
                  <c:v>7.3810000000000002</c:v>
                </c:pt>
                <c:pt idx="6919">
                  <c:v>7.3810000000000002</c:v>
                </c:pt>
                <c:pt idx="6920">
                  <c:v>7.3810000000000002</c:v>
                </c:pt>
                <c:pt idx="6921">
                  <c:v>7.3819999999999997</c:v>
                </c:pt>
                <c:pt idx="6922">
                  <c:v>7.3810000000000002</c:v>
                </c:pt>
                <c:pt idx="6923">
                  <c:v>7.38</c:v>
                </c:pt>
                <c:pt idx="6924">
                  <c:v>7.3810000000000002</c:v>
                </c:pt>
                <c:pt idx="6925">
                  <c:v>7.3810000000000002</c:v>
                </c:pt>
                <c:pt idx="6926">
                  <c:v>7.3819999999999997</c:v>
                </c:pt>
                <c:pt idx="6927">
                  <c:v>7.3810000000000002</c:v>
                </c:pt>
                <c:pt idx="6928">
                  <c:v>7.3819999999999997</c:v>
                </c:pt>
                <c:pt idx="6929">
                  <c:v>7.3810000000000002</c:v>
                </c:pt>
                <c:pt idx="6930">
                  <c:v>7.3810000000000002</c:v>
                </c:pt>
                <c:pt idx="6931">
                  <c:v>7.3810000000000002</c:v>
                </c:pt>
                <c:pt idx="6932">
                  <c:v>7.38</c:v>
                </c:pt>
                <c:pt idx="6933">
                  <c:v>7.38</c:v>
                </c:pt>
                <c:pt idx="6934">
                  <c:v>7.3810000000000002</c:v>
                </c:pt>
                <c:pt idx="6935">
                  <c:v>7.38</c:v>
                </c:pt>
                <c:pt idx="6936">
                  <c:v>7.38</c:v>
                </c:pt>
                <c:pt idx="6937">
                  <c:v>7.3810000000000002</c:v>
                </c:pt>
                <c:pt idx="6938">
                  <c:v>7.38</c:v>
                </c:pt>
                <c:pt idx="6939">
                  <c:v>7.3810000000000002</c:v>
                </c:pt>
                <c:pt idx="6940">
                  <c:v>7.3810000000000002</c:v>
                </c:pt>
                <c:pt idx="6941">
                  <c:v>7.3810000000000002</c:v>
                </c:pt>
                <c:pt idx="6942">
                  <c:v>7.38</c:v>
                </c:pt>
                <c:pt idx="6943">
                  <c:v>7.38</c:v>
                </c:pt>
                <c:pt idx="6944">
                  <c:v>7.38</c:v>
                </c:pt>
                <c:pt idx="6945">
                  <c:v>7.38</c:v>
                </c:pt>
                <c:pt idx="6946">
                  <c:v>7.38</c:v>
                </c:pt>
                <c:pt idx="6947">
                  <c:v>7.3810000000000002</c:v>
                </c:pt>
                <c:pt idx="6948">
                  <c:v>7.38</c:v>
                </c:pt>
                <c:pt idx="6949">
                  <c:v>7.3810000000000002</c:v>
                </c:pt>
                <c:pt idx="6950">
                  <c:v>7.3789999999999996</c:v>
                </c:pt>
                <c:pt idx="6951">
                  <c:v>7.38</c:v>
                </c:pt>
                <c:pt idx="6952">
                  <c:v>7.38</c:v>
                </c:pt>
                <c:pt idx="6953">
                  <c:v>7.3789999999999996</c:v>
                </c:pt>
                <c:pt idx="6954">
                  <c:v>7.38</c:v>
                </c:pt>
                <c:pt idx="6955">
                  <c:v>7.38</c:v>
                </c:pt>
                <c:pt idx="6956">
                  <c:v>7.3789999999999996</c:v>
                </c:pt>
                <c:pt idx="6957">
                  <c:v>7.38</c:v>
                </c:pt>
                <c:pt idx="6958">
                  <c:v>7.38</c:v>
                </c:pt>
                <c:pt idx="6959">
                  <c:v>7.38</c:v>
                </c:pt>
                <c:pt idx="6960">
                  <c:v>7.38</c:v>
                </c:pt>
                <c:pt idx="6961">
                  <c:v>7.3789999999999996</c:v>
                </c:pt>
                <c:pt idx="6962">
                  <c:v>7.38</c:v>
                </c:pt>
                <c:pt idx="6963">
                  <c:v>7.3810000000000002</c:v>
                </c:pt>
                <c:pt idx="6964">
                  <c:v>7.38</c:v>
                </c:pt>
                <c:pt idx="6965">
                  <c:v>7.3810000000000002</c:v>
                </c:pt>
                <c:pt idx="6966">
                  <c:v>7.3789999999999996</c:v>
                </c:pt>
                <c:pt idx="6967">
                  <c:v>7.3789999999999996</c:v>
                </c:pt>
                <c:pt idx="6968">
                  <c:v>7.38</c:v>
                </c:pt>
                <c:pt idx="6969">
                  <c:v>7.38</c:v>
                </c:pt>
                <c:pt idx="6970">
                  <c:v>7.3789999999999996</c:v>
                </c:pt>
                <c:pt idx="6971">
                  <c:v>7.3789999999999996</c:v>
                </c:pt>
                <c:pt idx="6972">
                  <c:v>7.3789999999999996</c:v>
                </c:pt>
                <c:pt idx="6973">
                  <c:v>7.3789999999999996</c:v>
                </c:pt>
                <c:pt idx="6974">
                  <c:v>7.3789999999999996</c:v>
                </c:pt>
                <c:pt idx="6975">
                  <c:v>7.3789999999999996</c:v>
                </c:pt>
                <c:pt idx="6976">
                  <c:v>7.38</c:v>
                </c:pt>
                <c:pt idx="6977">
                  <c:v>7.38</c:v>
                </c:pt>
                <c:pt idx="6978">
                  <c:v>7.3789999999999996</c:v>
                </c:pt>
                <c:pt idx="6979">
                  <c:v>7.3789999999999996</c:v>
                </c:pt>
                <c:pt idx="6980">
                  <c:v>7.3789999999999996</c:v>
                </c:pt>
                <c:pt idx="6981">
                  <c:v>7.38</c:v>
                </c:pt>
                <c:pt idx="6982">
                  <c:v>7.3789999999999996</c:v>
                </c:pt>
                <c:pt idx="6983">
                  <c:v>7.38</c:v>
                </c:pt>
                <c:pt idx="6984">
                  <c:v>7.38</c:v>
                </c:pt>
                <c:pt idx="6985">
                  <c:v>7.3789999999999996</c:v>
                </c:pt>
                <c:pt idx="6986">
                  <c:v>7.3789999999999996</c:v>
                </c:pt>
                <c:pt idx="6987">
                  <c:v>7.3780000000000001</c:v>
                </c:pt>
                <c:pt idx="6988">
                  <c:v>7.3780000000000001</c:v>
                </c:pt>
                <c:pt idx="6989">
                  <c:v>7.3789999999999996</c:v>
                </c:pt>
                <c:pt idx="6990">
                  <c:v>7.3789999999999996</c:v>
                </c:pt>
                <c:pt idx="6991">
                  <c:v>7.3789999999999996</c:v>
                </c:pt>
                <c:pt idx="6992">
                  <c:v>7.3789999999999996</c:v>
                </c:pt>
                <c:pt idx="6993">
                  <c:v>7.3789999999999996</c:v>
                </c:pt>
                <c:pt idx="6994">
                  <c:v>7.38</c:v>
                </c:pt>
                <c:pt idx="6995">
                  <c:v>7.3789999999999996</c:v>
                </c:pt>
                <c:pt idx="6996">
                  <c:v>7.3789999999999996</c:v>
                </c:pt>
                <c:pt idx="6997">
                  <c:v>7.3789999999999996</c:v>
                </c:pt>
                <c:pt idx="6998">
                  <c:v>7.38</c:v>
                </c:pt>
                <c:pt idx="6999">
                  <c:v>7.3780000000000001</c:v>
                </c:pt>
                <c:pt idx="7000">
                  <c:v>7.3789999999999996</c:v>
                </c:pt>
                <c:pt idx="7001">
                  <c:v>7.3780000000000001</c:v>
                </c:pt>
                <c:pt idx="7002">
                  <c:v>7.3789999999999996</c:v>
                </c:pt>
                <c:pt idx="7003">
                  <c:v>7.3789999999999996</c:v>
                </c:pt>
                <c:pt idx="7004">
                  <c:v>7.38</c:v>
                </c:pt>
                <c:pt idx="7005">
                  <c:v>7.3789999999999996</c:v>
                </c:pt>
                <c:pt idx="7006">
                  <c:v>7.3780000000000001</c:v>
                </c:pt>
                <c:pt idx="7007">
                  <c:v>7.3780000000000001</c:v>
                </c:pt>
                <c:pt idx="7008">
                  <c:v>7.3780000000000001</c:v>
                </c:pt>
                <c:pt idx="7009">
                  <c:v>7.3789999999999996</c:v>
                </c:pt>
                <c:pt idx="7010">
                  <c:v>7.3780000000000001</c:v>
                </c:pt>
                <c:pt idx="7011">
                  <c:v>7.3789999999999996</c:v>
                </c:pt>
                <c:pt idx="7012">
                  <c:v>7.3769999999999998</c:v>
                </c:pt>
                <c:pt idx="7013">
                  <c:v>7.3789999999999996</c:v>
                </c:pt>
                <c:pt idx="7014">
                  <c:v>7.3780000000000001</c:v>
                </c:pt>
                <c:pt idx="7015">
                  <c:v>7.3780000000000001</c:v>
                </c:pt>
                <c:pt idx="7016">
                  <c:v>7.3780000000000001</c:v>
                </c:pt>
                <c:pt idx="7017">
                  <c:v>7.3780000000000001</c:v>
                </c:pt>
                <c:pt idx="7018">
                  <c:v>7.3780000000000001</c:v>
                </c:pt>
                <c:pt idx="7019">
                  <c:v>7.3789999999999996</c:v>
                </c:pt>
                <c:pt idx="7020">
                  <c:v>7.3780000000000001</c:v>
                </c:pt>
                <c:pt idx="7021">
                  <c:v>7.3780000000000001</c:v>
                </c:pt>
                <c:pt idx="7022">
                  <c:v>7.3780000000000001</c:v>
                </c:pt>
                <c:pt idx="7023">
                  <c:v>7.3780000000000001</c:v>
                </c:pt>
                <c:pt idx="7024">
                  <c:v>7.3769999999999998</c:v>
                </c:pt>
                <c:pt idx="7025">
                  <c:v>7.3780000000000001</c:v>
                </c:pt>
                <c:pt idx="7026">
                  <c:v>7.3780000000000001</c:v>
                </c:pt>
                <c:pt idx="7027">
                  <c:v>7.3789999999999996</c:v>
                </c:pt>
                <c:pt idx="7028">
                  <c:v>7.3769999999999998</c:v>
                </c:pt>
                <c:pt idx="7029">
                  <c:v>7.3780000000000001</c:v>
                </c:pt>
                <c:pt idx="7030">
                  <c:v>7.3789999999999996</c:v>
                </c:pt>
                <c:pt idx="7031">
                  <c:v>7.3780000000000001</c:v>
                </c:pt>
                <c:pt idx="7032">
                  <c:v>7.3780000000000001</c:v>
                </c:pt>
                <c:pt idx="7033">
                  <c:v>7.3769999999999998</c:v>
                </c:pt>
                <c:pt idx="7034">
                  <c:v>7.3780000000000001</c:v>
                </c:pt>
                <c:pt idx="7035">
                  <c:v>7.3769999999999998</c:v>
                </c:pt>
                <c:pt idx="7036">
                  <c:v>7.3780000000000001</c:v>
                </c:pt>
                <c:pt idx="7037">
                  <c:v>7.3769999999999998</c:v>
                </c:pt>
                <c:pt idx="7038">
                  <c:v>7.3769999999999998</c:v>
                </c:pt>
                <c:pt idx="7039">
                  <c:v>7.3780000000000001</c:v>
                </c:pt>
                <c:pt idx="7040">
                  <c:v>7.3769999999999998</c:v>
                </c:pt>
                <c:pt idx="7041">
                  <c:v>7.3780000000000001</c:v>
                </c:pt>
                <c:pt idx="7042">
                  <c:v>7.3769999999999998</c:v>
                </c:pt>
                <c:pt idx="7043">
                  <c:v>7.3769999999999998</c:v>
                </c:pt>
                <c:pt idx="7044">
                  <c:v>7.3780000000000001</c:v>
                </c:pt>
                <c:pt idx="7045">
                  <c:v>7.3780000000000001</c:v>
                </c:pt>
                <c:pt idx="7046">
                  <c:v>7.3789999999999996</c:v>
                </c:pt>
                <c:pt idx="7047">
                  <c:v>7.3780000000000001</c:v>
                </c:pt>
                <c:pt idx="7048">
                  <c:v>7.3769999999999998</c:v>
                </c:pt>
                <c:pt idx="7049">
                  <c:v>7.3769999999999998</c:v>
                </c:pt>
                <c:pt idx="7050">
                  <c:v>7.3780000000000001</c:v>
                </c:pt>
                <c:pt idx="7051">
                  <c:v>7.3769999999999998</c:v>
                </c:pt>
                <c:pt idx="7052">
                  <c:v>7.3780000000000001</c:v>
                </c:pt>
                <c:pt idx="7053">
                  <c:v>7.3769999999999998</c:v>
                </c:pt>
                <c:pt idx="7054">
                  <c:v>7.3780000000000001</c:v>
                </c:pt>
                <c:pt idx="7055">
                  <c:v>7.3769999999999998</c:v>
                </c:pt>
                <c:pt idx="7056">
                  <c:v>7.3769999999999998</c:v>
                </c:pt>
                <c:pt idx="7057">
                  <c:v>7.3769999999999998</c:v>
                </c:pt>
                <c:pt idx="7058">
                  <c:v>7.3780000000000001</c:v>
                </c:pt>
                <c:pt idx="7059">
                  <c:v>7.3769999999999998</c:v>
                </c:pt>
                <c:pt idx="7060">
                  <c:v>7.3769999999999998</c:v>
                </c:pt>
                <c:pt idx="7061">
                  <c:v>7.3769999999999998</c:v>
                </c:pt>
                <c:pt idx="7062">
                  <c:v>7.3769999999999998</c:v>
                </c:pt>
                <c:pt idx="7063">
                  <c:v>7.3769999999999998</c:v>
                </c:pt>
                <c:pt idx="7064">
                  <c:v>7.3769999999999998</c:v>
                </c:pt>
                <c:pt idx="7065">
                  <c:v>7.3769999999999998</c:v>
                </c:pt>
                <c:pt idx="7066">
                  <c:v>7.3769999999999998</c:v>
                </c:pt>
                <c:pt idx="7067">
                  <c:v>7.3760000000000003</c:v>
                </c:pt>
                <c:pt idx="7068">
                  <c:v>7.3769999999999998</c:v>
                </c:pt>
                <c:pt idx="7069">
                  <c:v>7.3769999999999998</c:v>
                </c:pt>
                <c:pt idx="7070">
                  <c:v>7.3769999999999998</c:v>
                </c:pt>
                <c:pt idx="7071">
                  <c:v>7.3780000000000001</c:v>
                </c:pt>
                <c:pt idx="7072">
                  <c:v>7.3760000000000003</c:v>
                </c:pt>
                <c:pt idx="7073">
                  <c:v>7.3769999999999998</c:v>
                </c:pt>
                <c:pt idx="7074">
                  <c:v>7.3780000000000001</c:v>
                </c:pt>
                <c:pt idx="7075">
                  <c:v>7.3769999999999998</c:v>
                </c:pt>
                <c:pt idx="7076">
                  <c:v>7.3780000000000001</c:v>
                </c:pt>
                <c:pt idx="7077">
                  <c:v>7.3760000000000003</c:v>
                </c:pt>
                <c:pt idx="7078">
                  <c:v>7.3760000000000003</c:v>
                </c:pt>
                <c:pt idx="7079">
                  <c:v>7.3769999999999998</c:v>
                </c:pt>
                <c:pt idx="7080">
                  <c:v>7.3760000000000003</c:v>
                </c:pt>
                <c:pt idx="7081">
                  <c:v>7.3769999999999998</c:v>
                </c:pt>
                <c:pt idx="7082">
                  <c:v>7.3769999999999998</c:v>
                </c:pt>
                <c:pt idx="7083">
                  <c:v>7.3760000000000003</c:v>
                </c:pt>
                <c:pt idx="7084">
                  <c:v>7.3769999999999998</c:v>
                </c:pt>
                <c:pt idx="7085">
                  <c:v>7.3769999999999998</c:v>
                </c:pt>
                <c:pt idx="7086">
                  <c:v>7.3769999999999998</c:v>
                </c:pt>
                <c:pt idx="7087">
                  <c:v>7.3760000000000003</c:v>
                </c:pt>
                <c:pt idx="7088">
                  <c:v>7.3760000000000003</c:v>
                </c:pt>
                <c:pt idx="7089">
                  <c:v>7.3780000000000001</c:v>
                </c:pt>
                <c:pt idx="7090">
                  <c:v>7.3760000000000003</c:v>
                </c:pt>
                <c:pt idx="7091">
                  <c:v>7.3769999999999998</c:v>
                </c:pt>
                <c:pt idx="7092">
                  <c:v>7.3760000000000003</c:v>
                </c:pt>
                <c:pt idx="7093">
                  <c:v>7.3760000000000003</c:v>
                </c:pt>
                <c:pt idx="7094">
                  <c:v>7.3760000000000003</c:v>
                </c:pt>
                <c:pt idx="7095">
                  <c:v>7.3769999999999998</c:v>
                </c:pt>
                <c:pt idx="7096">
                  <c:v>7.3769999999999998</c:v>
                </c:pt>
                <c:pt idx="7097">
                  <c:v>7.3769999999999998</c:v>
                </c:pt>
                <c:pt idx="7098">
                  <c:v>7.3769999999999998</c:v>
                </c:pt>
                <c:pt idx="7099">
                  <c:v>7.3760000000000003</c:v>
                </c:pt>
                <c:pt idx="7100">
                  <c:v>7.3760000000000003</c:v>
                </c:pt>
                <c:pt idx="7101">
                  <c:v>7.3760000000000003</c:v>
                </c:pt>
                <c:pt idx="7102">
                  <c:v>7.3760000000000003</c:v>
                </c:pt>
                <c:pt idx="7103">
                  <c:v>7.3760000000000003</c:v>
                </c:pt>
                <c:pt idx="7104">
                  <c:v>7.3760000000000003</c:v>
                </c:pt>
                <c:pt idx="7105">
                  <c:v>7.3760000000000003</c:v>
                </c:pt>
                <c:pt idx="7106">
                  <c:v>7.3760000000000003</c:v>
                </c:pt>
                <c:pt idx="7107">
                  <c:v>7.375</c:v>
                </c:pt>
                <c:pt idx="7108">
                  <c:v>7.3760000000000003</c:v>
                </c:pt>
                <c:pt idx="7109">
                  <c:v>7.3769999999999998</c:v>
                </c:pt>
                <c:pt idx="7110">
                  <c:v>7.3760000000000003</c:v>
                </c:pt>
                <c:pt idx="7111">
                  <c:v>7.3769999999999998</c:v>
                </c:pt>
                <c:pt idx="7112">
                  <c:v>7.3760000000000003</c:v>
                </c:pt>
                <c:pt idx="7113">
                  <c:v>7.3760000000000003</c:v>
                </c:pt>
                <c:pt idx="7114">
                  <c:v>7.375</c:v>
                </c:pt>
                <c:pt idx="7115">
                  <c:v>7.3760000000000003</c:v>
                </c:pt>
                <c:pt idx="7116">
                  <c:v>7.375</c:v>
                </c:pt>
                <c:pt idx="7117">
                  <c:v>7.3760000000000003</c:v>
                </c:pt>
                <c:pt idx="7118">
                  <c:v>7.3760000000000003</c:v>
                </c:pt>
                <c:pt idx="7119">
                  <c:v>7.375</c:v>
                </c:pt>
                <c:pt idx="7120">
                  <c:v>7.3760000000000003</c:v>
                </c:pt>
                <c:pt idx="7121">
                  <c:v>7.3760000000000003</c:v>
                </c:pt>
                <c:pt idx="7122">
                  <c:v>7.3760000000000003</c:v>
                </c:pt>
                <c:pt idx="7123">
                  <c:v>7.3760000000000003</c:v>
                </c:pt>
                <c:pt idx="7124">
                  <c:v>7.3760000000000003</c:v>
                </c:pt>
                <c:pt idx="7125">
                  <c:v>7.375</c:v>
                </c:pt>
                <c:pt idx="7126">
                  <c:v>7.3760000000000003</c:v>
                </c:pt>
                <c:pt idx="7127">
                  <c:v>7.3760000000000003</c:v>
                </c:pt>
                <c:pt idx="7128">
                  <c:v>7.3760000000000003</c:v>
                </c:pt>
                <c:pt idx="7129">
                  <c:v>7.375</c:v>
                </c:pt>
                <c:pt idx="7130">
                  <c:v>7.375</c:v>
                </c:pt>
                <c:pt idx="7131">
                  <c:v>7.3760000000000003</c:v>
                </c:pt>
                <c:pt idx="7132">
                  <c:v>7.375</c:v>
                </c:pt>
                <c:pt idx="7133">
                  <c:v>7.375</c:v>
                </c:pt>
                <c:pt idx="7134">
                  <c:v>7.375</c:v>
                </c:pt>
                <c:pt idx="7135">
                  <c:v>7.3760000000000003</c:v>
                </c:pt>
                <c:pt idx="7136">
                  <c:v>7.375</c:v>
                </c:pt>
                <c:pt idx="7137">
                  <c:v>7.375</c:v>
                </c:pt>
                <c:pt idx="7138">
                  <c:v>7.375</c:v>
                </c:pt>
                <c:pt idx="7139">
                  <c:v>7.375</c:v>
                </c:pt>
                <c:pt idx="7140">
                  <c:v>7.375</c:v>
                </c:pt>
                <c:pt idx="7141">
                  <c:v>7.3760000000000003</c:v>
                </c:pt>
                <c:pt idx="7142">
                  <c:v>7.375</c:v>
                </c:pt>
                <c:pt idx="7143">
                  <c:v>7.375</c:v>
                </c:pt>
                <c:pt idx="7144">
                  <c:v>7.375</c:v>
                </c:pt>
                <c:pt idx="7145">
                  <c:v>7.375</c:v>
                </c:pt>
                <c:pt idx="7146">
                  <c:v>7.375</c:v>
                </c:pt>
                <c:pt idx="7147">
                  <c:v>7.3739999999999997</c:v>
                </c:pt>
                <c:pt idx="7148">
                  <c:v>7.375</c:v>
                </c:pt>
                <c:pt idx="7149">
                  <c:v>7.375</c:v>
                </c:pt>
                <c:pt idx="7150">
                  <c:v>7.375</c:v>
                </c:pt>
                <c:pt idx="7151">
                  <c:v>7.375</c:v>
                </c:pt>
                <c:pt idx="7152">
                  <c:v>7.3739999999999997</c:v>
                </c:pt>
                <c:pt idx="7153">
                  <c:v>7.3739999999999997</c:v>
                </c:pt>
                <c:pt idx="7154">
                  <c:v>7.3739999999999997</c:v>
                </c:pt>
                <c:pt idx="7155">
                  <c:v>7.375</c:v>
                </c:pt>
                <c:pt idx="7156">
                  <c:v>7.375</c:v>
                </c:pt>
                <c:pt idx="7157">
                  <c:v>7.3739999999999997</c:v>
                </c:pt>
                <c:pt idx="7158">
                  <c:v>7.375</c:v>
                </c:pt>
                <c:pt idx="7159">
                  <c:v>7.375</c:v>
                </c:pt>
                <c:pt idx="7160">
                  <c:v>7.375</c:v>
                </c:pt>
                <c:pt idx="7161">
                  <c:v>7.375</c:v>
                </c:pt>
                <c:pt idx="7162">
                  <c:v>7.3739999999999997</c:v>
                </c:pt>
                <c:pt idx="7163">
                  <c:v>7.3739999999999997</c:v>
                </c:pt>
                <c:pt idx="7164">
                  <c:v>7.375</c:v>
                </c:pt>
                <c:pt idx="7165">
                  <c:v>7.3739999999999997</c:v>
                </c:pt>
                <c:pt idx="7166">
                  <c:v>7.3739999999999997</c:v>
                </c:pt>
                <c:pt idx="7167">
                  <c:v>7.375</c:v>
                </c:pt>
                <c:pt idx="7168">
                  <c:v>7.3739999999999997</c:v>
                </c:pt>
                <c:pt idx="7169">
                  <c:v>7.3739999999999997</c:v>
                </c:pt>
                <c:pt idx="7170">
                  <c:v>7.375</c:v>
                </c:pt>
                <c:pt idx="7171">
                  <c:v>7.3730000000000002</c:v>
                </c:pt>
                <c:pt idx="7172">
                  <c:v>7.3730000000000002</c:v>
                </c:pt>
                <c:pt idx="7173">
                  <c:v>7.3739999999999997</c:v>
                </c:pt>
                <c:pt idx="7174">
                  <c:v>7.3730000000000002</c:v>
                </c:pt>
                <c:pt idx="7175">
                  <c:v>7.3739999999999997</c:v>
                </c:pt>
                <c:pt idx="7176">
                  <c:v>7.3739999999999997</c:v>
                </c:pt>
                <c:pt idx="7177">
                  <c:v>7.3739999999999997</c:v>
                </c:pt>
                <c:pt idx="7178">
                  <c:v>7.3730000000000002</c:v>
                </c:pt>
                <c:pt idx="7179">
                  <c:v>7.3739999999999997</c:v>
                </c:pt>
                <c:pt idx="7180">
                  <c:v>7.3739999999999997</c:v>
                </c:pt>
                <c:pt idx="7181">
                  <c:v>7.3739999999999997</c:v>
                </c:pt>
                <c:pt idx="7182">
                  <c:v>7.3739999999999997</c:v>
                </c:pt>
                <c:pt idx="7183">
                  <c:v>7.3739999999999997</c:v>
                </c:pt>
                <c:pt idx="7184">
                  <c:v>7.3739999999999997</c:v>
                </c:pt>
                <c:pt idx="7185">
                  <c:v>7.3739999999999997</c:v>
                </c:pt>
                <c:pt idx="7186">
                  <c:v>7.3739999999999997</c:v>
                </c:pt>
                <c:pt idx="7187">
                  <c:v>7.3739999999999997</c:v>
                </c:pt>
                <c:pt idx="7188">
                  <c:v>7.3730000000000002</c:v>
                </c:pt>
                <c:pt idx="7189">
                  <c:v>7.3739999999999997</c:v>
                </c:pt>
                <c:pt idx="7190">
                  <c:v>7.3730000000000002</c:v>
                </c:pt>
                <c:pt idx="7191">
                  <c:v>7.3739999999999997</c:v>
                </c:pt>
                <c:pt idx="7192">
                  <c:v>7.3739999999999997</c:v>
                </c:pt>
                <c:pt idx="7193">
                  <c:v>7.3730000000000002</c:v>
                </c:pt>
                <c:pt idx="7194">
                  <c:v>7.3739999999999997</c:v>
                </c:pt>
                <c:pt idx="7195">
                  <c:v>7.3739999999999997</c:v>
                </c:pt>
                <c:pt idx="7196">
                  <c:v>7.3730000000000002</c:v>
                </c:pt>
                <c:pt idx="7197">
                  <c:v>7.3730000000000002</c:v>
                </c:pt>
                <c:pt idx="7198">
                  <c:v>7.3739999999999997</c:v>
                </c:pt>
                <c:pt idx="7199">
                  <c:v>7.3739999999999997</c:v>
                </c:pt>
                <c:pt idx="7200">
                  <c:v>7.3730000000000002</c:v>
                </c:pt>
                <c:pt idx="7201">
                  <c:v>7.3730000000000002</c:v>
                </c:pt>
                <c:pt idx="7202">
                  <c:v>7.3730000000000002</c:v>
                </c:pt>
                <c:pt idx="7203">
                  <c:v>7.3730000000000002</c:v>
                </c:pt>
                <c:pt idx="7204">
                  <c:v>7.3730000000000002</c:v>
                </c:pt>
                <c:pt idx="7205">
                  <c:v>7.3730000000000002</c:v>
                </c:pt>
                <c:pt idx="7206">
                  <c:v>7.3739999999999997</c:v>
                </c:pt>
                <c:pt idx="7207">
                  <c:v>7.3730000000000002</c:v>
                </c:pt>
                <c:pt idx="7208">
                  <c:v>7.3719999999999999</c:v>
                </c:pt>
                <c:pt idx="7209">
                  <c:v>7.3730000000000002</c:v>
                </c:pt>
                <c:pt idx="7210">
                  <c:v>7.3730000000000002</c:v>
                </c:pt>
                <c:pt idx="7211">
                  <c:v>7.3730000000000002</c:v>
                </c:pt>
                <c:pt idx="7212">
                  <c:v>7.3730000000000002</c:v>
                </c:pt>
                <c:pt idx="7213">
                  <c:v>7.3730000000000002</c:v>
                </c:pt>
                <c:pt idx="7214">
                  <c:v>7.3719999999999999</c:v>
                </c:pt>
                <c:pt idx="7215">
                  <c:v>7.3719999999999999</c:v>
                </c:pt>
                <c:pt idx="7216">
                  <c:v>7.3719999999999999</c:v>
                </c:pt>
                <c:pt idx="7217">
                  <c:v>7.3719999999999999</c:v>
                </c:pt>
                <c:pt idx="7218">
                  <c:v>7.3719999999999999</c:v>
                </c:pt>
                <c:pt idx="7219">
                  <c:v>7.3730000000000002</c:v>
                </c:pt>
                <c:pt idx="7220">
                  <c:v>7.3730000000000002</c:v>
                </c:pt>
                <c:pt idx="7221">
                  <c:v>7.3719999999999999</c:v>
                </c:pt>
                <c:pt idx="7222">
                  <c:v>7.3730000000000002</c:v>
                </c:pt>
                <c:pt idx="7223">
                  <c:v>7.3719999999999999</c:v>
                </c:pt>
                <c:pt idx="7224">
                  <c:v>7.3719999999999999</c:v>
                </c:pt>
                <c:pt idx="7225">
                  <c:v>7.3719999999999999</c:v>
                </c:pt>
                <c:pt idx="7226">
                  <c:v>7.3730000000000002</c:v>
                </c:pt>
                <c:pt idx="7227">
                  <c:v>7.3719999999999999</c:v>
                </c:pt>
                <c:pt idx="7228">
                  <c:v>7.3719999999999999</c:v>
                </c:pt>
                <c:pt idx="7229">
                  <c:v>7.3719999999999999</c:v>
                </c:pt>
                <c:pt idx="7230">
                  <c:v>7.3730000000000002</c:v>
                </c:pt>
                <c:pt idx="7231">
                  <c:v>7.3719999999999999</c:v>
                </c:pt>
                <c:pt idx="7232">
                  <c:v>7.3719999999999999</c:v>
                </c:pt>
                <c:pt idx="7233">
                  <c:v>7.3719999999999999</c:v>
                </c:pt>
                <c:pt idx="7234">
                  <c:v>7.3719999999999999</c:v>
                </c:pt>
                <c:pt idx="7235">
                  <c:v>7.3719999999999999</c:v>
                </c:pt>
                <c:pt idx="7236">
                  <c:v>7.3710000000000004</c:v>
                </c:pt>
                <c:pt idx="7237">
                  <c:v>7.3719999999999999</c:v>
                </c:pt>
                <c:pt idx="7238">
                  <c:v>7.3719999999999999</c:v>
                </c:pt>
                <c:pt idx="7239">
                  <c:v>7.3719999999999999</c:v>
                </c:pt>
                <c:pt idx="7240">
                  <c:v>7.3710000000000004</c:v>
                </c:pt>
                <c:pt idx="7241">
                  <c:v>7.3719999999999999</c:v>
                </c:pt>
                <c:pt idx="7242">
                  <c:v>7.3719999999999999</c:v>
                </c:pt>
                <c:pt idx="7243">
                  <c:v>7.3719999999999999</c:v>
                </c:pt>
                <c:pt idx="7244">
                  <c:v>7.3730000000000002</c:v>
                </c:pt>
                <c:pt idx="7245">
                  <c:v>7.3719999999999999</c:v>
                </c:pt>
                <c:pt idx="7246">
                  <c:v>7.3730000000000002</c:v>
                </c:pt>
                <c:pt idx="7247">
                  <c:v>7.3719999999999999</c:v>
                </c:pt>
                <c:pt idx="7248">
                  <c:v>7.3719999999999999</c:v>
                </c:pt>
                <c:pt idx="7249">
                  <c:v>7.3719999999999999</c:v>
                </c:pt>
                <c:pt idx="7250">
                  <c:v>7.3719999999999999</c:v>
                </c:pt>
                <c:pt idx="7251">
                  <c:v>7.3710000000000004</c:v>
                </c:pt>
                <c:pt idx="7252">
                  <c:v>7.3719999999999999</c:v>
                </c:pt>
                <c:pt idx="7253">
                  <c:v>7.3710000000000004</c:v>
                </c:pt>
                <c:pt idx="7254">
                  <c:v>7.3719999999999999</c:v>
                </c:pt>
                <c:pt idx="7255">
                  <c:v>7.3719999999999999</c:v>
                </c:pt>
                <c:pt idx="7256">
                  <c:v>7.3719999999999999</c:v>
                </c:pt>
                <c:pt idx="7257">
                  <c:v>7.3710000000000004</c:v>
                </c:pt>
                <c:pt idx="7258">
                  <c:v>7.3719999999999999</c:v>
                </c:pt>
                <c:pt idx="7259">
                  <c:v>7.3710000000000004</c:v>
                </c:pt>
                <c:pt idx="7260">
                  <c:v>7.3719999999999999</c:v>
                </c:pt>
                <c:pt idx="7261">
                  <c:v>7.3710000000000004</c:v>
                </c:pt>
                <c:pt idx="7262">
                  <c:v>7.3719999999999999</c:v>
                </c:pt>
                <c:pt idx="7263">
                  <c:v>7.3710000000000004</c:v>
                </c:pt>
                <c:pt idx="7264">
                  <c:v>7.3710000000000004</c:v>
                </c:pt>
                <c:pt idx="7265">
                  <c:v>7.3710000000000004</c:v>
                </c:pt>
                <c:pt idx="7266">
                  <c:v>7.37</c:v>
                </c:pt>
                <c:pt idx="7267">
                  <c:v>7.3710000000000004</c:v>
                </c:pt>
                <c:pt idx="7268">
                  <c:v>7.3719999999999999</c:v>
                </c:pt>
                <c:pt idx="7269">
                  <c:v>7.3710000000000004</c:v>
                </c:pt>
                <c:pt idx="7270">
                  <c:v>7.3710000000000004</c:v>
                </c:pt>
                <c:pt idx="7271">
                  <c:v>7.3710000000000004</c:v>
                </c:pt>
                <c:pt idx="7272">
                  <c:v>7.3719999999999999</c:v>
                </c:pt>
                <c:pt idx="7273">
                  <c:v>7.3719999999999999</c:v>
                </c:pt>
                <c:pt idx="7274">
                  <c:v>7.3719999999999999</c:v>
                </c:pt>
                <c:pt idx="7275">
                  <c:v>7.3710000000000004</c:v>
                </c:pt>
                <c:pt idx="7276">
                  <c:v>7.3710000000000004</c:v>
                </c:pt>
                <c:pt idx="7277">
                  <c:v>7.3710000000000004</c:v>
                </c:pt>
                <c:pt idx="7278">
                  <c:v>7.3710000000000004</c:v>
                </c:pt>
                <c:pt idx="7279">
                  <c:v>7.37</c:v>
                </c:pt>
                <c:pt idx="7280">
                  <c:v>7.37</c:v>
                </c:pt>
                <c:pt idx="7281">
                  <c:v>7.37</c:v>
                </c:pt>
                <c:pt idx="7282">
                  <c:v>7.3710000000000004</c:v>
                </c:pt>
                <c:pt idx="7283">
                  <c:v>7.37</c:v>
                </c:pt>
                <c:pt idx="7284">
                  <c:v>7.3710000000000004</c:v>
                </c:pt>
                <c:pt idx="7285">
                  <c:v>7.37</c:v>
                </c:pt>
                <c:pt idx="7286">
                  <c:v>7.37</c:v>
                </c:pt>
                <c:pt idx="7287">
                  <c:v>7.37</c:v>
                </c:pt>
                <c:pt idx="7288">
                  <c:v>7.37</c:v>
                </c:pt>
                <c:pt idx="7289">
                  <c:v>7.37</c:v>
                </c:pt>
                <c:pt idx="7290">
                  <c:v>7.37</c:v>
                </c:pt>
                <c:pt idx="7291">
                  <c:v>7.37</c:v>
                </c:pt>
                <c:pt idx="7292">
                  <c:v>7.3710000000000004</c:v>
                </c:pt>
                <c:pt idx="7293">
                  <c:v>7.37</c:v>
                </c:pt>
                <c:pt idx="7294">
                  <c:v>7.37</c:v>
                </c:pt>
                <c:pt idx="7295">
                  <c:v>7.37</c:v>
                </c:pt>
                <c:pt idx="7296">
                  <c:v>7.3710000000000004</c:v>
                </c:pt>
                <c:pt idx="7297">
                  <c:v>7.3710000000000004</c:v>
                </c:pt>
                <c:pt idx="7298">
                  <c:v>7.37</c:v>
                </c:pt>
                <c:pt idx="7299">
                  <c:v>7.3710000000000004</c:v>
                </c:pt>
                <c:pt idx="7300">
                  <c:v>7.3710000000000004</c:v>
                </c:pt>
                <c:pt idx="7301">
                  <c:v>7.37</c:v>
                </c:pt>
                <c:pt idx="7302">
                  <c:v>7.3710000000000004</c:v>
                </c:pt>
                <c:pt idx="7303">
                  <c:v>7.37</c:v>
                </c:pt>
                <c:pt idx="7304">
                  <c:v>7.37</c:v>
                </c:pt>
                <c:pt idx="7305">
                  <c:v>7.3719999999999999</c:v>
                </c:pt>
                <c:pt idx="7306">
                  <c:v>7.3710000000000004</c:v>
                </c:pt>
                <c:pt idx="7307">
                  <c:v>7.37</c:v>
                </c:pt>
                <c:pt idx="7308">
                  <c:v>7.3689999999999998</c:v>
                </c:pt>
                <c:pt idx="7309">
                  <c:v>7.37</c:v>
                </c:pt>
                <c:pt idx="7310">
                  <c:v>7.3710000000000004</c:v>
                </c:pt>
                <c:pt idx="7311">
                  <c:v>7.37</c:v>
                </c:pt>
                <c:pt idx="7312">
                  <c:v>7.37</c:v>
                </c:pt>
                <c:pt idx="7313">
                  <c:v>7.37</c:v>
                </c:pt>
                <c:pt idx="7314">
                  <c:v>7.37</c:v>
                </c:pt>
                <c:pt idx="7315">
                  <c:v>7.3689999999999998</c:v>
                </c:pt>
                <c:pt idx="7316">
                  <c:v>7.3689999999999998</c:v>
                </c:pt>
                <c:pt idx="7317">
                  <c:v>7.37</c:v>
                </c:pt>
                <c:pt idx="7318">
                  <c:v>7.37</c:v>
                </c:pt>
                <c:pt idx="7319">
                  <c:v>7.3689999999999998</c:v>
                </c:pt>
                <c:pt idx="7320">
                  <c:v>7.37</c:v>
                </c:pt>
                <c:pt idx="7321">
                  <c:v>7.3689999999999998</c:v>
                </c:pt>
                <c:pt idx="7322">
                  <c:v>7.37</c:v>
                </c:pt>
                <c:pt idx="7323">
                  <c:v>7.37</c:v>
                </c:pt>
                <c:pt idx="7324">
                  <c:v>7.37</c:v>
                </c:pt>
                <c:pt idx="7325">
                  <c:v>7.3689999999999998</c:v>
                </c:pt>
                <c:pt idx="7326">
                  <c:v>7.37</c:v>
                </c:pt>
                <c:pt idx="7327">
                  <c:v>7.3689999999999998</c:v>
                </c:pt>
                <c:pt idx="7328">
                  <c:v>7.3689999999999998</c:v>
                </c:pt>
                <c:pt idx="7329">
                  <c:v>7.3689999999999998</c:v>
                </c:pt>
                <c:pt idx="7330">
                  <c:v>7.3689999999999998</c:v>
                </c:pt>
                <c:pt idx="7331">
                  <c:v>7.3689999999999998</c:v>
                </c:pt>
                <c:pt idx="7332">
                  <c:v>7.3689999999999998</c:v>
                </c:pt>
                <c:pt idx="7333">
                  <c:v>7.3689999999999998</c:v>
                </c:pt>
                <c:pt idx="7334">
                  <c:v>7.37</c:v>
                </c:pt>
                <c:pt idx="7335">
                  <c:v>7.3689999999999998</c:v>
                </c:pt>
                <c:pt idx="7336">
                  <c:v>7.3689999999999998</c:v>
                </c:pt>
                <c:pt idx="7337">
                  <c:v>7.37</c:v>
                </c:pt>
                <c:pt idx="7338">
                  <c:v>7.3689999999999998</c:v>
                </c:pt>
                <c:pt idx="7339">
                  <c:v>7.3689999999999998</c:v>
                </c:pt>
                <c:pt idx="7340">
                  <c:v>7.3689999999999998</c:v>
                </c:pt>
                <c:pt idx="7341">
                  <c:v>7.3689999999999998</c:v>
                </c:pt>
                <c:pt idx="7342">
                  <c:v>7.3689999999999998</c:v>
                </c:pt>
                <c:pt idx="7343">
                  <c:v>7.3680000000000003</c:v>
                </c:pt>
                <c:pt idx="7344">
                  <c:v>7.3689999999999998</c:v>
                </c:pt>
                <c:pt idx="7345">
                  <c:v>7.3680000000000003</c:v>
                </c:pt>
                <c:pt idx="7346">
                  <c:v>7.3680000000000003</c:v>
                </c:pt>
                <c:pt idx="7347">
                  <c:v>7.3689999999999998</c:v>
                </c:pt>
                <c:pt idx="7348">
                  <c:v>7.3680000000000003</c:v>
                </c:pt>
                <c:pt idx="7349">
                  <c:v>7.3689999999999998</c:v>
                </c:pt>
                <c:pt idx="7350">
                  <c:v>7.3680000000000003</c:v>
                </c:pt>
                <c:pt idx="7351">
                  <c:v>7.3689999999999998</c:v>
                </c:pt>
                <c:pt idx="7352">
                  <c:v>7.3680000000000003</c:v>
                </c:pt>
                <c:pt idx="7353">
                  <c:v>7.3689999999999998</c:v>
                </c:pt>
                <c:pt idx="7354">
                  <c:v>7.3689999999999998</c:v>
                </c:pt>
                <c:pt idx="7355">
                  <c:v>7.37</c:v>
                </c:pt>
                <c:pt idx="7356">
                  <c:v>7.37</c:v>
                </c:pt>
                <c:pt idx="7357">
                  <c:v>7.3680000000000003</c:v>
                </c:pt>
                <c:pt idx="7358">
                  <c:v>7.3689999999999998</c:v>
                </c:pt>
                <c:pt idx="7359">
                  <c:v>7.3680000000000003</c:v>
                </c:pt>
                <c:pt idx="7360">
                  <c:v>7.3680000000000003</c:v>
                </c:pt>
                <c:pt idx="7361">
                  <c:v>7.3680000000000003</c:v>
                </c:pt>
                <c:pt idx="7362">
                  <c:v>7.3680000000000003</c:v>
                </c:pt>
                <c:pt idx="7363">
                  <c:v>7.3689999999999998</c:v>
                </c:pt>
                <c:pt idx="7364">
                  <c:v>7.3689999999999998</c:v>
                </c:pt>
                <c:pt idx="7365">
                  <c:v>7.367</c:v>
                </c:pt>
                <c:pt idx="7366">
                  <c:v>7.3680000000000003</c:v>
                </c:pt>
                <c:pt idx="7367">
                  <c:v>7.3680000000000003</c:v>
                </c:pt>
                <c:pt idx="7368">
                  <c:v>7.3680000000000003</c:v>
                </c:pt>
                <c:pt idx="7369">
                  <c:v>7.3680000000000003</c:v>
                </c:pt>
                <c:pt idx="7370">
                  <c:v>7.3680000000000003</c:v>
                </c:pt>
                <c:pt idx="7371">
                  <c:v>7.3680000000000003</c:v>
                </c:pt>
                <c:pt idx="7372">
                  <c:v>7.3680000000000003</c:v>
                </c:pt>
                <c:pt idx="7373">
                  <c:v>7.3680000000000003</c:v>
                </c:pt>
                <c:pt idx="7374">
                  <c:v>7.367</c:v>
                </c:pt>
                <c:pt idx="7375">
                  <c:v>7.3680000000000003</c:v>
                </c:pt>
                <c:pt idx="7376">
                  <c:v>7.3680000000000003</c:v>
                </c:pt>
                <c:pt idx="7377">
                  <c:v>7.3680000000000003</c:v>
                </c:pt>
                <c:pt idx="7378">
                  <c:v>7.3689999999999998</c:v>
                </c:pt>
                <c:pt idx="7379">
                  <c:v>7.3680000000000003</c:v>
                </c:pt>
                <c:pt idx="7380">
                  <c:v>7.3680000000000003</c:v>
                </c:pt>
                <c:pt idx="7381">
                  <c:v>7.3680000000000003</c:v>
                </c:pt>
                <c:pt idx="7382">
                  <c:v>7.3680000000000003</c:v>
                </c:pt>
                <c:pt idx="7383">
                  <c:v>7.3680000000000003</c:v>
                </c:pt>
                <c:pt idx="7384">
                  <c:v>7.3680000000000003</c:v>
                </c:pt>
                <c:pt idx="7385">
                  <c:v>7.3680000000000003</c:v>
                </c:pt>
                <c:pt idx="7386">
                  <c:v>7.3680000000000003</c:v>
                </c:pt>
                <c:pt idx="7387">
                  <c:v>7.3680000000000003</c:v>
                </c:pt>
                <c:pt idx="7388">
                  <c:v>7.3680000000000003</c:v>
                </c:pt>
                <c:pt idx="7389">
                  <c:v>7.367</c:v>
                </c:pt>
                <c:pt idx="7390">
                  <c:v>7.367</c:v>
                </c:pt>
                <c:pt idx="7391">
                  <c:v>7.3680000000000003</c:v>
                </c:pt>
                <c:pt idx="7392">
                  <c:v>7.367</c:v>
                </c:pt>
                <c:pt idx="7393">
                  <c:v>7.3680000000000003</c:v>
                </c:pt>
                <c:pt idx="7394">
                  <c:v>7.3680000000000003</c:v>
                </c:pt>
                <c:pt idx="7395">
                  <c:v>7.367</c:v>
                </c:pt>
                <c:pt idx="7396">
                  <c:v>7.367</c:v>
                </c:pt>
                <c:pt idx="7397">
                  <c:v>7.367</c:v>
                </c:pt>
                <c:pt idx="7398">
                  <c:v>7.3659999999999997</c:v>
                </c:pt>
                <c:pt idx="7399">
                  <c:v>7.367</c:v>
                </c:pt>
                <c:pt idx="7400">
                  <c:v>7.367</c:v>
                </c:pt>
                <c:pt idx="7401">
                  <c:v>7.3680000000000003</c:v>
                </c:pt>
                <c:pt idx="7402">
                  <c:v>7.367</c:v>
                </c:pt>
                <c:pt idx="7403">
                  <c:v>7.3689999999999998</c:v>
                </c:pt>
                <c:pt idx="7404">
                  <c:v>7.3680000000000003</c:v>
                </c:pt>
                <c:pt idx="7405">
                  <c:v>7.367</c:v>
                </c:pt>
                <c:pt idx="7406">
                  <c:v>7.3659999999999997</c:v>
                </c:pt>
                <c:pt idx="7407">
                  <c:v>7.367</c:v>
                </c:pt>
                <c:pt idx="7408">
                  <c:v>7.367</c:v>
                </c:pt>
                <c:pt idx="7409">
                  <c:v>7.3659999999999997</c:v>
                </c:pt>
                <c:pt idx="7410">
                  <c:v>7.367</c:v>
                </c:pt>
                <c:pt idx="7411">
                  <c:v>7.367</c:v>
                </c:pt>
                <c:pt idx="7412">
                  <c:v>7.367</c:v>
                </c:pt>
                <c:pt idx="7413">
                  <c:v>7.367</c:v>
                </c:pt>
                <c:pt idx="7414">
                  <c:v>7.367</c:v>
                </c:pt>
                <c:pt idx="7415">
                  <c:v>7.367</c:v>
                </c:pt>
                <c:pt idx="7416">
                  <c:v>7.367</c:v>
                </c:pt>
                <c:pt idx="7417">
                  <c:v>7.367</c:v>
                </c:pt>
                <c:pt idx="7418">
                  <c:v>7.3680000000000003</c:v>
                </c:pt>
                <c:pt idx="7419">
                  <c:v>7.3659999999999997</c:v>
                </c:pt>
                <c:pt idx="7420">
                  <c:v>7.367</c:v>
                </c:pt>
                <c:pt idx="7421">
                  <c:v>7.367</c:v>
                </c:pt>
                <c:pt idx="7422">
                  <c:v>7.367</c:v>
                </c:pt>
                <c:pt idx="7423">
                  <c:v>7.367</c:v>
                </c:pt>
                <c:pt idx="7424">
                  <c:v>7.367</c:v>
                </c:pt>
                <c:pt idx="7425">
                  <c:v>7.3659999999999997</c:v>
                </c:pt>
                <c:pt idx="7426">
                  <c:v>7.367</c:v>
                </c:pt>
                <c:pt idx="7427">
                  <c:v>7.367</c:v>
                </c:pt>
                <c:pt idx="7428">
                  <c:v>7.367</c:v>
                </c:pt>
                <c:pt idx="7429">
                  <c:v>7.3659999999999997</c:v>
                </c:pt>
                <c:pt idx="7430">
                  <c:v>7.367</c:v>
                </c:pt>
                <c:pt idx="7431">
                  <c:v>7.367</c:v>
                </c:pt>
                <c:pt idx="7432">
                  <c:v>7.367</c:v>
                </c:pt>
                <c:pt idx="7433">
                  <c:v>7.3659999999999997</c:v>
                </c:pt>
                <c:pt idx="7434">
                  <c:v>7.367</c:v>
                </c:pt>
                <c:pt idx="7435">
                  <c:v>7.3659999999999997</c:v>
                </c:pt>
                <c:pt idx="7436">
                  <c:v>7.3659999999999997</c:v>
                </c:pt>
                <c:pt idx="7437">
                  <c:v>7.3659999999999997</c:v>
                </c:pt>
                <c:pt idx="7438">
                  <c:v>7.3659999999999997</c:v>
                </c:pt>
                <c:pt idx="7439">
                  <c:v>7.367</c:v>
                </c:pt>
                <c:pt idx="7440">
                  <c:v>7.367</c:v>
                </c:pt>
                <c:pt idx="7441">
                  <c:v>7.3659999999999997</c:v>
                </c:pt>
                <c:pt idx="7442">
                  <c:v>7.3659999999999997</c:v>
                </c:pt>
                <c:pt idx="7443">
                  <c:v>7.3659999999999997</c:v>
                </c:pt>
                <c:pt idx="7444">
                  <c:v>7.367</c:v>
                </c:pt>
                <c:pt idx="7445">
                  <c:v>7.3659999999999997</c:v>
                </c:pt>
                <c:pt idx="7446">
                  <c:v>7.3659999999999997</c:v>
                </c:pt>
                <c:pt idx="7447">
                  <c:v>7.3659999999999997</c:v>
                </c:pt>
                <c:pt idx="7448">
                  <c:v>7.3659999999999997</c:v>
                </c:pt>
                <c:pt idx="7449">
                  <c:v>7.3659999999999997</c:v>
                </c:pt>
                <c:pt idx="7450">
                  <c:v>7.3659999999999997</c:v>
                </c:pt>
                <c:pt idx="7451">
                  <c:v>7.3659999999999997</c:v>
                </c:pt>
                <c:pt idx="7452">
                  <c:v>7.3659999999999997</c:v>
                </c:pt>
                <c:pt idx="7453">
                  <c:v>7.3659999999999997</c:v>
                </c:pt>
                <c:pt idx="7454">
                  <c:v>7.3659999999999997</c:v>
                </c:pt>
                <c:pt idx="7455">
                  <c:v>7.3659999999999997</c:v>
                </c:pt>
                <c:pt idx="7456">
                  <c:v>7.3650000000000002</c:v>
                </c:pt>
                <c:pt idx="7457">
                  <c:v>7.3659999999999997</c:v>
                </c:pt>
                <c:pt idx="7458">
                  <c:v>7.3659999999999997</c:v>
                </c:pt>
                <c:pt idx="7459">
                  <c:v>7.3659999999999997</c:v>
                </c:pt>
                <c:pt idx="7460">
                  <c:v>7.3659999999999997</c:v>
                </c:pt>
                <c:pt idx="7461">
                  <c:v>7.3659999999999997</c:v>
                </c:pt>
                <c:pt idx="7462">
                  <c:v>7.3659999999999997</c:v>
                </c:pt>
                <c:pt idx="7463">
                  <c:v>7.3659999999999997</c:v>
                </c:pt>
                <c:pt idx="7464">
                  <c:v>7.3659999999999997</c:v>
                </c:pt>
                <c:pt idx="7465">
                  <c:v>7.3659999999999997</c:v>
                </c:pt>
                <c:pt idx="7466">
                  <c:v>7.3650000000000002</c:v>
                </c:pt>
                <c:pt idx="7467">
                  <c:v>7.3659999999999997</c:v>
                </c:pt>
                <c:pt idx="7468">
                  <c:v>7.3650000000000002</c:v>
                </c:pt>
                <c:pt idx="7469">
                  <c:v>7.3659999999999997</c:v>
                </c:pt>
                <c:pt idx="7470">
                  <c:v>7.3650000000000002</c:v>
                </c:pt>
                <c:pt idx="7471">
                  <c:v>7.3650000000000002</c:v>
                </c:pt>
                <c:pt idx="7472">
                  <c:v>7.3650000000000002</c:v>
                </c:pt>
                <c:pt idx="7473">
                  <c:v>7.3659999999999997</c:v>
                </c:pt>
                <c:pt idx="7474">
                  <c:v>7.3659999999999997</c:v>
                </c:pt>
                <c:pt idx="7475">
                  <c:v>7.3650000000000002</c:v>
                </c:pt>
                <c:pt idx="7476">
                  <c:v>7.3650000000000002</c:v>
                </c:pt>
                <c:pt idx="7477">
                  <c:v>7.3659999999999997</c:v>
                </c:pt>
                <c:pt idx="7478">
                  <c:v>7.3650000000000002</c:v>
                </c:pt>
                <c:pt idx="7479">
                  <c:v>7.3659999999999997</c:v>
                </c:pt>
                <c:pt idx="7480">
                  <c:v>7.3659999999999997</c:v>
                </c:pt>
                <c:pt idx="7481">
                  <c:v>7.3650000000000002</c:v>
                </c:pt>
                <c:pt idx="7482">
                  <c:v>7.3650000000000002</c:v>
                </c:pt>
                <c:pt idx="7483">
                  <c:v>7.3650000000000002</c:v>
                </c:pt>
                <c:pt idx="7484">
                  <c:v>7.3650000000000002</c:v>
                </c:pt>
                <c:pt idx="7485">
                  <c:v>7.3659999999999997</c:v>
                </c:pt>
                <c:pt idx="7486">
                  <c:v>7.3650000000000002</c:v>
                </c:pt>
                <c:pt idx="7487">
                  <c:v>7.3650000000000002</c:v>
                </c:pt>
                <c:pt idx="7488">
                  <c:v>7.3650000000000002</c:v>
                </c:pt>
                <c:pt idx="7489">
                  <c:v>7.3650000000000002</c:v>
                </c:pt>
                <c:pt idx="7490">
                  <c:v>7.3650000000000002</c:v>
                </c:pt>
                <c:pt idx="7491">
                  <c:v>7.3650000000000002</c:v>
                </c:pt>
                <c:pt idx="7492">
                  <c:v>7.3650000000000002</c:v>
                </c:pt>
                <c:pt idx="7493">
                  <c:v>7.3650000000000002</c:v>
                </c:pt>
                <c:pt idx="7494">
                  <c:v>7.3650000000000002</c:v>
                </c:pt>
                <c:pt idx="7495">
                  <c:v>7.3650000000000002</c:v>
                </c:pt>
                <c:pt idx="7496">
                  <c:v>7.3659999999999997</c:v>
                </c:pt>
                <c:pt idx="7497">
                  <c:v>7.3659999999999997</c:v>
                </c:pt>
                <c:pt idx="7498">
                  <c:v>7.3650000000000002</c:v>
                </c:pt>
                <c:pt idx="7499">
                  <c:v>7.3650000000000002</c:v>
                </c:pt>
                <c:pt idx="7500">
                  <c:v>7.3650000000000002</c:v>
                </c:pt>
                <c:pt idx="7501">
                  <c:v>7.3650000000000002</c:v>
                </c:pt>
                <c:pt idx="7502">
                  <c:v>7.3650000000000002</c:v>
                </c:pt>
                <c:pt idx="7503">
                  <c:v>7.3639999999999999</c:v>
                </c:pt>
                <c:pt idx="7504">
                  <c:v>7.3650000000000002</c:v>
                </c:pt>
                <c:pt idx="7505">
                  <c:v>7.3650000000000002</c:v>
                </c:pt>
                <c:pt idx="7506">
                  <c:v>7.3650000000000002</c:v>
                </c:pt>
                <c:pt idx="7507">
                  <c:v>7.3650000000000002</c:v>
                </c:pt>
                <c:pt idx="7508">
                  <c:v>7.3650000000000002</c:v>
                </c:pt>
                <c:pt idx="7509">
                  <c:v>7.3650000000000002</c:v>
                </c:pt>
                <c:pt idx="7510">
                  <c:v>7.3650000000000002</c:v>
                </c:pt>
                <c:pt idx="7511">
                  <c:v>7.3650000000000002</c:v>
                </c:pt>
                <c:pt idx="7512">
                  <c:v>7.3639999999999999</c:v>
                </c:pt>
                <c:pt idx="7513">
                  <c:v>7.3650000000000002</c:v>
                </c:pt>
                <c:pt idx="7514">
                  <c:v>7.3650000000000002</c:v>
                </c:pt>
                <c:pt idx="7515">
                  <c:v>7.3639999999999999</c:v>
                </c:pt>
                <c:pt idx="7516">
                  <c:v>7.3650000000000002</c:v>
                </c:pt>
                <c:pt idx="7517">
                  <c:v>7.3639999999999999</c:v>
                </c:pt>
                <c:pt idx="7518">
                  <c:v>7.3650000000000002</c:v>
                </c:pt>
                <c:pt idx="7519">
                  <c:v>7.3639999999999999</c:v>
                </c:pt>
                <c:pt idx="7520">
                  <c:v>7.3650000000000002</c:v>
                </c:pt>
                <c:pt idx="7521">
                  <c:v>7.3639999999999999</c:v>
                </c:pt>
                <c:pt idx="7522">
                  <c:v>7.3639999999999999</c:v>
                </c:pt>
                <c:pt idx="7523">
                  <c:v>7.3650000000000002</c:v>
                </c:pt>
                <c:pt idx="7524">
                  <c:v>7.3639999999999999</c:v>
                </c:pt>
                <c:pt idx="7525">
                  <c:v>7.3639999999999999</c:v>
                </c:pt>
                <c:pt idx="7526">
                  <c:v>7.3639999999999999</c:v>
                </c:pt>
                <c:pt idx="7527">
                  <c:v>7.3639999999999999</c:v>
                </c:pt>
                <c:pt idx="7528">
                  <c:v>7.3639999999999999</c:v>
                </c:pt>
                <c:pt idx="7529">
                  <c:v>7.3650000000000002</c:v>
                </c:pt>
                <c:pt idx="7530">
                  <c:v>7.3639999999999999</c:v>
                </c:pt>
                <c:pt idx="7531">
                  <c:v>7.3639999999999999</c:v>
                </c:pt>
                <c:pt idx="7532">
                  <c:v>7.3639999999999999</c:v>
                </c:pt>
                <c:pt idx="7533">
                  <c:v>7.3639999999999999</c:v>
                </c:pt>
                <c:pt idx="7534">
                  <c:v>7.3639999999999999</c:v>
                </c:pt>
                <c:pt idx="7535">
                  <c:v>7.3650000000000002</c:v>
                </c:pt>
                <c:pt idx="7536">
                  <c:v>7.3650000000000002</c:v>
                </c:pt>
                <c:pt idx="7537">
                  <c:v>7.3639999999999999</c:v>
                </c:pt>
                <c:pt idx="7538">
                  <c:v>7.3639999999999999</c:v>
                </c:pt>
                <c:pt idx="7539">
                  <c:v>7.3639999999999999</c:v>
                </c:pt>
                <c:pt idx="7540">
                  <c:v>7.3650000000000002</c:v>
                </c:pt>
                <c:pt idx="7541">
                  <c:v>7.3639999999999999</c:v>
                </c:pt>
                <c:pt idx="7542">
                  <c:v>7.3639999999999999</c:v>
                </c:pt>
                <c:pt idx="7543">
                  <c:v>7.3639999999999999</c:v>
                </c:pt>
                <c:pt idx="7544">
                  <c:v>7.3639999999999999</c:v>
                </c:pt>
                <c:pt idx="7545">
                  <c:v>7.3639999999999999</c:v>
                </c:pt>
                <c:pt idx="7546">
                  <c:v>7.3639999999999999</c:v>
                </c:pt>
                <c:pt idx="7547">
                  <c:v>7.3639999999999999</c:v>
                </c:pt>
                <c:pt idx="7548">
                  <c:v>7.3639999999999999</c:v>
                </c:pt>
                <c:pt idx="7549">
                  <c:v>7.3630000000000004</c:v>
                </c:pt>
                <c:pt idx="7550">
                  <c:v>7.3639999999999999</c:v>
                </c:pt>
                <c:pt idx="7551">
                  <c:v>7.3639999999999999</c:v>
                </c:pt>
                <c:pt idx="7552">
                  <c:v>7.3639999999999999</c:v>
                </c:pt>
                <c:pt idx="7553">
                  <c:v>7.3650000000000002</c:v>
                </c:pt>
                <c:pt idx="7554">
                  <c:v>7.3639999999999999</c:v>
                </c:pt>
                <c:pt idx="7555">
                  <c:v>7.3639999999999999</c:v>
                </c:pt>
                <c:pt idx="7556">
                  <c:v>7.3639999999999999</c:v>
                </c:pt>
                <c:pt idx="7557">
                  <c:v>7.3639999999999999</c:v>
                </c:pt>
                <c:pt idx="7558">
                  <c:v>7.3639999999999999</c:v>
                </c:pt>
                <c:pt idx="7559">
                  <c:v>7.3639999999999999</c:v>
                </c:pt>
                <c:pt idx="7560">
                  <c:v>7.3639999999999999</c:v>
                </c:pt>
                <c:pt idx="7561">
                  <c:v>7.3639999999999999</c:v>
                </c:pt>
                <c:pt idx="7562">
                  <c:v>7.3639999999999999</c:v>
                </c:pt>
                <c:pt idx="7563">
                  <c:v>7.3639999999999999</c:v>
                </c:pt>
                <c:pt idx="7564">
                  <c:v>7.3639999999999999</c:v>
                </c:pt>
                <c:pt idx="7565">
                  <c:v>7.3639999999999999</c:v>
                </c:pt>
                <c:pt idx="7566">
                  <c:v>7.3639999999999999</c:v>
                </c:pt>
                <c:pt idx="7567">
                  <c:v>7.3639999999999999</c:v>
                </c:pt>
                <c:pt idx="7568">
                  <c:v>7.3630000000000004</c:v>
                </c:pt>
                <c:pt idx="7569">
                  <c:v>7.3639999999999999</c:v>
                </c:pt>
                <c:pt idx="7570">
                  <c:v>7.3639999999999999</c:v>
                </c:pt>
                <c:pt idx="7571">
                  <c:v>7.3639999999999999</c:v>
                </c:pt>
                <c:pt idx="7572">
                  <c:v>7.3639999999999999</c:v>
                </c:pt>
                <c:pt idx="7573">
                  <c:v>7.3639999999999999</c:v>
                </c:pt>
                <c:pt idx="7574">
                  <c:v>7.3639999999999999</c:v>
                </c:pt>
                <c:pt idx="7575">
                  <c:v>7.3639999999999999</c:v>
                </c:pt>
                <c:pt idx="7576">
                  <c:v>7.3639999999999999</c:v>
                </c:pt>
                <c:pt idx="7577">
                  <c:v>7.3630000000000004</c:v>
                </c:pt>
                <c:pt idx="7578">
                  <c:v>7.3639999999999999</c:v>
                </c:pt>
                <c:pt idx="7579">
                  <c:v>7.3639999999999999</c:v>
                </c:pt>
                <c:pt idx="7580">
                  <c:v>7.3639999999999999</c:v>
                </c:pt>
                <c:pt idx="7581">
                  <c:v>7.3630000000000004</c:v>
                </c:pt>
                <c:pt idx="7582">
                  <c:v>7.3639999999999999</c:v>
                </c:pt>
                <c:pt idx="7583">
                  <c:v>7.3630000000000004</c:v>
                </c:pt>
                <c:pt idx="7584">
                  <c:v>7.3630000000000004</c:v>
                </c:pt>
                <c:pt idx="7585">
                  <c:v>7.3630000000000004</c:v>
                </c:pt>
                <c:pt idx="7586">
                  <c:v>7.3639999999999999</c:v>
                </c:pt>
                <c:pt idx="7587">
                  <c:v>7.3630000000000004</c:v>
                </c:pt>
                <c:pt idx="7588">
                  <c:v>7.3630000000000004</c:v>
                </c:pt>
                <c:pt idx="7589">
                  <c:v>7.3630000000000004</c:v>
                </c:pt>
                <c:pt idx="7590">
                  <c:v>7.3630000000000004</c:v>
                </c:pt>
                <c:pt idx="7591">
                  <c:v>7.3639999999999999</c:v>
                </c:pt>
                <c:pt idx="7592">
                  <c:v>7.3639999999999999</c:v>
                </c:pt>
                <c:pt idx="7593">
                  <c:v>7.3630000000000004</c:v>
                </c:pt>
                <c:pt idx="7594">
                  <c:v>7.3639999999999999</c:v>
                </c:pt>
                <c:pt idx="7595">
                  <c:v>7.3630000000000004</c:v>
                </c:pt>
                <c:pt idx="7596">
                  <c:v>7.3630000000000004</c:v>
                </c:pt>
                <c:pt idx="7597">
                  <c:v>7.3639999999999999</c:v>
                </c:pt>
                <c:pt idx="7598">
                  <c:v>7.3630000000000004</c:v>
                </c:pt>
                <c:pt idx="7599">
                  <c:v>7.3630000000000004</c:v>
                </c:pt>
                <c:pt idx="7600">
                  <c:v>7.3630000000000004</c:v>
                </c:pt>
                <c:pt idx="7601">
                  <c:v>7.3630000000000004</c:v>
                </c:pt>
                <c:pt idx="7602">
                  <c:v>7.3639999999999999</c:v>
                </c:pt>
                <c:pt idx="7603">
                  <c:v>7.3630000000000004</c:v>
                </c:pt>
                <c:pt idx="7604">
                  <c:v>7.3630000000000004</c:v>
                </c:pt>
                <c:pt idx="7605">
                  <c:v>7.3630000000000004</c:v>
                </c:pt>
                <c:pt idx="7606">
                  <c:v>7.3630000000000004</c:v>
                </c:pt>
                <c:pt idx="7607">
                  <c:v>7.3630000000000004</c:v>
                </c:pt>
                <c:pt idx="7608">
                  <c:v>7.3630000000000004</c:v>
                </c:pt>
                <c:pt idx="7609">
                  <c:v>7.3630000000000004</c:v>
                </c:pt>
                <c:pt idx="7610">
                  <c:v>7.3630000000000004</c:v>
                </c:pt>
                <c:pt idx="7611">
                  <c:v>7.3630000000000004</c:v>
                </c:pt>
                <c:pt idx="7612">
                  <c:v>7.3630000000000004</c:v>
                </c:pt>
                <c:pt idx="7613">
                  <c:v>7.3620000000000001</c:v>
                </c:pt>
                <c:pt idx="7614">
                  <c:v>7.3630000000000004</c:v>
                </c:pt>
                <c:pt idx="7615">
                  <c:v>7.3620000000000001</c:v>
                </c:pt>
                <c:pt idx="7616">
                  <c:v>7.3630000000000004</c:v>
                </c:pt>
                <c:pt idx="7617">
                  <c:v>7.3630000000000004</c:v>
                </c:pt>
                <c:pt idx="7618">
                  <c:v>7.3630000000000004</c:v>
                </c:pt>
                <c:pt idx="7619">
                  <c:v>7.3630000000000004</c:v>
                </c:pt>
                <c:pt idx="7620">
                  <c:v>7.3630000000000004</c:v>
                </c:pt>
                <c:pt idx="7621">
                  <c:v>7.3620000000000001</c:v>
                </c:pt>
                <c:pt idx="7622">
                  <c:v>7.3630000000000004</c:v>
                </c:pt>
                <c:pt idx="7623">
                  <c:v>7.3630000000000004</c:v>
                </c:pt>
                <c:pt idx="7624">
                  <c:v>7.3620000000000001</c:v>
                </c:pt>
                <c:pt idx="7625">
                  <c:v>7.3630000000000004</c:v>
                </c:pt>
                <c:pt idx="7626">
                  <c:v>7.3630000000000004</c:v>
                </c:pt>
                <c:pt idx="7627">
                  <c:v>7.3620000000000001</c:v>
                </c:pt>
                <c:pt idx="7628">
                  <c:v>7.3620000000000001</c:v>
                </c:pt>
                <c:pt idx="7629">
                  <c:v>7.3620000000000001</c:v>
                </c:pt>
                <c:pt idx="7630">
                  <c:v>7.3620000000000001</c:v>
                </c:pt>
                <c:pt idx="7631">
                  <c:v>7.3630000000000004</c:v>
                </c:pt>
                <c:pt idx="7632">
                  <c:v>7.3630000000000004</c:v>
                </c:pt>
                <c:pt idx="7633">
                  <c:v>7.3630000000000004</c:v>
                </c:pt>
                <c:pt idx="7634">
                  <c:v>7.3620000000000001</c:v>
                </c:pt>
                <c:pt idx="7635">
                  <c:v>7.3620000000000001</c:v>
                </c:pt>
                <c:pt idx="7636">
                  <c:v>7.3620000000000001</c:v>
                </c:pt>
                <c:pt idx="7637">
                  <c:v>7.3620000000000001</c:v>
                </c:pt>
                <c:pt idx="7638">
                  <c:v>7.3620000000000001</c:v>
                </c:pt>
                <c:pt idx="7639">
                  <c:v>7.3630000000000004</c:v>
                </c:pt>
                <c:pt idx="7640">
                  <c:v>7.3620000000000001</c:v>
                </c:pt>
                <c:pt idx="7641">
                  <c:v>7.3620000000000001</c:v>
                </c:pt>
                <c:pt idx="7642">
                  <c:v>7.3620000000000001</c:v>
                </c:pt>
                <c:pt idx="7643">
                  <c:v>7.3620000000000001</c:v>
                </c:pt>
                <c:pt idx="7644">
                  <c:v>7.3620000000000001</c:v>
                </c:pt>
                <c:pt idx="7645">
                  <c:v>7.3609999999999998</c:v>
                </c:pt>
                <c:pt idx="7646">
                  <c:v>7.3620000000000001</c:v>
                </c:pt>
                <c:pt idx="7647">
                  <c:v>7.3620000000000001</c:v>
                </c:pt>
                <c:pt idx="7648">
                  <c:v>7.3620000000000001</c:v>
                </c:pt>
                <c:pt idx="7649">
                  <c:v>7.3620000000000001</c:v>
                </c:pt>
                <c:pt idx="7650">
                  <c:v>7.3620000000000001</c:v>
                </c:pt>
                <c:pt idx="7651">
                  <c:v>7.3620000000000001</c:v>
                </c:pt>
                <c:pt idx="7652">
                  <c:v>7.3620000000000001</c:v>
                </c:pt>
                <c:pt idx="7653">
                  <c:v>7.3620000000000001</c:v>
                </c:pt>
                <c:pt idx="7654">
                  <c:v>7.3620000000000001</c:v>
                </c:pt>
                <c:pt idx="7655">
                  <c:v>7.3620000000000001</c:v>
                </c:pt>
                <c:pt idx="7656">
                  <c:v>7.3620000000000001</c:v>
                </c:pt>
                <c:pt idx="7657">
                  <c:v>7.3620000000000001</c:v>
                </c:pt>
                <c:pt idx="7658">
                  <c:v>7.3620000000000001</c:v>
                </c:pt>
                <c:pt idx="7659">
                  <c:v>7.3609999999999998</c:v>
                </c:pt>
                <c:pt idx="7660">
                  <c:v>7.3620000000000001</c:v>
                </c:pt>
                <c:pt idx="7661">
                  <c:v>7.3620000000000001</c:v>
                </c:pt>
                <c:pt idx="7662">
                  <c:v>7.3620000000000001</c:v>
                </c:pt>
                <c:pt idx="7663">
                  <c:v>7.3620000000000001</c:v>
                </c:pt>
                <c:pt idx="7664">
                  <c:v>7.3609999999999998</c:v>
                </c:pt>
                <c:pt idx="7665">
                  <c:v>7.3609999999999998</c:v>
                </c:pt>
                <c:pt idx="7666">
                  <c:v>7.3609999999999998</c:v>
                </c:pt>
                <c:pt idx="7667">
                  <c:v>7.3609999999999998</c:v>
                </c:pt>
                <c:pt idx="7668">
                  <c:v>7.3620000000000001</c:v>
                </c:pt>
                <c:pt idx="7669">
                  <c:v>7.3609999999999998</c:v>
                </c:pt>
                <c:pt idx="7670">
                  <c:v>7.3620000000000001</c:v>
                </c:pt>
                <c:pt idx="7671">
                  <c:v>7.36</c:v>
                </c:pt>
                <c:pt idx="7672">
                  <c:v>7.3620000000000001</c:v>
                </c:pt>
                <c:pt idx="7673">
                  <c:v>7.3609999999999998</c:v>
                </c:pt>
                <c:pt idx="7674">
                  <c:v>7.3609999999999998</c:v>
                </c:pt>
                <c:pt idx="7675">
                  <c:v>7.3609999999999998</c:v>
                </c:pt>
                <c:pt idx="7676">
                  <c:v>7.3609999999999998</c:v>
                </c:pt>
                <c:pt idx="7677">
                  <c:v>7.3609999999999998</c:v>
                </c:pt>
                <c:pt idx="7678">
                  <c:v>7.3609999999999998</c:v>
                </c:pt>
                <c:pt idx="7679">
                  <c:v>7.3609999999999998</c:v>
                </c:pt>
                <c:pt idx="7680">
                  <c:v>7.3609999999999998</c:v>
                </c:pt>
                <c:pt idx="7681">
                  <c:v>7.3609999999999998</c:v>
                </c:pt>
                <c:pt idx="7682">
                  <c:v>7.3609999999999998</c:v>
                </c:pt>
                <c:pt idx="7683">
                  <c:v>7.36</c:v>
                </c:pt>
                <c:pt idx="7684">
                  <c:v>7.3609999999999998</c:v>
                </c:pt>
                <c:pt idx="7685">
                  <c:v>7.3609999999999998</c:v>
                </c:pt>
                <c:pt idx="7686">
                  <c:v>7.36</c:v>
                </c:pt>
                <c:pt idx="7687">
                  <c:v>7.3609999999999998</c:v>
                </c:pt>
                <c:pt idx="7688">
                  <c:v>7.36</c:v>
                </c:pt>
                <c:pt idx="7689">
                  <c:v>7.3620000000000001</c:v>
                </c:pt>
                <c:pt idx="7690">
                  <c:v>7.36</c:v>
                </c:pt>
                <c:pt idx="7691">
                  <c:v>7.3609999999999998</c:v>
                </c:pt>
                <c:pt idx="7692">
                  <c:v>7.3609999999999998</c:v>
                </c:pt>
                <c:pt idx="7693">
                  <c:v>7.3609999999999998</c:v>
                </c:pt>
                <c:pt idx="7694">
                  <c:v>7.36</c:v>
                </c:pt>
                <c:pt idx="7695">
                  <c:v>7.3609999999999998</c:v>
                </c:pt>
                <c:pt idx="7696">
                  <c:v>7.36</c:v>
                </c:pt>
                <c:pt idx="7697">
                  <c:v>7.3609999999999998</c:v>
                </c:pt>
                <c:pt idx="7698">
                  <c:v>7.36</c:v>
                </c:pt>
                <c:pt idx="7699">
                  <c:v>7.36</c:v>
                </c:pt>
                <c:pt idx="7700">
                  <c:v>7.36</c:v>
                </c:pt>
                <c:pt idx="7701">
                  <c:v>7.3609999999999998</c:v>
                </c:pt>
                <c:pt idx="7702">
                  <c:v>7.36</c:v>
                </c:pt>
                <c:pt idx="7703">
                  <c:v>7.36</c:v>
                </c:pt>
                <c:pt idx="7704">
                  <c:v>7.36</c:v>
                </c:pt>
                <c:pt idx="7705">
                  <c:v>7.3609999999999998</c:v>
                </c:pt>
                <c:pt idx="7706">
                  <c:v>7.36</c:v>
                </c:pt>
                <c:pt idx="7707">
                  <c:v>7.36</c:v>
                </c:pt>
                <c:pt idx="7708">
                  <c:v>7.36</c:v>
                </c:pt>
                <c:pt idx="7709">
                  <c:v>7.3609999999999998</c:v>
                </c:pt>
                <c:pt idx="7710">
                  <c:v>7.36</c:v>
                </c:pt>
                <c:pt idx="7711">
                  <c:v>7.36</c:v>
                </c:pt>
                <c:pt idx="7712">
                  <c:v>7.36</c:v>
                </c:pt>
                <c:pt idx="7713">
                  <c:v>7.36</c:v>
                </c:pt>
                <c:pt idx="7714">
                  <c:v>7.36</c:v>
                </c:pt>
                <c:pt idx="7715">
                  <c:v>7.3609999999999998</c:v>
                </c:pt>
                <c:pt idx="7716">
                  <c:v>7.36</c:v>
                </c:pt>
                <c:pt idx="7717">
                  <c:v>7.36</c:v>
                </c:pt>
                <c:pt idx="7718">
                  <c:v>7.36</c:v>
                </c:pt>
                <c:pt idx="7719">
                  <c:v>7.36</c:v>
                </c:pt>
                <c:pt idx="7720">
                  <c:v>7.36</c:v>
                </c:pt>
                <c:pt idx="7721">
                  <c:v>7.36</c:v>
                </c:pt>
                <c:pt idx="7722">
                  <c:v>7.36</c:v>
                </c:pt>
                <c:pt idx="7723">
                  <c:v>7.36</c:v>
                </c:pt>
                <c:pt idx="7724">
                  <c:v>7.36</c:v>
                </c:pt>
                <c:pt idx="7725">
                  <c:v>7.36</c:v>
                </c:pt>
                <c:pt idx="7726">
                  <c:v>7.36</c:v>
                </c:pt>
                <c:pt idx="7727">
                  <c:v>7.36</c:v>
                </c:pt>
                <c:pt idx="7728">
                  <c:v>7.36</c:v>
                </c:pt>
                <c:pt idx="7729">
                  <c:v>7.359</c:v>
                </c:pt>
                <c:pt idx="7730">
                  <c:v>7.36</c:v>
                </c:pt>
                <c:pt idx="7731">
                  <c:v>7.359</c:v>
                </c:pt>
                <c:pt idx="7732">
                  <c:v>7.359</c:v>
                </c:pt>
                <c:pt idx="7733">
                  <c:v>7.359</c:v>
                </c:pt>
                <c:pt idx="7734">
                  <c:v>7.36</c:v>
                </c:pt>
                <c:pt idx="7735">
                  <c:v>7.359</c:v>
                </c:pt>
                <c:pt idx="7736">
                  <c:v>7.359</c:v>
                </c:pt>
                <c:pt idx="7737">
                  <c:v>7.359</c:v>
                </c:pt>
                <c:pt idx="7738">
                  <c:v>7.359</c:v>
                </c:pt>
                <c:pt idx="7739">
                  <c:v>7.359</c:v>
                </c:pt>
                <c:pt idx="7740">
                  <c:v>7.359</c:v>
                </c:pt>
                <c:pt idx="7741">
                  <c:v>7.359</c:v>
                </c:pt>
                <c:pt idx="7742">
                  <c:v>7.359</c:v>
                </c:pt>
                <c:pt idx="7743">
                  <c:v>7.359</c:v>
                </c:pt>
                <c:pt idx="7744">
                  <c:v>7.3579999999999997</c:v>
                </c:pt>
                <c:pt idx="7745">
                  <c:v>7.359</c:v>
                </c:pt>
                <c:pt idx="7746">
                  <c:v>7.359</c:v>
                </c:pt>
                <c:pt idx="7747">
                  <c:v>7.3579999999999997</c:v>
                </c:pt>
                <c:pt idx="7748">
                  <c:v>7.3579999999999997</c:v>
                </c:pt>
                <c:pt idx="7749">
                  <c:v>7.3579999999999997</c:v>
                </c:pt>
                <c:pt idx="7750">
                  <c:v>7.359</c:v>
                </c:pt>
                <c:pt idx="7751">
                  <c:v>7.359</c:v>
                </c:pt>
                <c:pt idx="7752">
                  <c:v>7.359</c:v>
                </c:pt>
                <c:pt idx="7753">
                  <c:v>7.3579999999999997</c:v>
                </c:pt>
                <c:pt idx="7754">
                  <c:v>7.359</c:v>
                </c:pt>
                <c:pt idx="7755">
                  <c:v>7.359</c:v>
                </c:pt>
                <c:pt idx="7756">
                  <c:v>7.359</c:v>
                </c:pt>
                <c:pt idx="7757">
                  <c:v>7.3579999999999997</c:v>
                </c:pt>
                <c:pt idx="7758">
                  <c:v>7.3579999999999997</c:v>
                </c:pt>
                <c:pt idx="7759">
                  <c:v>7.359</c:v>
                </c:pt>
                <c:pt idx="7760">
                  <c:v>7.3579999999999997</c:v>
                </c:pt>
                <c:pt idx="7761">
                  <c:v>7.3579999999999997</c:v>
                </c:pt>
                <c:pt idx="7762">
                  <c:v>7.359</c:v>
                </c:pt>
                <c:pt idx="7763">
                  <c:v>7.359</c:v>
                </c:pt>
                <c:pt idx="7764">
                  <c:v>7.359</c:v>
                </c:pt>
                <c:pt idx="7765">
                  <c:v>7.359</c:v>
                </c:pt>
                <c:pt idx="7766">
                  <c:v>7.359</c:v>
                </c:pt>
                <c:pt idx="7767">
                  <c:v>7.3579999999999997</c:v>
                </c:pt>
                <c:pt idx="7768">
                  <c:v>7.359</c:v>
                </c:pt>
                <c:pt idx="7769">
                  <c:v>7.3579999999999997</c:v>
                </c:pt>
                <c:pt idx="7770">
                  <c:v>7.3579999999999997</c:v>
                </c:pt>
                <c:pt idx="7771">
                  <c:v>7.359</c:v>
                </c:pt>
                <c:pt idx="7772">
                  <c:v>7.3579999999999997</c:v>
                </c:pt>
                <c:pt idx="7773">
                  <c:v>7.359</c:v>
                </c:pt>
                <c:pt idx="7774">
                  <c:v>7.359</c:v>
                </c:pt>
                <c:pt idx="7775">
                  <c:v>7.3579999999999997</c:v>
                </c:pt>
                <c:pt idx="7776">
                  <c:v>7.359</c:v>
                </c:pt>
                <c:pt idx="7777">
                  <c:v>7.3579999999999997</c:v>
                </c:pt>
                <c:pt idx="7778">
                  <c:v>7.359</c:v>
                </c:pt>
                <c:pt idx="7779">
                  <c:v>7.3579999999999997</c:v>
                </c:pt>
                <c:pt idx="7780">
                  <c:v>7.3579999999999997</c:v>
                </c:pt>
                <c:pt idx="7781">
                  <c:v>7.3579999999999997</c:v>
                </c:pt>
                <c:pt idx="7782">
                  <c:v>7.3579999999999997</c:v>
                </c:pt>
                <c:pt idx="7783">
                  <c:v>7.3579999999999997</c:v>
                </c:pt>
                <c:pt idx="7784">
                  <c:v>7.359</c:v>
                </c:pt>
                <c:pt idx="7785">
                  <c:v>7.3579999999999997</c:v>
                </c:pt>
                <c:pt idx="7786">
                  <c:v>7.3579999999999997</c:v>
                </c:pt>
                <c:pt idx="7787">
                  <c:v>7.359</c:v>
                </c:pt>
                <c:pt idx="7788">
                  <c:v>7.3579999999999997</c:v>
                </c:pt>
                <c:pt idx="7789">
                  <c:v>7.3579999999999997</c:v>
                </c:pt>
                <c:pt idx="7790">
                  <c:v>7.3579999999999997</c:v>
                </c:pt>
                <c:pt idx="7791">
                  <c:v>7.3579999999999997</c:v>
                </c:pt>
                <c:pt idx="7792">
                  <c:v>7.3579999999999997</c:v>
                </c:pt>
                <c:pt idx="7793">
                  <c:v>7.3579999999999997</c:v>
                </c:pt>
                <c:pt idx="7794">
                  <c:v>7.3579999999999997</c:v>
                </c:pt>
                <c:pt idx="7795">
                  <c:v>7.3579999999999997</c:v>
                </c:pt>
                <c:pt idx="7796">
                  <c:v>7.3579999999999997</c:v>
                </c:pt>
                <c:pt idx="7797">
                  <c:v>7.3579999999999997</c:v>
                </c:pt>
                <c:pt idx="7798">
                  <c:v>7.3579999999999997</c:v>
                </c:pt>
                <c:pt idx="7799">
                  <c:v>7.3579999999999997</c:v>
                </c:pt>
                <c:pt idx="7800">
                  <c:v>7.3579999999999997</c:v>
                </c:pt>
                <c:pt idx="7801">
                  <c:v>7.359</c:v>
                </c:pt>
                <c:pt idx="7802">
                  <c:v>7.3579999999999997</c:v>
                </c:pt>
                <c:pt idx="7803">
                  <c:v>7.3579999999999997</c:v>
                </c:pt>
                <c:pt idx="7804">
                  <c:v>7.3579999999999997</c:v>
                </c:pt>
                <c:pt idx="7805">
                  <c:v>7.3570000000000002</c:v>
                </c:pt>
                <c:pt idx="7806">
                  <c:v>7.3579999999999997</c:v>
                </c:pt>
                <c:pt idx="7807">
                  <c:v>7.3579999999999997</c:v>
                </c:pt>
                <c:pt idx="7808">
                  <c:v>7.3570000000000002</c:v>
                </c:pt>
                <c:pt idx="7809">
                  <c:v>7.3570000000000002</c:v>
                </c:pt>
                <c:pt idx="7810">
                  <c:v>7.3579999999999997</c:v>
                </c:pt>
                <c:pt idx="7811">
                  <c:v>7.3579999999999997</c:v>
                </c:pt>
                <c:pt idx="7812">
                  <c:v>7.3570000000000002</c:v>
                </c:pt>
                <c:pt idx="7813">
                  <c:v>7.3579999999999997</c:v>
                </c:pt>
                <c:pt idx="7814">
                  <c:v>7.3570000000000002</c:v>
                </c:pt>
                <c:pt idx="7815">
                  <c:v>7.3570000000000002</c:v>
                </c:pt>
                <c:pt idx="7816">
                  <c:v>7.3570000000000002</c:v>
                </c:pt>
                <c:pt idx="7817">
                  <c:v>7.3570000000000002</c:v>
                </c:pt>
                <c:pt idx="7818">
                  <c:v>7.3570000000000002</c:v>
                </c:pt>
                <c:pt idx="7819">
                  <c:v>7.3570000000000002</c:v>
                </c:pt>
                <c:pt idx="7820">
                  <c:v>7.3570000000000002</c:v>
                </c:pt>
                <c:pt idx="7821">
                  <c:v>7.3579999999999997</c:v>
                </c:pt>
                <c:pt idx="7822">
                  <c:v>7.3570000000000002</c:v>
                </c:pt>
                <c:pt idx="7823">
                  <c:v>7.3570000000000002</c:v>
                </c:pt>
                <c:pt idx="7824">
                  <c:v>7.3559999999999999</c:v>
                </c:pt>
                <c:pt idx="7825">
                  <c:v>7.3570000000000002</c:v>
                </c:pt>
                <c:pt idx="7826">
                  <c:v>7.3570000000000002</c:v>
                </c:pt>
                <c:pt idx="7827">
                  <c:v>7.3570000000000002</c:v>
                </c:pt>
                <c:pt idx="7828">
                  <c:v>7.3570000000000002</c:v>
                </c:pt>
                <c:pt idx="7829">
                  <c:v>7.3570000000000002</c:v>
                </c:pt>
                <c:pt idx="7830">
                  <c:v>7.3570000000000002</c:v>
                </c:pt>
                <c:pt idx="7831">
                  <c:v>7.3570000000000002</c:v>
                </c:pt>
                <c:pt idx="7832">
                  <c:v>7.3570000000000002</c:v>
                </c:pt>
                <c:pt idx="7833">
                  <c:v>7.3579999999999997</c:v>
                </c:pt>
                <c:pt idx="7834">
                  <c:v>7.3570000000000002</c:v>
                </c:pt>
                <c:pt idx="7835">
                  <c:v>7.3559999999999999</c:v>
                </c:pt>
                <c:pt idx="7836">
                  <c:v>7.3570000000000002</c:v>
                </c:pt>
                <c:pt idx="7837">
                  <c:v>7.3559999999999999</c:v>
                </c:pt>
                <c:pt idx="7838">
                  <c:v>7.3570000000000002</c:v>
                </c:pt>
                <c:pt idx="7839">
                  <c:v>7.3570000000000002</c:v>
                </c:pt>
                <c:pt idx="7840">
                  <c:v>7.3570000000000002</c:v>
                </c:pt>
                <c:pt idx="7841">
                  <c:v>7.3570000000000002</c:v>
                </c:pt>
                <c:pt idx="7842">
                  <c:v>7.3559999999999999</c:v>
                </c:pt>
                <c:pt idx="7843">
                  <c:v>7.3559999999999999</c:v>
                </c:pt>
                <c:pt idx="7844">
                  <c:v>7.3559999999999999</c:v>
                </c:pt>
                <c:pt idx="7845">
                  <c:v>7.3559999999999999</c:v>
                </c:pt>
                <c:pt idx="7846">
                  <c:v>7.3570000000000002</c:v>
                </c:pt>
                <c:pt idx="7847">
                  <c:v>7.3559999999999999</c:v>
                </c:pt>
                <c:pt idx="7848">
                  <c:v>7.3570000000000002</c:v>
                </c:pt>
                <c:pt idx="7849">
                  <c:v>7.3559999999999999</c:v>
                </c:pt>
                <c:pt idx="7850">
                  <c:v>7.3559999999999999</c:v>
                </c:pt>
                <c:pt idx="7851">
                  <c:v>7.3559999999999999</c:v>
                </c:pt>
                <c:pt idx="7852">
                  <c:v>7.3559999999999999</c:v>
                </c:pt>
                <c:pt idx="7853">
                  <c:v>7.3559999999999999</c:v>
                </c:pt>
                <c:pt idx="7854">
                  <c:v>7.3559999999999999</c:v>
                </c:pt>
                <c:pt idx="7855">
                  <c:v>7.3570000000000002</c:v>
                </c:pt>
                <c:pt idx="7856">
                  <c:v>7.3570000000000002</c:v>
                </c:pt>
                <c:pt idx="7857">
                  <c:v>7.3559999999999999</c:v>
                </c:pt>
                <c:pt idx="7858">
                  <c:v>7.3559999999999999</c:v>
                </c:pt>
                <c:pt idx="7859">
                  <c:v>7.3559999999999999</c:v>
                </c:pt>
                <c:pt idx="7860">
                  <c:v>7.3570000000000002</c:v>
                </c:pt>
                <c:pt idx="7861">
                  <c:v>7.3559999999999999</c:v>
                </c:pt>
                <c:pt idx="7862">
                  <c:v>7.3570000000000002</c:v>
                </c:pt>
                <c:pt idx="7863">
                  <c:v>7.3570000000000002</c:v>
                </c:pt>
                <c:pt idx="7864">
                  <c:v>7.3550000000000004</c:v>
                </c:pt>
                <c:pt idx="7865">
                  <c:v>7.3559999999999999</c:v>
                </c:pt>
                <c:pt idx="7866">
                  <c:v>7.3559999999999999</c:v>
                </c:pt>
                <c:pt idx="7867">
                  <c:v>7.3559999999999999</c:v>
                </c:pt>
                <c:pt idx="7868">
                  <c:v>7.3570000000000002</c:v>
                </c:pt>
                <c:pt idx="7869">
                  <c:v>7.3559999999999999</c:v>
                </c:pt>
                <c:pt idx="7870">
                  <c:v>7.3559999999999999</c:v>
                </c:pt>
                <c:pt idx="7871">
                  <c:v>7.3559999999999999</c:v>
                </c:pt>
                <c:pt idx="7872">
                  <c:v>7.3559999999999999</c:v>
                </c:pt>
                <c:pt idx="7873">
                  <c:v>7.3559999999999999</c:v>
                </c:pt>
                <c:pt idx="7874">
                  <c:v>7.3559999999999999</c:v>
                </c:pt>
                <c:pt idx="7875">
                  <c:v>7.3570000000000002</c:v>
                </c:pt>
                <c:pt idx="7876">
                  <c:v>7.3559999999999999</c:v>
                </c:pt>
                <c:pt idx="7877">
                  <c:v>7.3559999999999999</c:v>
                </c:pt>
                <c:pt idx="7878">
                  <c:v>7.3559999999999999</c:v>
                </c:pt>
                <c:pt idx="7879">
                  <c:v>7.3559999999999999</c:v>
                </c:pt>
                <c:pt idx="7880">
                  <c:v>7.3550000000000004</c:v>
                </c:pt>
                <c:pt idx="7881">
                  <c:v>7.3559999999999999</c:v>
                </c:pt>
                <c:pt idx="7882">
                  <c:v>7.3559999999999999</c:v>
                </c:pt>
                <c:pt idx="7883">
                  <c:v>7.3559999999999999</c:v>
                </c:pt>
                <c:pt idx="7884">
                  <c:v>7.3559999999999999</c:v>
                </c:pt>
                <c:pt idx="7885">
                  <c:v>7.3559999999999999</c:v>
                </c:pt>
                <c:pt idx="7886">
                  <c:v>7.3559999999999999</c:v>
                </c:pt>
                <c:pt idx="7887">
                  <c:v>7.3559999999999999</c:v>
                </c:pt>
                <c:pt idx="7888">
                  <c:v>7.3550000000000004</c:v>
                </c:pt>
                <c:pt idx="7889">
                  <c:v>7.3559999999999999</c:v>
                </c:pt>
                <c:pt idx="7890">
                  <c:v>7.3550000000000004</c:v>
                </c:pt>
                <c:pt idx="7891">
                  <c:v>7.3559999999999999</c:v>
                </c:pt>
                <c:pt idx="7892">
                  <c:v>7.3550000000000004</c:v>
                </c:pt>
                <c:pt idx="7893">
                  <c:v>7.3559999999999999</c:v>
                </c:pt>
                <c:pt idx="7894">
                  <c:v>7.3559999999999999</c:v>
                </c:pt>
                <c:pt idx="7895">
                  <c:v>7.3559999999999999</c:v>
                </c:pt>
                <c:pt idx="7896">
                  <c:v>7.3550000000000004</c:v>
                </c:pt>
                <c:pt idx="7897">
                  <c:v>7.3559999999999999</c:v>
                </c:pt>
                <c:pt idx="7898">
                  <c:v>7.3550000000000004</c:v>
                </c:pt>
                <c:pt idx="7899">
                  <c:v>7.3559999999999999</c:v>
                </c:pt>
                <c:pt idx="7900">
                  <c:v>7.3559999999999999</c:v>
                </c:pt>
                <c:pt idx="7901">
                  <c:v>7.3550000000000004</c:v>
                </c:pt>
                <c:pt idx="7902">
                  <c:v>7.3559999999999999</c:v>
                </c:pt>
                <c:pt idx="7903">
                  <c:v>7.3559999999999999</c:v>
                </c:pt>
                <c:pt idx="7904">
                  <c:v>7.3550000000000004</c:v>
                </c:pt>
                <c:pt idx="7905">
                  <c:v>7.3550000000000004</c:v>
                </c:pt>
                <c:pt idx="7906">
                  <c:v>7.3550000000000004</c:v>
                </c:pt>
                <c:pt idx="7907">
                  <c:v>7.3550000000000004</c:v>
                </c:pt>
                <c:pt idx="7908">
                  <c:v>7.3550000000000004</c:v>
                </c:pt>
                <c:pt idx="7909">
                  <c:v>7.3559999999999999</c:v>
                </c:pt>
                <c:pt idx="7910">
                  <c:v>7.3550000000000004</c:v>
                </c:pt>
                <c:pt idx="7911">
                  <c:v>7.3559999999999999</c:v>
                </c:pt>
                <c:pt idx="7912">
                  <c:v>7.3550000000000004</c:v>
                </c:pt>
                <c:pt idx="7913">
                  <c:v>7.3550000000000004</c:v>
                </c:pt>
                <c:pt idx="7914">
                  <c:v>7.3550000000000004</c:v>
                </c:pt>
                <c:pt idx="7915">
                  <c:v>7.3550000000000004</c:v>
                </c:pt>
                <c:pt idx="7916">
                  <c:v>7.3550000000000004</c:v>
                </c:pt>
                <c:pt idx="7917">
                  <c:v>7.3559999999999999</c:v>
                </c:pt>
                <c:pt idx="7918">
                  <c:v>7.3550000000000004</c:v>
                </c:pt>
                <c:pt idx="7919">
                  <c:v>7.3550000000000004</c:v>
                </c:pt>
                <c:pt idx="7920">
                  <c:v>7.3550000000000004</c:v>
                </c:pt>
                <c:pt idx="7921">
                  <c:v>7.3550000000000004</c:v>
                </c:pt>
                <c:pt idx="7922">
                  <c:v>7.3550000000000004</c:v>
                </c:pt>
                <c:pt idx="7923">
                  <c:v>7.3550000000000004</c:v>
                </c:pt>
                <c:pt idx="7924">
                  <c:v>7.3550000000000004</c:v>
                </c:pt>
                <c:pt idx="7925">
                  <c:v>7.3550000000000004</c:v>
                </c:pt>
                <c:pt idx="7926">
                  <c:v>7.3550000000000004</c:v>
                </c:pt>
                <c:pt idx="7927">
                  <c:v>7.3550000000000004</c:v>
                </c:pt>
                <c:pt idx="7928">
                  <c:v>7.3550000000000004</c:v>
                </c:pt>
                <c:pt idx="7929">
                  <c:v>7.3550000000000004</c:v>
                </c:pt>
                <c:pt idx="7930">
                  <c:v>7.3550000000000004</c:v>
                </c:pt>
                <c:pt idx="7931">
                  <c:v>7.3550000000000004</c:v>
                </c:pt>
                <c:pt idx="7932">
                  <c:v>7.3550000000000004</c:v>
                </c:pt>
                <c:pt idx="7933">
                  <c:v>7.3550000000000004</c:v>
                </c:pt>
                <c:pt idx="7934">
                  <c:v>7.3550000000000004</c:v>
                </c:pt>
                <c:pt idx="7935">
                  <c:v>7.3550000000000004</c:v>
                </c:pt>
                <c:pt idx="7936">
                  <c:v>7.3559999999999999</c:v>
                </c:pt>
                <c:pt idx="7937">
                  <c:v>7.3550000000000004</c:v>
                </c:pt>
                <c:pt idx="7938">
                  <c:v>7.3559999999999999</c:v>
                </c:pt>
                <c:pt idx="7939">
                  <c:v>7.3550000000000004</c:v>
                </c:pt>
                <c:pt idx="7940">
                  <c:v>7.3550000000000004</c:v>
                </c:pt>
                <c:pt idx="7941">
                  <c:v>7.3550000000000004</c:v>
                </c:pt>
                <c:pt idx="7942">
                  <c:v>7.3550000000000004</c:v>
                </c:pt>
                <c:pt idx="7943">
                  <c:v>7.3540000000000001</c:v>
                </c:pt>
                <c:pt idx="7944">
                  <c:v>7.3550000000000004</c:v>
                </c:pt>
                <c:pt idx="7945">
                  <c:v>7.3550000000000004</c:v>
                </c:pt>
                <c:pt idx="7946">
                  <c:v>7.3540000000000001</c:v>
                </c:pt>
                <c:pt idx="7947">
                  <c:v>7.3550000000000004</c:v>
                </c:pt>
                <c:pt idx="7948">
                  <c:v>7.3540000000000001</c:v>
                </c:pt>
                <c:pt idx="7949">
                  <c:v>7.3550000000000004</c:v>
                </c:pt>
                <c:pt idx="7950">
                  <c:v>7.3540000000000001</c:v>
                </c:pt>
                <c:pt idx="7951">
                  <c:v>7.3550000000000004</c:v>
                </c:pt>
                <c:pt idx="7952">
                  <c:v>7.3550000000000004</c:v>
                </c:pt>
                <c:pt idx="7953">
                  <c:v>7.3550000000000004</c:v>
                </c:pt>
                <c:pt idx="7954">
                  <c:v>7.3550000000000004</c:v>
                </c:pt>
                <c:pt idx="7955">
                  <c:v>7.3550000000000004</c:v>
                </c:pt>
                <c:pt idx="7956">
                  <c:v>7.3550000000000004</c:v>
                </c:pt>
                <c:pt idx="7957">
                  <c:v>7.3540000000000001</c:v>
                </c:pt>
                <c:pt idx="7958">
                  <c:v>7.3540000000000001</c:v>
                </c:pt>
                <c:pt idx="7959">
                  <c:v>7.3540000000000001</c:v>
                </c:pt>
                <c:pt idx="7960">
                  <c:v>7.3550000000000004</c:v>
                </c:pt>
                <c:pt idx="7961">
                  <c:v>7.3540000000000001</c:v>
                </c:pt>
                <c:pt idx="7962">
                  <c:v>7.3550000000000004</c:v>
                </c:pt>
                <c:pt idx="7963">
                  <c:v>7.3540000000000001</c:v>
                </c:pt>
                <c:pt idx="7964">
                  <c:v>7.3540000000000001</c:v>
                </c:pt>
                <c:pt idx="7965">
                  <c:v>7.3540000000000001</c:v>
                </c:pt>
                <c:pt idx="7966">
                  <c:v>7.3540000000000001</c:v>
                </c:pt>
                <c:pt idx="7967">
                  <c:v>7.3540000000000001</c:v>
                </c:pt>
                <c:pt idx="7968">
                  <c:v>7.3540000000000001</c:v>
                </c:pt>
                <c:pt idx="7969">
                  <c:v>7.3540000000000001</c:v>
                </c:pt>
                <c:pt idx="7970">
                  <c:v>7.3550000000000004</c:v>
                </c:pt>
                <c:pt idx="7971">
                  <c:v>7.3540000000000001</c:v>
                </c:pt>
                <c:pt idx="7972">
                  <c:v>7.3540000000000001</c:v>
                </c:pt>
                <c:pt idx="7973">
                  <c:v>7.3540000000000001</c:v>
                </c:pt>
                <c:pt idx="7974">
                  <c:v>7.3529999999999998</c:v>
                </c:pt>
                <c:pt idx="7975">
                  <c:v>7.3540000000000001</c:v>
                </c:pt>
                <c:pt idx="7976">
                  <c:v>7.3540000000000001</c:v>
                </c:pt>
                <c:pt idx="7977">
                  <c:v>7.3540000000000001</c:v>
                </c:pt>
                <c:pt idx="7978">
                  <c:v>7.3540000000000001</c:v>
                </c:pt>
                <c:pt idx="7979">
                  <c:v>7.3540000000000001</c:v>
                </c:pt>
                <c:pt idx="7980">
                  <c:v>7.3540000000000001</c:v>
                </c:pt>
                <c:pt idx="7981">
                  <c:v>7.3540000000000001</c:v>
                </c:pt>
                <c:pt idx="7982">
                  <c:v>7.3540000000000001</c:v>
                </c:pt>
                <c:pt idx="7983">
                  <c:v>7.3540000000000001</c:v>
                </c:pt>
                <c:pt idx="7984">
                  <c:v>7.3540000000000001</c:v>
                </c:pt>
                <c:pt idx="7985">
                  <c:v>7.3540000000000001</c:v>
                </c:pt>
                <c:pt idx="7986">
                  <c:v>7.3540000000000001</c:v>
                </c:pt>
                <c:pt idx="7987">
                  <c:v>7.3540000000000001</c:v>
                </c:pt>
                <c:pt idx="7988">
                  <c:v>7.3540000000000001</c:v>
                </c:pt>
                <c:pt idx="7989">
                  <c:v>7.3540000000000001</c:v>
                </c:pt>
                <c:pt idx="7990">
                  <c:v>7.3540000000000001</c:v>
                </c:pt>
                <c:pt idx="7991">
                  <c:v>7.3540000000000001</c:v>
                </c:pt>
                <c:pt idx="7992">
                  <c:v>7.3540000000000001</c:v>
                </c:pt>
                <c:pt idx="7993">
                  <c:v>7.3540000000000001</c:v>
                </c:pt>
                <c:pt idx="7994">
                  <c:v>7.3540000000000001</c:v>
                </c:pt>
                <c:pt idx="7995">
                  <c:v>7.3540000000000001</c:v>
                </c:pt>
                <c:pt idx="7996">
                  <c:v>7.3540000000000001</c:v>
                </c:pt>
                <c:pt idx="7997">
                  <c:v>7.3540000000000001</c:v>
                </c:pt>
                <c:pt idx="7998">
                  <c:v>7.3540000000000001</c:v>
                </c:pt>
                <c:pt idx="7999">
                  <c:v>7.3540000000000001</c:v>
                </c:pt>
                <c:pt idx="8000">
                  <c:v>7.3540000000000001</c:v>
                </c:pt>
                <c:pt idx="8001">
                  <c:v>7.3540000000000001</c:v>
                </c:pt>
                <c:pt idx="8002">
                  <c:v>7.3540000000000001</c:v>
                </c:pt>
                <c:pt idx="8003">
                  <c:v>7.3529999999999998</c:v>
                </c:pt>
                <c:pt idx="8004">
                  <c:v>7.3529999999999998</c:v>
                </c:pt>
                <c:pt idx="8005">
                  <c:v>7.3540000000000001</c:v>
                </c:pt>
                <c:pt idx="8006">
                  <c:v>7.3540000000000001</c:v>
                </c:pt>
                <c:pt idx="8007">
                  <c:v>7.3529999999999998</c:v>
                </c:pt>
                <c:pt idx="8008">
                  <c:v>7.3540000000000001</c:v>
                </c:pt>
                <c:pt idx="8009">
                  <c:v>7.3540000000000001</c:v>
                </c:pt>
                <c:pt idx="8010">
                  <c:v>7.3529999999999998</c:v>
                </c:pt>
                <c:pt idx="8011">
                  <c:v>7.3529999999999998</c:v>
                </c:pt>
                <c:pt idx="8012">
                  <c:v>7.3540000000000001</c:v>
                </c:pt>
                <c:pt idx="8013">
                  <c:v>7.3529999999999998</c:v>
                </c:pt>
                <c:pt idx="8014">
                  <c:v>7.3540000000000001</c:v>
                </c:pt>
                <c:pt idx="8015">
                  <c:v>7.3540000000000001</c:v>
                </c:pt>
                <c:pt idx="8016">
                  <c:v>7.3529999999999998</c:v>
                </c:pt>
                <c:pt idx="8017">
                  <c:v>7.3540000000000001</c:v>
                </c:pt>
                <c:pt idx="8018">
                  <c:v>7.3540000000000001</c:v>
                </c:pt>
                <c:pt idx="8019">
                  <c:v>7.3540000000000001</c:v>
                </c:pt>
                <c:pt idx="8020">
                  <c:v>7.3529999999999998</c:v>
                </c:pt>
                <c:pt idx="8021">
                  <c:v>7.3540000000000001</c:v>
                </c:pt>
                <c:pt idx="8022">
                  <c:v>7.3540000000000001</c:v>
                </c:pt>
                <c:pt idx="8023">
                  <c:v>7.3540000000000001</c:v>
                </c:pt>
                <c:pt idx="8024">
                  <c:v>7.3529999999999998</c:v>
                </c:pt>
                <c:pt idx="8025">
                  <c:v>7.3540000000000001</c:v>
                </c:pt>
                <c:pt idx="8026">
                  <c:v>7.3529999999999998</c:v>
                </c:pt>
                <c:pt idx="8027">
                  <c:v>7.3529999999999998</c:v>
                </c:pt>
                <c:pt idx="8028">
                  <c:v>7.3529999999999998</c:v>
                </c:pt>
                <c:pt idx="8029">
                  <c:v>7.3529999999999998</c:v>
                </c:pt>
                <c:pt idx="8030">
                  <c:v>7.3529999999999998</c:v>
                </c:pt>
                <c:pt idx="8031">
                  <c:v>7.3529999999999998</c:v>
                </c:pt>
                <c:pt idx="8032">
                  <c:v>7.3529999999999998</c:v>
                </c:pt>
                <c:pt idx="8033">
                  <c:v>7.3529999999999998</c:v>
                </c:pt>
                <c:pt idx="8034">
                  <c:v>7.3529999999999998</c:v>
                </c:pt>
                <c:pt idx="8035">
                  <c:v>7.3529999999999998</c:v>
                </c:pt>
                <c:pt idx="8036">
                  <c:v>7.3529999999999998</c:v>
                </c:pt>
                <c:pt idx="8037">
                  <c:v>7.3529999999999998</c:v>
                </c:pt>
                <c:pt idx="8038">
                  <c:v>7.3529999999999998</c:v>
                </c:pt>
                <c:pt idx="8039">
                  <c:v>7.3529999999999998</c:v>
                </c:pt>
                <c:pt idx="8040">
                  <c:v>7.3540000000000001</c:v>
                </c:pt>
                <c:pt idx="8041">
                  <c:v>7.3540000000000001</c:v>
                </c:pt>
                <c:pt idx="8042">
                  <c:v>7.3540000000000001</c:v>
                </c:pt>
                <c:pt idx="8043">
                  <c:v>7.3529999999999998</c:v>
                </c:pt>
                <c:pt idx="8044">
                  <c:v>7.3529999999999998</c:v>
                </c:pt>
                <c:pt idx="8045">
                  <c:v>7.3529999999999998</c:v>
                </c:pt>
                <c:pt idx="8046">
                  <c:v>7.3529999999999998</c:v>
                </c:pt>
                <c:pt idx="8047">
                  <c:v>7.3529999999999998</c:v>
                </c:pt>
                <c:pt idx="8048">
                  <c:v>7.3529999999999998</c:v>
                </c:pt>
                <c:pt idx="8049">
                  <c:v>7.3529999999999998</c:v>
                </c:pt>
                <c:pt idx="8050">
                  <c:v>7.3529999999999998</c:v>
                </c:pt>
                <c:pt idx="8051">
                  <c:v>7.3529999999999998</c:v>
                </c:pt>
                <c:pt idx="8052">
                  <c:v>7.3529999999999998</c:v>
                </c:pt>
                <c:pt idx="8053">
                  <c:v>7.3529999999999998</c:v>
                </c:pt>
                <c:pt idx="8054">
                  <c:v>7.3529999999999998</c:v>
                </c:pt>
                <c:pt idx="8055">
                  <c:v>7.3529999999999998</c:v>
                </c:pt>
                <c:pt idx="8056">
                  <c:v>7.3529999999999998</c:v>
                </c:pt>
                <c:pt idx="8057">
                  <c:v>7.3529999999999998</c:v>
                </c:pt>
                <c:pt idx="8058">
                  <c:v>7.3529999999999998</c:v>
                </c:pt>
                <c:pt idx="8059">
                  <c:v>7.3529999999999998</c:v>
                </c:pt>
                <c:pt idx="8060">
                  <c:v>7.3529999999999998</c:v>
                </c:pt>
                <c:pt idx="8061">
                  <c:v>7.3540000000000001</c:v>
                </c:pt>
                <c:pt idx="8062">
                  <c:v>7.3529999999999998</c:v>
                </c:pt>
                <c:pt idx="8063">
                  <c:v>7.3529999999999998</c:v>
                </c:pt>
                <c:pt idx="8064">
                  <c:v>7.3529999999999998</c:v>
                </c:pt>
                <c:pt idx="8065">
                  <c:v>7.3529999999999998</c:v>
                </c:pt>
                <c:pt idx="8066">
                  <c:v>7.3529999999999998</c:v>
                </c:pt>
                <c:pt idx="8067">
                  <c:v>7.3529999999999998</c:v>
                </c:pt>
                <c:pt idx="8068">
                  <c:v>7.3520000000000003</c:v>
                </c:pt>
                <c:pt idx="8069">
                  <c:v>7.3520000000000003</c:v>
                </c:pt>
                <c:pt idx="8070">
                  <c:v>7.3529999999999998</c:v>
                </c:pt>
                <c:pt idx="8071">
                  <c:v>7.3529999999999998</c:v>
                </c:pt>
                <c:pt idx="8072">
                  <c:v>7.3529999999999998</c:v>
                </c:pt>
                <c:pt idx="8073">
                  <c:v>7.3520000000000003</c:v>
                </c:pt>
                <c:pt idx="8074">
                  <c:v>7.3520000000000003</c:v>
                </c:pt>
                <c:pt idx="8075">
                  <c:v>7.3520000000000003</c:v>
                </c:pt>
                <c:pt idx="8076">
                  <c:v>7.3529999999999998</c:v>
                </c:pt>
                <c:pt idx="8077">
                  <c:v>7.3520000000000003</c:v>
                </c:pt>
                <c:pt idx="8078">
                  <c:v>7.3520000000000003</c:v>
                </c:pt>
                <c:pt idx="8079">
                  <c:v>7.3520000000000003</c:v>
                </c:pt>
                <c:pt idx="8080">
                  <c:v>7.3520000000000003</c:v>
                </c:pt>
                <c:pt idx="8081">
                  <c:v>7.3520000000000003</c:v>
                </c:pt>
                <c:pt idx="8082">
                  <c:v>7.3520000000000003</c:v>
                </c:pt>
                <c:pt idx="8083">
                  <c:v>7.3520000000000003</c:v>
                </c:pt>
                <c:pt idx="8084">
                  <c:v>7.3529999999999998</c:v>
                </c:pt>
                <c:pt idx="8085">
                  <c:v>7.3520000000000003</c:v>
                </c:pt>
                <c:pt idx="8086">
                  <c:v>7.3520000000000003</c:v>
                </c:pt>
                <c:pt idx="8087">
                  <c:v>7.3529999999999998</c:v>
                </c:pt>
                <c:pt idx="8088">
                  <c:v>7.3520000000000003</c:v>
                </c:pt>
                <c:pt idx="8089">
                  <c:v>7.3520000000000003</c:v>
                </c:pt>
                <c:pt idx="8090">
                  <c:v>7.3520000000000003</c:v>
                </c:pt>
                <c:pt idx="8091">
                  <c:v>7.3520000000000003</c:v>
                </c:pt>
                <c:pt idx="8092">
                  <c:v>7.3520000000000003</c:v>
                </c:pt>
                <c:pt idx="8093">
                  <c:v>7.351</c:v>
                </c:pt>
                <c:pt idx="8094">
                  <c:v>7.3520000000000003</c:v>
                </c:pt>
                <c:pt idx="8095">
                  <c:v>7.3520000000000003</c:v>
                </c:pt>
                <c:pt idx="8096">
                  <c:v>7.3520000000000003</c:v>
                </c:pt>
                <c:pt idx="8097">
                  <c:v>7.3520000000000003</c:v>
                </c:pt>
                <c:pt idx="8098">
                  <c:v>7.3520000000000003</c:v>
                </c:pt>
                <c:pt idx="8099">
                  <c:v>7.351</c:v>
                </c:pt>
                <c:pt idx="8100">
                  <c:v>7.3529999999999998</c:v>
                </c:pt>
                <c:pt idx="8101">
                  <c:v>7.3520000000000003</c:v>
                </c:pt>
                <c:pt idx="8102">
                  <c:v>7.3520000000000003</c:v>
                </c:pt>
                <c:pt idx="8103">
                  <c:v>7.3520000000000003</c:v>
                </c:pt>
                <c:pt idx="8104">
                  <c:v>7.351</c:v>
                </c:pt>
                <c:pt idx="8105">
                  <c:v>7.3520000000000003</c:v>
                </c:pt>
                <c:pt idx="8106">
                  <c:v>7.351</c:v>
                </c:pt>
                <c:pt idx="8107">
                  <c:v>7.351</c:v>
                </c:pt>
                <c:pt idx="8108">
                  <c:v>7.351</c:v>
                </c:pt>
                <c:pt idx="8109">
                  <c:v>7.3520000000000003</c:v>
                </c:pt>
                <c:pt idx="8110">
                  <c:v>7.3520000000000003</c:v>
                </c:pt>
                <c:pt idx="8111">
                  <c:v>7.3520000000000003</c:v>
                </c:pt>
                <c:pt idx="8112">
                  <c:v>7.3520000000000003</c:v>
                </c:pt>
                <c:pt idx="8113">
                  <c:v>7.3520000000000003</c:v>
                </c:pt>
                <c:pt idx="8114">
                  <c:v>7.351</c:v>
                </c:pt>
                <c:pt idx="8115">
                  <c:v>7.3520000000000003</c:v>
                </c:pt>
                <c:pt idx="8116">
                  <c:v>7.351</c:v>
                </c:pt>
                <c:pt idx="8117">
                  <c:v>7.351</c:v>
                </c:pt>
                <c:pt idx="8118">
                  <c:v>7.351</c:v>
                </c:pt>
                <c:pt idx="8119">
                  <c:v>7.3520000000000003</c:v>
                </c:pt>
                <c:pt idx="8120">
                  <c:v>7.3520000000000003</c:v>
                </c:pt>
                <c:pt idx="8121">
                  <c:v>7.351</c:v>
                </c:pt>
                <c:pt idx="8122">
                  <c:v>7.351</c:v>
                </c:pt>
                <c:pt idx="8123">
                  <c:v>7.3520000000000003</c:v>
                </c:pt>
                <c:pt idx="8124">
                  <c:v>7.3520000000000003</c:v>
                </c:pt>
                <c:pt idx="8125">
                  <c:v>7.351</c:v>
                </c:pt>
                <c:pt idx="8126">
                  <c:v>7.351</c:v>
                </c:pt>
                <c:pt idx="8127">
                  <c:v>7.351</c:v>
                </c:pt>
                <c:pt idx="8128">
                  <c:v>7.351</c:v>
                </c:pt>
                <c:pt idx="8129">
                  <c:v>7.351</c:v>
                </c:pt>
                <c:pt idx="8130">
                  <c:v>7.351</c:v>
                </c:pt>
                <c:pt idx="8131">
                  <c:v>7.351</c:v>
                </c:pt>
                <c:pt idx="8132">
                  <c:v>7.351</c:v>
                </c:pt>
                <c:pt idx="8133">
                  <c:v>7.351</c:v>
                </c:pt>
                <c:pt idx="8134">
                  <c:v>7.351</c:v>
                </c:pt>
                <c:pt idx="8135">
                  <c:v>7.351</c:v>
                </c:pt>
                <c:pt idx="8136">
                  <c:v>7.351</c:v>
                </c:pt>
                <c:pt idx="8137">
                  <c:v>7.351</c:v>
                </c:pt>
                <c:pt idx="8138">
                  <c:v>7.351</c:v>
                </c:pt>
                <c:pt idx="8139">
                  <c:v>7.351</c:v>
                </c:pt>
                <c:pt idx="8140">
                  <c:v>7.351</c:v>
                </c:pt>
                <c:pt idx="8141">
                  <c:v>7.351</c:v>
                </c:pt>
                <c:pt idx="8142">
                  <c:v>7.35</c:v>
                </c:pt>
                <c:pt idx="8143">
                  <c:v>7.35</c:v>
                </c:pt>
                <c:pt idx="8144">
                  <c:v>7.35</c:v>
                </c:pt>
                <c:pt idx="8145">
                  <c:v>7.351</c:v>
                </c:pt>
                <c:pt idx="8146">
                  <c:v>7.35</c:v>
                </c:pt>
                <c:pt idx="8147">
                  <c:v>7.351</c:v>
                </c:pt>
                <c:pt idx="8148">
                  <c:v>7.351</c:v>
                </c:pt>
                <c:pt idx="8149">
                  <c:v>7.351</c:v>
                </c:pt>
                <c:pt idx="8150">
                  <c:v>7.35</c:v>
                </c:pt>
                <c:pt idx="8151">
                  <c:v>7.35</c:v>
                </c:pt>
                <c:pt idx="8152">
                  <c:v>7.351</c:v>
                </c:pt>
                <c:pt idx="8153">
                  <c:v>7.351</c:v>
                </c:pt>
                <c:pt idx="8154">
                  <c:v>7.35</c:v>
                </c:pt>
                <c:pt idx="8155">
                  <c:v>7.351</c:v>
                </c:pt>
                <c:pt idx="8156">
                  <c:v>7.35</c:v>
                </c:pt>
                <c:pt idx="8157">
                  <c:v>7.351</c:v>
                </c:pt>
                <c:pt idx="8158">
                  <c:v>7.35</c:v>
                </c:pt>
                <c:pt idx="8159">
                  <c:v>7.35</c:v>
                </c:pt>
                <c:pt idx="8160">
                  <c:v>7.35</c:v>
                </c:pt>
                <c:pt idx="8161">
                  <c:v>7.35</c:v>
                </c:pt>
                <c:pt idx="8162">
                  <c:v>7.35</c:v>
                </c:pt>
                <c:pt idx="8163">
                  <c:v>7.35</c:v>
                </c:pt>
                <c:pt idx="8164">
                  <c:v>7.35</c:v>
                </c:pt>
                <c:pt idx="8165">
                  <c:v>7.35</c:v>
                </c:pt>
                <c:pt idx="8166">
                  <c:v>7.3490000000000002</c:v>
                </c:pt>
                <c:pt idx="8167">
                  <c:v>7.35</c:v>
                </c:pt>
                <c:pt idx="8168">
                  <c:v>7.35</c:v>
                </c:pt>
                <c:pt idx="8169">
                  <c:v>7.3490000000000002</c:v>
                </c:pt>
                <c:pt idx="8170">
                  <c:v>7.35</c:v>
                </c:pt>
                <c:pt idx="8171">
                  <c:v>7.3490000000000002</c:v>
                </c:pt>
                <c:pt idx="8172">
                  <c:v>7.35</c:v>
                </c:pt>
                <c:pt idx="8173">
                  <c:v>7.35</c:v>
                </c:pt>
                <c:pt idx="8174">
                  <c:v>7.3490000000000002</c:v>
                </c:pt>
                <c:pt idx="8175">
                  <c:v>7.35</c:v>
                </c:pt>
                <c:pt idx="8176">
                  <c:v>7.3490000000000002</c:v>
                </c:pt>
                <c:pt idx="8177">
                  <c:v>7.35</c:v>
                </c:pt>
                <c:pt idx="8178">
                  <c:v>7.35</c:v>
                </c:pt>
                <c:pt idx="8179">
                  <c:v>7.35</c:v>
                </c:pt>
                <c:pt idx="8180">
                  <c:v>7.35</c:v>
                </c:pt>
                <c:pt idx="8181">
                  <c:v>7.35</c:v>
                </c:pt>
                <c:pt idx="8182">
                  <c:v>7.35</c:v>
                </c:pt>
                <c:pt idx="8183">
                  <c:v>7.35</c:v>
                </c:pt>
                <c:pt idx="8184">
                  <c:v>7.3490000000000002</c:v>
                </c:pt>
                <c:pt idx="8185">
                  <c:v>7.3490000000000002</c:v>
                </c:pt>
                <c:pt idx="8186">
                  <c:v>7.35</c:v>
                </c:pt>
                <c:pt idx="8187">
                  <c:v>7.3490000000000002</c:v>
                </c:pt>
                <c:pt idx="8188">
                  <c:v>7.35</c:v>
                </c:pt>
                <c:pt idx="8189">
                  <c:v>7.35</c:v>
                </c:pt>
                <c:pt idx="8190">
                  <c:v>7.35</c:v>
                </c:pt>
                <c:pt idx="8191">
                  <c:v>7.3490000000000002</c:v>
                </c:pt>
                <c:pt idx="8192">
                  <c:v>7.35</c:v>
                </c:pt>
                <c:pt idx="8193">
                  <c:v>7.3490000000000002</c:v>
                </c:pt>
                <c:pt idx="8194">
                  <c:v>7.3490000000000002</c:v>
                </c:pt>
                <c:pt idx="8195">
                  <c:v>7.35</c:v>
                </c:pt>
                <c:pt idx="8196">
                  <c:v>7.35</c:v>
                </c:pt>
                <c:pt idx="8197">
                  <c:v>7.3490000000000002</c:v>
                </c:pt>
                <c:pt idx="8198">
                  <c:v>7.3490000000000002</c:v>
                </c:pt>
                <c:pt idx="8199">
                  <c:v>7.35</c:v>
                </c:pt>
                <c:pt idx="8200">
                  <c:v>7.3490000000000002</c:v>
                </c:pt>
                <c:pt idx="8201">
                  <c:v>7.3490000000000002</c:v>
                </c:pt>
                <c:pt idx="8202">
                  <c:v>7.3490000000000002</c:v>
                </c:pt>
                <c:pt idx="8203">
                  <c:v>7.3490000000000002</c:v>
                </c:pt>
                <c:pt idx="8204">
                  <c:v>7.3490000000000002</c:v>
                </c:pt>
                <c:pt idx="8205">
                  <c:v>7.35</c:v>
                </c:pt>
                <c:pt idx="8206">
                  <c:v>7.35</c:v>
                </c:pt>
                <c:pt idx="8207">
                  <c:v>7.3490000000000002</c:v>
                </c:pt>
                <c:pt idx="8208">
                  <c:v>7.3490000000000002</c:v>
                </c:pt>
                <c:pt idx="8209">
                  <c:v>7.3490000000000002</c:v>
                </c:pt>
                <c:pt idx="8210">
                  <c:v>7.3490000000000002</c:v>
                </c:pt>
                <c:pt idx="8211">
                  <c:v>7.3490000000000002</c:v>
                </c:pt>
                <c:pt idx="8212">
                  <c:v>7.3479999999999999</c:v>
                </c:pt>
                <c:pt idx="8213">
                  <c:v>7.3490000000000002</c:v>
                </c:pt>
                <c:pt idx="8214">
                  <c:v>7.3490000000000002</c:v>
                </c:pt>
                <c:pt idx="8215">
                  <c:v>7.3490000000000002</c:v>
                </c:pt>
                <c:pt idx="8216">
                  <c:v>7.3490000000000002</c:v>
                </c:pt>
                <c:pt idx="8217">
                  <c:v>7.3490000000000002</c:v>
                </c:pt>
                <c:pt idx="8218">
                  <c:v>7.3490000000000002</c:v>
                </c:pt>
                <c:pt idx="8219">
                  <c:v>7.3490000000000002</c:v>
                </c:pt>
                <c:pt idx="8220">
                  <c:v>7.3490000000000002</c:v>
                </c:pt>
                <c:pt idx="8221">
                  <c:v>7.3490000000000002</c:v>
                </c:pt>
                <c:pt idx="8222">
                  <c:v>7.3490000000000002</c:v>
                </c:pt>
                <c:pt idx="8223">
                  <c:v>7.3490000000000002</c:v>
                </c:pt>
                <c:pt idx="8224">
                  <c:v>7.3490000000000002</c:v>
                </c:pt>
                <c:pt idx="8225">
                  <c:v>7.3490000000000002</c:v>
                </c:pt>
                <c:pt idx="8226">
                  <c:v>7.3490000000000002</c:v>
                </c:pt>
                <c:pt idx="8227">
                  <c:v>7.3479999999999999</c:v>
                </c:pt>
                <c:pt idx="8228">
                  <c:v>7.3490000000000002</c:v>
                </c:pt>
                <c:pt idx="8229">
                  <c:v>7.3490000000000002</c:v>
                </c:pt>
                <c:pt idx="8230">
                  <c:v>7.3490000000000002</c:v>
                </c:pt>
                <c:pt idx="8231">
                  <c:v>7.3490000000000002</c:v>
                </c:pt>
                <c:pt idx="8232">
                  <c:v>7.3490000000000002</c:v>
                </c:pt>
                <c:pt idx="8233">
                  <c:v>7.3490000000000002</c:v>
                </c:pt>
                <c:pt idx="8234">
                  <c:v>7.3490000000000002</c:v>
                </c:pt>
                <c:pt idx="8235">
                  <c:v>7.3490000000000002</c:v>
                </c:pt>
                <c:pt idx="8236">
                  <c:v>7.3490000000000002</c:v>
                </c:pt>
                <c:pt idx="8237">
                  <c:v>7.3479999999999999</c:v>
                </c:pt>
                <c:pt idx="8238">
                  <c:v>7.3479999999999999</c:v>
                </c:pt>
                <c:pt idx="8239">
                  <c:v>7.3479999999999999</c:v>
                </c:pt>
                <c:pt idx="8240">
                  <c:v>7.3490000000000002</c:v>
                </c:pt>
                <c:pt idx="8241">
                  <c:v>7.3479999999999999</c:v>
                </c:pt>
                <c:pt idx="8242">
                  <c:v>7.3490000000000002</c:v>
                </c:pt>
                <c:pt idx="8243">
                  <c:v>7.3479999999999999</c:v>
                </c:pt>
                <c:pt idx="8244">
                  <c:v>7.3490000000000002</c:v>
                </c:pt>
                <c:pt idx="8245">
                  <c:v>7.3490000000000002</c:v>
                </c:pt>
                <c:pt idx="8246">
                  <c:v>7.3490000000000002</c:v>
                </c:pt>
                <c:pt idx="8247">
                  <c:v>7.3479999999999999</c:v>
                </c:pt>
                <c:pt idx="8248">
                  <c:v>7.3479999999999999</c:v>
                </c:pt>
                <c:pt idx="8249">
                  <c:v>7.3479999999999999</c:v>
                </c:pt>
                <c:pt idx="8250">
                  <c:v>7.3479999999999999</c:v>
                </c:pt>
                <c:pt idx="8251">
                  <c:v>7.3490000000000002</c:v>
                </c:pt>
                <c:pt idx="8252">
                  <c:v>7.3490000000000002</c:v>
                </c:pt>
                <c:pt idx="8253">
                  <c:v>7.3490000000000002</c:v>
                </c:pt>
                <c:pt idx="8254">
                  <c:v>7.3479999999999999</c:v>
                </c:pt>
                <c:pt idx="8255">
                  <c:v>7.3490000000000002</c:v>
                </c:pt>
                <c:pt idx="8256">
                  <c:v>7.3490000000000002</c:v>
                </c:pt>
                <c:pt idx="8257">
                  <c:v>7.3490000000000002</c:v>
                </c:pt>
                <c:pt idx="8258">
                  <c:v>7.3479999999999999</c:v>
                </c:pt>
                <c:pt idx="8259">
                  <c:v>7.3490000000000002</c:v>
                </c:pt>
                <c:pt idx="8260">
                  <c:v>7.3479999999999999</c:v>
                </c:pt>
                <c:pt idx="8261">
                  <c:v>7.3490000000000002</c:v>
                </c:pt>
                <c:pt idx="8262">
                  <c:v>7.3479999999999999</c:v>
                </c:pt>
                <c:pt idx="8263">
                  <c:v>7.3479999999999999</c:v>
                </c:pt>
                <c:pt idx="8264">
                  <c:v>7.3479999999999999</c:v>
                </c:pt>
                <c:pt idx="8265">
                  <c:v>7.3479999999999999</c:v>
                </c:pt>
                <c:pt idx="8266">
                  <c:v>7.3490000000000002</c:v>
                </c:pt>
                <c:pt idx="8267">
                  <c:v>7.3479999999999999</c:v>
                </c:pt>
                <c:pt idx="8268">
                  <c:v>7.3479999999999999</c:v>
                </c:pt>
                <c:pt idx="8269">
                  <c:v>7.3479999999999999</c:v>
                </c:pt>
                <c:pt idx="8270">
                  <c:v>7.3479999999999999</c:v>
                </c:pt>
                <c:pt idx="8271">
                  <c:v>7.3479999999999999</c:v>
                </c:pt>
                <c:pt idx="8272">
                  <c:v>7.3479999999999999</c:v>
                </c:pt>
                <c:pt idx="8273">
                  <c:v>7.3490000000000002</c:v>
                </c:pt>
                <c:pt idx="8274">
                  <c:v>7.3479999999999999</c:v>
                </c:pt>
                <c:pt idx="8275">
                  <c:v>7.3490000000000002</c:v>
                </c:pt>
                <c:pt idx="8276">
                  <c:v>7.3479999999999999</c:v>
                </c:pt>
                <c:pt idx="8277">
                  <c:v>7.3479999999999999</c:v>
                </c:pt>
                <c:pt idx="8278">
                  <c:v>7.3479999999999999</c:v>
                </c:pt>
                <c:pt idx="8279">
                  <c:v>7.3479999999999999</c:v>
                </c:pt>
                <c:pt idx="8280">
                  <c:v>7.3479999999999999</c:v>
                </c:pt>
                <c:pt idx="8281">
                  <c:v>7.3490000000000002</c:v>
                </c:pt>
                <c:pt idx="8282">
                  <c:v>7.3479999999999999</c:v>
                </c:pt>
                <c:pt idx="8283">
                  <c:v>7.3490000000000002</c:v>
                </c:pt>
                <c:pt idx="8284">
                  <c:v>7.3479999999999999</c:v>
                </c:pt>
                <c:pt idx="8285">
                  <c:v>7.3479999999999999</c:v>
                </c:pt>
                <c:pt idx="8286">
                  <c:v>7.3479999999999999</c:v>
                </c:pt>
                <c:pt idx="8287">
                  <c:v>7.3479999999999999</c:v>
                </c:pt>
                <c:pt idx="8288">
                  <c:v>7.3479999999999999</c:v>
                </c:pt>
                <c:pt idx="8289">
                  <c:v>7.3479999999999999</c:v>
                </c:pt>
                <c:pt idx="8290">
                  <c:v>7.3479999999999999</c:v>
                </c:pt>
                <c:pt idx="8291">
                  <c:v>7.3479999999999999</c:v>
                </c:pt>
                <c:pt idx="8292">
                  <c:v>7.3479999999999999</c:v>
                </c:pt>
                <c:pt idx="8293">
                  <c:v>7.3479999999999999</c:v>
                </c:pt>
                <c:pt idx="8294">
                  <c:v>7.3479999999999999</c:v>
                </c:pt>
                <c:pt idx="8295">
                  <c:v>7.3470000000000004</c:v>
                </c:pt>
                <c:pt idx="8296">
                  <c:v>7.3479999999999999</c:v>
                </c:pt>
                <c:pt idx="8297">
                  <c:v>7.3479999999999999</c:v>
                </c:pt>
                <c:pt idx="8298">
                  <c:v>7.3479999999999999</c:v>
                </c:pt>
                <c:pt idx="8299">
                  <c:v>7.3479999999999999</c:v>
                </c:pt>
                <c:pt idx="8300">
                  <c:v>7.3479999999999999</c:v>
                </c:pt>
                <c:pt idx="8301">
                  <c:v>7.3479999999999999</c:v>
                </c:pt>
                <c:pt idx="8302">
                  <c:v>7.3479999999999999</c:v>
                </c:pt>
                <c:pt idx="8303">
                  <c:v>7.3479999999999999</c:v>
                </c:pt>
                <c:pt idx="8304">
                  <c:v>7.3479999999999999</c:v>
                </c:pt>
                <c:pt idx="8305">
                  <c:v>7.3479999999999999</c:v>
                </c:pt>
                <c:pt idx="8306">
                  <c:v>7.3479999999999999</c:v>
                </c:pt>
                <c:pt idx="8307">
                  <c:v>7.3479999999999999</c:v>
                </c:pt>
                <c:pt idx="8308">
                  <c:v>7.3479999999999999</c:v>
                </c:pt>
                <c:pt idx="8309">
                  <c:v>7.3470000000000004</c:v>
                </c:pt>
                <c:pt idx="8310">
                  <c:v>7.3479999999999999</c:v>
                </c:pt>
                <c:pt idx="8311">
                  <c:v>7.3479999999999999</c:v>
                </c:pt>
                <c:pt idx="8312">
                  <c:v>7.3479999999999999</c:v>
                </c:pt>
                <c:pt idx="8313">
                  <c:v>7.3470000000000004</c:v>
                </c:pt>
                <c:pt idx="8314">
                  <c:v>7.3479999999999999</c:v>
                </c:pt>
                <c:pt idx="8315">
                  <c:v>7.3479999999999999</c:v>
                </c:pt>
                <c:pt idx="8316">
                  <c:v>7.3470000000000004</c:v>
                </c:pt>
                <c:pt idx="8317">
                  <c:v>7.3479999999999999</c:v>
                </c:pt>
                <c:pt idx="8318">
                  <c:v>7.3470000000000004</c:v>
                </c:pt>
                <c:pt idx="8319">
                  <c:v>7.3470000000000004</c:v>
                </c:pt>
                <c:pt idx="8320">
                  <c:v>7.3470000000000004</c:v>
                </c:pt>
                <c:pt idx="8321">
                  <c:v>7.3470000000000004</c:v>
                </c:pt>
                <c:pt idx="8322">
                  <c:v>7.3470000000000004</c:v>
                </c:pt>
                <c:pt idx="8323">
                  <c:v>7.3470000000000004</c:v>
                </c:pt>
                <c:pt idx="8324">
                  <c:v>7.3470000000000004</c:v>
                </c:pt>
                <c:pt idx="8325">
                  <c:v>7.3470000000000004</c:v>
                </c:pt>
                <c:pt idx="8326">
                  <c:v>7.3470000000000004</c:v>
                </c:pt>
                <c:pt idx="8327">
                  <c:v>7.3470000000000004</c:v>
                </c:pt>
                <c:pt idx="8328">
                  <c:v>7.3470000000000004</c:v>
                </c:pt>
                <c:pt idx="8329">
                  <c:v>7.3470000000000004</c:v>
                </c:pt>
                <c:pt idx="8330">
                  <c:v>7.3479999999999999</c:v>
                </c:pt>
                <c:pt idx="8331">
                  <c:v>7.3470000000000004</c:v>
                </c:pt>
                <c:pt idx="8332">
                  <c:v>7.3470000000000004</c:v>
                </c:pt>
                <c:pt idx="8333">
                  <c:v>7.3470000000000004</c:v>
                </c:pt>
                <c:pt idx="8334">
                  <c:v>7.3470000000000004</c:v>
                </c:pt>
                <c:pt idx="8335">
                  <c:v>7.3479999999999999</c:v>
                </c:pt>
                <c:pt idx="8336">
                  <c:v>7.3470000000000004</c:v>
                </c:pt>
                <c:pt idx="8337">
                  <c:v>7.3470000000000004</c:v>
                </c:pt>
                <c:pt idx="8338">
                  <c:v>7.3470000000000004</c:v>
                </c:pt>
                <c:pt idx="8339">
                  <c:v>7.3470000000000004</c:v>
                </c:pt>
                <c:pt idx="8340">
                  <c:v>7.3470000000000004</c:v>
                </c:pt>
                <c:pt idx="8341">
                  <c:v>7.3470000000000004</c:v>
                </c:pt>
                <c:pt idx="8342">
                  <c:v>7.3470000000000004</c:v>
                </c:pt>
                <c:pt idx="8343">
                  <c:v>7.3470000000000004</c:v>
                </c:pt>
                <c:pt idx="8344">
                  <c:v>7.3460000000000001</c:v>
                </c:pt>
                <c:pt idx="8345">
                  <c:v>7.3470000000000004</c:v>
                </c:pt>
                <c:pt idx="8346">
                  <c:v>7.3470000000000004</c:v>
                </c:pt>
                <c:pt idx="8347">
                  <c:v>7.3460000000000001</c:v>
                </c:pt>
                <c:pt idx="8348">
                  <c:v>7.3470000000000004</c:v>
                </c:pt>
                <c:pt idx="8349">
                  <c:v>7.3470000000000004</c:v>
                </c:pt>
                <c:pt idx="8350">
                  <c:v>7.3470000000000004</c:v>
                </c:pt>
                <c:pt idx="8351">
                  <c:v>7.3470000000000004</c:v>
                </c:pt>
                <c:pt idx="8352">
                  <c:v>7.3470000000000004</c:v>
                </c:pt>
                <c:pt idx="8353">
                  <c:v>7.3470000000000004</c:v>
                </c:pt>
                <c:pt idx="8354">
                  <c:v>7.3470000000000004</c:v>
                </c:pt>
                <c:pt idx="8355">
                  <c:v>7.3460000000000001</c:v>
                </c:pt>
                <c:pt idx="8356">
                  <c:v>7.3470000000000004</c:v>
                </c:pt>
                <c:pt idx="8357">
                  <c:v>7.3470000000000004</c:v>
                </c:pt>
                <c:pt idx="8358">
                  <c:v>7.3460000000000001</c:v>
                </c:pt>
                <c:pt idx="8359">
                  <c:v>7.3460000000000001</c:v>
                </c:pt>
                <c:pt idx="8360">
                  <c:v>7.3460000000000001</c:v>
                </c:pt>
                <c:pt idx="8361">
                  <c:v>7.3460000000000001</c:v>
                </c:pt>
                <c:pt idx="8362">
                  <c:v>7.3460000000000001</c:v>
                </c:pt>
                <c:pt idx="8363">
                  <c:v>7.3470000000000004</c:v>
                </c:pt>
                <c:pt idx="8364">
                  <c:v>7.3470000000000004</c:v>
                </c:pt>
                <c:pt idx="8365">
                  <c:v>7.3460000000000001</c:v>
                </c:pt>
                <c:pt idx="8366">
                  <c:v>7.3460000000000001</c:v>
                </c:pt>
                <c:pt idx="8367">
                  <c:v>7.3460000000000001</c:v>
                </c:pt>
                <c:pt idx="8368">
                  <c:v>7.3460000000000001</c:v>
                </c:pt>
                <c:pt idx="8369">
                  <c:v>7.3470000000000004</c:v>
                </c:pt>
                <c:pt idx="8370">
                  <c:v>7.3470000000000004</c:v>
                </c:pt>
                <c:pt idx="8371">
                  <c:v>7.3460000000000001</c:v>
                </c:pt>
                <c:pt idx="8372">
                  <c:v>7.3460000000000001</c:v>
                </c:pt>
                <c:pt idx="8373">
                  <c:v>7.3460000000000001</c:v>
                </c:pt>
                <c:pt idx="8374">
                  <c:v>7.3460000000000001</c:v>
                </c:pt>
                <c:pt idx="8375">
                  <c:v>7.3460000000000001</c:v>
                </c:pt>
                <c:pt idx="8376">
                  <c:v>7.3460000000000001</c:v>
                </c:pt>
                <c:pt idx="8377">
                  <c:v>7.3460000000000001</c:v>
                </c:pt>
                <c:pt idx="8378">
                  <c:v>7.3460000000000001</c:v>
                </c:pt>
                <c:pt idx="8379">
                  <c:v>7.3460000000000001</c:v>
                </c:pt>
                <c:pt idx="8380">
                  <c:v>7.3460000000000001</c:v>
                </c:pt>
                <c:pt idx="8381">
                  <c:v>7.3449999999999998</c:v>
                </c:pt>
                <c:pt idx="8382">
                  <c:v>7.3449999999999998</c:v>
                </c:pt>
                <c:pt idx="8383">
                  <c:v>7.3460000000000001</c:v>
                </c:pt>
                <c:pt idx="8384">
                  <c:v>7.3460000000000001</c:v>
                </c:pt>
                <c:pt idx="8385">
                  <c:v>7.3449999999999998</c:v>
                </c:pt>
                <c:pt idx="8386">
                  <c:v>7.3449999999999998</c:v>
                </c:pt>
                <c:pt idx="8387">
                  <c:v>7.3449999999999998</c:v>
                </c:pt>
                <c:pt idx="8388">
                  <c:v>7.3449999999999998</c:v>
                </c:pt>
                <c:pt idx="8389">
                  <c:v>7.3449999999999998</c:v>
                </c:pt>
                <c:pt idx="8390">
                  <c:v>7.3449999999999998</c:v>
                </c:pt>
                <c:pt idx="8391">
                  <c:v>7.3460000000000001</c:v>
                </c:pt>
                <c:pt idx="8392">
                  <c:v>7.3460000000000001</c:v>
                </c:pt>
                <c:pt idx="8393">
                  <c:v>7.3449999999999998</c:v>
                </c:pt>
                <c:pt idx="8394">
                  <c:v>7.3460000000000001</c:v>
                </c:pt>
                <c:pt idx="8395">
                  <c:v>7.3460000000000001</c:v>
                </c:pt>
                <c:pt idx="8396">
                  <c:v>7.3449999999999998</c:v>
                </c:pt>
                <c:pt idx="8397">
                  <c:v>7.3449999999999998</c:v>
                </c:pt>
                <c:pt idx="8398">
                  <c:v>7.3449999999999998</c:v>
                </c:pt>
                <c:pt idx="8399">
                  <c:v>7.3449999999999998</c:v>
                </c:pt>
                <c:pt idx="8400">
                  <c:v>7.3449999999999998</c:v>
                </c:pt>
                <c:pt idx="8401">
                  <c:v>7.3460000000000001</c:v>
                </c:pt>
                <c:pt idx="8402">
                  <c:v>7.3460000000000001</c:v>
                </c:pt>
                <c:pt idx="8403">
                  <c:v>7.3449999999999998</c:v>
                </c:pt>
                <c:pt idx="8404">
                  <c:v>7.3449999999999998</c:v>
                </c:pt>
                <c:pt idx="8405">
                  <c:v>7.3449999999999998</c:v>
                </c:pt>
                <c:pt idx="8406">
                  <c:v>7.3460000000000001</c:v>
                </c:pt>
                <c:pt idx="8407">
                  <c:v>7.3460000000000001</c:v>
                </c:pt>
                <c:pt idx="8408">
                  <c:v>7.3449999999999998</c:v>
                </c:pt>
                <c:pt idx="8409">
                  <c:v>7.3449999999999998</c:v>
                </c:pt>
                <c:pt idx="8410">
                  <c:v>7.3449999999999998</c:v>
                </c:pt>
                <c:pt idx="8411">
                  <c:v>7.3449999999999998</c:v>
                </c:pt>
                <c:pt idx="8412">
                  <c:v>7.3449999999999998</c:v>
                </c:pt>
                <c:pt idx="8413">
                  <c:v>7.3449999999999998</c:v>
                </c:pt>
                <c:pt idx="8414">
                  <c:v>7.3440000000000003</c:v>
                </c:pt>
                <c:pt idx="8415">
                  <c:v>7.3449999999999998</c:v>
                </c:pt>
                <c:pt idx="8416">
                  <c:v>7.3449999999999998</c:v>
                </c:pt>
                <c:pt idx="8417">
                  <c:v>7.3449999999999998</c:v>
                </c:pt>
                <c:pt idx="8418">
                  <c:v>7.3449999999999998</c:v>
                </c:pt>
                <c:pt idx="8419">
                  <c:v>7.3440000000000003</c:v>
                </c:pt>
                <c:pt idx="8420">
                  <c:v>7.3440000000000003</c:v>
                </c:pt>
                <c:pt idx="8421">
                  <c:v>7.3440000000000003</c:v>
                </c:pt>
                <c:pt idx="8422">
                  <c:v>7.3440000000000003</c:v>
                </c:pt>
                <c:pt idx="8423">
                  <c:v>7.3440000000000003</c:v>
                </c:pt>
                <c:pt idx="8424">
                  <c:v>7.3449999999999998</c:v>
                </c:pt>
                <c:pt idx="8425">
                  <c:v>7.3440000000000003</c:v>
                </c:pt>
                <c:pt idx="8426">
                  <c:v>7.3440000000000003</c:v>
                </c:pt>
                <c:pt idx="8427">
                  <c:v>7.3440000000000003</c:v>
                </c:pt>
                <c:pt idx="8428">
                  <c:v>7.3440000000000003</c:v>
                </c:pt>
                <c:pt idx="8429">
                  <c:v>7.3440000000000003</c:v>
                </c:pt>
                <c:pt idx="8430">
                  <c:v>7.3440000000000003</c:v>
                </c:pt>
                <c:pt idx="8431">
                  <c:v>7.3440000000000003</c:v>
                </c:pt>
                <c:pt idx="8432">
                  <c:v>7.3440000000000003</c:v>
                </c:pt>
                <c:pt idx="8433">
                  <c:v>7.3440000000000003</c:v>
                </c:pt>
                <c:pt idx="8434">
                  <c:v>7.3440000000000003</c:v>
                </c:pt>
                <c:pt idx="8435">
                  <c:v>7.3440000000000003</c:v>
                </c:pt>
                <c:pt idx="8436">
                  <c:v>7.3440000000000003</c:v>
                </c:pt>
                <c:pt idx="8437">
                  <c:v>7.3440000000000003</c:v>
                </c:pt>
                <c:pt idx="8438">
                  <c:v>7.3440000000000003</c:v>
                </c:pt>
                <c:pt idx="8439">
                  <c:v>7.3440000000000003</c:v>
                </c:pt>
                <c:pt idx="8440">
                  <c:v>7.3440000000000003</c:v>
                </c:pt>
                <c:pt idx="8441">
                  <c:v>7.3440000000000003</c:v>
                </c:pt>
                <c:pt idx="8442">
                  <c:v>7.3440000000000003</c:v>
                </c:pt>
                <c:pt idx="8443">
                  <c:v>7.3440000000000003</c:v>
                </c:pt>
                <c:pt idx="8444">
                  <c:v>7.3440000000000003</c:v>
                </c:pt>
                <c:pt idx="8445">
                  <c:v>7.3440000000000003</c:v>
                </c:pt>
                <c:pt idx="8446">
                  <c:v>7.3440000000000003</c:v>
                </c:pt>
                <c:pt idx="8447">
                  <c:v>7.343</c:v>
                </c:pt>
                <c:pt idx="8448">
                  <c:v>7.3440000000000003</c:v>
                </c:pt>
                <c:pt idx="8449">
                  <c:v>7.3440000000000003</c:v>
                </c:pt>
                <c:pt idx="8450">
                  <c:v>7.3440000000000003</c:v>
                </c:pt>
                <c:pt idx="8451">
                  <c:v>7.3440000000000003</c:v>
                </c:pt>
                <c:pt idx="8452">
                  <c:v>7.3440000000000003</c:v>
                </c:pt>
                <c:pt idx="8453">
                  <c:v>7.343</c:v>
                </c:pt>
                <c:pt idx="8454">
                  <c:v>7.343</c:v>
                </c:pt>
                <c:pt idx="8455">
                  <c:v>7.3440000000000003</c:v>
                </c:pt>
                <c:pt idx="8456">
                  <c:v>7.3440000000000003</c:v>
                </c:pt>
                <c:pt idx="8457">
                  <c:v>7.3440000000000003</c:v>
                </c:pt>
                <c:pt idx="8458">
                  <c:v>7.343</c:v>
                </c:pt>
                <c:pt idx="8459">
                  <c:v>7.3440000000000003</c:v>
                </c:pt>
                <c:pt idx="8460">
                  <c:v>7.3440000000000003</c:v>
                </c:pt>
                <c:pt idx="8461">
                  <c:v>7.343</c:v>
                </c:pt>
                <c:pt idx="8462">
                  <c:v>7.343</c:v>
                </c:pt>
                <c:pt idx="8463">
                  <c:v>7.3440000000000003</c:v>
                </c:pt>
                <c:pt idx="8464">
                  <c:v>7.3440000000000003</c:v>
                </c:pt>
                <c:pt idx="8465">
                  <c:v>7.343</c:v>
                </c:pt>
                <c:pt idx="8466">
                  <c:v>7.343</c:v>
                </c:pt>
                <c:pt idx="8467">
                  <c:v>7.3440000000000003</c:v>
                </c:pt>
                <c:pt idx="8468">
                  <c:v>7.343</c:v>
                </c:pt>
                <c:pt idx="8469">
                  <c:v>7.343</c:v>
                </c:pt>
                <c:pt idx="8470">
                  <c:v>7.3419999999999996</c:v>
                </c:pt>
                <c:pt idx="8471">
                  <c:v>7.343</c:v>
                </c:pt>
                <c:pt idx="8472">
                  <c:v>7.343</c:v>
                </c:pt>
                <c:pt idx="8473">
                  <c:v>7.343</c:v>
                </c:pt>
                <c:pt idx="8474">
                  <c:v>7.343</c:v>
                </c:pt>
                <c:pt idx="8475">
                  <c:v>7.343</c:v>
                </c:pt>
                <c:pt idx="8476">
                  <c:v>7.343</c:v>
                </c:pt>
                <c:pt idx="8477">
                  <c:v>7.343</c:v>
                </c:pt>
                <c:pt idx="8478">
                  <c:v>7.343</c:v>
                </c:pt>
                <c:pt idx="8479">
                  <c:v>7.3419999999999996</c:v>
                </c:pt>
                <c:pt idx="8480">
                  <c:v>7.343</c:v>
                </c:pt>
                <c:pt idx="8481">
                  <c:v>7.343</c:v>
                </c:pt>
                <c:pt idx="8482">
                  <c:v>7.3419999999999996</c:v>
                </c:pt>
                <c:pt idx="8483">
                  <c:v>7.343</c:v>
                </c:pt>
                <c:pt idx="8484">
                  <c:v>7.3419999999999996</c:v>
                </c:pt>
                <c:pt idx="8485">
                  <c:v>7.3419999999999996</c:v>
                </c:pt>
                <c:pt idx="8486">
                  <c:v>7.343</c:v>
                </c:pt>
                <c:pt idx="8487">
                  <c:v>7.3419999999999996</c:v>
                </c:pt>
                <c:pt idx="8488">
                  <c:v>7.343</c:v>
                </c:pt>
                <c:pt idx="8489">
                  <c:v>7.3419999999999996</c:v>
                </c:pt>
                <c:pt idx="8490">
                  <c:v>7.343</c:v>
                </c:pt>
                <c:pt idx="8491">
                  <c:v>7.343</c:v>
                </c:pt>
                <c:pt idx="8492">
                  <c:v>7.3419999999999996</c:v>
                </c:pt>
                <c:pt idx="8493">
                  <c:v>7.343</c:v>
                </c:pt>
                <c:pt idx="8494">
                  <c:v>7.3419999999999996</c:v>
                </c:pt>
                <c:pt idx="8495">
                  <c:v>7.3419999999999996</c:v>
                </c:pt>
                <c:pt idx="8496">
                  <c:v>7.3419999999999996</c:v>
                </c:pt>
                <c:pt idx="8497">
                  <c:v>7.3419999999999996</c:v>
                </c:pt>
                <c:pt idx="8498">
                  <c:v>7.3419999999999996</c:v>
                </c:pt>
                <c:pt idx="8499">
                  <c:v>7.3419999999999996</c:v>
                </c:pt>
                <c:pt idx="8500">
                  <c:v>7.3419999999999996</c:v>
                </c:pt>
                <c:pt idx="8501">
                  <c:v>7.3419999999999996</c:v>
                </c:pt>
                <c:pt idx="8502">
                  <c:v>7.343</c:v>
                </c:pt>
                <c:pt idx="8503">
                  <c:v>7.3419999999999996</c:v>
                </c:pt>
                <c:pt idx="8504">
                  <c:v>7.3419999999999996</c:v>
                </c:pt>
                <c:pt idx="8505">
                  <c:v>7.3419999999999996</c:v>
                </c:pt>
                <c:pt idx="8506">
                  <c:v>7.3419999999999996</c:v>
                </c:pt>
                <c:pt idx="8507">
                  <c:v>7.3419999999999996</c:v>
                </c:pt>
                <c:pt idx="8508">
                  <c:v>7.3419999999999996</c:v>
                </c:pt>
                <c:pt idx="8509">
                  <c:v>7.3419999999999996</c:v>
                </c:pt>
                <c:pt idx="8510">
                  <c:v>7.3419999999999996</c:v>
                </c:pt>
                <c:pt idx="8511">
                  <c:v>7.3419999999999996</c:v>
                </c:pt>
                <c:pt idx="8512">
                  <c:v>7.3419999999999996</c:v>
                </c:pt>
                <c:pt idx="8513">
                  <c:v>7.3419999999999996</c:v>
                </c:pt>
                <c:pt idx="8514">
                  <c:v>7.3419999999999996</c:v>
                </c:pt>
                <c:pt idx="8515">
                  <c:v>7.3410000000000002</c:v>
                </c:pt>
                <c:pt idx="8516">
                  <c:v>7.3410000000000002</c:v>
                </c:pt>
                <c:pt idx="8517">
                  <c:v>7.3419999999999996</c:v>
                </c:pt>
                <c:pt idx="8518">
                  <c:v>7.3419999999999996</c:v>
                </c:pt>
                <c:pt idx="8519">
                  <c:v>7.3419999999999996</c:v>
                </c:pt>
                <c:pt idx="8520">
                  <c:v>7.3419999999999996</c:v>
                </c:pt>
                <c:pt idx="8521">
                  <c:v>7.3419999999999996</c:v>
                </c:pt>
                <c:pt idx="8522">
                  <c:v>7.3410000000000002</c:v>
                </c:pt>
                <c:pt idx="8523">
                  <c:v>7.3419999999999996</c:v>
                </c:pt>
                <c:pt idx="8524">
                  <c:v>7.3410000000000002</c:v>
                </c:pt>
                <c:pt idx="8525">
                  <c:v>7.3410000000000002</c:v>
                </c:pt>
                <c:pt idx="8526">
                  <c:v>7.3410000000000002</c:v>
                </c:pt>
                <c:pt idx="8527">
                  <c:v>7.3410000000000002</c:v>
                </c:pt>
                <c:pt idx="8528">
                  <c:v>7.3410000000000002</c:v>
                </c:pt>
                <c:pt idx="8529">
                  <c:v>7.34</c:v>
                </c:pt>
                <c:pt idx="8530">
                  <c:v>7.3410000000000002</c:v>
                </c:pt>
                <c:pt idx="8531">
                  <c:v>7.34</c:v>
                </c:pt>
                <c:pt idx="8532">
                  <c:v>7.3410000000000002</c:v>
                </c:pt>
                <c:pt idx="8533">
                  <c:v>7.34</c:v>
                </c:pt>
                <c:pt idx="8534">
                  <c:v>7.34</c:v>
                </c:pt>
                <c:pt idx="8535">
                  <c:v>7.3410000000000002</c:v>
                </c:pt>
                <c:pt idx="8536">
                  <c:v>7.3410000000000002</c:v>
                </c:pt>
                <c:pt idx="8537">
                  <c:v>7.3410000000000002</c:v>
                </c:pt>
                <c:pt idx="8538">
                  <c:v>7.34</c:v>
                </c:pt>
                <c:pt idx="8539">
                  <c:v>7.34</c:v>
                </c:pt>
                <c:pt idx="8540">
                  <c:v>7.3410000000000002</c:v>
                </c:pt>
                <c:pt idx="8541">
                  <c:v>7.3410000000000002</c:v>
                </c:pt>
                <c:pt idx="8542">
                  <c:v>7.3410000000000002</c:v>
                </c:pt>
                <c:pt idx="8543">
                  <c:v>7.34</c:v>
                </c:pt>
                <c:pt idx="8544">
                  <c:v>7.34</c:v>
                </c:pt>
                <c:pt idx="8545">
                  <c:v>7.34</c:v>
                </c:pt>
                <c:pt idx="8546">
                  <c:v>7.34</c:v>
                </c:pt>
                <c:pt idx="8547">
                  <c:v>7.3410000000000002</c:v>
                </c:pt>
                <c:pt idx="8548">
                  <c:v>7.34</c:v>
                </c:pt>
                <c:pt idx="8549">
                  <c:v>7.34</c:v>
                </c:pt>
                <c:pt idx="8550">
                  <c:v>7.34</c:v>
                </c:pt>
                <c:pt idx="8551">
                  <c:v>7.34</c:v>
                </c:pt>
                <c:pt idx="8552">
                  <c:v>7.3410000000000002</c:v>
                </c:pt>
                <c:pt idx="8553">
                  <c:v>7.34</c:v>
                </c:pt>
                <c:pt idx="8554">
                  <c:v>7.34</c:v>
                </c:pt>
                <c:pt idx="8555">
                  <c:v>7.3410000000000002</c:v>
                </c:pt>
                <c:pt idx="8556">
                  <c:v>7.34</c:v>
                </c:pt>
                <c:pt idx="8557">
                  <c:v>7.34</c:v>
                </c:pt>
                <c:pt idx="8558">
                  <c:v>7.34</c:v>
                </c:pt>
                <c:pt idx="8559">
                  <c:v>7.34</c:v>
                </c:pt>
                <c:pt idx="8560">
                  <c:v>7.34</c:v>
                </c:pt>
                <c:pt idx="8561">
                  <c:v>7.34</c:v>
                </c:pt>
                <c:pt idx="8562">
                  <c:v>7.34</c:v>
                </c:pt>
                <c:pt idx="8563">
                  <c:v>7.3390000000000004</c:v>
                </c:pt>
                <c:pt idx="8564">
                  <c:v>7.34</c:v>
                </c:pt>
                <c:pt idx="8565">
                  <c:v>7.34</c:v>
                </c:pt>
                <c:pt idx="8566">
                  <c:v>7.34</c:v>
                </c:pt>
                <c:pt idx="8567">
                  <c:v>7.34</c:v>
                </c:pt>
                <c:pt idx="8568">
                  <c:v>7.34</c:v>
                </c:pt>
                <c:pt idx="8569">
                  <c:v>7.34</c:v>
                </c:pt>
                <c:pt idx="8570">
                  <c:v>7.3390000000000004</c:v>
                </c:pt>
                <c:pt idx="8571">
                  <c:v>7.34</c:v>
                </c:pt>
                <c:pt idx="8572">
                  <c:v>7.34</c:v>
                </c:pt>
                <c:pt idx="8573">
                  <c:v>7.34</c:v>
                </c:pt>
                <c:pt idx="8574">
                  <c:v>7.34</c:v>
                </c:pt>
                <c:pt idx="8575">
                  <c:v>7.34</c:v>
                </c:pt>
                <c:pt idx="8576">
                  <c:v>7.34</c:v>
                </c:pt>
                <c:pt idx="8577">
                  <c:v>7.34</c:v>
                </c:pt>
                <c:pt idx="8578">
                  <c:v>7.34</c:v>
                </c:pt>
                <c:pt idx="8579">
                  <c:v>7.3390000000000004</c:v>
                </c:pt>
                <c:pt idx="8580">
                  <c:v>7.3390000000000004</c:v>
                </c:pt>
                <c:pt idx="8581">
                  <c:v>7.34</c:v>
                </c:pt>
                <c:pt idx="8582">
                  <c:v>7.3390000000000004</c:v>
                </c:pt>
                <c:pt idx="8583">
                  <c:v>7.3390000000000004</c:v>
                </c:pt>
                <c:pt idx="8584">
                  <c:v>7.3390000000000004</c:v>
                </c:pt>
                <c:pt idx="8585">
                  <c:v>7.34</c:v>
                </c:pt>
                <c:pt idx="8586">
                  <c:v>7.34</c:v>
                </c:pt>
                <c:pt idx="8587">
                  <c:v>7.3390000000000004</c:v>
                </c:pt>
                <c:pt idx="8588">
                  <c:v>7.3390000000000004</c:v>
                </c:pt>
                <c:pt idx="8589">
                  <c:v>7.34</c:v>
                </c:pt>
                <c:pt idx="8590">
                  <c:v>7.34</c:v>
                </c:pt>
                <c:pt idx="8591">
                  <c:v>7.34</c:v>
                </c:pt>
                <c:pt idx="8592">
                  <c:v>7.3390000000000004</c:v>
                </c:pt>
                <c:pt idx="8593">
                  <c:v>7.3390000000000004</c:v>
                </c:pt>
                <c:pt idx="8594">
                  <c:v>7.3390000000000004</c:v>
                </c:pt>
                <c:pt idx="8595">
                  <c:v>7.3390000000000004</c:v>
                </c:pt>
                <c:pt idx="8596">
                  <c:v>7.3390000000000004</c:v>
                </c:pt>
                <c:pt idx="8597">
                  <c:v>7.3380000000000001</c:v>
                </c:pt>
                <c:pt idx="8598">
                  <c:v>7.3390000000000004</c:v>
                </c:pt>
                <c:pt idx="8599">
                  <c:v>7.3390000000000004</c:v>
                </c:pt>
                <c:pt idx="8600">
                  <c:v>7.3390000000000004</c:v>
                </c:pt>
                <c:pt idx="8601">
                  <c:v>7.3390000000000004</c:v>
                </c:pt>
                <c:pt idx="8602">
                  <c:v>7.3380000000000001</c:v>
                </c:pt>
                <c:pt idx="8603">
                  <c:v>7.3390000000000004</c:v>
                </c:pt>
                <c:pt idx="8604">
                  <c:v>7.3380000000000001</c:v>
                </c:pt>
                <c:pt idx="8605">
                  <c:v>7.3390000000000004</c:v>
                </c:pt>
                <c:pt idx="8606">
                  <c:v>7.34</c:v>
                </c:pt>
                <c:pt idx="8607">
                  <c:v>7.3390000000000004</c:v>
                </c:pt>
                <c:pt idx="8608">
                  <c:v>7.3380000000000001</c:v>
                </c:pt>
                <c:pt idx="8609">
                  <c:v>7.3380000000000001</c:v>
                </c:pt>
                <c:pt idx="8610">
                  <c:v>7.3390000000000004</c:v>
                </c:pt>
                <c:pt idx="8611">
                  <c:v>7.3380000000000001</c:v>
                </c:pt>
                <c:pt idx="8612">
                  <c:v>7.3390000000000004</c:v>
                </c:pt>
                <c:pt idx="8613">
                  <c:v>7.3390000000000004</c:v>
                </c:pt>
                <c:pt idx="8614">
                  <c:v>7.3380000000000001</c:v>
                </c:pt>
                <c:pt idx="8615">
                  <c:v>7.3380000000000001</c:v>
                </c:pt>
                <c:pt idx="8616">
                  <c:v>7.3380000000000001</c:v>
                </c:pt>
                <c:pt idx="8617">
                  <c:v>7.3380000000000001</c:v>
                </c:pt>
                <c:pt idx="8618">
                  <c:v>7.3380000000000001</c:v>
                </c:pt>
                <c:pt idx="8619">
                  <c:v>7.3390000000000004</c:v>
                </c:pt>
                <c:pt idx="8620">
                  <c:v>7.3380000000000001</c:v>
                </c:pt>
                <c:pt idx="8621">
                  <c:v>7.3380000000000001</c:v>
                </c:pt>
                <c:pt idx="8622">
                  <c:v>7.3380000000000001</c:v>
                </c:pt>
                <c:pt idx="8623">
                  <c:v>7.3380000000000001</c:v>
                </c:pt>
                <c:pt idx="8624">
                  <c:v>7.3380000000000001</c:v>
                </c:pt>
                <c:pt idx="8625">
                  <c:v>7.3380000000000001</c:v>
                </c:pt>
                <c:pt idx="8626">
                  <c:v>7.3380000000000001</c:v>
                </c:pt>
                <c:pt idx="8627">
                  <c:v>7.3380000000000001</c:v>
                </c:pt>
                <c:pt idx="8628">
                  <c:v>7.3380000000000001</c:v>
                </c:pt>
                <c:pt idx="8629">
                  <c:v>7.3369999999999997</c:v>
                </c:pt>
                <c:pt idx="8630">
                  <c:v>7.3380000000000001</c:v>
                </c:pt>
                <c:pt idx="8631">
                  <c:v>7.3380000000000001</c:v>
                </c:pt>
                <c:pt idx="8632">
                  <c:v>7.3380000000000001</c:v>
                </c:pt>
                <c:pt idx="8633">
                  <c:v>7.3380000000000001</c:v>
                </c:pt>
                <c:pt idx="8634">
                  <c:v>7.3369999999999997</c:v>
                </c:pt>
                <c:pt idx="8635">
                  <c:v>7.3380000000000001</c:v>
                </c:pt>
                <c:pt idx="8636">
                  <c:v>7.3380000000000001</c:v>
                </c:pt>
                <c:pt idx="8637">
                  <c:v>7.3380000000000001</c:v>
                </c:pt>
                <c:pt idx="8638">
                  <c:v>7.3380000000000001</c:v>
                </c:pt>
                <c:pt idx="8639">
                  <c:v>7.3369999999999997</c:v>
                </c:pt>
                <c:pt idx="8640">
                  <c:v>7.3369999999999997</c:v>
                </c:pt>
                <c:pt idx="8641">
                  <c:v>7.3369999999999997</c:v>
                </c:pt>
                <c:pt idx="8642">
                  <c:v>7.3369999999999997</c:v>
                </c:pt>
                <c:pt idx="8643">
                  <c:v>7.3369999999999997</c:v>
                </c:pt>
                <c:pt idx="8644">
                  <c:v>7.3369999999999997</c:v>
                </c:pt>
                <c:pt idx="8645">
                  <c:v>7.3369999999999997</c:v>
                </c:pt>
                <c:pt idx="8646">
                  <c:v>7.3380000000000001</c:v>
                </c:pt>
                <c:pt idx="8647">
                  <c:v>7.3369999999999997</c:v>
                </c:pt>
                <c:pt idx="8648">
                  <c:v>7.3369999999999997</c:v>
                </c:pt>
                <c:pt idx="8649">
                  <c:v>7.3360000000000003</c:v>
                </c:pt>
                <c:pt idx="8650">
                  <c:v>7.3369999999999997</c:v>
                </c:pt>
                <c:pt idx="8651">
                  <c:v>7.3369999999999997</c:v>
                </c:pt>
                <c:pt idx="8652">
                  <c:v>7.3369999999999997</c:v>
                </c:pt>
                <c:pt idx="8653">
                  <c:v>7.3369999999999997</c:v>
                </c:pt>
                <c:pt idx="8654">
                  <c:v>7.3369999999999997</c:v>
                </c:pt>
                <c:pt idx="8655">
                  <c:v>7.3369999999999997</c:v>
                </c:pt>
                <c:pt idx="8656">
                  <c:v>7.3369999999999997</c:v>
                </c:pt>
                <c:pt idx="8657">
                  <c:v>7.3360000000000003</c:v>
                </c:pt>
                <c:pt idx="8658">
                  <c:v>7.3360000000000003</c:v>
                </c:pt>
                <c:pt idx="8659">
                  <c:v>7.3360000000000003</c:v>
                </c:pt>
                <c:pt idx="8660">
                  <c:v>7.3369999999999997</c:v>
                </c:pt>
                <c:pt idx="8661">
                  <c:v>7.3360000000000003</c:v>
                </c:pt>
                <c:pt idx="8662">
                  <c:v>7.3360000000000003</c:v>
                </c:pt>
                <c:pt idx="8663">
                  <c:v>7.3360000000000003</c:v>
                </c:pt>
                <c:pt idx="8664">
                  <c:v>7.3360000000000003</c:v>
                </c:pt>
                <c:pt idx="8665">
                  <c:v>7.335</c:v>
                </c:pt>
                <c:pt idx="8666">
                  <c:v>7.3369999999999997</c:v>
                </c:pt>
                <c:pt idx="8667">
                  <c:v>7.3369999999999997</c:v>
                </c:pt>
                <c:pt idx="8668">
                  <c:v>7.3360000000000003</c:v>
                </c:pt>
                <c:pt idx="8669">
                  <c:v>7.3369999999999997</c:v>
                </c:pt>
                <c:pt idx="8670">
                  <c:v>7.3369999999999997</c:v>
                </c:pt>
                <c:pt idx="8671">
                  <c:v>7.3360000000000003</c:v>
                </c:pt>
                <c:pt idx="8672">
                  <c:v>7.3360000000000003</c:v>
                </c:pt>
                <c:pt idx="8673">
                  <c:v>7.3369999999999997</c:v>
                </c:pt>
                <c:pt idx="8674">
                  <c:v>7.3360000000000003</c:v>
                </c:pt>
                <c:pt idx="8675">
                  <c:v>7.3360000000000003</c:v>
                </c:pt>
                <c:pt idx="8676">
                  <c:v>7.335</c:v>
                </c:pt>
                <c:pt idx="8677">
                  <c:v>7.335</c:v>
                </c:pt>
                <c:pt idx="8678">
                  <c:v>7.335</c:v>
                </c:pt>
                <c:pt idx="8679">
                  <c:v>7.335</c:v>
                </c:pt>
                <c:pt idx="8680">
                  <c:v>7.335</c:v>
                </c:pt>
                <c:pt idx="8681">
                  <c:v>7.335</c:v>
                </c:pt>
                <c:pt idx="8682">
                  <c:v>7.3339999999999996</c:v>
                </c:pt>
                <c:pt idx="8683">
                  <c:v>7.3339999999999996</c:v>
                </c:pt>
                <c:pt idx="8684">
                  <c:v>7.3339999999999996</c:v>
                </c:pt>
                <c:pt idx="8685">
                  <c:v>7.3330000000000002</c:v>
                </c:pt>
                <c:pt idx="8686">
                  <c:v>7.3330000000000002</c:v>
                </c:pt>
                <c:pt idx="8687">
                  <c:v>7.3330000000000002</c:v>
                </c:pt>
                <c:pt idx="8688">
                  <c:v>7.3330000000000002</c:v>
                </c:pt>
                <c:pt idx="8689">
                  <c:v>7.3330000000000002</c:v>
                </c:pt>
                <c:pt idx="8690">
                  <c:v>7.3319999999999999</c:v>
                </c:pt>
                <c:pt idx="8691">
                  <c:v>7.3319999999999999</c:v>
                </c:pt>
                <c:pt idx="8692">
                  <c:v>7.3319999999999999</c:v>
                </c:pt>
                <c:pt idx="8693">
                  <c:v>7.3310000000000004</c:v>
                </c:pt>
                <c:pt idx="8694">
                  <c:v>7.3310000000000004</c:v>
                </c:pt>
                <c:pt idx="8695">
                  <c:v>7.3310000000000004</c:v>
                </c:pt>
                <c:pt idx="8696">
                  <c:v>7.33</c:v>
                </c:pt>
                <c:pt idx="8697">
                  <c:v>7.3310000000000004</c:v>
                </c:pt>
                <c:pt idx="8698">
                  <c:v>7.3310000000000004</c:v>
                </c:pt>
                <c:pt idx="8699">
                  <c:v>7.3289999999999997</c:v>
                </c:pt>
                <c:pt idx="8700">
                  <c:v>7.3289999999999997</c:v>
                </c:pt>
                <c:pt idx="8701">
                  <c:v>7.3289999999999997</c:v>
                </c:pt>
                <c:pt idx="8702">
                  <c:v>7.3280000000000003</c:v>
                </c:pt>
                <c:pt idx="8703">
                  <c:v>7.3280000000000003</c:v>
                </c:pt>
                <c:pt idx="8704">
                  <c:v>7.327</c:v>
                </c:pt>
                <c:pt idx="8705">
                  <c:v>7.327</c:v>
                </c:pt>
                <c:pt idx="8706">
                  <c:v>7.3259999999999996</c:v>
                </c:pt>
                <c:pt idx="8707">
                  <c:v>7.3250000000000002</c:v>
                </c:pt>
                <c:pt idx="8708">
                  <c:v>7.3239999999999998</c:v>
                </c:pt>
                <c:pt idx="8709">
                  <c:v>7.3230000000000004</c:v>
                </c:pt>
                <c:pt idx="8710">
                  <c:v>7.3220000000000001</c:v>
                </c:pt>
                <c:pt idx="8711">
                  <c:v>7.3220000000000001</c:v>
                </c:pt>
                <c:pt idx="8712">
                  <c:v>7.3209999999999997</c:v>
                </c:pt>
                <c:pt idx="8713">
                  <c:v>7.3209999999999997</c:v>
                </c:pt>
                <c:pt idx="8714">
                  <c:v>7.3209999999999997</c:v>
                </c:pt>
                <c:pt idx="8715">
                  <c:v>7.3209999999999997</c:v>
                </c:pt>
                <c:pt idx="8716">
                  <c:v>7.32</c:v>
                </c:pt>
                <c:pt idx="8717">
                  <c:v>7.32</c:v>
                </c:pt>
                <c:pt idx="8718">
                  <c:v>7.319</c:v>
                </c:pt>
                <c:pt idx="8719">
                  <c:v>7.32</c:v>
                </c:pt>
                <c:pt idx="8720">
                  <c:v>7.32</c:v>
                </c:pt>
                <c:pt idx="8721">
                  <c:v>7.32</c:v>
                </c:pt>
                <c:pt idx="8722">
                  <c:v>7.32</c:v>
                </c:pt>
                <c:pt idx="8723">
                  <c:v>7.319</c:v>
                </c:pt>
                <c:pt idx="8724">
                  <c:v>7.319</c:v>
                </c:pt>
                <c:pt idx="8725">
                  <c:v>7.319</c:v>
                </c:pt>
                <c:pt idx="8726">
                  <c:v>7.3179999999999996</c:v>
                </c:pt>
                <c:pt idx="8727">
                  <c:v>7.319</c:v>
                </c:pt>
                <c:pt idx="8728">
                  <c:v>7.32</c:v>
                </c:pt>
                <c:pt idx="8729">
                  <c:v>7.3220000000000001</c:v>
                </c:pt>
                <c:pt idx="8730">
                  <c:v>7.3239999999999998</c:v>
                </c:pt>
                <c:pt idx="8731">
                  <c:v>7.3250000000000002</c:v>
                </c:pt>
                <c:pt idx="8732">
                  <c:v>7.3250000000000002</c:v>
                </c:pt>
                <c:pt idx="8733">
                  <c:v>7.3259999999999996</c:v>
                </c:pt>
                <c:pt idx="8734">
                  <c:v>7.327</c:v>
                </c:pt>
                <c:pt idx="8735">
                  <c:v>7.33</c:v>
                </c:pt>
                <c:pt idx="8736">
                  <c:v>7.3319999999999999</c:v>
                </c:pt>
                <c:pt idx="8737">
                  <c:v>7.3330000000000002</c:v>
                </c:pt>
                <c:pt idx="8738">
                  <c:v>7.335</c:v>
                </c:pt>
                <c:pt idx="8739">
                  <c:v>7.3380000000000001</c:v>
                </c:pt>
                <c:pt idx="8740">
                  <c:v>7.3410000000000002</c:v>
                </c:pt>
                <c:pt idx="8741">
                  <c:v>7.3460000000000001</c:v>
                </c:pt>
                <c:pt idx="8742">
                  <c:v>7.351</c:v>
                </c:pt>
                <c:pt idx="8743">
                  <c:v>7.3540000000000001</c:v>
                </c:pt>
                <c:pt idx="8744">
                  <c:v>7.3570000000000002</c:v>
                </c:pt>
                <c:pt idx="8745">
                  <c:v>7.36</c:v>
                </c:pt>
                <c:pt idx="8746">
                  <c:v>7.359</c:v>
                </c:pt>
                <c:pt idx="8747">
                  <c:v>7.359</c:v>
                </c:pt>
                <c:pt idx="8748">
                  <c:v>7.3609999999999998</c:v>
                </c:pt>
                <c:pt idx="8749">
                  <c:v>7.3609999999999998</c:v>
                </c:pt>
                <c:pt idx="8750">
                  <c:v>7.3620000000000001</c:v>
                </c:pt>
                <c:pt idx="8751">
                  <c:v>7.3609999999999998</c:v>
                </c:pt>
                <c:pt idx="8752">
                  <c:v>7.3620000000000001</c:v>
                </c:pt>
                <c:pt idx="8753">
                  <c:v>7.3620000000000001</c:v>
                </c:pt>
                <c:pt idx="8754">
                  <c:v>7.3620000000000001</c:v>
                </c:pt>
                <c:pt idx="8755">
                  <c:v>7.3620000000000001</c:v>
                </c:pt>
                <c:pt idx="8756">
                  <c:v>7.3609999999999998</c:v>
                </c:pt>
                <c:pt idx="8757">
                  <c:v>7.3620000000000001</c:v>
                </c:pt>
                <c:pt idx="8758">
                  <c:v>7.3620000000000001</c:v>
                </c:pt>
                <c:pt idx="8759">
                  <c:v>7.3620000000000001</c:v>
                </c:pt>
                <c:pt idx="8760">
                  <c:v>7.3609999999999998</c:v>
                </c:pt>
                <c:pt idx="8761">
                  <c:v>7.36</c:v>
                </c:pt>
                <c:pt idx="8762">
                  <c:v>7.3609999999999998</c:v>
                </c:pt>
                <c:pt idx="8763">
                  <c:v>7.359</c:v>
                </c:pt>
                <c:pt idx="8764">
                  <c:v>7.359</c:v>
                </c:pt>
                <c:pt idx="8765">
                  <c:v>7.359</c:v>
                </c:pt>
                <c:pt idx="8766">
                  <c:v>7.3579999999999997</c:v>
                </c:pt>
                <c:pt idx="8767">
                  <c:v>7.3570000000000002</c:v>
                </c:pt>
                <c:pt idx="8768">
                  <c:v>7.3570000000000002</c:v>
                </c:pt>
                <c:pt idx="8769">
                  <c:v>7.3559999999999999</c:v>
                </c:pt>
                <c:pt idx="8770">
                  <c:v>7.3570000000000002</c:v>
                </c:pt>
                <c:pt idx="8771">
                  <c:v>7.3559999999999999</c:v>
                </c:pt>
                <c:pt idx="8772">
                  <c:v>7.3559999999999999</c:v>
                </c:pt>
                <c:pt idx="8773">
                  <c:v>7.3559999999999999</c:v>
                </c:pt>
                <c:pt idx="8774">
                  <c:v>7.3559999999999999</c:v>
                </c:pt>
                <c:pt idx="8775">
                  <c:v>7.3550000000000004</c:v>
                </c:pt>
                <c:pt idx="8776">
                  <c:v>7.3550000000000004</c:v>
                </c:pt>
                <c:pt idx="8777">
                  <c:v>7.3550000000000004</c:v>
                </c:pt>
                <c:pt idx="8778">
                  <c:v>7.3550000000000004</c:v>
                </c:pt>
                <c:pt idx="8779">
                  <c:v>7.3529999999999998</c:v>
                </c:pt>
                <c:pt idx="8780">
                  <c:v>7.3520000000000003</c:v>
                </c:pt>
                <c:pt idx="8781">
                  <c:v>7.3520000000000003</c:v>
                </c:pt>
                <c:pt idx="8782">
                  <c:v>7.3520000000000003</c:v>
                </c:pt>
                <c:pt idx="8783">
                  <c:v>7.351</c:v>
                </c:pt>
                <c:pt idx="8784">
                  <c:v>7.35</c:v>
                </c:pt>
                <c:pt idx="8785">
                  <c:v>7.35</c:v>
                </c:pt>
                <c:pt idx="8786">
                  <c:v>7.3490000000000002</c:v>
                </c:pt>
                <c:pt idx="8787">
                  <c:v>7.35</c:v>
                </c:pt>
                <c:pt idx="8788">
                  <c:v>7.3490000000000002</c:v>
                </c:pt>
                <c:pt idx="8789">
                  <c:v>7.3490000000000002</c:v>
                </c:pt>
                <c:pt idx="8790">
                  <c:v>7.3479999999999999</c:v>
                </c:pt>
                <c:pt idx="8791">
                  <c:v>7.3479999999999999</c:v>
                </c:pt>
                <c:pt idx="8792">
                  <c:v>7.3470000000000004</c:v>
                </c:pt>
                <c:pt idx="8793">
                  <c:v>7.3460000000000001</c:v>
                </c:pt>
                <c:pt idx="8794">
                  <c:v>7.3449999999999998</c:v>
                </c:pt>
                <c:pt idx="8795">
                  <c:v>7.3460000000000001</c:v>
                </c:pt>
                <c:pt idx="8796">
                  <c:v>7.3449999999999998</c:v>
                </c:pt>
                <c:pt idx="8797">
                  <c:v>7.3449999999999998</c:v>
                </c:pt>
                <c:pt idx="8798">
                  <c:v>7.3440000000000003</c:v>
                </c:pt>
                <c:pt idx="8799">
                  <c:v>7.3440000000000003</c:v>
                </c:pt>
                <c:pt idx="8800">
                  <c:v>7.343</c:v>
                </c:pt>
                <c:pt idx="8801">
                  <c:v>7.343</c:v>
                </c:pt>
                <c:pt idx="8802">
                  <c:v>7.3419999999999996</c:v>
                </c:pt>
                <c:pt idx="8803">
                  <c:v>7.3419999999999996</c:v>
                </c:pt>
                <c:pt idx="8804">
                  <c:v>7.3419999999999996</c:v>
                </c:pt>
                <c:pt idx="8805">
                  <c:v>7.3419999999999996</c:v>
                </c:pt>
                <c:pt idx="8806">
                  <c:v>7.3419999999999996</c:v>
                </c:pt>
                <c:pt idx="8807">
                  <c:v>7.3419999999999996</c:v>
                </c:pt>
                <c:pt idx="8808">
                  <c:v>7.3410000000000002</c:v>
                </c:pt>
                <c:pt idx="8809">
                  <c:v>7.34</c:v>
                </c:pt>
                <c:pt idx="8810">
                  <c:v>7.34</c:v>
                </c:pt>
                <c:pt idx="8811">
                  <c:v>7.3390000000000004</c:v>
                </c:pt>
                <c:pt idx="8812">
                  <c:v>7.34</c:v>
                </c:pt>
                <c:pt idx="8813">
                  <c:v>7.34</c:v>
                </c:pt>
                <c:pt idx="8814">
                  <c:v>7.3390000000000004</c:v>
                </c:pt>
                <c:pt idx="8815">
                  <c:v>7.3390000000000004</c:v>
                </c:pt>
                <c:pt idx="8816">
                  <c:v>7.3390000000000004</c:v>
                </c:pt>
                <c:pt idx="8817">
                  <c:v>7.3390000000000004</c:v>
                </c:pt>
                <c:pt idx="8818">
                  <c:v>7.3390000000000004</c:v>
                </c:pt>
                <c:pt idx="8819">
                  <c:v>7.3380000000000001</c:v>
                </c:pt>
                <c:pt idx="8820">
                  <c:v>7.3380000000000001</c:v>
                </c:pt>
                <c:pt idx="8821">
                  <c:v>7.3380000000000001</c:v>
                </c:pt>
                <c:pt idx="8822">
                  <c:v>7.3380000000000001</c:v>
                </c:pt>
                <c:pt idx="8823">
                  <c:v>7.3380000000000001</c:v>
                </c:pt>
                <c:pt idx="8824">
                  <c:v>7.3369999999999997</c:v>
                </c:pt>
                <c:pt idx="8825">
                  <c:v>7.3369999999999997</c:v>
                </c:pt>
                <c:pt idx="8826">
                  <c:v>7.3369999999999997</c:v>
                </c:pt>
                <c:pt idx="8827">
                  <c:v>7.3360000000000003</c:v>
                </c:pt>
                <c:pt idx="8828">
                  <c:v>7.3360000000000003</c:v>
                </c:pt>
                <c:pt idx="8829">
                  <c:v>7.335</c:v>
                </c:pt>
                <c:pt idx="8830">
                  <c:v>7.3360000000000003</c:v>
                </c:pt>
                <c:pt idx="8831">
                  <c:v>7.335</c:v>
                </c:pt>
                <c:pt idx="8832">
                  <c:v>7.335</c:v>
                </c:pt>
                <c:pt idx="8833">
                  <c:v>7.335</c:v>
                </c:pt>
                <c:pt idx="8834">
                  <c:v>7.335</c:v>
                </c:pt>
                <c:pt idx="8835">
                  <c:v>7.3360000000000003</c:v>
                </c:pt>
                <c:pt idx="8836">
                  <c:v>7.3360000000000003</c:v>
                </c:pt>
                <c:pt idx="8837">
                  <c:v>7.3360000000000003</c:v>
                </c:pt>
                <c:pt idx="8838">
                  <c:v>7.335</c:v>
                </c:pt>
                <c:pt idx="8839">
                  <c:v>7.3339999999999996</c:v>
                </c:pt>
                <c:pt idx="8840">
                  <c:v>7.335</c:v>
                </c:pt>
                <c:pt idx="8841">
                  <c:v>7.3339999999999996</c:v>
                </c:pt>
                <c:pt idx="8842">
                  <c:v>7.3339999999999996</c:v>
                </c:pt>
                <c:pt idx="8843">
                  <c:v>7.3339999999999996</c:v>
                </c:pt>
                <c:pt idx="8844">
                  <c:v>7.3330000000000002</c:v>
                </c:pt>
                <c:pt idx="8845">
                  <c:v>7.3339999999999996</c:v>
                </c:pt>
                <c:pt idx="8846">
                  <c:v>7.3330000000000002</c:v>
                </c:pt>
                <c:pt idx="8847">
                  <c:v>7.3330000000000002</c:v>
                </c:pt>
                <c:pt idx="8848">
                  <c:v>7.3330000000000002</c:v>
                </c:pt>
                <c:pt idx="8849">
                  <c:v>7.3330000000000002</c:v>
                </c:pt>
                <c:pt idx="8850">
                  <c:v>7.3330000000000002</c:v>
                </c:pt>
                <c:pt idx="8851">
                  <c:v>7.3330000000000002</c:v>
                </c:pt>
                <c:pt idx="8852">
                  <c:v>7.3330000000000002</c:v>
                </c:pt>
                <c:pt idx="8853">
                  <c:v>7.3330000000000002</c:v>
                </c:pt>
                <c:pt idx="8854">
                  <c:v>7.3330000000000002</c:v>
                </c:pt>
                <c:pt idx="8855">
                  <c:v>7.3319999999999999</c:v>
                </c:pt>
                <c:pt idx="8856">
                  <c:v>7.3330000000000002</c:v>
                </c:pt>
                <c:pt idx="8857">
                  <c:v>7.3330000000000002</c:v>
                </c:pt>
                <c:pt idx="8858">
                  <c:v>7.3319999999999999</c:v>
                </c:pt>
                <c:pt idx="8859">
                  <c:v>7.3319999999999999</c:v>
                </c:pt>
                <c:pt idx="8860">
                  <c:v>7.3310000000000004</c:v>
                </c:pt>
                <c:pt idx="8861">
                  <c:v>7.3310000000000004</c:v>
                </c:pt>
                <c:pt idx="8862">
                  <c:v>7.3310000000000004</c:v>
                </c:pt>
                <c:pt idx="8863">
                  <c:v>7.3310000000000004</c:v>
                </c:pt>
                <c:pt idx="8864">
                  <c:v>7.33</c:v>
                </c:pt>
                <c:pt idx="8865">
                  <c:v>7.33</c:v>
                </c:pt>
                <c:pt idx="8866">
                  <c:v>7.33</c:v>
                </c:pt>
                <c:pt idx="8867">
                  <c:v>7.3310000000000004</c:v>
                </c:pt>
                <c:pt idx="8868">
                  <c:v>7.3310000000000004</c:v>
                </c:pt>
                <c:pt idx="8869">
                  <c:v>7.3310000000000004</c:v>
                </c:pt>
                <c:pt idx="8870">
                  <c:v>7.3310000000000004</c:v>
                </c:pt>
                <c:pt idx="8871">
                  <c:v>7.33</c:v>
                </c:pt>
                <c:pt idx="8872">
                  <c:v>7.33</c:v>
                </c:pt>
                <c:pt idx="8873">
                  <c:v>7.33</c:v>
                </c:pt>
                <c:pt idx="8874">
                  <c:v>7.33</c:v>
                </c:pt>
                <c:pt idx="8875">
                  <c:v>7.33</c:v>
                </c:pt>
                <c:pt idx="8876">
                  <c:v>7.33</c:v>
                </c:pt>
                <c:pt idx="8877">
                  <c:v>7.3289999999999997</c:v>
                </c:pt>
                <c:pt idx="8878">
                  <c:v>7.3289999999999997</c:v>
                </c:pt>
                <c:pt idx="8879">
                  <c:v>7.3289999999999997</c:v>
                </c:pt>
                <c:pt idx="8880">
                  <c:v>7.3289999999999997</c:v>
                </c:pt>
                <c:pt idx="8881">
                  <c:v>7.33</c:v>
                </c:pt>
                <c:pt idx="8882">
                  <c:v>7.33</c:v>
                </c:pt>
                <c:pt idx="8883">
                  <c:v>7.3289999999999997</c:v>
                </c:pt>
                <c:pt idx="8884">
                  <c:v>7.3289999999999997</c:v>
                </c:pt>
                <c:pt idx="8885">
                  <c:v>7.3289999999999997</c:v>
                </c:pt>
                <c:pt idx="8886">
                  <c:v>7.3289999999999997</c:v>
                </c:pt>
                <c:pt idx="8887">
                  <c:v>7.3289999999999997</c:v>
                </c:pt>
                <c:pt idx="8888">
                  <c:v>7.3289999999999997</c:v>
                </c:pt>
                <c:pt idx="8889">
                  <c:v>7.3289999999999997</c:v>
                </c:pt>
                <c:pt idx="8890">
                  <c:v>7.3289999999999997</c:v>
                </c:pt>
                <c:pt idx="8891">
                  <c:v>7.3289999999999997</c:v>
                </c:pt>
                <c:pt idx="8892">
                  <c:v>7.3280000000000003</c:v>
                </c:pt>
                <c:pt idx="8893">
                  <c:v>7.3280000000000003</c:v>
                </c:pt>
                <c:pt idx="8894">
                  <c:v>7.3289999999999997</c:v>
                </c:pt>
                <c:pt idx="8895">
                  <c:v>7.3280000000000003</c:v>
                </c:pt>
                <c:pt idx="8896">
                  <c:v>7.3280000000000003</c:v>
                </c:pt>
                <c:pt idx="8897">
                  <c:v>7.3280000000000003</c:v>
                </c:pt>
                <c:pt idx="8898">
                  <c:v>7.3280000000000003</c:v>
                </c:pt>
                <c:pt idx="8899">
                  <c:v>7.3280000000000003</c:v>
                </c:pt>
                <c:pt idx="8900">
                  <c:v>7.3280000000000003</c:v>
                </c:pt>
                <c:pt idx="8901">
                  <c:v>7.3280000000000003</c:v>
                </c:pt>
                <c:pt idx="8902">
                  <c:v>7.3280000000000003</c:v>
                </c:pt>
                <c:pt idx="8903">
                  <c:v>7.3280000000000003</c:v>
                </c:pt>
                <c:pt idx="8904">
                  <c:v>7.3280000000000003</c:v>
                </c:pt>
                <c:pt idx="8905">
                  <c:v>7.3280000000000003</c:v>
                </c:pt>
                <c:pt idx="8906">
                  <c:v>7.327</c:v>
                </c:pt>
                <c:pt idx="8907">
                  <c:v>7.327</c:v>
                </c:pt>
                <c:pt idx="8908">
                  <c:v>7.327</c:v>
                </c:pt>
                <c:pt idx="8909">
                  <c:v>7.327</c:v>
                </c:pt>
                <c:pt idx="8910">
                  <c:v>7.327</c:v>
                </c:pt>
                <c:pt idx="8911">
                  <c:v>7.327</c:v>
                </c:pt>
                <c:pt idx="8912">
                  <c:v>7.327</c:v>
                </c:pt>
                <c:pt idx="8913">
                  <c:v>7.3259999999999996</c:v>
                </c:pt>
                <c:pt idx="8914">
                  <c:v>7.3259999999999996</c:v>
                </c:pt>
                <c:pt idx="8915">
                  <c:v>7.3259999999999996</c:v>
                </c:pt>
                <c:pt idx="8916">
                  <c:v>7.3259999999999996</c:v>
                </c:pt>
                <c:pt idx="8917">
                  <c:v>7.3259999999999996</c:v>
                </c:pt>
                <c:pt idx="8918">
                  <c:v>7.3259999999999996</c:v>
                </c:pt>
                <c:pt idx="8919">
                  <c:v>7.3259999999999996</c:v>
                </c:pt>
                <c:pt idx="8920">
                  <c:v>7.3259999999999996</c:v>
                </c:pt>
                <c:pt idx="8921">
                  <c:v>7.3259999999999996</c:v>
                </c:pt>
                <c:pt idx="8922">
                  <c:v>7.3259999999999996</c:v>
                </c:pt>
                <c:pt idx="8923">
                  <c:v>7.3259999999999996</c:v>
                </c:pt>
                <c:pt idx="8924">
                  <c:v>7.3259999999999996</c:v>
                </c:pt>
                <c:pt idx="8925">
                  <c:v>7.3250000000000002</c:v>
                </c:pt>
                <c:pt idx="8926">
                  <c:v>7.3250000000000002</c:v>
                </c:pt>
                <c:pt idx="8927">
                  <c:v>7.3259999999999996</c:v>
                </c:pt>
                <c:pt idx="8928">
                  <c:v>7.3259999999999996</c:v>
                </c:pt>
                <c:pt idx="8929">
                  <c:v>7.3259999999999996</c:v>
                </c:pt>
                <c:pt idx="8930">
                  <c:v>7.3259999999999996</c:v>
                </c:pt>
                <c:pt idx="8931">
                  <c:v>7.3250000000000002</c:v>
                </c:pt>
                <c:pt idx="8932">
                  <c:v>7.3250000000000002</c:v>
                </c:pt>
                <c:pt idx="8933">
                  <c:v>7.3250000000000002</c:v>
                </c:pt>
                <c:pt idx="8934">
                  <c:v>7.3239999999999998</c:v>
                </c:pt>
                <c:pt idx="8935">
                  <c:v>7.3239999999999998</c:v>
                </c:pt>
                <c:pt idx="8936">
                  <c:v>7.3250000000000002</c:v>
                </c:pt>
                <c:pt idx="8937">
                  <c:v>7.3250000000000002</c:v>
                </c:pt>
                <c:pt idx="8938">
                  <c:v>7.3239999999999998</c:v>
                </c:pt>
                <c:pt idx="8939">
                  <c:v>7.3239999999999998</c:v>
                </c:pt>
                <c:pt idx="8940">
                  <c:v>7.3230000000000004</c:v>
                </c:pt>
                <c:pt idx="8941">
                  <c:v>7.3239999999999998</c:v>
                </c:pt>
                <c:pt idx="8942">
                  <c:v>7.3230000000000004</c:v>
                </c:pt>
                <c:pt idx="8943">
                  <c:v>7.3230000000000004</c:v>
                </c:pt>
                <c:pt idx="8944">
                  <c:v>7.3230000000000004</c:v>
                </c:pt>
                <c:pt idx="8945">
                  <c:v>7.3239999999999998</c:v>
                </c:pt>
                <c:pt idx="8946">
                  <c:v>7.3239999999999998</c:v>
                </c:pt>
                <c:pt idx="8947">
                  <c:v>7.3230000000000004</c:v>
                </c:pt>
                <c:pt idx="8948">
                  <c:v>7.3220000000000001</c:v>
                </c:pt>
                <c:pt idx="8949">
                  <c:v>7.3230000000000004</c:v>
                </c:pt>
                <c:pt idx="8950">
                  <c:v>7.3230000000000004</c:v>
                </c:pt>
                <c:pt idx="8951">
                  <c:v>7.3230000000000004</c:v>
                </c:pt>
                <c:pt idx="8952">
                  <c:v>7.3230000000000004</c:v>
                </c:pt>
                <c:pt idx="8953">
                  <c:v>7.3230000000000004</c:v>
                </c:pt>
                <c:pt idx="8954">
                  <c:v>7.3230000000000004</c:v>
                </c:pt>
                <c:pt idx="8955">
                  <c:v>7.3230000000000004</c:v>
                </c:pt>
                <c:pt idx="8956">
                  <c:v>7.3230000000000004</c:v>
                </c:pt>
                <c:pt idx="8957">
                  <c:v>7.3230000000000004</c:v>
                </c:pt>
                <c:pt idx="8958">
                  <c:v>7.3230000000000004</c:v>
                </c:pt>
                <c:pt idx="8959">
                  <c:v>7.3230000000000004</c:v>
                </c:pt>
                <c:pt idx="8960">
                  <c:v>7.3230000000000004</c:v>
                </c:pt>
                <c:pt idx="8961">
                  <c:v>7.3230000000000004</c:v>
                </c:pt>
                <c:pt idx="8962">
                  <c:v>7.3230000000000004</c:v>
                </c:pt>
                <c:pt idx="8963">
                  <c:v>7.3230000000000004</c:v>
                </c:pt>
                <c:pt idx="8964">
                  <c:v>7.3230000000000004</c:v>
                </c:pt>
                <c:pt idx="8965">
                  <c:v>7.3230000000000004</c:v>
                </c:pt>
                <c:pt idx="8966">
                  <c:v>7.3230000000000004</c:v>
                </c:pt>
                <c:pt idx="8967">
                  <c:v>7.3230000000000004</c:v>
                </c:pt>
                <c:pt idx="8968">
                  <c:v>7.3230000000000004</c:v>
                </c:pt>
                <c:pt idx="8969">
                  <c:v>7.3230000000000004</c:v>
                </c:pt>
                <c:pt idx="8970">
                  <c:v>7.3220000000000001</c:v>
                </c:pt>
                <c:pt idx="8971">
                  <c:v>7.3220000000000001</c:v>
                </c:pt>
                <c:pt idx="8972">
                  <c:v>7.3230000000000004</c:v>
                </c:pt>
                <c:pt idx="8973">
                  <c:v>7.3220000000000001</c:v>
                </c:pt>
                <c:pt idx="8974">
                  <c:v>7.3220000000000001</c:v>
                </c:pt>
                <c:pt idx="8975">
                  <c:v>7.3220000000000001</c:v>
                </c:pt>
                <c:pt idx="8976">
                  <c:v>7.3209999999999997</c:v>
                </c:pt>
                <c:pt idx="8977">
                  <c:v>7.3220000000000001</c:v>
                </c:pt>
                <c:pt idx="8978">
                  <c:v>7.3220000000000001</c:v>
                </c:pt>
                <c:pt idx="8979">
                  <c:v>7.3220000000000001</c:v>
                </c:pt>
                <c:pt idx="8980">
                  <c:v>7.3220000000000001</c:v>
                </c:pt>
                <c:pt idx="8981">
                  <c:v>7.3220000000000001</c:v>
                </c:pt>
                <c:pt idx="8982">
                  <c:v>7.3209999999999997</c:v>
                </c:pt>
                <c:pt idx="8983">
                  <c:v>7.3209999999999997</c:v>
                </c:pt>
                <c:pt idx="8984">
                  <c:v>7.3209999999999997</c:v>
                </c:pt>
                <c:pt idx="8985">
                  <c:v>7.3209999999999997</c:v>
                </c:pt>
                <c:pt idx="8986">
                  <c:v>7.3209999999999997</c:v>
                </c:pt>
                <c:pt idx="8987">
                  <c:v>7.3209999999999997</c:v>
                </c:pt>
                <c:pt idx="8988">
                  <c:v>7.3209999999999997</c:v>
                </c:pt>
                <c:pt idx="8989">
                  <c:v>7.3209999999999997</c:v>
                </c:pt>
                <c:pt idx="8990">
                  <c:v>7.3209999999999997</c:v>
                </c:pt>
                <c:pt idx="8991">
                  <c:v>7.3209999999999997</c:v>
                </c:pt>
                <c:pt idx="8992">
                  <c:v>7.3209999999999997</c:v>
                </c:pt>
                <c:pt idx="8993">
                  <c:v>7.3209999999999997</c:v>
                </c:pt>
                <c:pt idx="8994">
                  <c:v>7.3209999999999997</c:v>
                </c:pt>
                <c:pt idx="8995">
                  <c:v>7.32</c:v>
                </c:pt>
                <c:pt idx="8996">
                  <c:v>7.32</c:v>
                </c:pt>
                <c:pt idx="8997">
                  <c:v>7.32</c:v>
                </c:pt>
                <c:pt idx="8998">
                  <c:v>7.32</c:v>
                </c:pt>
                <c:pt idx="8999">
                  <c:v>7.32</c:v>
                </c:pt>
                <c:pt idx="9000">
                  <c:v>7.32</c:v>
                </c:pt>
                <c:pt idx="9001">
                  <c:v>7.3209999999999997</c:v>
                </c:pt>
                <c:pt idx="9002">
                  <c:v>7.3209999999999997</c:v>
                </c:pt>
                <c:pt idx="9003">
                  <c:v>7.32</c:v>
                </c:pt>
                <c:pt idx="9004">
                  <c:v>7.32</c:v>
                </c:pt>
                <c:pt idx="9005">
                  <c:v>7.32</c:v>
                </c:pt>
                <c:pt idx="9006">
                  <c:v>7.32</c:v>
                </c:pt>
                <c:pt idx="9007">
                  <c:v>7.32</c:v>
                </c:pt>
                <c:pt idx="9008">
                  <c:v>7.32</c:v>
                </c:pt>
                <c:pt idx="9009">
                  <c:v>7.32</c:v>
                </c:pt>
                <c:pt idx="9010">
                  <c:v>7.32</c:v>
                </c:pt>
                <c:pt idx="9011">
                  <c:v>7.32</c:v>
                </c:pt>
                <c:pt idx="9012">
                  <c:v>7.32</c:v>
                </c:pt>
                <c:pt idx="9013">
                  <c:v>7.32</c:v>
                </c:pt>
                <c:pt idx="9014">
                  <c:v>7.32</c:v>
                </c:pt>
                <c:pt idx="9015">
                  <c:v>7.32</c:v>
                </c:pt>
                <c:pt idx="9016">
                  <c:v>7.32</c:v>
                </c:pt>
                <c:pt idx="9017">
                  <c:v>7.319</c:v>
                </c:pt>
                <c:pt idx="9018">
                  <c:v>7.319</c:v>
                </c:pt>
                <c:pt idx="9019">
                  <c:v>7.319</c:v>
                </c:pt>
                <c:pt idx="9020">
                  <c:v>7.319</c:v>
                </c:pt>
                <c:pt idx="9021">
                  <c:v>7.319</c:v>
                </c:pt>
                <c:pt idx="9022">
                  <c:v>7.319</c:v>
                </c:pt>
                <c:pt idx="9023">
                  <c:v>7.319</c:v>
                </c:pt>
                <c:pt idx="9024">
                  <c:v>7.319</c:v>
                </c:pt>
                <c:pt idx="9025">
                  <c:v>7.319</c:v>
                </c:pt>
                <c:pt idx="9026">
                  <c:v>7.3179999999999996</c:v>
                </c:pt>
                <c:pt idx="9027">
                  <c:v>7.3179999999999996</c:v>
                </c:pt>
                <c:pt idx="9028">
                  <c:v>7.3179999999999996</c:v>
                </c:pt>
                <c:pt idx="9029">
                  <c:v>7.3179999999999996</c:v>
                </c:pt>
                <c:pt idx="9030">
                  <c:v>7.3179999999999996</c:v>
                </c:pt>
                <c:pt idx="9031">
                  <c:v>7.3179999999999996</c:v>
                </c:pt>
                <c:pt idx="9032">
                  <c:v>7.3179999999999996</c:v>
                </c:pt>
                <c:pt idx="9033">
                  <c:v>7.3170000000000002</c:v>
                </c:pt>
                <c:pt idx="9034">
                  <c:v>7.3159999999999998</c:v>
                </c:pt>
                <c:pt idx="9035">
                  <c:v>7.3159999999999998</c:v>
                </c:pt>
                <c:pt idx="9036">
                  <c:v>7.3150000000000004</c:v>
                </c:pt>
                <c:pt idx="9037">
                  <c:v>7.3150000000000004</c:v>
                </c:pt>
                <c:pt idx="9038">
                  <c:v>7.3140000000000001</c:v>
                </c:pt>
                <c:pt idx="9039">
                  <c:v>7.3140000000000001</c:v>
                </c:pt>
                <c:pt idx="9040">
                  <c:v>7.3140000000000001</c:v>
                </c:pt>
                <c:pt idx="9041">
                  <c:v>7.3129999999999997</c:v>
                </c:pt>
                <c:pt idx="9042">
                  <c:v>7.3140000000000001</c:v>
                </c:pt>
                <c:pt idx="9043">
                  <c:v>7.3129999999999997</c:v>
                </c:pt>
                <c:pt idx="9044">
                  <c:v>7.3140000000000001</c:v>
                </c:pt>
                <c:pt idx="9045">
                  <c:v>7.3129999999999997</c:v>
                </c:pt>
                <c:pt idx="9046">
                  <c:v>7.3140000000000001</c:v>
                </c:pt>
                <c:pt idx="9047">
                  <c:v>7.3140000000000001</c:v>
                </c:pt>
                <c:pt idx="9048">
                  <c:v>7.3140000000000001</c:v>
                </c:pt>
                <c:pt idx="9049">
                  <c:v>7.3140000000000001</c:v>
                </c:pt>
                <c:pt idx="9050">
                  <c:v>7.3150000000000004</c:v>
                </c:pt>
                <c:pt idx="9051">
                  <c:v>7.3150000000000004</c:v>
                </c:pt>
                <c:pt idx="9052">
                  <c:v>7.3140000000000001</c:v>
                </c:pt>
                <c:pt idx="9053">
                  <c:v>7.3150000000000004</c:v>
                </c:pt>
                <c:pt idx="9054">
                  <c:v>7.3150000000000004</c:v>
                </c:pt>
                <c:pt idx="9055">
                  <c:v>7.3150000000000004</c:v>
                </c:pt>
                <c:pt idx="9056">
                  <c:v>7.3150000000000004</c:v>
                </c:pt>
                <c:pt idx="9057">
                  <c:v>7.3150000000000004</c:v>
                </c:pt>
                <c:pt idx="9058">
                  <c:v>7.3140000000000001</c:v>
                </c:pt>
                <c:pt idx="9059">
                  <c:v>7.3150000000000004</c:v>
                </c:pt>
                <c:pt idx="9060">
                  <c:v>7.3150000000000004</c:v>
                </c:pt>
                <c:pt idx="9061">
                  <c:v>7.3140000000000001</c:v>
                </c:pt>
                <c:pt idx="9062">
                  <c:v>7.3150000000000004</c:v>
                </c:pt>
                <c:pt idx="9063">
                  <c:v>7.3140000000000001</c:v>
                </c:pt>
                <c:pt idx="9064">
                  <c:v>7.3140000000000001</c:v>
                </c:pt>
                <c:pt idx="9065">
                  <c:v>7.3140000000000001</c:v>
                </c:pt>
                <c:pt idx="9066">
                  <c:v>7.3140000000000001</c:v>
                </c:pt>
                <c:pt idx="9067">
                  <c:v>7.3140000000000001</c:v>
                </c:pt>
                <c:pt idx="9068">
                  <c:v>7.3140000000000001</c:v>
                </c:pt>
                <c:pt idx="9069">
                  <c:v>7.3140000000000001</c:v>
                </c:pt>
                <c:pt idx="9070">
                  <c:v>7.3140000000000001</c:v>
                </c:pt>
                <c:pt idx="9071">
                  <c:v>7.3140000000000001</c:v>
                </c:pt>
                <c:pt idx="9072">
                  <c:v>7.3140000000000001</c:v>
                </c:pt>
                <c:pt idx="9073">
                  <c:v>7.3140000000000001</c:v>
                </c:pt>
                <c:pt idx="9074">
                  <c:v>7.3129999999999997</c:v>
                </c:pt>
                <c:pt idx="9075">
                  <c:v>7.3129999999999997</c:v>
                </c:pt>
                <c:pt idx="9076">
                  <c:v>7.3129999999999997</c:v>
                </c:pt>
                <c:pt idx="9077">
                  <c:v>7.3129999999999997</c:v>
                </c:pt>
                <c:pt idx="9078">
                  <c:v>7.3129999999999997</c:v>
                </c:pt>
                <c:pt idx="9079">
                  <c:v>7.3129999999999997</c:v>
                </c:pt>
                <c:pt idx="9080">
                  <c:v>7.3120000000000003</c:v>
                </c:pt>
                <c:pt idx="9081">
                  <c:v>7.3129999999999997</c:v>
                </c:pt>
                <c:pt idx="9082">
                  <c:v>7.3120000000000003</c:v>
                </c:pt>
                <c:pt idx="9083">
                  <c:v>7.3120000000000003</c:v>
                </c:pt>
                <c:pt idx="9084">
                  <c:v>7.3120000000000003</c:v>
                </c:pt>
                <c:pt idx="9085">
                  <c:v>7.3120000000000003</c:v>
                </c:pt>
                <c:pt idx="9086">
                  <c:v>7.3120000000000003</c:v>
                </c:pt>
                <c:pt idx="9087">
                  <c:v>7.3120000000000003</c:v>
                </c:pt>
                <c:pt idx="9088">
                  <c:v>7.3120000000000003</c:v>
                </c:pt>
                <c:pt idx="9089">
                  <c:v>7.3120000000000003</c:v>
                </c:pt>
                <c:pt idx="9090">
                  <c:v>7.3120000000000003</c:v>
                </c:pt>
                <c:pt idx="9091">
                  <c:v>7.3120000000000003</c:v>
                </c:pt>
                <c:pt idx="9092">
                  <c:v>7.3109999999999999</c:v>
                </c:pt>
                <c:pt idx="9093">
                  <c:v>7.3120000000000003</c:v>
                </c:pt>
                <c:pt idx="9094">
                  <c:v>7.3120000000000003</c:v>
                </c:pt>
                <c:pt idx="9095">
                  <c:v>7.3109999999999999</c:v>
                </c:pt>
                <c:pt idx="9096">
                  <c:v>7.3109999999999999</c:v>
                </c:pt>
                <c:pt idx="9097">
                  <c:v>7.3109999999999999</c:v>
                </c:pt>
                <c:pt idx="9098">
                  <c:v>7.3109999999999999</c:v>
                </c:pt>
                <c:pt idx="9099">
                  <c:v>7.3109999999999999</c:v>
                </c:pt>
                <c:pt idx="9100">
                  <c:v>7.3109999999999999</c:v>
                </c:pt>
                <c:pt idx="9101">
                  <c:v>7.3109999999999999</c:v>
                </c:pt>
                <c:pt idx="9102">
                  <c:v>7.31</c:v>
                </c:pt>
                <c:pt idx="9103">
                  <c:v>7.3109999999999999</c:v>
                </c:pt>
                <c:pt idx="9104">
                  <c:v>7.3109999999999999</c:v>
                </c:pt>
                <c:pt idx="9105">
                  <c:v>7.31</c:v>
                </c:pt>
                <c:pt idx="9106">
                  <c:v>7.31</c:v>
                </c:pt>
                <c:pt idx="9107">
                  <c:v>7.31</c:v>
                </c:pt>
                <c:pt idx="9108">
                  <c:v>7.31</c:v>
                </c:pt>
                <c:pt idx="9109">
                  <c:v>7.31</c:v>
                </c:pt>
                <c:pt idx="9110">
                  <c:v>7.31</c:v>
                </c:pt>
                <c:pt idx="9111">
                  <c:v>7.31</c:v>
                </c:pt>
                <c:pt idx="9112">
                  <c:v>7.31</c:v>
                </c:pt>
                <c:pt idx="9113">
                  <c:v>7.31</c:v>
                </c:pt>
                <c:pt idx="9114">
                  <c:v>7.3090000000000002</c:v>
                </c:pt>
                <c:pt idx="9115">
                  <c:v>7.3090000000000002</c:v>
                </c:pt>
                <c:pt idx="9116">
                  <c:v>7.3090000000000002</c:v>
                </c:pt>
                <c:pt idx="9117">
                  <c:v>7.3090000000000002</c:v>
                </c:pt>
                <c:pt idx="9118">
                  <c:v>7.31</c:v>
                </c:pt>
                <c:pt idx="9119">
                  <c:v>7.3090000000000002</c:v>
                </c:pt>
                <c:pt idx="9120">
                  <c:v>7.3090000000000002</c:v>
                </c:pt>
                <c:pt idx="9121">
                  <c:v>7.3090000000000002</c:v>
                </c:pt>
                <c:pt idx="9122">
                  <c:v>7.3079999999999998</c:v>
                </c:pt>
                <c:pt idx="9123">
                  <c:v>7.3079999999999998</c:v>
                </c:pt>
                <c:pt idx="9124">
                  <c:v>7.3090000000000002</c:v>
                </c:pt>
                <c:pt idx="9125">
                  <c:v>7.3079999999999998</c:v>
                </c:pt>
                <c:pt idx="9126">
                  <c:v>7.3079999999999998</c:v>
                </c:pt>
                <c:pt idx="9127">
                  <c:v>7.3079999999999998</c:v>
                </c:pt>
                <c:pt idx="9128">
                  <c:v>7.3079999999999998</c:v>
                </c:pt>
                <c:pt idx="9129">
                  <c:v>7.3079999999999998</c:v>
                </c:pt>
                <c:pt idx="9130">
                  <c:v>7.3079999999999998</c:v>
                </c:pt>
                <c:pt idx="9131">
                  <c:v>7.3079999999999998</c:v>
                </c:pt>
                <c:pt idx="9132">
                  <c:v>7.3079999999999998</c:v>
                </c:pt>
                <c:pt idx="9133">
                  <c:v>7.3070000000000004</c:v>
                </c:pt>
                <c:pt idx="9134">
                  <c:v>7.3079999999999998</c:v>
                </c:pt>
                <c:pt idx="9135">
                  <c:v>7.3070000000000004</c:v>
                </c:pt>
                <c:pt idx="9136">
                  <c:v>7.3079999999999998</c:v>
                </c:pt>
                <c:pt idx="9137">
                  <c:v>7.3079999999999998</c:v>
                </c:pt>
                <c:pt idx="9138">
                  <c:v>7.3079999999999998</c:v>
                </c:pt>
                <c:pt idx="9139">
                  <c:v>7.3079999999999998</c:v>
                </c:pt>
                <c:pt idx="9140">
                  <c:v>7.3070000000000004</c:v>
                </c:pt>
                <c:pt idx="9141">
                  <c:v>7.3070000000000004</c:v>
                </c:pt>
                <c:pt idx="9142">
                  <c:v>7.3070000000000004</c:v>
                </c:pt>
                <c:pt idx="9143">
                  <c:v>7.3079999999999998</c:v>
                </c:pt>
                <c:pt idx="9144">
                  <c:v>7.3070000000000004</c:v>
                </c:pt>
                <c:pt idx="9145">
                  <c:v>7.306</c:v>
                </c:pt>
                <c:pt idx="9146">
                  <c:v>7.3070000000000004</c:v>
                </c:pt>
                <c:pt idx="9147">
                  <c:v>7.3070000000000004</c:v>
                </c:pt>
                <c:pt idx="9148">
                  <c:v>7.306</c:v>
                </c:pt>
                <c:pt idx="9149">
                  <c:v>7.306</c:v>
                </c:pt>
                <c:pt idx="9150">
                  <c:v>7.306</c:v>
                </c:pt>
                <c:pt idx="9151">
                  <c:v>7.3070000000000004</c:v>
                </c:pt>
                <c:pt idx="9152">
                  <c:v>7.3070000000000004</c:v>
                </c:pt>
                <c:pt idx="9153">
                  <c:v>7.3070000000000004</c:v>
                </c:pt>
                <c:pt idx="9154">
                  <c:v>7.3070000000000004</c:v>
                </c:pt>
                <c:pt idx="9155">
                  <c:v>7.3070000000000004</c:v>
                </c:pt>
                <c:pt idx="9156">
                  <c:v>7.306</c:v>
                </c:pt>
                <c:pt idx="9157">
                  <c:v>7.306</c:v>
                </c:pt>
                <c:pt idx="9158">
                  <c:v>7.3070000000000004</c:v>
                </c:pt>
                <c:pt idx="9159">
                  <c:v>7.306</c:v>
                </c:pt>
                <c:pt idx="9160">
                  <c:v>7.306</c:v>
                </c:pt>
                <c:pt idx="9161">
                  <c:v>7.306</c:v>
                </c:pt>
                <c:pt idx="9162">
                  <c:v>7.306</c:v>
                </c:pt>
                <c:pt idx="9163">
                  <c:v>7.306</c:v>
                </c:pt>
                <c:pt idx="9164">
                  <c:v>7.3070000000000004</c:v>
                </c:pt>
                <c:pt idx="9165">
                  <c:v>7.3070000000000004</c:v>
                </c:pt>
                <c:pt idx="9166">
                  <c:v>7.306</c:v>
                </c:pt>
                <c:pt idx="9167">
                  <c:v>7.306</c:v>
                </c:pt>
                <c:pt idx="9168">
                  <c:v>7.306</c:v>
                </c:pt>
                <c:pt idx="9169">
                  <c:v>7.306</c:v>
                </c:pt>
                <c:pt idx="9170">
                  <c:v>7.306</c:v>
                </c:pt>
                <c:pt idx="9171">
                  <c:v>7.306</c:v>
                </c:pt>
                <c:pt idx="9172">
                  <c:v>7.306</c:v>
                </c:pt>
                <c:pt idx="9173">
                  <c:v>7.306</c:v>
                </c:pt>
                <c:pt idx="9174">
                  <c:v>7.306</c:v>
                </c:pt>
                <c:pt idx="9175">
                  <c:v>7.306</c:v>
                </c:pt>
                <c:pt idx="9176">
                  <c:v>7.306</c:v>
                </c:pt>
                <c:pt idx="9177">
                  <c:v>7.306</c:v>
                </c:pt>
                <c:pt idx="9178">
                  <c:v>7.306</c:v>
                </c:pt>
                <c:pt idx="9179">
                  <c:v>7.306</c:v>
                </c:pt>
                <c:pt idx="9180">
                  <c:v>7.306</c:v>
                </c:pt>
                <c:pt idx="9181">
                  <c:v>7.306</c:v>
                </c:pt>
                <c:pt idx="9182">
                  <c:v>7.306</c:v>
                </c:pt>
                <c:pt idx="9183">
                  <c:v>7.3049999999999997</c:v>
                </c:pt>
                <c:pt idx="9184">
                  <c:v>7.3049999999999997</c:v>
                </c:pt>
                <c:pt idx="9185">
                  <c:v>7.306</c:v>
                </c:pt>
                <c:pt idx="9186">
                  <c:v>7.3049999999999997</c:v>
                </c:pt>
                <c:pt idx="9187">
                  <c:v>7.306</c:v>
                </c:pt>
                <c:pt idx="9188">
                  <c:v>7.3049999999999997</c:v>
                </c:pt>
                <c:pt idx="9189">
                  <c:v>7.306</c:v>
                </c:pt>
                <c:pt idx="9190">
                  <c:v>7.306</c:v>
                </c:pt>
                <c:pt idx="9191">
                  <c:v>7.3049999999999997</c:v>
                </c:pt>
                <c:pt idx="9192">
                  <c:v>7.3049999999999997</c:v>
                </c:pt>
                <c:pt idx="9193">
                  <c:v>7.3049999999999997</c:v>
                </c:pt>
                <c:pt idx="9194">
                  <c:v>7.3049999999999997</c:v>
                </c:pt>
                <c:pt idx="9195">
                  <c:v>7.3049999999999997</c:v>
                </c:pt>
                <c:pt idx="9196">
                  <c:v>7.3049999999999997</c:v>
                </c:pt>
                <c:pt idx="9197">
                  <c:v>7.3049999999999997</c:v>
                </c:pt>
                <c:pt idx="9198">
                  <c:v>7.3049999999999997</c:v>
                </c:pt>
                <c:pt idx="9199">
                  <c:v>7.3040000000000003</c:v>
                </c:pt>
                <c:pt idx="9200">
                  <c:v>7.3049999999999997</c:v>
                </c:pt>
                <c:pt idx="9201">
                  <c:v>7.3049999999999997</c:v>
                </c:pt>
                <c:pt idx="9202">
                  <c:v>7.3049999999999997</c:v>
                </c:pt>
                <c:pt idx="9203">
                  <c:v>7.3040000000000003</c:v>
                </c:pt>
                <c:pt idx="9204">
                  <c:v>7.3049999999999997</c:v>
                </c:pt>
                <c:pt idx="9205">
                  <c:v>7.3049999999999997</c:v>
                </c:pt>
                <c:pt idx="9206">
                  <c:v>7.3049999999999997</c:v>
                </c:pt>
                <c:pt idx="9207">
                  <c:v>7.3049999999999997</c:v>
                </c:pt>
                <c:pt idx="9208">
                  <c:v>7.3040000000000003</c:v>
                </c:pt>
                <c:pt idx="9209">
                  <c:v>7.3040000000000003</c:v>
                </c:pt>
                <c:pt idx="9210">
                  <c:v>7.3040000000000003</c:v>
                </c:pt>
                <c:pt idx="9211">
                  <c:v>7.3040000000000003</c:v>
                </c:pt>
                <c:pt idx="9212">
                  <c:v>7.3040000000000003</c:v>
                </c:pt>
                <c:pt idx="9213">
                  <c:v>7.3040000000000003</c:v>
                </c:pt>
                <c:pt idx="9214">
                  <c:v>7.3040000000000003</c:v>
                </c:pt>
                <c:pt idx="9215">
                  <c:v>7.3040000000000003</c:v>
                </c:pt>
                <c:pt idx="9216">
                  <c:v>7.3040000000000003</c:v>
                </c:pt>
                <c:pt idx="9217">
                  <c:v>7.3040000000000003</c:v>
                </c:pt>
                <c:pt idx="9218">
                  <c:v>7.3040000000000003</c:v>
                </c:pt>
                <c:pt idx="9219">
                  <c:v>7.3040000000000003</c:v>
                </c:pt>
                <c:pt idx="9220">
                  <c:v>7.3040000000000003</c:v>
                </c:pt>
                <c:pt idx="9221">
                  <c:v>7.3040000000000003</c:v>
                </c:pt>
                <c:pt idx="9222">
                  <c:v>7.3040000000000003</c:v>
                </c:pt>
                <c:pt idx="9223">
                  <c:v>7.3040000000000003</c:v>
                </c:pt>
                <c:pt idx="9224">
                  <c:v>7.3040000000000003</c:v>
                </c:pt>
                <c:pt idx="9225">
                  <c:v>7.3029999999999999</c:v>
                </c:pt>
                <c:pt idx="9226">
                  <c:v>7.3040000000000003</c:v>
                </c:pt>
                <c:pt idx="9227">
                  <c:v>7.3040000000000003</c:v>
                </c:pt>
                <c:pt idx="9228">
                  <c:v>7.3040000000000003</c:v>
                </c:pt>
                <c:pt idx="9229">
                  <c:v>7.3040000000000003</c:v>
                </c:pt>
                <c:pt idx="9230">
                  <c:v>7.3040000000000003</c:v>
                </c:pt>
                <c:pt idx="9231">
                  <c:v>7.3029999999999999</c:v>
                </c:pt>
                <c:pt idx="9232">
                  <c:v>7.3040000000000003</c:v>
                </c:pt>
                <c:pt idx="9233">
                  <c:v>7.3040000000000003</c:v>
                </c:pt>
                <c:pt idx="9234">
                  <c:v>7.3040000000000003</c:v>
                </c:pt>
                <c:pt idx="9235">
                  <c:v>7.3040000000000003</c:v>
                </c:pt>
                <c:pt idx="9236">
                  <c:v>7.3040000000000003</c:v>
                </c:pt>
                <c:pt idx="9237">
                  <c:v>7.3040000000000003</c:v>
                </c:pt>
                <c:pt idx="9238">
                  <c:v>7.3040000000000003</c:v>
                </c:pt>
                <c:pt idx="9239">
                  <c:v>7.3040000000000003</c:v>
                </c:pt>
                <c:pt idx="9240">
                  <c:v>7.3040000000000003</c:v>
                </c:pt>
                <c:pt idx="9241">
                  <c:v>7.3029999999999999</c:v>
                </c:pt>
                <c:pt idx="9242">
                  <c:v>7.3029999999999999</c:v>
                </c:pt>
                <c:pt idx="9243">
                  <c:v>7.3029999999999999</c:v>
                </c:pt>
                <c:pt idx="9244">
                  <c:v>7.3029999999999999</c:v>
                </c:pt>
                <c:pt idx="9245">
                  <c:v>7.3029999999999999</c:v>
                </c:pt>
                <c:pt idx="9246">
                  <c:v>7.3029999999999999</c:v>
                </c:pt>
                <c:pt idx="9247">
                  <c:v>7.3029999999999999</c:v>
                </c:pt>
                <c:pt idx="9248">
                  <c:v>7.3029999999999999</c:v>
                </c:pt>
                <c:pt idx="9249">
                  <c:v>7.3029999999999999</c:v>
                </c:pt>
                <c:pt idx="9250">
                  <c:v>7.3029999999999999</c:v>
                </c:pt>
                <c:pt idx="9251">
                  <c:v>7.3029999999999999</c:v>
                </c:pt>
                <c:pt idx="9252">
                  <c:v>7.3029999999999999</c:v>
                </c:pt>
                <c:pt idx="9253">
                  <c:v>7.3029999999999999</c:v>
                </c:pt>
                <c:pt idx="9254">
                  <c:v>7.3019999999999996</c:v>
                </c:pt>
                <c:pt idx="9255">
                  <c:v>7.3019999999999996</c:v>
                </c:pt>
                <c:pt idx="9256">
                  <c:v>7.3029999999999999</c:v>
                </c:pt>
                <c:pt idx="9257">
                  <c:v>7.3019999999999996</c:v>
                </c:pt>
                <c:pt idx="9258">
                  <c:v>7.3019999999999996</c:v>
                </c:pt>
                <c:pt idx="9259">
                  <c:v>7.3029999999999999</c:v>
                </c:pt>
                <c:pt idx="9260">
                  <c:v>7.3019999999999996</c:v>
                </c:pt>
                <c:pt idx="9261">
                  <c:v>7.3029999999999999</c:v>
                </c:pt>
                <c:pt idx="9262">
                  <c:v>7.3029999999999999</c:v>
                </c:pt>
                <c:pt idx="9263">
                  <c:v>7.3019999999999996</c:v>
                </c:pt>
                <c:pt idx="9264">
                  <c:v>7.3019999999999996</c:v>
                </c:pt>
                <c:pt idx="9265">
                  <c:v>7.3019999999999996</c:v>
                </c:pt>
                <c:pt idx="9266">
                  <c:v>7.3019999999999996</c:v>
                </c:pt>
                <c:pt idx="9267">
                  <c:v>7.3019999999999996</c:v>
                </c:pt>
                <c:pt idx="9268">
                  <c:v>7.3019999999999996</c:v>
                </c:pt>
                <c:pt idx="9269">
                  <c:v>7.3019999999999996</c:v>
                </c:pt>
                <c:pt idx="9270">
                  <c:v>7.3019999999999996</c:v>
                </c:pt>
                <c:pt idx="9271">
                  <c:v>7.3019999999999996</c:v>
                </c:pt>
                <c:pt idx="9272">
                  <c:v>7.3019999999999996</c:v>
                </c:pt>
                <c:pt idx="9273">
                  <c:v>7.3019999999999996</c:v>
                </c:pt>
                <c:pt idx="9274">
                  <c:v>7.3019999999999996</c:v>
                </c:pt>
                <c:pt idx="9275">
                  <c:v>7.3019999999999996</c:v>
                </c:pt>
                <c:pt idx="9276">
                  <c:v>7.3019999999999996</c:v>
                </c:pt>
                <c:pt idx="9277">
                  <c:v>7.3019999999999996</c:v>
                </c:pt>
                <c:pt idx="9278">
                  <c:v>7.3019999999999996</c:v>
                </c:pt>
                <c:pt idx="9279">
                  <c:v>7.3029999999999999</c:v>
                </c:pt>
                <c:pt idx="9280">
                  <c:v>7.3019999999999996</c:v>
                </c:pt>
                <c:pt idx="9281">
                  <c:v>7.3019999999999996</c:v>
                </c:pt>
                <c:pt idx="9282">
                  <c:v>7.3019999999999996</c:v>
                </c:pt>
                <c:pt idx="9283">
                  <c:v>7.3019999999999996</c:v>
                </c:pt>
                <c:pt idx="9284">
                  <c:v>7.3010000000000002</c:v>
                </c:pt>
                <c:pt idx="9285">
                  <c:v>7.3019999999999996</c:v>
                </c:pt>
                <c:pt idx="9286">
                  <c:v>7.3010000000000002</c:v>
                </c:pt>
                <c:pt idx="9287">
                  <c:v>7.3019999999999996</c:v>
                </c:pt>
                <c:pt idx="9288">
                  <c:v>7.3010000000000002</c:v>
                </c:pt>
                <c:pt idx="9289">
                  <c:v>7.3019999999999996</c:v>
                </c:pt>
                <c:pt idx="9290">
                  <c:v>7.3019999999999996</c:v>
                </c:pt>
                <c:pt idx="9291">
                  <c:v>7.3019999999999996</c:v>
                </c:pt>
                <c:pt idx="9292">
                  <c:v>7.3019999999999996</c:v>
                </c:pt>
                <c:pt idx="9293">
                  <c:v>7.3019999999999996</c:v>
                </c:pt>
                <c:pt idx="9294">
                  <c:v>7.3019999999999996</c:v>
                </c:pt>
                <c:pt idx="9295">
                  <c:v>7.3010000000000002</c:v>
                </c:pt>
                <c:pt idx="9296">
                  <c:v>7.3019999999999996</c:v>
                </c:pt>
                <c:pt idx="9297">
                  <c:v>7.3019999999999996</c:v>
                </c:pt>
                <c:pt idx="9298">
                  <c:v>7.3019999999999996</c:v>
                </c:pt>
                <c:pt idx="9299">
                  <c:v>7.3010000000000002</c:v>
                </c:pt>
                <c:pt idx="9300">
                  <c:v>7.3010000000000002</c:v>
                </c:pt>
                <c:pt idx="9301">
                  <c:v>7.3010000000000002</c:v>
                </c:pt>
                <c:pt idx="9302">
                  <c:v>7.3010000000000002</c:v>
                </c:pt>
                <c:pt idx="9303">
                  <c:v>7.3010000000000002</c:v>
                </c:pt>
                <c:pt idx="9304">
                  <c:v>7.3010000000000002</c:v>
                </c:pt>
                <c:pt idx="9305">
                  <c:v>7.3010000000000002</c:v>
                </c:pt>
                <c:pt idx="9306">
                  <c:v>7.3010000000000002</c:v>
                </c:pt>
                <c:pt idx="9307">
                  <c:v>7.3010000000000002</c:v>
                </c:pt>
                <c:pt idx="9308">
                  <c:v>7.3010000000000002</c:v>
                </c:pt>
                <c:pt idx="9309">
                  <c:v>7.3010000000000002</c:v>
                </c:pt>
                <c:pt idx="9310">
                  <c:v>7.3010000000000002</c:v>
                </c:pt>
                <c:pt idx="9311">
                  <c:v>7.3010000000000002</c:v>
                </c:pt>
                <c:pt idx="9312">
                  <c:v>7.3010000000000002</c:v>
                </c:pt>
                <c:pt idx="9313">
                  <c:v>7.3</c:v>
                </c:pt>
                <c:pt idx="9314">
                  <c:v>7.3</c:v>
                </c:pt>
                <c:pt idx="9315">
                  <c:v>7.3</c:v>
                </c:pt>
                <c:pt idx="9316">
                  <c:v>7.3</c:v>
                </c:pt>
                <c:pt idx="9317">
                  <c:v>7.3010000000000002</c:v>
                </c:pt>
                <c:pt idx="9318">
                  <c:v>7.3010000000000002</c:v>
                </c:pt>
                <c:pt idx="9319">
                  <c:v>7.3010000000000002</c:v>
                </c:pt>
                <c:pt idx="9320">
                  <c:v>7.3010000000000002</c:v>
                </c:pt>
                <c:pt idx="9321">
                  <c:v>7.3</c:v>
                </c:pt>
                <c:pt idx="9322">
                  <c:v>7.3010000000000002</c:v>
                </c:pt>
                <c:pt idx="9323">
                  <c:v>7.3</c:v>
                </c:pt>
                <c:pt idx="9324">
                  <c:v>7.3010000000000002</c:v>
                </c:pt>
                <c:pt idx="9325">
                  <c:v>7.3010000000000002</c:v>
                </c:pt>
                <c:pt idx="9326">
                  <c:v>7.3010000000000002</c:v>
                </c:pt>
                <c:pt idx="9327">
                  <c:v>7.3</c:v>
                </c:pt>
                <c:pt idx="9328">
                  <c:v>7.3</c:v>
                </c:pt>
                <c:pt idx="9329">
                  <c:v>7.3</c:v>
                </c:pt>
                <c:pt idx="9330">
                  <c:v>7.3010000000000002</c:v>
                </c:pt>
                <c:pt idx="9331">
                  <c:v>7.3010000000000002</c:v>
                </c:pt>
                <c:pt idx="9332">
                  <c:v>7.3010000000000002</c:v>
                </c:pt>
                <c:pt idx="9333">
                  <c:v>7.3</c:v>
                </c:pt>
                <c:pt idx="9334">
                  <c:v>7.3</c:v>
                </c:pt>
                <c:pt idx="9335">
                  <c:v>7.3</c:v>
                </c:pt>
                <c:pt idx="9336">
                  <c:v>7.3</c:v>
                </c:pt>
                <c:pt idx="9337">
                  <c:v>7.3</c:v>
                </c:pt>
                <c:pt idx="9338">
                  <c:v>7.3</c:v>
                </c:pt>
                <c:pt idx="9339">
                  <c:v>7.3</c:v>
                </c:pt>
                <c:pt idx="9340">
                  <c:v>7.2990000000000004</c:v>
                </c:pt>
                <c:pt idx="9341">
                  <c:v>7.2990000000000004</c:v>
                </c:pt>
                <c:pt idx="9342">
                  <c:v>7.2990000000000004</c:v>
                </c:pt>
                <c:pt idx="9343">
                  <c:v>7.2990000000000004</c:v>
                </c:pt>
                <c:pt idx="9344">
                  <c:v>7.2990000000000004</c:v>
                </c:pt>
                <c:pt idx="9345">
                  <c:v>7.3</c:v>
                </c:pt>
                <c:pt idx="9346">
                  <c:v>7.2990000000000004</c:v>
                </c:pt>
                <c:pt idx="9347">
                  <c:v>7.2990000000000004</c:v>
                </c:pt>
                <c:pt idx="9348">
                  <c:v>7.3</c:v>
                </c:pt>
                <c:pt idx="9349">
                  <c:v>7.3</c:v>
                </c:pt>
                <c:pt idx="9350">
                  <c:v>7.2990000000000004</c:v>
                </c:pt>
                <c:pt idx="9351">
                  <c:v>7.2990000000000004</c:v>
                </c:pt>
                <c:pt idx="9352">
                  <c:v>7.2990000000000004</c:v>
                </c:pt>
                <c:pt idx="9353">
                  <c:v>7.2990000000000004</c:v>
                </c:pt>
                <c:pt idx="9354">
                  <c:v>7.2990000000000004</c:v>
                </c:pt>
                <c:pt idx="9355">
                  <c:v>7.2990000000000004</c:v>
                </c:pt>
                <c:pt idx="9356">
                  <c:v>7.2990000000000004</c:v>
                </c:pt>
                <c:pt idx="9357">
                  <c:v>7.2990000000000004</c:v>
                </c:pt>
                <c:pt idx="9358">
                  <c:v>7.2990000000000004</c:v>
                </c:pt>
                <c:pt idx="9359">
                  <c:v>7.298</c:v>
                </c:pt>
                <c:pt idx="9360">
                  <c:v>7.2990000000000004</c:v>
                </c:pt>
                <c:pt idx="9361">
                  <c:v>7.298</c:v>
                </c:pt>
                <c:pt idx="9362">
                  <c:v>7.298</c:v>
                </c:pt>
                <c:pt idx="9363">
                  <c:v>7.298</c:v>
                </c:pt>
                <c:pt idx="9364">
                  <c:v>7.298</c:v>
                </c:pt>
                <c:pt idx="9365">
                  <c:v>7.298</c:v>
                </c:pt>
                <c:pt idx="9366">
                  <c:v>7.298</c:v>
                </c:pt>
                <c:pt idx="9367">
                  <c:v>7.298</c:v>
                </c:pt>
                <c:pt idx="9368">
                  <c:v>7.298</c:v>
                </c:pt>
                <c:pt idx="9369">
                  <c:v>7.298</c:v>
                </c:pt>
                <c:pt idx="9370">
                  <c:v>7.2990000000000004</c:v>
                </c:pt>
                <c:pt idx="9371">
                  <c:v>7.2990000000000004</c:v>
                </c:pt>
                <c:pt idx="9372">
                  <c:v>7.2990000000000004</c:v>
                </c:pt>
                <c:pt idx="9373">
                  <c:v>7.2990000000000004</c:v>
                </c:pt>
                <c:pt idx="9374">
                  <c:v>7.2990000000000004</c:v>
                </c:pt>
                <c:pt idx="9375">
                  <c:v>7.2990000000000004</c:v>
                </c:pt>
                <c:pt idx="9376">
                  <c:v>7.2990000000000004</c:v>
                </c:pt>
                <c:pt idx="9377">
                  <c:v>7.3</c:v>
                </c:pt>
                <c:pt idx="9378">
                  <c:v>7.2990000000000004</c:v>
                </c:pt>
                <c:pt idx="9379">
                  <c:v>7.2990000000000004</c:v>
                </c:pt>
                <c:pt idx="9380">
                  <c:v>7.2990000000000004</c:v>
                </c:pt>
                <c:pt idx="9381">
                  <c:v>7.2990000000000004</c:v>
                </c:pt>
                <c:pt idx="9382">
                  <c:v>7.2990000000000004</c:v>
                </c:pt>
                <c:pt idx="9383">
                  <c:v>7.3</c:v>
                </c:pt>
                <c:pt idx="9384">
                  <c:v>7.2990000000000004</c:v>
                </c:pt>
                <c:pt idx="9385">
                  <c:v>7.2990000000000004</c:v>
                </c:pt>
                <c:pt idx="9386">
                  <c:v>7.2990000000000004</c:v>
                </c:pt>
                <c:pt idx="9387">
                  <c:v>7.298</c:v>
                </c:pt>
                <c:pt idx="9388">
                  <c:v>7.2990000000000004</c:v>
                </c:pt>
                <c:pt idx="9389">
                  <c:v>7.2990000000000004</c:v>
                </c:pt>
                <c:pt idx="9390">
                  <c:v>7.2990000000000004</c:v>
                </c:pt>
                <c:pt idx="9391">
                  <c:v>7.2990000000000004</c:v>
                </c:pt>
                <c:pt idx="9392">
                  <c:v>7.2990000000000004</c:v>
                </c:pt>
                <c:pt idx="9393">
                  <c:v>7.298</c:v>
                </c:pt>
                <c:pt idx="9394">
                  <c:v>7.298</c:v>
                </c:pt>
                <c:pt idx="9395">
                  <c:v>7.2990000000000004</c:v>
                </c:pt>
                <c:pt idx="9396">
                  <c:v>7.298</c:v>
                </c:pt>
                <c:pt idx="9397">
                  <c:v>7.298</c:v>
                </c:pt>
                <c:pt idx="9398">
                  <c:v>7.2990000000000004</c:v>
                </c:pt>
                <c:pt idx="9399">
                  <c:v>7.298</c:v>
                </c:pt>
                <c:pt idx="9400">
                  <c:v>7.2990000000000004</c:v>
                </c:pt>
                <c:pt idx="9401">
                  <c:v>7.298</c:v>
                </c:pt>
                <c:pt idx="9402">
                  <c:v>7.2990000000000004</c:v>
                </c:pt>
                <c:pt idx="9403">
                  <c:v>7.2990000000000004</c:v>
                </c:pt>
                <c:pt idx="9404">
                  <c:v>7.2990000000000004</c:v>
                </c:pt>
                <c:pt idx="9405">
                  <c:v>7.2990000000000004</c:v>
                </c:pt>
                <c:pt idx="9406">
                  <c:v>7.2990000000000004</c:v>
                </c:pt>
                <c:pt idx="9407">
                  <c:v>7.2990000000000004</c:v>
                </c:pt>
                <c:pt idx="9408">
                  <c:v>7.2990000000000004</c:v>
                </c:pt>
                <c:pt idx="9409">
                  <c:v>7.298</c:v>
                </c:pt>
                <c:pt idx="9410">
                  <c:v>7.298</c:v>
                </c:pt>
                <c:pt idx="9411">
                  <c:v>7.298</c:v>
                </c:pt>
                <c:pt idx="9412">
                  <c:v>7.298</c:v>
                </c:pt>
                <c:pt idx="9413">
                  <c:v>7.298</c:v>
                </c:pt>
                <c:pt idx="9414">
                  <c:v>7.2969999999999997</c:v>
                </c:pt>
                <c:pt idx="9415">
                  <c:v>7.2969999999999997</c:v>
                </c:pt>
                <c:pt idx="9416">
                  <c:v>7.298</c:v>
                </c:pt>
                <c:pt idx="9417">
                  <c:v>7.298</c:v>
                </c:pt>
                <c:pt idx="9418">
                  <c:v>7.298</c:v>
                </c:pt>
                <c:pt idx="9419">
                  <c:v>7.298</c:v>
                </c:pt>
                <c:pt idx="9420">
                  <c:v>7.2969999999999997</c:v>
                </c:pt>
                <c:pt idx="9421">
                  <c:v>7.298</c:v>
                </c:pt>
                <c:pt idx="9422">
                  <c:v>7.298</c:v>
                </c:pt>
                <c:pt idx="9423">
                  <c:v>7.2969999999999997</c:v>
                </c:pt>
                <c:pt idx="9424">
                  <c:v>7.2969999999999997</c:v>
                </c:pt>
                <c:pt idx="9425">
                  <c:v>7.2969999999999997</c:v>
                </c:pt>
                <c:pt idx="9426">
                  <c:v>7.2969999999999997</c:v>
                </c:pt>
                <c:pt idx="9427">
                  <c:v>7.2969999999999997</c:v>
                </c:pt>
                <c:pt idx="9428">
                  <c:v>7.2969999999999997</c:v>
                </c:pt>
                <c:pt idx="9429">
                  <c:v>7.2969999999999997</c:v>
                </c:pt>
                <c:pt idx="9430">
                  <c:v>7.298</c:v>
                </c:pt>
                <c:pt idx="9431">
                  <c:v>7.2969999999999997</c:v>
                </c:pt>
                <c:pt idx="9432">
                  <c:v>7.298</c:v>
                </c:pt>
                <c:pt idx="9433">
                  <c:v>7.298</c:v>
                </c:pt>
                <c:pt idx="9434">
                  <c:v>7.298</c:v>
                </c:pt>
                <c:pt idx="9435">
                  <c:v>7.2969999999999997</c:v>
                </c:pt>
                <c:pt idx="9436">
                  <c:v>7.298</c:v>
                </c:pt>
                <c:pt idx="9437">
                  <c:v>7.298</c:v>
                </c:pt>
                <c:pt idx="9438">
                  <c:v>7.298</c:v>
                </c:pt>
                <c:pt idx="9439">
                  <c:v>7.2969999999999997</c:v>
                </c:pt>
                <c:pt idx="9440">
                  <c:v>7.298</c:v>
                </c:pt>
                <c:pt idx="9441">
                  <c:v>7.2969999999999997</c:v>
                </c:pt>
                <c:pt idx="9442">
                  <c:v>7.2969999999999997</c:v>
                </c:pt>
                <c:pt idx="9443">
                  <c:v>7.2969999999999997</c:v>
                </c:pt>
                <c:pt idx="9444">
                  <c:v>7.2969999999999997</c:v>
                </c:pt>
                <c:pt idx="9445">
                  <c:v>7.2969999999999997</c:v>
                </c:pt>
                <c:pt idx="9446">
                  <c:v>7.298</c:v>
                </c:pt>
                <c:pt idx="9447">
                  <c:v>7.2969999999999997</c:v>
                </c:pt>
                <c:pt idx="9448">
                  <c:v>7.2969999999999997</c:v>
                </c:pt>
                <c:pt idx="9449">
                  <c:v>7.2969999999999997</c:v>
                </c:pt>
                <c:pt idx="9450">
                  <c:v>7.2960000000000003</c:v>
                </c:pt>
                <c:pt idx="9451">
                  <c:v>7.2969999999999997</c:v>
                </c:pt>
                <c:pt idx="9452">
                  <c:v>7.2969999999999997</c:v>
                </c:pt>
                <c:pt idx="9453">
                  <c:v>7.2969999999999997</c:v>
                </c:pt>
                <c:pt idx="9454">
                  <c:v>7.2969999999999997</c:v>
                </c:pt>
                <c:pt idx="9455">
                  <c:v>7.2969999999999997</c:v>
                </c:pt>
                <c:pt idx="9456">
                  <c:v>7.2969999999999997</c:v>
                </c:pt>
                <c:pt idx="9457">
                  <c:v>7.2969999999999997</c:v>
                </c:pt>
                <c:pt idx="9458">
                  <c:v>7.2969999999999997</c:v>
                </c:pt>
                <c:pt idx="9459">
                  <c:v>7.2969999999999997</c:v>
                </c:pt>
                <c:pt idx="9460">
                  <c:v>7.2969999999999997</c:v>
                </c:pt>
                <c:pt idx="9461">
                  <c:v>7.2969999999999997</c:v>
                </c:pt>
                <c:pt idx="9462">
                  <c:v>7.2969999999999997</c:v>
                </c:pt>
                <c:pt idx="9463">
                  <c:v>7.2969999999999997</c:v>
                </c:pt>
                <c:pt idx="9464">
                  <c:v>7.2969999999999997</c:v>
                </c:pt>
                <c:pt idx="9465">
                  <c:v>7.2969999999999997</c:v>
                </c:pt>
                <c:pt idx="9466">
                  <c:v>7.2960000000000003</c:v>
                </c:pt>
                <c:pt idx="9467">
                  <c:v>7.2960000000000003</c:v>
                </c:pt>
                <c:pt idx="9468">
                  <c:v>7.2960000000000003</c:v>
                </c:pt>
                <c:pt idx="9469">
                  <c:v>7.2960000000000003</c:v>
                </c:pt>
                <c:pt idx="9470">
                  <c:v>7.2960000000000003</c:v>
                </c:pt>
                <c:pt idx="9471">
                  <c:v>7.2960000000000003</c:v>
                </c:pt>
                <c:pt idx="9472">
                  <c:v>7.2960000000000003</c:v>
                </c:pt>
                <c:pt idx="9473">
                  <c:v>7.2969999999999997</c:v>
                </c:pt>
                <c:pt idx="9474">
                  <c:v>7.2960000000000003</c:v>
                </c:pt>
                <c:pt idx="9475">
                  <c:v>7.2969999999999997</c:v>
                </c:pt>
                <c:pt idx="9476">
                  <c:v>7.2960000000000003</c:v>
                </c:pt>
                <c:pt idx="9477">
                  <c:v>7.2960000000000003</c:v>
                </c:pt>
                <c:pt idx="9478">
                  <c:v>7.2960000000000003</c:v>
                </c:pt>
                <c:pt idx="9479">
                  <c:v>7.2960000000000003</c:v>
                </c:pt>
                <c:pt idx="9480">
                  <c:v>7.2960000000000003</c:v>
                </c:pt>
                <c:pt idx="9481">
                  <c:v>7.2960000000000003</c:v>
                </c:pt>
                <c:pt idx="9482">
                  <c:v>7.2960000000000003</c:v>
                </c:pt>
                <c:pt idx="9483">
                  <c:v>7.2960000000000003</c:v>
                </c:pt>
                <c:pt idx="9484">
                  <c:v>7.2960000000000003</c:v>
                </c:pt>
                <c:pt idx="9485">
                  <c:v>7.2960000000000003</c:v>
                </c:pt>
                <c:pt idx="9486">
                  <c:v>7.2960000000000003</c:v>
                </c:pt>
                <c:pt idx="9487">
                  <c:v>7.2960000000000003</c:v>
                </c:pt>
                <c:pt idx="9488">
                  <c:v>7.2960000000000003</c:v>
                </c:pt>
                <c:pt idx="9489">
                  <c:v>7.2960000000000003</c:v>
                </c:pt>
                <c:pt idx="9490">
                  <c:v>7.2960000000000003</c:v>
                </c:pt>
                <c:pt idx="9491">
                  <c:v>7.2960000000000003</c:v>
                </c:pt>
                <c:pt idx="9492">
                  <c:v>7.2949999999999999</c:v>
                </c:pt>
                <c:pt idx="9493">
                  <c:v>7.2949999999999999</c:v>
                </c:pt>
                <c:pt idx="9494">
                  <c:v>7.2960000000000003</c:v>
                </c:pt>
                <c:pt idx="9495">
                  <c:v>7.2960000000000003</c:v>
                </c:pt>
                <c:pt idx="9496">
                  <c:v>7.2960000000000003</c:v>
                </c:pt>
                <c:pt idx="9497">
                  <c:v>7.2960000000000003</c:v>
                </c:pt>
                <c:pt idx="9498">
                  <c:v>7.2960000000000003</c:v>
                </c:pt>
                <c:pt idx="9499">
                  <c:v>7.2960000000000003</c:v>
                </c:pt>
                <c:pt idx="9500">
                  <c:v>7.2960000000000003</c:v>
                </c:pt>
                <c:pt idx="9501">
                  <c:v>7.2960000000000003</c:v>
                </c:pt>
                <c:pt idx="9502">
                  <c:v>7.2960000000000003</c:v>
                </c:pt>
                <c:pt idx="9503">
                  <c:v>7.2960000000000003</c:v>
                </c:pt>
                <c:pt idx="9504">
                  <c:v>7.2960000000000003</c:v>
                </c:pt>
                <c:pt idx="9505">
                  <c:v>7.2960000000000003</c:v>
                </c:pt>
                <c:pt idx="9506">
                  <c:v>7.2960000000000003</c:v>
                </c:pt>
                <c:pt idx="9507">
                  <c:v>7.2949999999999999</c:v>
                </c:pt>
                <c:pt idx="9508">
                  <c:v>7.2949999999999999</c:v>
                </c:pt>
                <c:pt idx="9509">
                  <c:v>7.2960000000000003</c:v>
                </c:pt>
                <c:pt idx="9510">
                  <c:v>7.2960000000000003</c:v>
                </c:pt>
                <c:pt idx="9511">
                  <c:v>7.2960000000000003</c:v>
                </c:pt>
                <c:pt idx="9512">
                  <c:v>7.2960000000000003</c:v>
                </c:pt>
                <c:pt idx="9513">
                  <c:v>7.2949999999999999</c:v>
                </c:pt>
                <c:pt idx="9514">
                  <c:v>7.2960000000000003</c:v>
                </c:pt>
                <c:pt idx="9515">
                  <c:v>7.2960000000000003</c:v>
                </c:pt>
                <c:pt idx="9516">
                  <c:v>7.2960000000000003</c:v>
                </c:pt>
                <c:pt idx="9517">
                  <c:v>7.2949999999999999</c:v>
                </c:pt>
                <c:pt idx="9518">
                  <c:v>7.2960000000000003</c:v>
                </c:pt>
                <c:pt idx="9519">
                  <c:v>7.2960000000000003</c:v>
                </c:pt>
                <c:pt idx="9520">
                  <c:v>7.2949999999999999</c:v>
                </c:pt>
                <c:pt idx="9521">
                  <c:v>7.2960000000000003</c:v>
                </c:pt>
                <c:pt idx="9522">
                  <c:v>7.2949999999999999</c:v>
                </c:pt>
                <c:pt idx="9523">
                  <c:v>7.2949999999999999</c:v>
                </c:pt>
                <c:pt idx="9524">
                  <c:v>7.2960000000000003</c:v>
                </c:pt>
                <c:pt idx="9525">
                  <c:v>7.2960000000000003</c:v>
                </c:pt>
                <c:pt idx="9526">
                  <c:v>7.2949999999999999</c:v>
                </c:pt>
                <c:pt idx="9527">
                  <c:v>7.2960000000000003</c:v>
                </c:pt>
                <c:pt idx="9528">
                  <c:v>7.2960000000000003</c:v>
                </c:pt>
                <c:pt idx="9529">
                  <c:v>7.2960000000000003</c:v>
                </c:pt>
                <c:pt idx="9530">
                  <c:v>7.2960000000000003</c:v>
                </c:pt>
                <c:pt idx="9531">
                  <c:v>7.2949999999999999</c:v>
                </c:pt>
                <c:pt idx="9532">
                  <c:v>7.2960000000000003</c:v>
                </c:pt>
                <c:pt idx="9533">
                  <c:v>7.2960000000000003</c:v>
                </c:pt>
                <c:pt idx="9534">
                  <c:v>7.2960000000000003</c:v>
                </c:pt>
                <c:pt idx="9535">
                  <c:v>7.2960000000000003</c:v>
                </c:pt>
                <c:pt idx="9536">
                  <c:v>7.2960000000000003</c:v>
                </c:pt>
                <c:pt idx="9537">
                  <c:v>7.2960000000000003</c:v>
                </c:pt>
                <c:pt idx="9538">
                  <c:v>7.2960000000000003</c:v>
                </c:pt>
                <c:pt idx="9539">
                  <c:v>7.2960000000000003</c:v>
                </c:pt>
                <c:pt idx="9540">
                  <c:v>7.2960000000000003</c:v>
                </c:pt>
                <c:pt idx="9541">
                  <c:v>7.2949999999999999</c:v>
                </c:pt>
                <c:pt idx="9542">
                  <c:v>7.2949999999999999</c:v>
                </c:pt>
                <c:pt idx="9543">
                  <c:v>7.2949999999999999</c:v>
                </c:pt>
                <c:pt idx="9544">
                  <c:v>7.2949999999999999</c:v>
                </c:pt>
                <c:pt idx="9545">
                  <c:v>7.2949999999999999</c:v>
                </c:pt>
                <c:pt idx="9546">
                  <c:v>7.2949999999999999</c:v>
                </c:pt>
                <c:pt idx="9547">
                  <c:v>7.2949999999999999</c:v>
                </c:pt>
                <c:pt idx="9548">
                  <c:v>7.2949999999999999</c:v>
                </c:pt>
                <c:pt idx="9549">
                  <c:v>7.2949999999999999</c:v>
                </c:pt>
                <c:pt idx="9550">
                  <c:v>7.2949999999999999</c:v>
                </c:pt>
                <c:pt idx="9551">
                  <c:v>7.2949999999999999</c:v>
                </c:pt>
                <c:pt idx="9552">
                  <c:v>7.2949999999999999</c:v>
                </c:pt>
                <c:pt idx="9553">
                  <c:v>7.2949999999999999</c:v>
                </c:pt>
                <c:pt idx="9554">
                  <c:v>7.2949999999999999</c:v>
                </c:pt>
                <c:pt idx="9555">
                  <c:v>7.2949999999999999</c:v>
                </c:pt>
                <c:pt idx="9556">
                  <c:v>7.2949999999999999</c:v>
                </c:pt>
                <c:pt idx="9557">
                  <c:v>7.2949999999999999</c:v>
                </c:pt>
                <c:pt idx="9558">
                  <c:v>7.2949999999999999</c:v>
                </c:pt>
                <c:pt idx="9559">
                  <c:v>7.2939999999999996</c:v>
                </c:pt>
                <c:pt idx="9560">
                  <c:v>7.2949999999999999</c:v>
                </c:pt>
                <c:pt idx="9561">
                  <c:v>7.2949999999999999</c:v>
                </c:pt>
                <c:pt idx="9562">
                  <c:v>7.2949999999999999</c:v>
                </c:pt>
                <c:pt idx="9563">
                  <c:v>7.2949999999999999</c:v>
                </c:pt>
                <c:pt idx="9564">
                  <c:v>7.2949999999999999</c:v>
                </c:pt>
                <c:pt idx="9565">
                  <c:v>7.2939999999999996</c:v>
                </c:pt>
                <c:pt idx="9566">
                  <c:v>7.2939999999999996</c:v>
                </c:pt>
                <c:pt idx="9567">
                  <c:v>7.2949999999999999</c:v>
                </c:pt>
                <c:pt idx="9568">
                  <c:v>7.2949999999999999</c:v>
                </c:pt>
                <c:pt idx="9569">
                  <c:v>7.2949999999999999</c:v>
                </c:pt>
                <c:pt idx="9570">
                  <c:v>7.2939999999999996</c:v>
                </c:pt>
                <c:pt idx="9571">
                  <c:v>7.2949999999999999</c:v>
                </c:pt>
                <c:pt idx="9572">
                  <c:v>7.2939999999999996</c:v>
                </c:pt>
                <c:pt idx="9573">
                  <c:v>7.2939999999999996</c:v>
                </c:pt>
                <c:pt idx="9574">
                  <c:v>7.2949999999999999</c:v>
                </c:pt>
                <c:pt idx="9575">
                  <c:v>7.2939999999999996</c:v>
                </c:pt>
                <c:pt idx="9576">
                  <c:v>7.2949999999999999</c:v>
                </c:pt>
                <c:pt idx="9577">
                  <c:v>7.2949999999999999</c:v>
                </c:pt>
                <c:pt idx="9578">
                  <c:v>7.2949999999999999</c:v>
                </c:pt>
                <c:pt idx="9579">
                  <c:v>7.2949999999999999</c:v>
                </c:pt>
                <c:pt idx="9580">
                  <c:v>7.2949999999999999</c:v>
                </c:pt>
                <c:pt idx="9581">
                  <c:v>7.2949999999999999</c:v>
                </c:pt>
                <c:pt idx="9582">
                  <c:v>7.2939999999999996</c:v>
                </c:pt>
                <c:pt idx="9583">
                  <c:v>7.2939999999999996</c:v>
                </c:pt>
                <c:pt idx="9584">
                  <c:v>7.2939999999999996</c:v>
                </c:pt>
                <c:pt idx="9585">
                  <c:v>7.2939999999999996</c:v>
                </c:pt>
                <c:pt idx="9586">
                  <c:v>7.2939999999999996</c:v>
                </c:pt>
                <c:pt idx="9587">
                  <c:v>7.2939999999999996</c:v>
                </c:pt>
                <c:pt idx="9588">
                  <c:v>7.2939999999999996</c:v>
                </c:pt>
                <c:pt idx="9589">
                  <c:v>7.2939999999999996</c:v>
                </c:pt>
                <c:pt idx="9590">
                  <c:v>7.2939999999999996</c:v>
                </c:pt>
                <c:pt idx="9591">
                  <c:v>7.2939999999999996</c:v>
                </c:pt>
                <c:pt idx="9592">
                  <c:v>7.2939999999999996</c:v>
                </c:pt>
                <c:pt idx="9593">
                  <c:v>7.2939999999999996</c:v>
                </c:pt>
                <c:pt idx="9594">
                  <c:v>7.2939999999999996</c:v>
                </c:pt>
                <c:pt idx="9595">
                  <c:v>7.2939999999999996</c:v>
                </c:pt>
                <c:pt idx="9596">
                  <c:v>7.2939999999999996</c:v>
                </c:pt>
                <c:pt idx="9597">
                  <c:v>7.2939999999999996</c:v>
                </c:pt>
                <c:pt idx="9598">
                  <c:v>7.2939999999999996</c:v>
                </c:pt>
                <c:pt idx="9599">
                  <c:v>7.2930000000000001</c:v>
                </c:pt>
                <c:pt idx="9600">
                  <c:v>7.2939999999999996</c:v>
                </c:pt>
                <c:pt idx="9601">
                  <c:v>7.2939999999999996</c:v>
                </c:pt>
                <c:pt idx="9602">
                  <c:v>7.2939999999999996</c:v>
                </c:pt>
                <c:pt idx="9603">
                  <c:v>7.2939999999999996</c:v>
                </c:pt>
                <c:pt idx="9604">
                  <c:v>7.2939999999999996</c:v>
                </c:pt>
                <c:pt idx="9605">
                  <c:v>7.2939999999999996</c:v>
                </c:pt>
                <c:pt idx="9606">
                  <c:v>7.2930000000000001</c:v>
                </c:pt>
                <c:pt idx="9607">
                  <c:v>7.2939999999999996</c:v>
                </c:pt>
                <c:pt idx="9608">
                  <c:v>7.2939999999999996</c:v>
                </c:pt>
                <c:pt idx="9609">
                  <c:v>7.2939999999999996</c:v>
                </c:pt>
                <c:pt idx="9610">
                  <c:v>7.2939999999999996</c:v>
                </c:pt>
                <c:pt idx="9611">
                  <c:v>7.2930000000000001</c:v>
                </c:pt>
                <c:pt idx="9612">
                  <c:v>7.2939999999999996</c:v>
                </c:pt>
                <c:pt idx="9613">
                  <c:v>7.2930000000000001</c:v>
                </c:pt>
                <c:pt idx="9614">
                  <c:v>7.2939999999999996</c:v>
                </c:pt>
                <c:pt idx="9615">
                  <c:v>7.2930000000000001</c:v>
                </c:pt>
                <c:pt idx="9616">
                  <c:v>7.2930000000000001</c:v>
                </c:pt>
                <c:pt idx="9617">
                  <c:v>7.2939999999999996</c:v>
                </c:pt>
                <c:pt idx="9618">
                  <c:v>7.2930000000000001</c:v>
                </c:pt>
                <c:pt idx="9619">
                  <c:v>7.2930000000000001</c:v>
                </c:pt>
                <c:pt idx="9620">
                  <c:v>7.2930000000000001</c:v>
                </c:pt>
                <c:pt idx="9621">
                  <c:v>7.2930000000000001</c:v>
                </c:pt>
                <c:pt idx="9622">
                  <c:v>7.2930000000000001</c:v>
                </c:pt>
                <c:pt idx="9623">
                  <c:v>7.2930000000000001</c:v>
                </c:pt>
                <c:pt idx="9624">
                  <c:v>7.2930000000000001</c:v>
                </c:pt>
                <c:pt idx="9625">
                  <c:v>7.2919999999999998</c:v>
                </c:pt>
                <c:pt idx="9626">
                  <c:v>7.2919999999999998</c:v>
                </c:pt>
                <c:pt idx="9627">
                  <c:v>7.2919999999999998</c:v>
                </c:pt>
                <c:pt idx="9628">
                  <c:v>7.2919999999999998</c:v>
                </c:pt>
                <c:pt idx="9629">
                  <c:v>7.2930000000000001</c:v>
                </c:pt>
                <c:pt idx="9630">
                  <c:v>7.2919999999999998</c:v>
                </c:pt>
                <c:pt idx="9631">
                  <c:v>7.2930000000000001</c:v>
                </c:pt>
                <c:pt idx="9632">
                  <c:v>7.2919999999999998</c:v>
                </c:pt>
                <c:pt idx="9633">
                  <c:v>7.2919999999999998</c:v>
                </c:pt>
                <c:pt idx="9634">
                  <c:v>7.2919999999999998</c:v>
                </c:pt>
                <c:pt idx="9635">
                  <c:v>7.2919999999999998</c:v>
                </c:pt>
                <c:pt idx="9636">
                  <c:v>7.2919999999999998</c:v>
                </c:pt>
                <c:pt idx="9637">
                  <c:v>7.2919999999999998</c:v>
                </c:pt>
                <c:pt idx="9638">
                  <c:v>7.2919999999999998</c:v>
                </c:pt>
                <c:pt idx="9639">
                  <c:v>7.2930000000000001</c:v>
                </c:pt>
                <c:pt idx="9640">
                  <c:v>7.2919999999999998</c:v>
                </c:pt>
                <c:pt idx="9641">
                  <c:v>7.2930000000000001</c:v>
                </c:pt>
                <c:pt idx="9642">
                  <c:v>7.2930000000000001</c:v>
                </c:pt>
                <c:pt idx="9643">
                  <c:v>7.2919999999999998</c:v>
                </c:pt>
                <c:pt idx="9644">
                  <c:v>7.2919999999999998</c:v>
                </c:pt>
                <c:pt idx="9645">
                  <c:v>7.2930000000000001</c:v>
                </c:pt>
                <c:pt idx="9646">
                  <c:v>7.2930000000000001</c:v>
                </c:pt>
                <c:pt idx="9647">
                  <c:v>7.2930000000000001</c:v>
                </c:pt>
                <c:pt idx="9648">
                  <c:v>7.2930000000000001</c:v>
                </c:pt>
                <c:pt idx="9649">
                  <c:v>7.2919999999999998</c:v>
                </c:pt>
                <c:pt idx="9650">
                  <c:v>7.2930000000000001</c:v>
                </c:pt>
                <c:pt idx="9651">
                  <c:v>7.2919999999999998</c:v>
                </c:pt>
                <c:pt idx="9652">
                  <c:v>7.2919999999999998</c:v>
                </c:pt>
                <c:pt idx="9653">
                  <c:v>7.2919999999999998</c:v>
                </c:pt>
                <c:pt idx="9654">
                  <c:v>7.2919999999999998</c:v>
                </c:pt>
                <c:pt idx="9655">
                  <c:v>7.2919999999999998</c:v>
                </c:pt>
                <c:pt idx="9656">
                  <c:v>7.2919999999999998</c:v>
                </c:pt>
                <c:pt idx="9657">
                  <c:v>7.2919999999999998</c:v>
                </c:pt>
                <c:pt idx="9658">
                  <c:v>7.2919999999999998</c:v>
                </c:pt>
                <c:pt idx="9659">
                  <c:v>7.2919999999999998</c:v>
                </c:pt>
                <c:pt idx="9660">
                  <c:v>7.2919999999999998</c:v>
                </c:pt>
                <c:pt idx="9661">
                  <c:v>7.2919999999999998</c:v>
                </c:pt>
                <c:pt idx="9662">
                  <c:v>7.2919999999999998</c:v>
                </c:pt>
                <c:pt idx="9663">
                  <c:v>7.2919999999999998</c:v>
                </c:pt>
                <c:pt idx="9664">
                  <c:v>7.2919999999999998</c:v>
                </c:pt>
                <c:pt idx="9665">
                  <c:v>7.2919999999999998</c:v>
                </c:pt>
                <c:pt idx="9666">
                  <c:v>7.2919999999999998</c:v>
                </c:pt>
                <c:pt idx="9667">
                  <c:v>7.2919999999999998</c:v>
                </c:pt>
                <c:pt idx="9668">
                  <c:v>7.2919999999999998</c:v>
                </c:pt>
                <c:pt idx="9669">
                  <c:v>7.2919999999999998</c:v>
                </c:pt>
                <c:pt idx="9670">
                  <c:v>7.2919999999999998</c:v>
                </c:pt>
                <c:pt idx="9671">
                  <c:v>7.2919999999999998</c:v>
                </c:pt>
                <c:pt idx="9672">
                  <c:v>7.2919999999999998</c:v>
                </c:pt>
                <c:pt idx="9673">
                  <c:v>7.2919999999999998</c:v>
                </c:pt>
                <c:pt idx="9674">
                  <c:v>7.2919999999999998</c:v>
                </c:pt>
                <c:pt idx="9675">
                  <c:v>7.2919999999999998</c:v>
                </c:pt>
                <c:pt idx="9676">
                  <c:v>7.2919999999999998</c:v>
                </c:pt>
                <c:pt idx="9677">
                  <c:v>7.2919999999999998</c:v>
                </c:pt>
                <c:pt idx="9678">
                  <c:v>7.2910000000000004</c:v>
                </c:pt>
                <c:pt idx="9679">
                  <c:v>7.2910000000000004</c:v>
                </c:pt>
                <c:pt idx="9680">
                  <c:v>7.2910000000000004</c:v>
                </c:pt>
                <c:pt idx="9681">
                  <c:v>7.2910000000000004</c:v>
                </c:pt>
                <c:pt idx="9682">
                  <c:v>7.2910000000000004</c:v>
                </c:pt>
                <c:pt idx="9683">
                  <c:v>7.2910000000000004</c:v>
                </c:pt>
                <c:pt idx="9684">
                  <c:v>7.2910000000000004</c:v>
                </c:pt>
                <c:pt idx="9685">
                  <c:v>7.2910000000000004</c:v>
                </c:pt>
                <c:pt idx="9686">
                  <c:v>7.29</c:v>
                </c:pt>
                <c:pt idx="9687">
                  <c:v>7.29</c:v>
                </c:pt>
                <c:pt idx="9688">
                  <c:v>7.29</c:v>
                </c:pt>
                <c:pt idx="9689">
                  <c:v>7.29</c:v>
                </c:pt>
                <c:pt idx="9690">
                  <c:v>7.29</c:v>
                </c:pt>
                <c:pt idx="9691">
                  <c:v>7.29</c:v>
                </c:pt>
                <c:pt idx="9692">
                  <c:v>7.29</c:v>
                </c:pt>
                <c:pt idx="9693">
                  <c:v>7.29</c:v>
                </c:pt>
                <c:pt idx="9694">
                  <c:v>7.2889999999999997</c:v>
                </c:pt>
                <c:pt idx="9695">
                  <c:v>7.2889999999999997</c:v>
                </c:pt>
                <c:pt idx="9696">
                  <c:v>7.2889999999999997</c:v>
                </c:pt>
                <c:pt idx="9697">
                  <c:v>7.29</c:v>
                </c:pt>
                <c:pt idx="9698">
                  <c:v>7.2910000000000004</c:v>
                </c:pt>
                <c:pt idx="9699">
                  <c:v>7.29</c:v>
                </c:pt>
                <c:pt idx="9700">
                  <c:v>7.29</c:v>
                </c:pt>
                <c:pt idx="9701">
                  <c:v>7.2910000000000004</c:v>
                </c:pt>
                <c:pt idx="9702">
                  <c:v>7.29</c:v>
                </c:pt>
                <c:pt idx="9703">
                  <c:v>7.2910000000000004</c:v>
                </c:pt>
                <c:pt idx="9704">
                  <c:v>7.2910000000000004</c:v>
                </c:pt>
                <c:pt idx="9705">
                  <c:v>7.29</c:v>
                </c:pt>
                <c:pt idx="9706">
                  <c:v>7.29</c:v>
                </c:pt>
                <c:pt idx="9707">
                  <c:v>7.29</c:v>
                </c:pt>
                <c:pt idx="9708">
                  <c:v>7.2910000000000004</c:v>
                </c:pt>
                <c:pt idx="9709">
                  <c:v>7.2910000000000004</c:v>
                </c:pt>
                <c:pt idx="9710">
                  <c:v>7.29</c:v>
                </c:pt>
                <c:pt idx="9711">
                  <c:v>7.2910000000000004</c:v>
                </c:pt>
                <c:pt idx="9712">
                  <c:v>7.29</c:v>
                </c:pt>
                <c:pt idx="9713">
                  <c:v>7.2910000000000004</c:v>
                </c:pt>
                <c:pt idx="9714">
                  <c:v>7.2910000000000004</c:v>
                </c:pt>
                <c:pt idx="9715">
                  <c:v>7.2910000000000004</c:v>
                </c:pt>
                <c:pt idx="9716">
                  <c:v>7.29</c:v>
                </c:pt>
                <c:pt idx="9717">
                  <c:v>7.2910000000000004</c:v>
                </c:pt>
                <c:pt idx="9718">
                  <c:v>7.2910000000000004</c:v>
                </c:pt>
                <c:pt idx="9719">
                  <c:v>7.2910000000000004</c:v>
                </c:pt>
                <c:pt idx="9720">
                  <c:v>7.2910000000000004</c:v>
                </c:pt>
                <c:pt idx="9721">
                  <c:v>7.2910000000000004</c:v>
                </c:pt>
                <c:pt idx="9722">
                  <c:v>7.2910000000000004</c:v>
                </c:pt>
                <c:pt idx="9723">
                  <c:v>7.2910000000000004</c:v>
                </c:pt>
                <c:pt idx="9724">
                  <c:v>7.2910000000000004</c:v>
                </c:pt>
                <c:pt idx="9725">
                  <c:v>7.29</c:v>
                </c:pt>
                <c:pt idx="9726">
                  <c:v>7.29</c:v>
                </c:pt>
                <c:pt idx="9727">
                  <c:v>7.29</c:v>
                </c:pt>
                <c:pt idx="9728">
                  <c:v>7.2910000000000004</c:v>
                </c:pt>
                <c:pt idx="9729">
                  <c:v>7.2910000000000004</c:v>
                </c:pt>
                <c:pt idx="9730">
                  <c:v>7.29</c:v>
                </c:pt>
                <c:pt idx="9731">
                  <c:v>7.29</c:v>
                </c:pt>
                <c:pt idx="9732">
                  <c:v>7.29</c:v>
                </c:pt>
                <c:pt idx="9733">
                  <c:v>7.29</c:v>
                </c:pt>
                <c:pt idx="9734">
                  <c:v>7.29</c:v>
                </c:pt>
                <c:pt idx="9735">
                  <c:v>7.29</c:v>
                </c:pt>
                <c:pt idx="9736">
                  <c:v>7.29</c:v>
                </c:pt>
                <c:pt idx="9737">
                  <c:v>7.29</c:v>
                </c:pt>
                <c:pt idx="9738">
                  <c:v>7.29</c:v>
                </c:pt>
                <c:pt idx="9739">
                  <c:v>7.29</c:v>
                </c:pt>
                <c:pt idx="9740">
                  <c:v>7.2889999999999997</c:v>
                </c:pt>
                <c:pt idx="9741">
                  <c:v>7.29</c:v>
                </c:pt>
                <c:pt idx="9742">
                  <c:v>7.2889999999999997</c:v>
                </c:pt>
                <c:pt idx="9743">
                  <c:v>7.29</c:v>
                </c:pt>
                <c:pt idx="9744">
                  <c:v>7.2889999999999997</c:v>
                </c:pt>
                <c:pt idx="9745">
                  <c:v>7.2889999999999997</c:v>
                </c:pt>
                <c:pt idx="9746">
                  <c:v>7.29</c:v>
                </c:pt>
                <c:pt idx="9747">
                  <c:v>7.29</c:v>
                </c:pt>
                <c:pt idx="9748">
                  <c:v>7.29</c:v>
                </c:pt>
                <c:pt idx="9749">
                  <c:v>7.29</c:v>
                </c:pt>
                <c:pt idx="9750">
                  <c:v>7.29</c:v>
                </c:pt>
                <c:pt idx="9751">
                  <c:v>7.29</c:v>
                </c:pt>
                <c:pt idx="9752">
                  <c:v>7.29</c:v>
                </c:pt>
                <c:pt idx="9753">
                  <c:v>7.29</c:v>
                </c:pt>
                <c:pt idx="9754">
                  <c:v>7.29</c:v>
                </c:pt>
                <c:pt idx="9755">
                  <c:v>7.29</c:v>
                </c:pt>
                <c:pt idx="9756">
                  <c:v>7.2910000000000004</c:v>
                </c:pt>
                <c:pt idx="9757">
                  <c:v>7.29</c:v>
                </c:pt>
                <c:pt idx="9758">
                  <c:v>7.2889999999999997</c:v>
                </c:pt>
                <c:pt idx="9759">
                  <c:v>7.2889999999999997</c:v>
                </c:pt>
                <c:pt idx="9760">
                  <c:v>7.2889999999999997</c:v>
                </c:pt>
                <c:pt idx="9761">
                  <c:v>7.2889999999999997</c:v>
                </c:pt>
                <c:pt idx="9762">
                  <c:v>7.2889999999999997</c:v>
                </c:pt>
                <c:pt idx="9763">
                  <c:v>7.2889999999999997</c:v>
                </c:pt>
                <c:pt idx="9764">
                  <c:v>7.2889999999999997</c:v>
                </c:pt>
                <c:pt idx="9765">
                  <c:v>7.2889999999999997</c:v>
                </c:pt>
                <c:pt idx="9766">
                  <c:v>7.2889999999999997</c:v>
                </c:pt>
                <c:pt idx="9767">
                  <c:v>7.2889999999999997</c:v>
                </c:pt>
                <c:pt idx="9768">
                  <c:v>7.2889999999999997</c:v>
                </c:pt>
                <c:pt idx="9769">
                  <c:v>7.2889999999999997</c:v>
                </c:pt>
                <c:pt idx="9770">
                  <c:v>7.2889999999999997</c:v>
                </c:pt>
                <c:pt idx="9771">
                  <c:v>7.2889999999999997</c:v>
                </c:pt>
                <c:pt idx="9772">
                  <c:v>7.2880000000000003</c:v>
                </c:pt>
                <c:pt idx="9773">
                  <c:v>7.2880000000000003</c:v>
                </c:pt>
                <c:pt idx="9774">
                  <c:v>7.2889999999999997</c:v>
                </c:pt>
                <c:pt idx="9775">
                  <c:v>7.2889999999999997</c:v>
                </c:pt>
                <c:pt idx="9776">
                  <c:v>7.2889999999999997</c:v>
                </c:pt>
                <c:pt idx="9777">
                  <c:v>7.2889999999999997</c:v>
                </c:pt>
                <c:pt idx="9778">
                  <c:v>7.2889999999999997</c:v>
                </c:pt>
                <c:pt idx="9779">
                  <c:v>7.2889999999999997</c:v>
                </c:pt>
                <c:pt idx="9780">
                  <c:v>7.2880000000000003</c:v>
                </c:pt>
                <c:pt idx="9781">
                  <c:v>7.2880000000000003</c:v>
                </c:pt>
                <c:pt idx="9782">
                  <c:v>7.2880000000000003</c:v>
                </c:pt>
                <c:pt idx="9783">
                  <c:v>7.2880000000000003</c:v>
                </c:pt>
                <c:pt idx="9784">
                  <c:v>7.2889999999999997</c:v>
                </c:pt>
                <c:pt idx="9785">
                  <c:v>7.2880000000000003</c:v>
                </c:pt>
                <c:pt idx="9786">
                  <c:v>7.2880000000000003</c:v>
                </c:pt>
                <c:pt idx="9787">
                  <c:v>7.2880000000000003</c:v>
                </c:pt>
                <c:pt idx="9788">
                  <c:v>7.2880000000000003</c:v>
                </c:pt>
                <c:pt idx="9789">
                  <c:v>7.2880000000000003</c:v>
                </c:pt>
                <c:pt idx="9790">
                  <c:v>7.2880000000000003</c:v>
                </c:pt>
                <c:pt idx="9791">
                  <c:v>7.2880000000000003</c:v>
                </c:pt>
                <c:pt idx="9792">
                  <c:v>7.2880000000000003</c:v>
                </c:pt>
                <c:pt idx="9793">
                  <c:v>7.2880000000000003</c:v>
                </c:pt>
                <c:pt idx="9794">
                  <c:v>7.2880000000000003</c:v>
                </c:pt>
                <c:pt idx="9795">
                  <c:v>7.2880000000000003</c:v>
                </c:pt>
                <c:pt idx="9796">
                  <c:v>7.2880000000000003</c:v>
                </c:pt>
                <c:pt idx="9797">
                  <c:v>7.2880000000000003</c:v>
                </c:pt>
                <c:pt idx="9798">
                  <c:v>7.2880000000000003</c:v>
                </c:pt>
                <c:pt idx="9799">
                  <c:v>7.2880000000000003</c:v>
                </c:pt>
                <c:pt idx="9800">
                  <c:v>7.2880000000000003</c:v>
                </c:pt>
                <c:pt idx="9801">
                  <c:v>7.2880000000000003</c:v>
                </c:pt>
                <c:pt idx="9802">
                  <c:v>7.2880000000000003</c:v>
                </c:pt>
                <c:pt idx="9803">
                  <c:v>7.2880000000000003</c:v>
                </c:pt>
                <c:pt idx="9804">
                  <c:v>7.2880000000000003</c:v>
                </c:pt>
                <c:pt idx="9805">
                  <c:v>7.2880000000000003</c:v>
                </c:pt>
                <c:pt idx="9806">
                  <c:v>7.2880000000000003</c:v>
                </c:pt>
                <c:pt idx="9807">
                  <c:v>7.2880000000000003</c:v>
                </c:pt>
                <c:pt idx="9808">
                  <c:v>7.2880000000000003</c:v>
                </c:pt>
                <c:pt idx="9809">
                  <c:v>7.2869999999999999</c:v>
                </c:pt>
                <c:pt idx="9810">
                  <c:v>7.2880000000000003</c:v>
                </c:pt>
                <c:pt idx="9811">
                  <c:v>7.2869999999999999</c:v>
                </c:pt>
                <c:pt idx="9812">
                  <c:v>7.2869999999999999</c:v>
                </c:pt>
                <c:pt idx="9813">
                  <c:v>7.2869999999999999</c:v>
                </c:pt>
                <c:pt idx="9814">
                  <c:v>7.2869999999999999</c:v>
                </c:pt>
                <c:pt idx="9815">
                  <c:v>7.2880000000000003</c:v>
                </c:pt>
                <c:pt idx="9816">
                  <c:v>7.2880000000000003</c:v>
                </c:pt>
                <c:pt idx="9817">
                  <c:v>7.2880000000000003</c:v>
                </c:pt>
                <c:pt idx="9818">
                  <c:v>7.2880000000000003</c:v>
                </c:pt>
                <c:pt idx="9819">
                  <c:v>7.2880000000000003</c:v>
                </c:pt>
                <c:pt idx="9820">
                  <c:v>7.2869999999999999</c:v>
                </c:pt>
                <c:pt idx="9821">
                  <c:v>7.2880000000000003</c:v>
                </c:pt>
                <c:pt idx="9822">
                  <c:v>7.2869999999999999</c:v>
                </c:pt>
                <c:pt idx="9823">
                  <c:v>7.2869999999999999</c:v>
                </c:pt>
                <c:pt idx="9824">
                  <c:v>7.2869999999999999</c:v>
                </c:pt>
                <c:pt idx="9825">
                  <c:v>7.2869999999999999</c:v>
                </c:pt>
                <c:pt idx="9826">
                  <c:v>7.2869999999999999</c:v>
                </c:pt>
                <c:pt idx="9827">
                  <c:v>7.2869999999999999</c:v>
                </c:pt>
                <c:pt idx="9828">
                  <c:v>7.2869999999999999</c:v>
                </c:pt>
                <c:pt idx="9829">
                  <c:v>7.2869999999999999</c:v>
                </c:pt>
                <c:pt idx="9830">
                  <c:v>7.2869999999999999</c:v>
                </c:pt>
                <c:pt idx="9831">
                  <c:v>7.2869999999999999</c:v>
                </c:pt>
                <c:pt idx="9832">
                  <c:v>7.2869999999999999</c:v>
                </c:pt>
                <c:pt idx="9833">
                  <c:v>7.2869999999999999</c:v>
                </c:pt>
                <c:pt idx="9834">
                  <c:v>7.2869999999999999</c:v>
                </c:pt>
                <c:pt idx="9835">
                  <c:v>7.2859999999999996</c:v>
                </c:pt>
                <c:pt idx="9836">
                  <c:v>7.2869999999999999</c:v>
                </c:pt>
                <c:pt idx="9837">
                  <c:v>7.2869999999999999</c:v>
                </c:pt>
                <c:pt idx="9838">
                  <c:v>7.2869999999999999</c:v>
                </c:pt>
                <c:pt idx="9839">
                  <c:v>7.2859999999999996</c:v>
                </c:pt>
                <c:pt idx="9840">
                  <c:v>7.2859999999999996</c:v>
                </c:pt>
                <c:pt idx="9841">
                  <c:v>7.2859999999999996</c:v>
                </c:pt>
                <c:pt idx="9842">
                  <c:v>7.2859999999999996</c:v>
                </c:pt>
                <c:pt idx="9843">
                  <c:v>7.2859999999999996</c:v>
                </c:pt>
                <c:pt idx="9844">
                  <c:v>7.2859999999999996</c:v>
                </c:pt>
                <c:pt idx="9845">
                  <c:v>7.2859999999999996</c:v>
                </c:pt>
                <c:pt idx="9846">
                  <c:v>7.2859999999999996</c:v>
                </c:pt>
                <c:pt idx="9847">
                  <c:v>7.2859999999999996</c:v>
                </c:pt>
                <c:pt idx="9848">
                  <c:v>7.2859999999999996</c:v>
                </c:pt>
                <c:pt idx="9849">
                  <c:v>7.2859999999999996</c:v>
                </c:pt>
                <c:pt idx="9850">
                  <c:v>7.2859999999999996</c:v>
                </c:pt>
                <c:pt idx="9851">
                  <c:v>7.2859999999999996</c:v>
                </c:pt>
                <c:pt idx="9852">
                  <c:v>7.2859999999999996</c:v>
                </c:pt>
                <c:pt idx="9853">
                  <c:v>7.2859999999999996</c:v>
                </c:pt>
                <c:pt idx="9854">
                  <c:v>7.2859999999999996</c:v>
                </c:pt>
                <c:pt idx="9855">
                  <c:v>7.2859999999999996</c:v>
                </c:pt>
                <c:pt idx="9856">
                  <c:v>7.2850000000000001</c:v>
                </c:pt>
                <c:pt idx="9857">
                  <c:v>7.2859999999999996</c:v>
                </c:pt>
                <c:pt idx="9858">
                  <c:v>7.2850000000000001</c:v>
                </c:pt>
                <c:pt idx="9859">
                  <c:v>7.2850000000000001</c:v>
                </c:pt>
                <c:pt idx="9860">
                  <c:v>7.2850000000000001</c:v>
                </c:pt>
                <c:pt idx="9861">
                  <c:v>7.2850000000000001</c:v>
                </c:pt>
                <c:pt idx="9862">
                  <c:v>7.2850000000000001</c:v>
                </c:pt>
                <c:pt idx="9863">
                  <c:v>7.2850000000000001</c:v>
                </c:pt>
                <c:pt idx="9864">
                  <c:v>7.2850000000000001</c:v>
                </c:pt>
                <c:pt idx="9865">
                  <c:v>7.2850000000000001</c:v>
                </c:pt>
                <c:pt idx="9866">
                  <c:v>7.2859999999999996</c:v>
                </c:pt>
                <c:pt idx="9867">
                  <c:v>7.2859999999999996</c:v>
                </c:pt>
                <c:pt idx="9868">
                  <c:v>7.2859999999999996</c:v>
                </c:pt>
                <c:pt idx="9869">
                  <c:v>7.2859999999999996</c:v>
                </c:pt>
                <c:pt idx="9870">
                  <c:v>7.2859999999999996</c:v>
                </c:pt>
                <c:pt idx="9871">
                  <c:v>7.2859999999999996</c:v>
                </c:pt>
                <c:pt idx="9872">
                  <c:v>7.2859999999999996</c:v>
                </c:pt>
                <c:pt idx="9873">
                  <c:v>7.2850000000000001</c:v>
                </c:pt>
                <c:pt idx="9874">
                  <c:v>7.2850000000000001</c:v>
                </c:pt>
                <c:pt idx="9875">
                  <c:v>7.2850000000000001</c:v>
                </c:pt>
                <c:pt idx="9876">
                  <c:v>7.2850000000000001</c:v>
                </c:pt>
                <c:pt idx="9877">
                  <c:v>7.2859999999999996</c:v>
                </c:pt>
                <c:pt idx="9878">
                  <c:v>7.2850000000000001</c:v>
                </c:pt>
                <c:pt idx="9879">
                  <c:v>7.2850000000000001</c:v>
                </c:pt>
                <c:pt idx="9880">
                  <c:v>7.2850000000000001</c:v>
                </c:pt>
                <c:pt idx="9881">
                  <c:v>7.2850000000000001</c:v>
                </c:pt>
                <c:pt idx="9882">
                  <c:v>7.2850000000000001</c:v>
                </c:pt>
                <c:pt idx="9883">
                  <c:v>7.2850000000000001</c:v>
                </c:pt>
                <c:pt idx="9884">
                  <c:v>7.2850000000000001</c:v>
                </c:pt>
                <c:pt idx="9885">
                  <c:v>7.2850000000000001</c:v>
                </c:pt>
                <c:pt idx="9886">
                  <c:v>7.2850000000000001</c:v>
                </c:pt>
                <c:pt idx="9887">
                  <c:v>7.2850000000000001</c:v>
                </c:pt>
                <c:pt idx="9888">
                  <c:v>7.2850000000000001</c:v>
                </c:pt>
                <c:pt idx="9889">
                  <c:v>7.2850000000000001</c:v>
                </c:pt>
                <c:pt idx="9890">
                  <c:v>7.2850000000000001</c:v>
                </c:pt>
                <c:pt idx="9891">
                  <c:v>7.2850000000000001</c:v>
                </c:pt>
                <c:pt idx="9892">
                  <c:v>7.2850000000000001</c:v>
                </c:pt>
                <c:pt idx="9893">
                  <c:v>7.2850000000000001</c:v>
                </c:pt>
                <c:pt idx="9894">
                  <c:v>7.2850000000000001</c:v>
                </c:pt>
                <c:pt idx="9895">
                  <c:v>7.2850000000000001</c:v>
                </c:pt>
                <c:pt idx="9896">
                  <c:v>7.2850000000000001</c:v>
                </c:pt>
                <c:pt idx="9897">
                  <c:v>7.2839999999999998</c:v>
                </c:pt>
                <c:pt idx="9898">
                  <c:v>7.2839999999999998</c:v>
                </c:pt>
                <c:pt idx="9899">
                  <c:v>7.2839999999999998</c:v>
                </c:pt>
                <c:pt idx="9900">
                  <c:v>7.2839999999999998</c:v>
                </c:pt>
                <c:pt idx="9901">
                  <c:v>7.2850000000000001</c:v>
                </c:pt>
                <c:pt idx="9902">
                  <c:v>7.2839999999999998</c:v>
                </c:pt>
                <c:pt idx="9903">
                  <c:v>7.2839999999999998</c:v>
                </c:pt>
                <c:pt idx="9904">
                  <c:v>7.2839999999999998</c:v>
                </c:pt>
                <c:pt idx="9905">
                  <c:v>7.2839999999999998</c:v>
                </c:pt>
                <c:pt idx="9906">
                  <c:v>7.2839999999999998</c:v>
                </c:pt>
                <c:pt idx="9907">
                  <c:v>7.2839999999999998</c:v>
                </c:pt>
                <c:pt idx="9908">
                  <c:v>7.2839999999999998</c:v>
                </c:pt>
                <c:pt idx="9909">
                  <c:v>7.2839999999999998</c:v>
                </c:pt>
                <c:pt idx="9910">
                  <c:v>7.2839999999999998</c:v>
                </c:pt>
                <c:pt idx="9911">
                  <c:v>7.2839999999999998</c:v>
                </c:pt>
                <c:pt idx="9912">
                  <c:v>7.2850000000000001</c:v>
                </c:pt>
                <c:pt idx="9913">
                  <c:v>7.2839999999999998</c:v>
                </c:pt>
                <c:pt idx="9914">
                  <c:v>7.2839999999999998</c:v>
                </c:pt>
                <c:pt idx="9915">
                  <c:v>7.2850000000000001</c:v>
                </c:pt>
                <c:pt idx="9916">
                  <c:v>7.2839999999999998</c:v>
                </c:pt>
                <c:pt idx="9917">
                  <c:v>7.2850000000000001</c:v>
                </c:pt>
                <c:pt idx="9918">
                  <c:v>7.2839999999999998</c:v>
                </c:pt>
                <c:pt idx="9919">
                  <c:v>7.2839999999999998</c:v>
                </c:pt>
                <c:pt idx="9920">
                  <c:v>7.2839999999999998</c:v>
                </c:pt>
                <c:pt idx="9921">
                  <c:v>7.2839999999999998</c:v>
                </c:pt>
                <c:pt idx="9922">
                  <c:v>7.2839999999999998</c:v>
                </c:pt>
                <c:pt idx="9923">
                  <c:v>7.2839999999999998</c:v>
                </c:pt>
                <c:pt idx="9924">
                  <c:v>7.2830000000000004</c:v>
                </c:pt>
                <c:pt idx="9925">
                  <c:v>7.2839999999999998</c:v>
                </c:pt>
                <c:pt idx="9926">
                  <c:v>7.2839999999999998</c:v>
                </c:pt>
                <c:pt idx="9927">
                  <c:v>7.2839999999999998</c:v>
                </c:pt>
                <c:pt idx="9928">
                  <c:v>7.2830000000000004</c:v>
                </c:pt>
                <c:pt idx="9929">
                  <c:v>7.2830000000000004</c:v>
                </c:pt>
                <c:pt idx="9930">
                  <c:v>7.2839999999999998</c:v>
                </c:pt>
                <c:pt idx="9931">
                  <c:v>7.2830000000000004</c:v>
                </c:pt>
                <c:pt idx="9932">
                  <c:v>7.2839999999999998</c:v>
                </c:pt>
                <c:pt idx="9933">
                  <c:v>7.2839999999999998</c:v>
                </c:pt>
                <c:pt idx="9934">
                  <c:v>7.2839999999999998</c:v>
                </c:pt>
                <c:pt idx="9935">
                  <c:v>7.2839999999999998</c:v>
                </c:pt>
                <c:pt idx="9936">
                  <c:v>7.2830000000000004</c:v>
                </c:pt>
                <c:pt idx="9937">
                  <c:v>7.2839999999999998</c:v>
                </c:pt>
                <c:pt idx="9938">
                  <c:v>7.2839999999999998</c:v>
                </c:pt>
                <c:pt idx="9939">
                  <c:v>7.2830000000000004</c:v>
                </c:pt>
                <c:pt idx="9940">
                  <c:v>7.2839999999999998</c:v>
                </c:pt>
                <c:pt idx="9941">
                  <c:v>7.2830000000000004</c:v>
                </c:pt>
                <c:pt idx="9942">
                  <c:v>7.2839999999999998</c:v>
                </c:pt>
                <c:pt idx="9943">
                  <c:v>7.2839999999999998</c:v>
                </c:pt>
                <c:pt idx="9944">
                  <c:v>7.2830000000000004</c:v>
                </c:pt>
                <c:pt idx="9945">
                  <c:v>7.2830000000000004</c:v>
                </c:pt>
                <c:pt idx="9946">
                  <c:v>7.2839999999999998</c:v>
                </c:pt>
                <c:pt idx="9947">
                  <c:v>7.2830000000000004</c:v>
                </c:pt>
                <c:pt idx="9948">
                  <c:v>7.2830000000000004</c:v>
                </c:pt>
                <c:pt idx="9949">
                  <c:v>7.2839999999999998</c:v>
                </c:pt>
                <c:pt idx="9950">
                  <c:v>7.2830000000000004</c:v>
                </c:pt>
                <c:pt idx="9951">
                  <c:v>7.2830000000000004</c:v>
                </c:pt>
                <c:pt idx="9952">
                  <c:v>7.2830000000000004</c:v>
                </c:pt>
                <c:pt idx="9953">
                  <c:v>7.2839999999999998</c:v>
                </c:pt>
                <c:pt idx="9954">
                  <c:v>7.2839999999999998</c:v>
                </c:pt>
                <c:pt idx="9955">
                  <c:v>7.2830000000000004</c:v>
                </c:pt>
                <c:pt idx="9956">
                  <c:v>7.2839999999999998</c:v>
                </c:pt>
                <c:pt idx="9957">
                  <c:v>7.2839999999999998</c:v>
                </c:pt>
                <c:pt idx="9958">
                  <c:v>7.2839999999999998</c:v>
                </c:pt>
                <c:pt idx="9959">
                  <c:v>7.2830000000000004</c:v>
                </c:pt>
                <c:pt idx="9960">
                  <c:v>7.2830000000000004</c:v>
                </c:pt>
                <c:pt idx="9961">
                  <c:v>7.2839999999999998</c:v>
                </c:pt>
                <c:pt idx="9962">
                  <c:v>7.2839999999999998</c:v>
                </c:pt>
                <c:pt idx="9963">
                  <c:v>7.2839999999999998</c:v>
                </c:pt>
                <c:pt idx="9964">
                  <c:v>7.2830000000000004</c:v>
                </c:pt>
                <c:pt idx="9965">
                  <c:v>7.2839999999999998</c:v>
                </c:pt>
                <c:pt idx="9966">
                  <c:v>7.2839999999999998</c:v>
                </c:pt>
                <c:pt idx="9967">
                  <c:v>7.2839999999999998</c:v>
                </c:pt>
                <c:pt idx="9968">
                  <c:v>7.2839999999999998</c:v>
                </c:pt>
                <c:pt idx="9969">
                  <c:v>7.2830000000000004</c:v>
                </c:pt>
                <c:pt idx="9970">
                  <c:v>7.2830000000000004</c:v>
                </c:pt>
                <c:pt idx="9971">
                  <c:v>7.2830000000000004</c:v>
                </c:pt>
                <c:pt idx="9972">
                  <c:v>7.2830000000000004</c:v>
                </c:pt>
                <c:pt idx="9973">
                  <c:v>7.2830000000000004</c:v>
                </c:pt>
                <c:pt idx="9974">
                  <c:v>7.2830000000000004</c:v>
                </c:pt>
                <c:pt idx="9975">
                  <c:v>7.2830000000000004</c:v>
                </c:pt>
                <c:pt idx="9976">
                  <c:v>7.2830000000000004</c:v>
                </c:pt>
                <c:pt idx="9977">
                  <c:v>7.2830000000000004</c:v>
                </c:pt>
                <c:pt idx="9978">
                  <c:v>7.2830000000000004</c:v>
                </c:pt>
                <c:pt idx="9979">
                  <c:v>7.2830000000000004</c:v>
                </c:pt>
                <c:pt idx="9980">
                  <c:v>7.2830000000000004</c:v>
                </c:pt>
                <c:pt idx="9981">
                  <c:v>7.2830000000000004</c:v>
                </c:pt>
                <c:pt idx="9982">
                  <c:v>7.2830000000000004</c:v>
                </c:pt>
                <c:pt idx="9983">
                  <c:v>7.2830000000000004</c:v>
                </c:pt>
                <c:pt idx="9984">
                  <c:v>7.2830000000000004</c:v>
                </c:pt>
                <c:pt idx="9985">
                  <c:v>7.2839999999999998</c:v>
                </c:pt>
                <c:pt idx="9986">
                  <c:v>7.2830000000000004</c:v>
                </c:pt>
                <c:pt idx="9987">
                  <c:v>7.2830000000000004</c:v>
                </c:pt>
                <c:pt idx="9988">
                  <c:v>7.2830000000000004</c:v>
                </c:pt>
                <c:pt idx="9989">
                  <c:v>7.2830000000000004</c:v>
                </c:pt>
                <c:pt idx="9990">
                  <c:v>7.2830000000000004</c:v>
                </c:pt>
                <c:pt idx="9991">
                  <c:v>7.2830000000000004</c:v>
                </c:pt>
                <c:pt idx="9992">
                  <c:v>7.2830000000000004</c:v>
                </c:pt>
                <c:pt idx="9993">
                  <c:v>7.2830000000000004</c:v>
                </c:pt>
                <c:pt idx="9994">
                  <c:v>7.2830000000000004</c:v>
                </c:pt>
                <c:pt idx="9995">
                  <c:v>7.2830000000000004</c:v>
                </c:pt>
                <c:pt idx="9996">
                  <c:v>7.2830000000000004</c:v>
                </c:pt>
                <c:pt idx="9997">
                  <c:v>7.282</c:v>
                </c:pt>
                <c:pt idx="9998">
                  <c:v>7.282</c:v>
                </c:pt>
                <c:pt idx="9999">
                  <c:v>7.282</c:v>
                </c:pt>
                <c:pt idx="10000">
                  <c:v>7.2809999999999997</c:v>
                </c:pt>
                <c:pt idx="10001">
                  <c:v>7.282</c:v>
                </c:pt>
                <c:pt idx="10002">
                  <c:v>7.282</c:v>
                </c:pt>
                <c:pt idx="10003">
                  <c:v>7.282</c:v>
                </c:pt>
                <c:pt idx="10004">
                  <c:v>7.282</c:v>
                </c:pt>
                <c:pt idx="10005">
                  <c:v>7.282</c:v>
                </c:pt>
                <c:pt idx="10006">
                  <c:v>7.2830000000000004</c:v>
                </c:pt>
                <c:pt idx="10007">
                  <c:v>7.282</c:v>
                </c:pt>
                <c:pt idx="10008">
                  <c:v>7.282</c:v>
                </c:pt>
                <c:pt idx="10009">
                  <c:v>7.282</c:v>
                </c:pt>
                <c:pt idx="10010">
                  <c:v>7.2830000000000004</c:v>
                </c:pt>
                <c:pt idx="10011">
                  <c:v>7.2830000000000004</c:v>
                </c:pt>
                <c:pt idx="10012">
                  <c:v>7.2830000000000004</c:v>
                </c:pt>
                <c:pt idx="10013">
                  <c:v>7.2830000000000004</c:v>
                </c:pt>
                <c:pt idx="10014">
                  <c:v>7.2830000000000004</c:v>
                </c:pt>
                <c:pt idx="10015">
                  <c:v>7.2830000000000004</c:v>
                </c:pt>
                <c:pt idx="10016">
                  <c:v>7.2830000000000004</c:v>
                </c:pt>
                <c:pt idx="10017">
                  <c:v>7.282</c:v>
                </c:pt>
                <c:pt idx="10018">
                  <c:v>7.282</c:v>
                </c:pt>
                <c:pt idx="10019">
                  <c:v>7.282</c:v>
                </c:pt>
                <c:pt idx="10020">
                  <c:v>7.282</c:v>
                </c:pt>
                <c:pt idx="10021">
                  <c:v>7.282</c:v>
                </c:pt>
                <c:pt idx="10022">
                  <c:v>7.2830000000000004</c:v>
                </c:pt>
                <c:pt idx="10023">
                  <c:v>7.2830000000000004</c:v>
                </c:pt>
                <c:pt idx="10024">
                  <c:v>7.2830000000000004</c:v>
                </c:pt>
                <c:pt idx="10025">
                  <c:v>7.2830000000000004</c:v>
                </c:pt>
                <c:pt idx="10026">
                  <c:v>7.2830000000000004</c:v>
                </c:pt>
                <c:pt idx="10027">
                  <c:v>7.2830000000000004</c:v>
                </c:pt>
                <c:pt idx="10028">
                  <c:v>7.282</c:v>
                </c:pt>
                <c:pt idx="10029">
                  <c:v>7.282</c:v>
                </c:pt>
                <c:pt idx="10030">
                  <c:v>7.282</c:v>
                </c:pt>
                <c:pt idx="10031">
                  <c:v>7.282</c:v>
                </c:pt>
                <c:pt idx="10032">
                  <c:v>7.282</c:v>
                </c:pt>
                <c:pt idx="10033">
                  <c:v>7.282</c:v>
                </c:pt>
                <c:pt idx="10034">
                  <c:v>7.282</c:v>
                </c:pt>
                <c:pt idx="10035">
                  <c:v>7.282</c:v>
                </c:pt>
                <c:pt idx="10036">
                  <c:v>7.282</c:v>
                </c:pt>
                <c:pt idx="10037">
                  <c:v>7.2830000000000004</c:v>
                </c:pt>
                <c:pt idx="10038">
                  <c:v>7.282</c:v>
                </c:pt>
                <c:pt idx="10039">
                  <c:v>7.282</c:v>
                </c:pt>
                <c:pt idx="10040">
                  <c:v>7.282</c:v>
                </c:pt>
                <c:pt idx="10041">
                  <c:v>7.282</c:v>
                </c:pt>
                <c:pt idx="10042">
                  <c:v>7.2809999999999997</c:v>
                </c:pt>
                <c:pt idx="10043">
                  <c:v>7.282</c:v>
                </c:pt>
                <c:pt idx="10044">
                  <c:v>7.282</c:v>
                </c:pt>
                <c:pt idx="10045">
                  <c:v>7.282</c:v>
                </c:pt>
                <c:pt idx="10046">
                  <c:v>7.282</c:v>
                </c:pt>
                <c:pt idx="10047">
                  <c:v>7.282</c:v>
                </c:pt>
                <c:pt idx="10048">
                  <c:v>7.282</c:v>
                </c:pt>
                <c:pt idx="10049">
                  <c:v>7.282</c:v>
                </c:pt>
                <c:pt idx="10050">
                  <c:v>7.282</c:v>
                </c:pt>
                <c:pt idx="10051">
                  <c:v>7.282</c:v>
                </c:pt>
                <c:pt idx="10052">
                  <c:v>7.282</c:v>
                </c:pt>
                <c:pt idx="10053">
                  <c:v>7.282</c:v>
                </c:pt>
                <c:pt idx="10054">
                  <c:v>7.282</c:v>
                </c:pt>
                <c:pt idx="10055">
                  <c:v>7.282</c:v>
                </c:pt>
                <c:pt idx="10056">
                  <c:v>7.282</c:v>
                </c:pt>
                <c:pt idx="10057">
                  <c:v>7.282</c:v>
                </c:pt>
                <c:pt idx="10058">
                  <c:v>7.282</c:v>
                </c:pt>
                <c:pt idx="10059">
                  <c:v>7.282</c:v>
                </c:pt>
                <c:pt idx="10060">
                  <c:v>7.282</c:v>
                </c:pt>
                <c:pt idx="10061">
                  <c:v>7.282</c:v>
                </c:pt>
                <c:pt idx="10062">
                  <c:v>7.282</c:v>
                </c:pt>
                <c:pt idx="10063">
                  <c:v>7.282</c:v>
                </c:pt>
                <c:pt idx="10064">
                  <c:v>7.2809999999999997</c:v>
                </c:pt>
                <c:pt idx="10065">
                  <c:v>7.282</c:v>
                </c:pt>
                <c:pt idx="10066">
                  <c:v>7.2809999999999997</c:v>
                </c:pt>
                <c:pt idx="10067">
                  <c:v>7.2809999999999997</c:v>
                </c:pt>
                <c:pt idx="10068">
                  <c:v>7.2809999999999997</c:v>
                </c:pt>
                <c:pt idx="10069">
                  <c:v>7.2809999999999997</c:v>
                </c:pt>
                <c:pt idx="10070">
                  <c:v>7.2809999999999997</c:v>
                </c:pt>
                <c:pt idx="10071">
                  <c:v>7.2809999999999997</c:v>
                </c:pt>
                <c:pt idx="10072">
                  <c:v>7.2809999999999997</c:v>
                </c:pt>
                <c:pt idx="10073">
                  <c:v>7.2809999999999997</c:v>
                </c:pt>
                <c:pt idx="10074">
                  <c:v>7.2809999999999997</c:v>
                </c:pt>
                <c:pt idx="10075">
                  <c:v>7.2809999999999997</c:v>
                </c:pt>
                <c:pt idx="10076">
                  <c:v>7.28</c:v>
                </c:pt>
                <c:pt idx="10077">
                  <c:v>7.2809999999999997</c:v>
                </c:pt>
                <c:pt idx="10078">
                  <c:v>7.28</c:v>
                </c:pt>
                <c:pt idx="10079">
                  <c:v>7.2789999999999999</c:v>
                </c:pt>
                <c:pt idx="10080">
                  <c:v>7.28</c:v>
                </c:pt>
                <c:pt idx="10081">
                  <c:v>7.28</c:v>
                </c:pt>
                <c:pt idx="10082">
                  <c:v>7.2789999999999999</c:v>
                </c:pt>
                <c:pt idx="10083">
                  <c:v>7.28</c:v>
                </c:pt>
                <c:pt idx="10084">
                  <c:v>7.28</c:v>
                </c:pt>
                <c:pt idx="10085">
                  <c:v>7.28</c:v>
                </c:pt>
                <c:pt idx="10086">
                  <c:v>7.2809999999999997</c:v>
                </c:pt>
                <c:pt idx="10087">
                  <c:v>7.28</c:v>
                </c:pt>
                <c:pt idx="10088">
                  <c:v>7.28</c:v>
                </c:pt>
                <c:pt idx="10089">
                  <c:v>7.2789999999999999</c:v>
                </c:pt>
                <c:pt idx="10090">
                  <c:v>7.28</c:v>
                </c:pt>
                <c:pt idx="10091">
                  <c:v>7.28</c:v>
                </c:pt>
                <c:pt idx="10092">
                  <c:v>7.28</c:v>
                </c:pt>
                <c:pt idx="10093">
                  <c:v>7.28</c:v>
                </c:pt>
                <c:pt idx="10094">
                  <c:v>7.28</c:v>
                </c:pt>
                <c:pt idx="10095">
                  <c:v>7.28</c:v>
                </c:pt>
                <c:pt idx="10096">
                  <c:v>7.28</c:v>
                </c:pt>
                <c:pt idx="10097">
                  <c:v>7.28</c:v>
                </c:pt>
                <c:pt idx="10098">
                  <c:v>7.28</c:v>
                </c:pt>
                <c:pt idx="10099">
                  <c:v>7.28</c:v>
                </c:pt>
                <c:pt idx="10100">
                  <c:v>7.28</c:v>
                </c:pt>
                <c:pt idx="10101">
                  <c:v>7.28</c:v>
                </c:pt>
                <c:pt idx="10102">
                  <c:v>7.28</c:v>
                </c:pt>
                <c:pt idx="10103">
                  <c:v>7.28</c:v>
                </c:pt>
                <c:pt idx="10104">
                  <c:v>7.2789999999999999</c:v>
                </c:pt>
                <c:pt idx="10105">
                  <c:v>7.2789999999999999</c:v>
                </c:pt>
                <c:pt idx="10106">
                  <c:v>7.28</c:v>
                </c:pt>
                <c:pt idx="10107">
                  <c:v>7.2789999999999999</c:v>
                </c:pt>
                <c:pt idx="10108">
                  <c:v>7.2789999999999999</c:v>
                </c:pt>
                <c:pt idx="10109">
                  <c:v>7.2789999999999999</c:v>
                </c:pt>
                <c:pt idx="10110">
                  <c:v>7.2789999999999999</c:v>
                </c:pt>
                <c:pt idx="10111">
                  <c:v>7.2789999999999999</c:v>
                </c:pt>
                <c:pt idx="10112">
                  <c:v>7.2789999999999999</c:v>
                </c:pt>
                <c:pt idx="10113">
                  <c:v>7.2789999999999999</c:v>
                </c:pt>
                <c:pt idx="10114">
                  <c:v>7.2779999999999996</c:v>
                </c:pt>
                <c:pt idx="10115">
                  <c:v>7.2779999999999996</c:v>
                </c:pt>
                <c:pt idx="10116">
                  <c:v>7.2779999999999996</c:v>
                </c:pt>
                <c:pt idx="10117">
                  <c:v>7.2779999999999996</c:v>
                </c:pt>
                <c:pt idx="10118">
                  <c:v>7.2789999999999999</c:v>
                </c:pt>
                <c:pt idx="10119">
                  <c:v>7.2789999999999999</c:v>
                </c:pt>
                <c:pt idx="10120">
                  <c:v>7.2779999999999996</c:v>
                </c:pt>
                <c:pt idx="10121">
                  <c:v>7.2779999999999996</c:v>
                </c:pt>
                <c:pt idx="10122">
                  <c:v>7.2779999999999996</c:v>
                </c:pt>
                <c:pt idx="10123">
                  <c:v>7.2779999999999996</c:v>
                </c:pt>
                <c:pt idx="10124">
                  <c:v>7.2779999999999996</c:v>
                </c:pt>
                <c:pt idx="10125">
                  <c:v>7.2779999999999996</c:v>
                </c:pt>
                <c:pt idx="10126">
                  <c:v>7.2779999999999996</c:v>
                </c:pt>
                <c:pt idx="10127">
                  <c:v>7.2779999999999996</c:v>
                </c:pt>
                <c:pt idx="10128">
                  <c:v>7.2779999999999996</c:v>
                </c:pt>
                <c:pt idx="10129">
                  <c:v>7.2779999999999996</c:v>
                </c:pt>
                <c:pt idx="10130">
                  <c:v>7.2779999999999996</c:v>
                </c:pt>
                <c:pt idx="10131">
                  <c:v>7.2770000000000001</c:v>
                </c:pt>
                <c:pt idx="10132">
                  <c:v>7.2779999999999996</c:v>
                </c:pt>
                <c:pt idx="10133">
                  <c:v>7.2779999999999996</c:v>
                </c:pt>
                <c:pt idx="10134">
                  <c:v>7.2779999999999996</c:v>
                </c:pt>
                <c:pt idx="10135">
                  <c:v>7.2779999999999996</c:v>
                </c:pt>
                <c:pt idx="10136">
                  <c:v>7.2779999999999996</c:v>
                </c:pt>
                <c:pt idx="10137">
                  <c:v>7.2779999999999996</c:v>
                </c:pt>
                <c:pt idx="10138">
                  <c:v>7.2770000000000001</c:v>
                </c:pt>
                <c:pt idx="10139">
                  <c:v>7.2779999999999996</c:v>
                </c:pt>
                <c:pt idx="10140">
                  <c:v>7.2770000000000001</c:v>
                </c:pt>
                <c:pt idx="10141">
                  <c:v>7.2770000000000001</c:v>
                </c:pt>
                <c:pt idx="10142">
                  <c:v>7.2770000000000001</c:v>
                </c:pt>
                <c:pt idx="10143">
                  <c:v>7.2770000000000001</c:v>
                </c:pt>
                <c:pt idx="10144">
                  <c:v>7.2770000000000001</c:v>
                </c:pt>
                <c:pt idx="10145">
                  <c:v>7.2770000000000001</c:v>
                </c:pt>
                <c:pt idx="10146">
                  <c:v>7.2770000000000001</c:v>
                </c:pt>
                <c:pt idx="10147">
                  <c:v>7.2770000000000001</c:v>
                </c:pt>
                <c:pt idx="10148">
                  <c:v>7.2770000000000001</c:v>
                </c:pt>
                <c:pt idx="10149">
                  <c:v>7.2770000000000001</c:v>
                </c:pt>
                <c:pt idx="10150">
                  <c:v>7.2770000000000001</c:v>
                </c:pt>
                <c:pt idx="10151">
                  <c:v>7.2770000000000001</c:v>
                </c:pt>
                <c:pt idx="10152">
                  <c:v>7.2770000000000001</c:v>
                </c:pt>
                <c:pt idx="10153">
                  <c:v>7.2770000000000001</c:v>
                </c:pt>
                <c:pt idx="10154">
                  <c:v>7.2770000000000001</c:v>
                </c:pt>
                <c:pt idx="10155">
                  <c:v>7.2770000000000001</c:v>
                </c:pt>
                <c:pt idx="10156">
                  <c:v>7.2770000000000001</c:v>
                </c:pt>
                <c:pt idx="10157">
                  <c:v>7.2770000000000001</c:v>
                </c:pt>
                <c:pt idx="10158">
                  <c:v>7.2770000000000001</c:v>
                </c:pt>
                <c:pt idx="10159">
                  <c:v>7.2770000000000001</c:v>
                </c:pt>
                <c:pt idx="10160">
                  <c:v>7.2770000000000001</c:v>
                </c:pt>
                <c:pt idx="10161">
                  <c:v>7.2770000000000001</c:v>
                </c:pt>
                <c:pt idx="10162">
                  <c:v>7.2770000000000001</c:v>
                </c:pt>
                <c:pt idx="10163">
                  <c:v>7.2770000000000001</c:v>
                </c:pt>
                <c:pt idx="10164">
                  <c:v>7.2759999999999998</c:v>
                </c:pt>
                <c:pt idx="10165">
                  <c:v>7.2770000000000001</c:v>
                </c:pt>
                <c:pt idx="10166">
                  <c:v>7.2770000000000001</c:v>
                </c:pt>
                <c:pt idx="10167">
                  <c:v>7.2770000000000001</c:v>
                </c:pt>
                <c:pt idx="10168">
                  <c:v>7.2770000000000001</c:v>
                </c:pt>
                <c:pt idx="10169">
                  <c:v>7.2770000000000001</c:v>
                </c:pt>
                <c:pt idx="10170">
                  <c:v>7.2770000000000001</c:v>
                </c:pt>
                <c:pt idx="10171">
                  <c:v>7.2770000000000001</c:v>
                </c:pt>
                <c:pt idx="10172">
                  <c:v>7.2770000000000001</c:v>
                </c:pt>
                <c:pt idx="10173">
                  <c:v>7.2770000000000001</c:v>
                </c:pt>
                <c:pt idx="10174">
                  <c:v>7.2770000000000001</c:v>
                </c:pt>
                <c:pt idx="10175">
                  <c:v>7.2759999999999998</c:v>
                </c:pt>
                <c:pt idx="10176">
                  <c:v>7.2759999999999998</c:v>
                </c:pt>
                <c:pt idx="10177">
                  <c:v>7.2759999999999998</c:v>
                </c:pt>
                <c:pt idx="10178">
                  <c:v>7.2759999999999998</c:v>
                </c:pt>
                <c:pt idx="10179">
                  <c:v>7.2759999999999998</c:v>
                </c:pt>
                <c:pt idx="10180">
                  <c:v>7.2759999999999998</c:v>
                </c:pt>
                <c:pt idx="10181">
                  <c:v>7.2759999999999998</c:v>
                </c:pt>
                <c:pt idx="10182">
                  <c:v>7.2750000000000004</c:v>
                </c:pt>
                <c:pt idx="10183">
                  <c:v>7.2759999999999998</c:v>
                </c:pt>
                <c:pt idx="10184">
                  <c:v>7.2750000000000004</c:v>
                </c:pt>
                <c:pt idx="10185">
                  <c:v>7.2759999999999998</c:v>
                </c:pt>
                <c:pt idx="10186">
                  <c:v>7.2750000000000004</c:v>
                </c:pt>
                <c:pt idx="10187">
                  <c:v>7.2759999999999998</c:v>
                </c:pt>
                <c:pt idx="10188">
                  <c:v>7.2750000000000004</c:v>
                </c:pt>
                <c:pt idx="10189">
                  <c:v>7.2750000000000004</c:v>
                </c:pt>
                <c:pt idx="10190">
                  <c:v>7.2750000000000004</c:v>
                </c:pt>
                <c:pt idx="10191">
                  <c:v>7.2750000000000004</c:v>
                </c:pt>
                <c:pt idx="10192">
                  <c:v>7.2750000000000004</c:v>
                </c:pt>
                <c:pt idx="10193">
                  <c:v>7.2750000000000004</c:v>
                </c:pt>
                <c:pt idx="10194">
                  <c:v>7.2750000000000004</c:v>
                </c:pt>
                <c:pt idx="10195">
                  <c:v>7.2750000000000004</c:v>
                </c:pt>
                <c:pt idx="10196">
                  <c:v>7.274</c:v>
                </c:pt>
                <c:pt idx="10197">
                  <c:v>7.2750000000000004</c:v>
                </c:pt>
                <c:pt idx="10198">
                  <c:v>7.274</c:v>
                </c:pt>
                <c:pt idx="10199">
                  <c:v>7.274</c:v>
                </c:pt>
                <c:pt idx="10200">
                  <c:v>7.2750000000000004</c:v>
                </c:pt>
                <c:pt idx="10201">
                  <c:v>7.2750000000000004</c:v>
                </c:pt>
                <c:pt idx="10202">
                  <c:v>7.274</c:v>
                </c:pt>
                <c:pt idx="10203">
                  <c:v>7.2750000000000004</c:v>
                </c:pt>
                <c:pt idx="10204">
                  <c:v>7.274</c:v>
                </c:pt>
                <c:pt idx="10205">
                  <c:v>7.274</c:v>
                </c:pt>
                <c:pt idx="10206">
                  <c:v>7.274</c:v>
                </c:pt>
                <c:pt idx="10207">
                  <c:v>7.274</c:v>
                </c:pt>
                <c:pt idx="10208">
                  <c:v>7.274</c:v>
                </c:pt>
                <c:pt idx="10209">
                  <c:v>7.274</c:v>
                </c:pt>
                <c:pt idx="10210">
                  <c:v>7.274</c:v>
                </c:pt>
                <c:pt idx="10211">
                  <c:v>7.274</c:v>
                </c:pt>
                <c:pt idx="10212">
                  <c:v>7.274</c:v>
                </c:pt>
                <c:pt idx="10213">
                  <c:v>7.274</c:v>
                </c:pt>
                <c:pt idx="10214">
                  <c:v>7.274</c:v>
                </c:pt>
                <c:pt idx="10215">
                  <c:v>7.274</c:v>
                </c:pt>
                <c:pt idx="10216">
                  <c:v>7.274</c:v>
                </c:pt>
                <c:pt idx="10217">
                  <c:v>7.274</c:v>
                </c:pt>
                <c:pt idx="10218">
                  <c:v>7.274</c:v>
                </c:pt>
                <c:pt idx="10219">
                  <c:v>7.274</c:v>
                </c:pt>
                <c:pt idx="10220">
                  <c:v>7.274</c:v>
                </c:pt>
                <c:pt idx="10221">
                  <c:v>7.2729999999999997</c:v>
                </c:pt>
                <c:pt idx="10222">
                  <c:v>7.274</c:v>
                </c:pt>
                <c:pt idx="10223">
                  <c:v>7.2729999999999997</c:v>
                </c:pt>
                <c:pt idx="10224">
                  <c:v>7.2729999999999997</c:v>
                </c:pt>
                <c:pt idx="10225">
                  <c:v>7.2729999999999997</c:v>
                </c:pt>
                <c:pt idx="10226">
                  <c:v>7.2729999999999997</c:v>
                </c:pt>
                <c:pt idx="10227">
                  <c:v>7.2729999999999997</c:v>
                </c:pt>
                <c:pt idx="10228">
                  <c:v>7.2729999999999997</c:v>
                </c:pt>
                <c:pt idx="10229">
                  <c:v>7.2729999999999997</c:v>
                </c:pt>
                <c:pt idx="10230">
                  <c:v>7.2729999999999997</c:v>
                </c:pt>
                <c:pt idx="10231">
                  <c:v>7.2729999999999997</c:v>
                </c:pt>
                <c:pt idx="10232">
                  <c:v>7.2729999999999997</c:v>
                </c:pt>
                <c:pt idx="10233">
                  <c:v>7.2729999999999997</c:v>
                </c:pt>
                <c:pt idx="10234">
                  <c:v>7.2729999999999997</c:v>
                </c:pt>
                <c:pt idx="10235">
                  <c:v>7.2720000000000002</c:v>
                </c:pt>
                <c:pt idx="10236">
                  <c:v>7.2729999999999997</c:v>
                </c:pt>
                <c:pt idx="10237">
                  <c:v>7.2720000000000002</c:v>
                </c:pt>
                <c:pt idx="10238">
                  <c:v>7.2729999999999997</c:v>
                </c:pt>
                <c:pt idx="10239">
                  <c:v>7.2729999999999997</c:v>
                </c:pt>
                <c:pt idx="10240">
                  <c:v>7.2720000000000002</c:v>
                </c:pt>
                <c:pt idx="10241">
                  <c:v>7.2729999999999997</c:v>
                </c:pt>
                <c:pt idx="10242">
                  <c:v>7.2720000000000002</c:v>
                </c:pt>
                <c:pt idx="10243">
                  <c:v>7.2729999999999997</c:v>
                </c:pt>
                <c:pt idx="10244">
                  <c:v>7.2729999999999997</c:v>
                </c:pt>
                <c:pt idx="10245">
                  <c:v>7.2729999999999997</c:v>
                </c:pt>
                <c:pt idx="10246">
                  <c:v>7.2720000000000002</c:v>
                </c:pt>
                <c:pt idx="10247">
                  <c:v>7.2720000000000002</c:v>
                </c:pt>
                <c:pt idx="10248">
                  <c:v>7.2720000000000002</c:v>
                </c:pt>
                <c:pt idx="10249">
                  <c:v>7.2729999999999997</c:v>
                </c:pt>
                <c:pt idx="10250">
                  <c:v>7.2720000000000002</c:v>
                </c:pt>
                <c:pt idx="10251">
                  <c:v>7.2720000000000002</c:v>
                </c:pt>
                <c:pt idx="10252">
                  <c:v>7.2720000000000002</c:v>
                </c:pt>
                <c:pt idx="10253">
                  <c:v>7.2720000000000002</c:v>
                </c:pt>
                <c:pt idx="10254">
                  <c:v>7.2720000000000002</c:v>
                </c:pt>
                <c:pt idx="10255">
                  <c:v>7.2720000000000002</c:v>
                </c:pt>
                <c:pt idx="10256">
                  <c:v>7.2720000000000002</c:v>
                </c:pt>
                <c:pt idx="10257">
                  <c:v>7.2720000000000002</c:v>
                </c:pt>
                <c:pt idx="10258">
                  <c:v>7.2720000000000002</c:v>
                </c:pt>
                <c:pt idx="10259">
                  <c:v>7.2709999999999999</c:v>
                </c:pt>
                <c:pt idx="10260">
                  <c:v>7.2709999999999999</c:v>
                </c:pt>
                <c:pt idx="10261">
                  <c:v>7.2709999999999999</c:v>
                </c:pt>
                <c:pt idx="10262">
                  <c:v>7.2720000000000002</c:v>
                </c:pt>
                <c:pt idx="10263">
                  <c:v>7.2709999999999999</c:v>
                </c:pt>
                <c:pt idx="10264">
                  <c:v>7.2709999999999999</c:v>
                </c:pt>
                <c:pt idx="10265">
                  <c:v>7.2709999999999999</c:v>
                </c:pt>
                <c:pt idx="10266">
                  <c:v>7.2709999999999999</c:v>
                </c:pt>
                <c:pt idx="10267">
                  <c:v>7.2709999999999999</c:v>
                </c:pt>
                <c:pt idx="10268">
                  <c:v>7.2709999999999999</c:v>
                </c:pt>
                <c:pt idx="10269">
                  <c:v>7.2709999999999999</c:v>
                </c:pt>
                <c:pt idx="10270">
                  <c:v>7.2709999999999999</c:v>
                </c:pt>
                <c:pt idx="10271">
                  <c:v>7.2709999999999999</c:v>
                </c:pt>
                <c:pt idx="10272">
                  <c:v>7.2709999999999999</c:v>
                </c:pt>
                <c:pt idx="10273">
                  <c:v>7.2709999999999999</c:v>
                </c:pt>
                <c:pt idx="10274">
                  <c:v>7.27</c:v>
                </c:pt>
                <c:pt idx="10275">
                  <c:v>7.2709999999999999</c:v>
                </c:pt>
                <c:pt idx="10276">
                  <c:v>7.2709999999999999</c:v>
                </c:pt>
                <c:pt idx="10277">
                  <c:v>7.2709999999999999</c:v>
                </c:pt>
                <c:pt idx="10278">
                  <c:v>7.2709999999999999</c:v>
                </c:pt>
                <c:pt idx="10279">
                  <c:v>7.2709999999999999</c:v>
                </c:pt>
                <c:pt idx="10280">
                  <c:v>7.2709999999999999</c:v>
                </c:pt>
                <c:pt idx="10281">
                  <c:v>7.2709999999999999</c:v>
                </c:pt>
                <c:pt idx="10282">
                  <c:v>7.2709999999999999</c:v>
                </c:pt>
                <c:pt idx="10283">
                  <c:v>7.2709999999999999</c:v>
                </c:pt>
                <c:pt idx="10284">
                  <c:v>7.27</c:v>
                </c:pt>
                <c:pt idx="10285">
                  <c:v>7.2709999999999999</c:v>
                </c:pt>
                <c:pt idx="10286">
                  <c:v>7.27</c:v>
                </c:pt>
                <c:pt idx="10287">
                  <c:v>7.27</c:v>
                </c:pt>
                <c:pt idx="10288">
                  <c:v>7.27</c:v>
                </c:pt>
                <c:pt idx="10289">
                  <c:v>7.27</c:v>
                </c:pt>
                <c:pt idx="10290">
                  <c:v>7.27</c:v>
                </c:pt>
                <c:pt idx="10291">
                  <c:v>7.27</c:v>
                </c:pt>
                <c:pt idx="10292">
                  <c:v>7.27</c:v>
                </c:pt>
                <c:pt idx="10293">
                  <c:v>7.27</c:v>
                </c:pt>
                <c:pt idx="10294">
                  <c:v>7.27</c:v>
                </c:pt>
                <c:pt idx="10295">
                  <c:v>7.2690000000000001</c:v>
                </c:pt>
                <c:pt idx="10296">
                  <c:v>7.2690000000000001</c:v>
                </c:pt>
                <c:pt idx="10297">
                  <c:v>7.2690000000000001</c:v>
                </c:pt>
                <c:pt idx="10298">
                  <c:v>7.2690000000000001</c:v>
                </c:pt>
                <c:pt idx="10299">
                  <c:v>7.2690000000000001</c:v>
                </c:pt>
                <c:pt idx="10300">
                  <c:v>7.2690000000000001</c:v>
                </c:pt>
                <c:pt idx="10301">
                  <c:v>7.2690000000000001</c:v>
                </c:pt>
                <c:pt idx="10302">
                  <c:v>7.2679999999999998</c:v>
                </c:pt>
                <c:pt idx="10303">
                  <c:v>7.2690000000000001</c:v>
                </c:pt>
                <c:pt idx="10304">
                  <c:v>7.2690000000000001</c:v>
                </c:pt>
                <c:pt idx="10305">
                  <c:v>7.2690000000000001</c:v>
                </c:pt>
                <c:pt idx="10306">
                  <c:v>7.2690000000000001</c:v>
                </c:pt>
                <c:pt idx="10307">
                  <c:v>7.2690000000000001</c:v>
                </c:pt>
                <c:pt idx="10308">
                  <c:v>7.2690000000000001</c:v>
                </c:pt>
                <c:pt idx="10309">
                  <c:v>7.2690000000000001</c:v>
                </c:pt>
                <c:pt idx="10310">
                  <c:v>7.2690000000000001</c:v>
                </c:pt>
                <c:pt idx="10311">
                  <c:v>7.2690000000000001</c:v>
                </c:pt>
                <c:pt idx="10312">
                  <c:v>7.2690000000000001</c:v>
                </c:pt>
                <c:pt idx="10313">
                  <c:v>7.2679999999999998</c:v>
                </c:pt>
                <c:pt idx="10314">
                  <c:v>7.2690000000000001</c:v>
                </c:pt>
                <c:pt idx="10315">
                  <c:v>7.2679999999999998</c:v>
                </c:pt>
                <c:pt idx="10316">
                  <c:v>7.2679999999999998</c:v>
                </c:pt>
                <c:pt idx="10317">
                  <c:v>7.2679999999999998</c:v>
                </c:pt>
                <c:pt idx="10318">
                  <c:v>7.2679999999999998</c:v>
                </c:pt>
                <c:pt idx="10319">
                  <c:v>7.2679999999999998</c:v>
                </c:pt>
                <c:pt idx="10320">
                  <c:v>7.2690000000000001</c:v>
                </c:pt>
                <c:pt idx="10321">
                  <c:v>7.2679999999999998</c:v>
                </c:pt>
                <c:pt idx="10322">
                  <c:v>7.2690000000000001</c:v>
                </c:pt>
                <c:pt idx="10323">
                  <c:v>7.2679999999999998</c:v>
                </c:pt>
                <c:pt idx="10324">
                  <c:v>7.2679999999999998</c:v>
                </c:pt>
                <c:pt idx="10325">
                  <c:v>7.2679999999999998</c:v>
                </c:pt>
                <c:pt idx="10326">
                  <c:v>7.2679999999999998</c:v>
                </c:pt>
                <c:pt idx="10327">
                  <c:v>7.2679999999999998</c:v>
                </c:pt>
                <c:pt idx="10328">
                  <c:v>7.2679999999999998</c:v>
                </c:pt>
                <c:pt idx="10329">
                  <c:v>7.2670000000000003</c:v>
                </c:pt>
                <c:pt idx="10330">
                  <c:v>7.2670000000000003</c:v>
                </c:pt>
                <c:pt idx="10331">
                  <c:v>7.2679999999999998</c:v>
                </c:pt>
                <c:pt idx="10332">
                  <c:v>7.2679999999999998</c:v>
                </c:pt>
                <c:pt idx="10333">
                  <c:v>7.2679999999999998</c:v>
                </c:pt>
                <c:pt idx="10334">
                  <c:v>7.2679999999999998</c:v>
                </c:pt>
                <c:pt idx="10335">
                  <c:v>7.2679999999999998</c:v>
                </c:pt>
                <c:pt idx="10336">
                  <c:v>7.2679999999999998</c:v>
                </c:pt>
                <c:pt idx="10337">
                  <c:v>7.2670000000000003</c:v>
                </c:pt>
                <c:pt idx="10338">
                  <c:v>7.2670000000000003</c:v>
                </c:pt>
                <c:pt idx="10339">
                  <c:v>7.2670000000000003</c:v>
                </c:pt>
                <c:pt idx="10340">
                  <c:v>7.2679999999999998</c:v>
                </c:pt>
                <c:pt idx="10341">
                  <c:v>7.2679999999999998</c:v>
                </c:pt>
                <c:pt idx="10342">
                  <c:v>7.2670000000000003</c:v>
                </c:pt>
                <c:pt idx="10343">
                  <c:v>7.2670000000000003</c:v>
                </c:pt>
                <c:pt idx="10344">
                  <c:v>7.2670000000000003</c:v>
                </c:pt>
                <c:pt idx="10345">
                  <c:v>7.2670000000000003</c:v>
                </c:pt>
                <c:pt idx="10346">
                  <c:v>7.2670000000000003</c:v>
                </c:pt>
                <c:pt idx="10347">
                  <c:v>7.2670000000000003</c:v>
                </c:pt>
                <c:pt idx="10348">
                  <c:v>7.266</c:v>
                </c:pt>
                <c:pt idx="10349">
                  <c:v>7.266</c:v>
                </c:pt>
                <c:pt idx="10350">
                  <c:v>7.266</c:v>
                </c:pt>
                <c:pt idx="10351">
                  <c:v>7.266</c:v>
                </c:pt>
                <c:pt idx="10352">
                  <c:v>7.266</c:v>
                </c:pt>
                <c:pt idx="10353">
                  <c:v>7.2649999999999997</c:v>
                </c:pt>
                <c:pt idx="10354">
                  <c:v>7.266</c:v>
                </c:pt>
                <c:pt idx="10355">
                  <c:v>7.266</c:v>
                </c:pt>
                <c:pt idx="10356">
                  <c:v>7.266</c:v>
                </c:pt>
                <c:pt idx="10357">
                  <c:v>7.266</c:v>
                </c:pt>
                <c:pt idx="10358">
                  <c:v>7.266</c:v>
                </c:pt>
                <c:pt idx="10359">
                  <c:v>7.266</c:v>
                </c:pt>
                <c:pt idx="10360">
                  <c:v>7.266</c:v>
                </c:pt>
                <c:pt idx="10361">
                  <c:v>7.266</c:v>
                </c:pt>
                <c:pt idx="10362">
                  <c:v>7.266</c:v>
                </c:pt>
                <c:pt idx="10363">
                  <c:v>7.266</c:v>
                </c:pt>
                <c:pt idx="10364">
                  <c:v>7.266</c:v>
                </c:pt>
                <c:pt idx="10365">
                  <c:v>7.266</c:v>
                </c:pt>
                <c:pt idx="10366">
                  <c:v>7.266</c:v>
                </c:pt>
                <c:pt idx="10367">
                  <c:v>7.266</c:v>
                </c:pt>
                <c:pt idx="10368">
                  <c:v>7.266</c:v>
                </c:pt>
                <c:pt idx="10369">
                  <c:v>7.266</c:v>
                </c:pt>
                <c:pt idx="10370">
                  <c:v>7.266</c:v>
                </c:pt>
                <c:pt idx="10371">
                  <c:v>7.266</c:v>
                </c:pt>
                <c:pt idx="10372">
                  <c:v>7.266</c:v>
                </c:pt>
                <c:pt idx="10373">
                  <c:v>7.266</c:v>
                </c:pt>
                <c:pt idx="10374">
                  <c:v>7.2649999999999997</c:v>
                </c:pt>
                <c:pt idx="10375">
                  <c:v>7.266</c:v>
                </c:pt>
                <c:pt idx="10376">
                  <c:v>7.266</c:v>
                </c:pt>
                <c:pt idx="10377">
                  <c:v>7.266</c:v>
                </c:pt>
                <c:pt idx="10378">
                  <c:v>7.266</c:v>
                </c:pt>
                <c:pt idx="10379">
                  <c:v>7.2649999999999997</c:v>
                </c:pt>
                <c:pt idx="10380">
                  <c:v>7.266</c:v>
                </c:pt>
                <c:pt idx="10381">
                  <c:v>7.2649999999999997</c:v>
                </c:pt>
                <c:pt idx="10382">
                  <c:v>7.266</c:v>
                </c:pt>
                <c:pt idx="10383">
                  <c:v>7.266</c:v>
                </c:pt>
                <c:pt idx="10384">
                  <c:v>7.266</c:v>
                </c:pt>
                <c:pt idx="10385">
                  <c:v>7.2649999999999997</c:v>
                </c:pt>
                <c:pt idx="10386">
                  <c:v>7.266</c:v>
                </c:pt>
                <c:pt idx="10387">
                  <c:v>7.2649999999999997</c:v>
                </c:pt>
                <c:pt idx="10388">
                  <c:v>7.2649999999999997</c:v>
                </c:pt>
                <c:pt idx="10389">
                  <c:v>7.2649999999999997</c:v>
                </c:pt>
                <c:pt idx="10390">
                  <c:v>7.2649999999999997</c:v>
                </c:pt>
                <c:pt idx="10391">
                  <c:v>7.266</c:v>
                </c:pt>
                <c:pt idx="10392">
                  <c:v>7.266</c:v>
                </c:pt>
                <c:pt idx="10393">
                  <c:v>7.266</c:v>
                </c:pt>
                <c:pt idx="10394">
                  <c:v>7.266</c:v>
                </c:pt>
                <c:pt idx="10395">
                  <c:v>7.2649999999999997</c:v>
                </c:pt>
                <c:pt idx="10396">
                  <c:v>7.2649999999999997</c:v>
                </c:pt>
                <c:pt idx="10397">
                  <c:v>7.2649999999999997</c:v>
                </c:pt>
                <c:pt idx="10398">
                  <c:v>7.266</c:v>
                </c:pt>
                <c:pt idx="10399">
                  <c:v>7.2649999999999997</c:v>
                </c:pt>
                <c:pt idx="10400">
                  <c:v>7.2649999999999997</c:v>
                </c:pt>
                <c:pt idx="10401">
                  <c:v>7.2649999999999997</c:v>
                </c:pt>
                <c:pt idx="10402">
                  <c:v>7.2649999999999997</c:v>
                </c:pt>
                <c:pt idx="10403">
                  <c:v>7.2649999999999997</c:v>
                </c:pt>
                <c:pt idx="10404">
                  <c:v>7.2649999999999997</c:v>
                </c:pt>
                <c:pt idx="10405">
                  <c:v>7.2649999999999997</c:v>
                </c:pt>
                <c:pt idx="10406">
                  <c:v>7.2649999999999997</c:v>
                </c:pt>
                <c:pt idx="10407">
                  <c:v>7.2649999999999997</c:v>
                </c:pt>
                <c:pt idx="10408">
                  <c:v>7.2649999999999997</c:v>
                </c:pt>
                <c:pt idx="10409">
                  <c:v>7.2649999999999997</c:v>
                </c:pt>
                <c:pt idx="10410">
                  <c:v>7.2649999999999997</c:v>
                </c:pt>
                <c:pt idx="10411">
                  <c:v>7.2649999999999997</c:v>
                </c:pt>
                <c:pt idx="10412">
                  <c:v>7.2649999999999997</c:v>
                </c:pt>
                <c:pt idx="10413">
                  <c:v>7.2640000000000002</c:v>
                </c:pt>
                <c:pt idx="10414">
                  <c:v>7.2649999999999997</c:v>
                </c:pt>
                <c:pt idx="10415">
                  <c:v>7.2640000000000002</c:v>
                </c:pt>
                <c:pt idx="10416">
                  <c:v>7.2640000000000002</c:v>
                </c:pt>
                <c:pt idx="10417">
                  <c:v>7.2640000000000002</c:v>
                </c:pt>
                <c:pt idx="10418">
                  <c:v>7.2640000000000002</c:v>
                </c:pt>
                <c:pt idx="10419">
                  <c:v>7.2640000000000002</c:v>
                </c:pt>
                <c:pt idx="10420">
                  <c:v>7.2640000000000002</c:v>
                </c:pt>
                <c:pt idx="10421">
                  <c:v>7.2640000000000002</c:v>
                </c:pt>
                <c:pt idx="10422">
                  <c:v>7.2640000000000002</c:v>
                </c:pt>
                <c:pt idx="10423">
                  <c:v>7.2640000000000002</c:v>
                </c:pt>
                <c:pt idx="10424">
                  <c:v>7.2640000000000002</c:v>
                </c:pt>
                <c:pt idx="10425">
                  <c:v>7.2640000000000002</c:v>
                </c:pt>
                <c:pt idx="10426">
                  <c:v>7.2640000000000002</c:v>
                </c:pt>
                <c:pt idx="10427">
                  <c:v>7.2640000000000002</c:v>
                </c:pt>
                <c:pt idx="10428">
                  <c:v>7.2640000000000002</c:v>
                </c:pt>
                <c:pt idx="10429">
                  <c:v>7.2640000000000002</c:v>
                </c:pt>
                <c:pt idx="10430">
                  <c:v>7.2640000000000002</c:v>
                </c:pt>
                <c:pt idx="10431">
                  <c:v>7.2629999999999999</c:v>
                </c:pt>
                <c:pt idx="10432">
                  <c:v>7.2629999999999999</c:v>
                </c:pt>
                <c:pt idx="10433">
                  <c:v>7.2629999999999999</c:v>
                </c:pt>
                <c:pt idx="10434">
                  <c:v>7.2629999999999999</c:v>
                </c:pt>
                <c:pt idx="10435">
                  <c:v>7.2629999999999999</c:v>
                </c:pt>
                <c:pt idx="10436">
                  <c:v>7.2629999999999999</c:v>
                </c:pt>
                <c:pt idx="10437">
                  <c:v>7.2629999999999999</c:v>
                </c:pt>
                <c:pt idx="10438">
                  <c:v>7.2629999999999999</c:v>
                </c:pt>
                <c:pt idx="10439">
                  <c:v>7.2629999999999999</c:v>
                </c:pt>
                <c:pt idx="10440">
                  <c:v>7.2629999999999999</c:v>
                </c:pt>
                <c:pt idx="10441">
                  <c:v>7.2629999999999999</c:v>
                </c:pt>
                <c:pt idx="10442">
                  <c:v>7.2629999999999999</c:v>
                </c:pt>
                <c:pt idx="10443">
                  <c:v>7.2629999999999999</c:v>
                </c:pt>
                <c:pt idx="10444">
                  <c:v>7.2619999999999996</c:v>
                </c:pt>
                <c:pt idx="10445">
                  <c:v>7.2629999999999999</c:v>
                </c:pt>
                <c:pt idx="10446">
                  <c:v>7.2629999999999999</c:v>
                </c:pt>
                <c:pt idx="10447">
                  <c:v>7.2629999999999999</c:v>
                </c:pt>
                <c:pt idx="10448">
                  <c:v>7.2619999999999996</c:v>
                </c:pt>
                <c:pt idx="10449">
                  <c:v>7.2619999999999996</c:v>
                </c:pt>
                <c:pt idx="10450">
                  <c:v>7.2629999999999999</c:v>
                </c:pt>
                <c:pt idx="10451">
                  <c:v>7.2619999999999996</c:v>
                </c:pt>
                <c:pt idx="10452">
                  <c:v>7.2629999999999999</c:v>
                </c:pt>
                <c:pt idx="10453">
                  <c:v>7.2619999999999996</c:v>
                </c:pt>
                <c:pt idx="10454">
                  <c:v>7.2619999999999996</c:v>
                </c:pt>
                <c:pt idx="10455">
                  <c:v>7.2610000000000001</c:v>
                </c:pt>
                <c:pt idx="10456">
                  <c:v>7.2619999999999996</c:v>
                </c:pt>
                <c:pt idx="10457">
                  <c:v>7.2619999999999996</c:v>
                </c:pt>
                <c:pt idx="10458">
                  <c:v>7.2619999999999996</c:v>
                </c:pt>
                <c:pt idx="10459">
                  <c:v>7.2619999999999996</c:v>
                </c:pt>
                <c:pt idx="10460">
                  <c:v>7.2619999999999996</c:v>
                </c:pt>
                <c:pt idx="10461">
                  <c:v>7.2619999999999996</c:v>
                </c:pt>
                <c:pt idx="10462">
                  <c:v>7.2619999999999996</c:v>
                </c:pt>
                <c:pt idx="10463">
                  <c:v>7.2610000000000001</c:v>
                </c:pt>
                <c:pt idx="10464">
                  <c:v>7.2619999999999996</c:v>
                </c:pt>
                <c:pt idx="10465">
                  <c:v>7.2619999999999996</c:v>
                </c:pt>
                <c:pt idx="10466">
                  <c:v>7.2619999999999996</c:v>
                </c:pt>
                <c:pt idx="10467">
                  <c:v>7.2619999999999996</c:v>
                </c:pt>
                <c:pt idx="10468">
                  <c:v>7.2619999999999996</c:v>
                </c:pt>
                <c:pt idx="10469">
                  <c:v>7.2619999999999996</c:v>
                </c:pt>
                <c:pt idx="10470">
                  <c:v>7.2610000000000001</c:v>
                </c:pt>
                <c:pt idx="10471">
                  <c:v>7.2619999999999996</c:v>
                </c:pt>
                <c:pt idx="10472">
                  <c:v>7.2610000000000001</c:v>
                </c:pt>
                <c:pt idx="10473">
                  <c:v>7.2610000000000001</c:v>
                </c:pt>
                <c:pt idx="10474">
                  <c:v>7.2610000000000001</c:v>
                </c:pt>
                <c:pt idx="10475">
                  <c:v>7.2610000000000001</c:v>
                </c:pt>
                <c:pt idx="10476">
                  <c:v>7.2610000000000001</c:v>
                </c:pt>
                <c:pt idx="10477">
                  <c:v>7.2610000000000001</c:v>
                </c:pt>
                <c:pt idx="10478">
                  <c:v>7.2610000000000001</c:v>
                </c:pt>
                <c:pt idx="10479">
                  <c:v>7.2610000000000001</c:v>
                </c:pt>
                <c:pt idx="10480">
                  <c:v>7.2610000000000001</c:v>
                </c:pt>
                <c:pt idx="10481">
                  <c:v>7.2619999999999996</c:v>
                </c:pt>
                <c:pt idx="10482">
                  <c:v>7.2610000000000001</c:v>
                </c:pt>
                <c:pt idx="10483">
                  <c:v>7.2610000000000001</c:v>
                </c:pt>
                <c:pt idx="10484">
                  <c:v>7.2610000000000001</c:v>
                </c:pt>
                <c:pt idx="10485">
                  <c:v>7.2619999999999996</c:v>
                </c:pt>
                <c:pt idx="10486">
                  <c:v>7.2610000000000001</c:v>
                </c:pt>
                <c:pt idx="10487">
                  <c:v>7.2610000000000001</c:v>
                </c:pt>
                <c:pt idx="10488">
                  <c:v>7.2610000000000001</c:v>
                </c:pt>
                <c:pt idx="10489">
                  <c:v>7.26</c:v>
                </c:pt>
                <c:pt idx="10490">
                  <c:v>7.26</c:v>
                </c:pt>
                <c:pt idx="10491">
                  <c:v>7.2610000000000001</c:v>
                </c:pt>
                <c:pt idx="10492">
                  <c:v>7.2610000000000001</c:v>
                </c:pt>
                <c:pt idx="10493">
                  <c:v>7.2610000000000001</c:v>
                </c:pt>
                <c:pt idx="10494">
                  <c:v>7.2610000000000001</c:v>
                </c:pt>
                <c:pt idx="10495">
                  <c:v>7.2610000000000001</c:v>
                </c:pt>
                <c:pt idx="10496">
                  <c:v>7.26</c:v>
                </c:pt>
                <c:pt idx="10497">
                  <c:v>7.2610000000000001</c:v>
                </c:pt>
                <c:pt idx="10498">
                  <c:v>7.2610000000000001</c:v>
                </c:pt>
                <c:pt idx="10499">
                  <c:v>7.2610000000000001</c:v>
                </c:pt>
                <c:pt idx="10500">
                  <c:v>7.2610000000000001</c:v>
                </c:pt>
                <c:pt idx="10501">
                  <c:v>7.2610000000000001</c:v>
                </c:pt>
                <c:pt idx="10502">
                  <c:v>7.2610000000000001</c:v>
                </c:pt>
                <c:pt idx="10503">
                  <c:v>7.2610000000000001</c:v>
                </c:pt>
                <c:pt idx="10504">
                  <c:v>7.2610000000000001</c:v>
                </c:pt>
                <c:pt idx="10505">
                  <c:v>7.26</c:v>
                </c:pt>
                <c:pt idx="10506">
                  <c:v>7.26</c:v>
                </c:pt>
                <c:pt idx="10507">
                  <c:v>7.26</c:v>
                </c:pt>
                <c:pt idx="10508">
                  <c:v>7.26</c:v>
                </c:pt>
                <c:pt idx="10509">
                  <c:v>7.26</c:v>
                </c:pt>
                <c:pt idx="10510">
                  <c:v>7.26</c:v>
                </c:pt>
                <c:pt idx="10511">
                  <c:v>7.26</c:v>
                </c:pt>
                <c:pt idx="10512">
                  <c:v>7.26</c:v>
                </c:pt>
                <c:pt idx="10513">
                  <c:v>7.26</c:v>
                </c:pt>
                <c:pt idx="10514">
                  <c:v>7.26</c:v>
                </c:pt>
                <c:pt idx="10515">
                  <c:v>7.26</c:v>
                </c:pt>
                <c:pt idx="10516">
                  <c:v>7.26</c:v>
                </c:pt>
                <c:pt idx="10517">
                  <c:v>7.26</c:v>
                </c:pt>
                <c:pt idx="10518">
                  <c:v>7.26</c:v>
                </c:pt>
                <c:pt idx="10519">
                  <c:v>7.26</c:v>
                </c:pt>
                <c:pt idx="10520">
                  <c:v>7.26</c:v>
                </c:pt>
                <c:pt idx="10521">
                  <c:v>7.26</c:v>
                </c:pt>
                <c:pt idx="10522">
                  <c:v>7.26</c:v>
                </c:pt>
                <c:pt idx="10523">
                  <c:v>7.26</c:v>
                </c:pt>
                <c:pt idx="10524">
                  <c:v>7.2590000000000003</c:v>
                </c:pt>
                <c:pt idx="10525">
                  <c:v>7.26</c:v>
                </c:pt>
                <c:pt idx="10526">
                  <c:v>7.26</c:v>
                </c:pt>
                <c:pt idx="10527">
                  <c:v>7.2590000000000003</c:v>
                </c:pt>
                <c:pt idx="10528">
                  <c:v>7.26</c:v>
                </c:pt>
                <c:pt idx="10529">
                  <c:v>7.2590000000000003</c:v>
                </c:pt>
                <c:pt idx="10530">
                  <c:v>7.2590000000000003</c:v>
                </c:pt>
                <c:pt idx="10531">
                  <c:v>7.2590000000000003</c:v>
                </c:pt>
                <c:pt idx="10532">
                  <c:v>7.26</c:v>
                </c:pt>
                <c:pt idx="10533">
                  <c:v>7.2590000000000003</c:v>
                </c:pt>
                <c:pt idx="10534">
                  <c:v>7.2590000000000003</c:v>
                </c:pt>
                <c:pt idx="10535">
                  <c:v>7.2590000000000003</c:v>
                </c:pt>
                <c:pt idx="10536">
                  <c:v>7.2590000000000003</c:v>
                </c:pt>
                <c:pt idx="10537">
                  <c:v>7.2590000000000003</c:v>
                </c:pt>
                <c:pt idx="10538">
                  <c:v>7.2590000000000003</c:v>
                </c:pt>
                <c:pt idx="10539">
                  <c:v>7.2590000000000003</c:v>
                </c:pt>
                <c:pt idx="10540">
                  <c:v>7.2590000000000003</c:v>
                </c:pt>
                <c:pt idx="10541">
                  <c:v>7.2590000000000003</c:v>
                </c:pt>
                <c:pt idx="10542">
                  <c:v>7.2590000000000003</c:v>
                </c:pt>
                <c:pt idx="10543">
                  <c:v>7.2590000000000003</c:v>
                </c:pt>
                <c:pt idx="10544">
                  <c:v>7.258</c:v>
                </c:pt>
                <c:pt idx="10545">
                  <c:v>7.258</c:v>
                </c:pt>
                <c:pt idx="10546">
                  <c:v>7.2590000000000003</c:v>
                </c:pt>
                <c:pt idx="10547">
                  <c:v>7.2590000000000003</c:v>
                </c:pt>
                <c:pt idx="10548">
                  <c:v>7.258</c:v>
                </c:pt>
                <c:pt idx="10549">
                  <c:v>7.258</c:v>
                </c:pt>
                <c:pt idx="10550">
                  <c:v>7.258</c:v>
                </c:pt>
                <c:pt idx="10551">
                  <c:v>7.258</c:v>
                </c:pt>
                <c:pt idx="10552">
                  <c:v>7.258</c:v>
                </c:pt>
                <c:pt idx="10553">
                  <c:v>7.2569999999999997</c:v>
                </c:pt>
                <c:pt idx="10554">
                  <c:v>7.258</c:v>
                </c:pt>
                <c:pt idx="10555">
                  <c:v>7.258</c:v>
                </c:pt>
                <c:pt idx="10556">
                  <c:v>7.2569999999999997</c:v>
                </c:pt>
                <c:pt idx="10557">
                  <c:v>7.258</c:v>
                </c:pt>
                <c:pt idx="10558">
                  <c:v>7.258</c:v>
                </c:pt>
                <c:pt idx="10559">
                  <c:v>7.258</c:v>
                </c:pt>
                <c:pt idx="10560">
                  <c:v>7.2590000000000003</c:v>
                </c:pt>
                <c:pt idx="10561">
                  <c:v>7.258</c:v>
                </c:pt>
                <c:pt idx="10562">
                  <c:v>7.2590000000000003</c:v>
                </c:pt>
                <c:pt idx="10563">
                  <c:v>7.2590000000000003</c:v>
                </c:pt>
                <c:pt idx="10564">
                  <c:v>7.2590000000000003</c:v>
                </c:pt>
                <c:pt idx="10565">
                  <c:v>7.2590000000000003</c:v>
                </c:pt>
                <c:pt idx="10566">
                  <c:v>7.2590000000000003</c:v>
                </c:pt>
                <c:pt idx="10567">
                  <c:v>7.258</c:v>
                </c:pt>
                <c:pt idx="10568">
                  <c:v>7.258</c:v>
                </c:pt>
                <c:pt idx="10569">
                  <c:v>7.258</c:v>
                </c:pt>
                <c:pt idx="10570">
                  <c:v>7.258</c:v>
                </c:pt>
                <c:pt idx="10571">
                  <c:v>7.258</c:v>
                </c:pt>
                <c:pt idx="10572">
                  <c:v>7.2569999999999997</c:v>
                </c:pt>
                <c:pt idx="10573">
                  <c:v>7.258</c:v>
                </c:pt>
                <c:pt idx="10574">
                  <c:v>7.258</c:v>
                </c:pt>
                <c:pt idx="10575">
                  <c:v>7.258</c:v>
                </c:pt>
                <c:pt idx="10576">
                  <c:v>7.258</c:v>
                </c:pt>
                <c:pt idx="10577">
                  <c:v>7.258</c:v>
                </c:pt>
                <c:pt idx="10578">
                  <c:v>7.258</c:v>
                </c:pt>
                <c:pt idx="10579">
                  <c:v>7.2569999999999997</c:v>
                </c:pt>
                <c:pt idx="10580">
                  <c:v>7.258</c:v>
                </c:pt>
                <c:pt idx="10581">
                  <c:v>7.2569999999999997</c:v>
                </c:pt>
                <c:pt idx="10582">
                  <c:v>7.258</c:v>
                </c:pt>
                <c:pt idx="10583">
                  <c:v>7.2569999999999997</c:v>
                </c:pt>
                <c:pt idx="10584">
                  <c:v>7.2569999999999997</c:v>
                </c:pt>
                <c:pt idx="10585">
                  <c:v>7.2569999999999997</c:v>
                </c:pt>
                <c:pt idx="10586">
                  <c:v>7.2569999999999997</c:v>
                </c:pt>
                <c:pt idx="10587">
                  <c:v>7.2569999999999997</c:v>
                </c:pt>
                <c:pt idx="10588">
                  <c:v>7.2569999999999997</c:v>
                </c:pt>
                <c:pt idx="10589">
                  <c:v>7.2569999999999997</c:v>
                </c:pt>
                <c:pt idx="10590">
                  <c:v>7.2569999999999997</c:v>
                </c:pt>
                <c:pt idx="10591">
                  <c:v>7.2569999999999997</c:v>
                </c:pt>
                <c:pt idx="10592">
                  <c:v>7.2569999999999997</c:v>
                </c:pt>
                <c:pt idx="10593">
                  <c:v>7.2569999999999997</c:v>
                </c:pt>
                <c:pt idx="10594">
                  <c:v>7.2569999999999997</c:v>
                </c:pt>
                <c:pt idx="10595">
                  <c:v>7.2569999999999997</c:v>
                </c:pt>
                <c:pt idx="10596">
                  <c:v>7.2569999999999997</c:v>
                </c:pt>
                <c:pt idx="10597">
                  <c:v>7.2569999999999997</c:v>
                </c:pt>
                <c:pt idx="10598">
                  <c:v>7.2569999999999997</c:v>
                </c:pt>
                <c:pt idx="10599">
                  <c:v>7.2569999999999997</c:v>
                </c:pt>
                <c:pt idx="10600">
                  <c:v>7.2560000000000002</c:v>
                </c:pt>
                <c:pt idx="10601">
                  <c:v>7.2569999999999997</c:v>
                </c:pt>
                <c:pt idx="10602">
                  <c:v>7.2560000000000002</c:v>
                </c:pt>
                <c:pt idx="10603">
                  <c:v>7.2569999999999997</c:v>
                </c:pt>
                <c:pt idx="10604">
                  <c:v>7.2569999999999997</c:v>
                </c:pt>
                <c:pt idx="10605">
                  <c:v>7.2560000000000002</c:v>
                </c:pt>
                <c:pt idx="10606">
                  <c:v>7.2569999999999997</c:v>
                </c:pt>
                <c:pt idx="10607">
                  <c:v>7.2569999999999997</c:v>
                </c:pt>
                <c:pt idx="10608">
                  <c:v>7.2569999999999997</c:v>
                </c:pt>
                <c:pt idx="10609">
                  <c:v>7.2560000000000002</c:v>
                </c:pt>
                <c:pt idx="10610">
                  <c:v>7.2569999999999997</c:v>
                </c:pt>
                <c:pt idx="10611">
                  <c:v>7.2569999999999997</c:v>
                </c:pt>
                <c:pt idx="10612">
                  <c:v>7.2569999999999997</c:v>
                </c:pt>
                <c:pt idx="10613">
                  <c:v>7.2560000000000002</c:v>
                </c:pt>
                <c:pt idx="10614">
                  <c:v>7.2569999999999997</c:v>
                </c:pt>
                <c:pt idx="10615">
                  <c:v>7.2560000000000002</c:v>
                </c:pt>
                <c:pt idx="10616">
                  <c:v>7.2569999999999997</c:v>
                </c:pt>
                <c:pt idx="10617">
                  <c:v>7.2560000000000002</c:v>
                </c:pt>
                <c:pt idx="10618">
                  <c:v>7.2560000000000002</c:v>
                </c:pt>
                <c:pt idx="10619">
                  <c:v>7.2560000000000002</c:v>
                </c:pt>
                <c:pt idx="10620">
                  <c:v>7.2560000000000002</c:v>
                </c:pt>
                <c:pt idx="10621">
                  <c:v>7.2560000000000002</c:v>
                </c:pt>
                <c:pt idx="10622">
                  <c:v>7.2560000000000002</c:v>
                </c:pt>
                <c:pt idx="10623">
                  <c:v>7.2560000000000002</c:v>
                </c:pt>
                <c:pt idx="10624">
                  <c:v>7.2560000000000002</c:v>
                </c:pt>
                <c:pt idx="10625">
                  <c:v>7.2560000000000002</c:v>
                </c:pt>
                <c:pt idx="10626">
                  <c:v>7.2560000000000002</c:v>
                </c:pt>
                <c:pt idx="10627">
                  <c:v>7.2560000000000002</c:v>
                </c:pt>
                <c:pt idx="10628">
                  <c:v>7.2560000000000002</c:v>
                </c:pt>
                <c:pt idx="10629">
                  <c:v>7.2560000000000002</c:v>
                </c:pt>
                <c:pt idx="10630">
                  <c:v>7.2560000000000002</c:v>
                </c:pt>
                <c:pt idx="10631">
                  <c:v>7.2560000000000002</c:v>
                </c:pt>
                <c:pt idx="10632">
                  <c:v>7.2560000000000002</c:v>
                </c:pt>
                <c:pt idx="10633">
                  <c:v>7.2560000000000002</c:v>
                </c:pt>
                <c:pt idx="10634">
                  <c:v>7.2560000000000002</c:v>
                </c:pt>
                <c:pt idx="10635">
                  <c:v>7.2560000000000002</c:v>
                </c:pt>
                <c:pt idx="10636">
                  <c:v>7.2549999999999999</c:v>
                </c:pt>
                <c:pt idx="10637">
                  <c:v>7.2549999999999999</c:v>
                </c:pt>
                <c:pt idx="10638">
                  <c:v>7.2549999999999999</c:v>
                </c:pt>
                <c:pt idx="10639">
                  <c:v>7.2549999999999999</c:v>
                </c:pt>
                <c:pt idx="10640">
                  <c:v>7.2549999999999999</c:v>
                </c:pt>
                <c:pt idx="10641">
                  <c:v>7.2560000000000002</c:v>
                </c:pt>
                <c:pt idx="10642">
                  <c:v>7.2549999999999999</c:v>
                </c:pt>
                <c:pt idx="10643">
                  <c:v>7.2549999999999999</c:v>
                </c:pt>
                <c:pt idx="10644">
                  <c:v>7.2560000000000002</c:v>
                </c:pt>
                <c:pt idx="10645">
                  <c:v>7.2549999999999999</c:v>
                </c:pt>
                <c:pt idx="10646">
                  <c:v>7.2560000000000002</c:v>
                </c:pt>
                <c:pt idx="10647">
                  <c:v>7.2560000000000002</c:v>
                </c:pt>
                <c:pt idx="10648">
                  <c:v>7.2549999999999999</c:v>
                </c:pt>
                <c:pt idx="10649">
                  <c:v>7.2560000000000002</c:v>
                </c:pt>
                <c:pt idx="10650">
                  <c:v>7.2560000000000002</c:v>
                </c:pt>
                <c:pt idx="10651">
                  <c:v>7.2549999999999999</c:v>
                </c:pt>
                <c:pt idx="10652">
                  <c:v>7.2560000000000002</c:v>
                </c:pt>
                <c:pt idx="10653">
                  <c:v>7.2560000000000002</c:v>
                </c:pt>
                <c:pt idx="10654">
                  <c:v>7.2549999999999999</c:v>
                </c:pt>
                <c:pt idx="10655">
                  <c:v>7.2560000000000002</c:v>
                </c:pt>
                <c:pt idx="10656">
                  <c:v>7.2560000000000002</c:v>
                </c:pt>
                <c:pt idx="10657">
                  <c:v>7.2549999999999999</c:v>
                </c:pt>
                <c:pt idx="10658">
                  <c:v>7.2549999999999999</c:v>
                </c:pt>
                <c:pt idx="10659">
                  <c:v>7.2549999999999999</c:v>
                </c:pt>
                <c:pt idx="10660">
                  <c:v>7.2549999999999999</c:v>
                </c:pt>
                <c:pt idx="10661">
                  <c:v>7.2549999999999999</c:v>
                </c:pt>
                <c:pt idx="10662">
                  <c:v>7.2549999999999999</c:v>
                </c:pt>
                <c:pt idx="10663">
                  <c:v>7.2549999999999999</c:v>
                </c:pt>
                <c:pt idx="10664">
                  <c:v>7.2549999999999999</c:v>
                </c:pt>
                <c:pt idx="10665">
                  <c:v>7.2560000000000002</c:v>
                </c:pt>
                <c:pt idx="10666">
                  <c:v>7.2549999999999999</c:v>
                </c:pt>
                <c:pt idx="10667">
                  <c:v>7.2560000000000002</c:v>
                </c:pt>
                <c:pt idx="10668">
                  <c:v>7.2549999999999999</c:v>
                </c:pt>
                <c:pt idx="10669">
                  <c:v>7.2549999999999999</c:v>
                </c:pt>
                <c:pt idx="10670">
                  <c:v>7.2549999999999999</c:v>
                </c:pt>
                <c:pt idx="10671">
                  <c:v>7.2560000000000002</c:v>
                </c:pt>
                <c:pt idx="10672">
                  <c:v>7.2549999999999999</c:v>
                </c:pt>
                <c:pt idx="10673">
                  <c:v>7.2549999999999999</c:v>
                </c:pt>
                <c:pt idx="10674">
                  <c:v>7.2560000000000002</c:v>
                </c:pt>
                <c:pt idx="10675">
                  <c:v>7.2549999999999999</c:v>
                </c:pt>
                <c:pt idx="10676">
                  <c:v>7.2539999999999996</c:v>
                </c:pt>
                <c:pt idx="10677">
                  <c:v>7.2549999999999999</c:v>
                </c:pt>
                <c:pt idx="10678">
                  <c:v>7.2549999999999999</c:v>
                </c:pt>
                <c:pt idx="10679">
                  <c:v>7.2549999999999999</c:v>
                </c:pt>
                <c:pt idx="10680">
                  <c:v>7.2549999999999999</c:v>
                </c:pt>
                <c:pt idx="10681">
                  <c:v>7.2549999999999999</c:v>
                </c:pt>
                <c:pt idx="10682">
                  <c:v>7.2549999999999999</c:v>
                </c:pt>
                <c:pt idx="10683">
                  <c:v>7.2549999999999999</c:v>
                </c:pt>
                <c:pt idx="10684">
                  <c:v>7.2549999999999999</c:v>
                </c:pt>
                <c:pt idx="10685">
                  <c:v>7.2549999999999999</c:v>
                </c:pt>
                <c:pt idx="10686">
                  <c:v>7.2549999999999999</c:v>
                </c:pt>
                <c:pt idx="10687">
                  <c:v>7.2539999999999996</c:v>
                </c:pt>
                <c:pt idx="10688">
                  <c:v>7.2539999999999996</c:v>
                </c:pt>
                <c:pt idx="10689">
                  <c:v>7.2539999999999996</c:v>
                </c:pt>
                <c:pt idx="10690">
                  <c:v>7.2539999999999996</c:v>
                </c:pt>
                <c:pt idx="10691">
                  <c:v>7.2539999999999996</c:v>
                </c:pt>
                <c:pt idx="10692">
                  <c:v>7.2539999999999996</c:v>
                </c:pt>
                <c:pt idx="10693">
                  <c:v>7.2539999999999996</c:v>
                </c:pt>
                <c:pt idx="10694">
                  <c:v>7.2539999999999996</c:v>
                </c:pt>
                <c:pt idx="10695">
                  <c:v>7.2539999999999996</c:v>
                </c:pt>
                <c:pt idx="10696">
                  <c:v>7.2539999999999996</c:v>
                </c:pt>
                <c:pt idx="10697">
                  <c:v>7.2539999999999996</c:v>
                </c:pt>
                <c:pt idx="10698">
                  <c:v>7.2539999999999996</c:v>
                </c:pt>
                <c:pt idx="10699">
                  <c:v>7.2539999999999996</c:v>
                </c:pt>
                <c:pt idx="10700">
                  <c:v>7.2539999999999996</c:v>
                </c:pt>
                <c:pt idx="10701">
                  <c:v>7.2539999999999996</c:v>
                </c:pt>
                <c:pt idx="10702">
                  <c:v>7.2539999999999996</c:v>
                </c:pt>
                <c:pt idx="10703">
                  <c:v>7.2539999999999996</c:v>
                </c:pt>
                <c:pt idx="10704">
                  <c:v>7.2539999999999996</c:v>
                </c:pt>
                <c:pt idx="10705">
                  <c:v>7.2539999999999996</c:v>
                </c:pt>
                <c:pt idx="10706">
                  <c:v>7.2539999999999996</c:v>
                </c:pt>
                <c:pt idx="10707">
                  <c:v>7.2539999999999996</c:v>
                </c:pt>
                <c:pt idx="10708">
                  <c:v>7.2530000000000001</c:v>
                </c:pt>
                <c:pt idx="10709">
                  <c:v>7.2539999999999996</c:v>
                </c:pt>
                <c:pt idx="10710">
                  <c:v>7.2539999999999996</c:v>
                </c:pt>
                <c:pt idx="10711">
                  <c:v>7.2530000000000001</c:v>
                </c:pt>
                <c:pt idx="10712">
                  <c:v>7.2539999999999996</c:v>
                </c:pt>
                <c:pt idx="10713">
                  <c:v>7.2539999999999996</c:v>
                </c:pt>
                <c:pt idx="10714">
                  <c:v>7.2530000000000001</c:v>
                </c:pt>
                <c:pt idx="10715">
                  <c:v>7.2539999999999996</c:v>
                </c:pt>
                <c:pt idx="10716">
                  <c:v>7.2539999999999996</c:v>
                </c:pt>
                <c:pt idx="10717">
                  <c:v>7.2539999999999996</c:v>
                </c:pt>
                <c:pt idx="10718">
                  <c:v>7.2539999999999996</c:v>
                </c:pt>
                <c:pt idx="10719">
                  <c:v>7.2530000000000001</c:v>
                </c:pt>
                <c:pt idx="10720">
                  <c:v>7.2530000000000001</c:v>
                </c:pt>
                <c:pt idx="10721">
                  <c:v>7.2530000000000001</c:v>
                </c:pt>
                <c:pt idx="10722">
                  <c:v>7.2530000000000001</c:v>
                </c:pt>
                <c:pt idx="10723">
                  <c:v>7.2530000000000001</c:v>
                </c:pt>
                <c:pt idx="10724">
                  <c:v>7.2530000000000001</c:v>
                </c:pt>
                <c:pt idx="10725">
                  <c:v>7.2519999999999998</c:v>
                </c:pt>
                <c:pt idx="10726">
                  <c:v>7.2530000000000001</c:v>
                </c:pt>
                <c:pt idx="10727">
                  <c:v>7.2530000000000001</c:v>
                </c:pt>
                <c:pt idx="10728">
                  <c:v>7.2530000000000001</c:v>
                </c:pt>
                <c:pt idx="10729">
                  <c:v>7.2530000000000001</c:v>
                </c:pt>
                <c:pt idx="10730">
                  <c:v>7.2530000000000001</c:v>
                </c:pt>
                <c:pt idx="10731">
                  <c:v>7.2530000000000001</c:v>
                </c:pt>
                <c:pt idx="10732">
                  <c:v>7.2530000000000001</c:v>
                </c:pt>
                <c:pt idx="10733">
                  <c:v>7.2530000000000001</c:v>
                </c:pt>
                <c:pt idx="10734">
                  <c:v>7.2530000000000001</c:v>
                </c:pt>
                <c:pt idx="10735">
                  <c:v>7.2530000000000001</c:v>
                </c:pt>
                <c:pt idx="10736">
                  <c:v>7.2519999999999998</c:v>
                </c:pt>
                <c:pt idx="10737">
                  <c:v>7.2519999999999998</c:v>
                </c:pt>
                <c:pt idx="10738">
                  <c:v>7.2519999999999998</c:v>
                </c:pt>
                <c:pt idx="10739">
                  <c:v>7.2530000000000001</c:v>
                </c:pt>
                <c:pt idx="10740">
                  <c:v>7.2519999999999998</c:v>
                </c:pt>
                <c:pt idx="10741">
                  <c:v>7.2519999999999998</c:v>
                </c:pt>
                <c:pt idx="10742">
                  <c:v>7.2519999999999998</c:v>
                </c:pt>
                <c:pt idx="10743">
                  <c:v>7.2519999999999998</c:v>
                </c:pt>
                <c:pt idx="10744">
                  <c:v>7.2519999999999998</c:v>
                </c:pt>
                <c:pt idx="10745">
                  <c:v>7.2519999999999998</c:v>
                </c:pt>
                <c:pt idx="10746">
                  <c:v>7.2519999999999998</c:v>
                </c:pt>
                <c:pt idx="10747">
                  <c:v>7.2510000000000003</c:v>
                </c:pt>
                <c:pt idx="10748">
                  <c:v>7.2519999999999998</c:v>
                </c:pt>
                <c:pt idx="10749">
                  <c:v>7.2519999999999998</c:v>
                </c:pt>
                <c:pt idx="10750">
                  <c:v>7.2519999999999998</c:v>
                </c:pt>
                <c:pt idx="10751">
                  <c:v>7.2519999999999998</c:v>
                </c:pt>
                <c:pt idx="10752">
                  <c:v>7.2519999999999998</c:v>
                </c:pt>
                <c:pt idx="10753">
                  <c:v>7.2510000000000003</c:v>
                </c:pt>
                <c:pt idx="10754">
                  <c:v>7.2510000000000003</c:v>
                </c:pt>
                <c:pt idx="10755">
                  <c:v>7.2510000000000003</c:v>
                </c:pt>
                <c:pt idx="10756">
                  <c:v>7.2510000000000003</c:v>
                </c:pt>
                <c:pt idx="10757">
                  <c:v>7.2510000000000003</c:v>
                </c:pt>
                <c:pt idx="10758">
                  <c:v>7.2510000000000003</c:v>
                </c:pt>
                <c:pt idx="10759">
                  <c:v>7.2510000000000003</c:v>
                </c:pt>
                <c:pt idx="10760">
                  <c:v>7.2510000000000003</c:v>
                </c:pt>
                <c:pt idx="10761">
                  <c:v>7.25</c:v>
                </c:pt>
                <c:pt idx="10762">
                  <c:v>7.25</c:v>
                </c:pt>
                <c:pt idx="10763">
                  <c:v>7.2510000000000003</c:v>
                </c:pt>
                <c:pt idx="10764">
                  <c:v>7.25</c:v>
                </c:pt>
                <c:pt idx="10765">
                  <c:v>7.25</c:v>
                </c:pt>
                <c:pt idx="10766">
                  <c:v>7.25</c:v>
                </c:pt>
                <c:pt idx="10767">
                  <c:v>7.25</c:v>
                </c:pt>
                <c:pt idx="10768">
                  <c:v>7.25</c:v>
                </c:pt>
                <c:pt idx="10769">
                  <c:v>7.25</c:v>
                </c:pt>
                <c:pt idx="10770">
                  <c:v>7.25</c:v>
                </c:pt>
                <c:pt idx="10771">
                  <c:v>7.25</c:v>
                </c:pt>
                <c:pt idx="10772">
                  <c:v>7.2489999999999997</c:v>
                </c:pt>
                <c:pt idx="10773">
                  <c:v>7.25</c:v>
                </c:pt>
                <c:pt idx="10774">
                  <c:v>7.25</c:v>
                </c:pt>
                <c:pt idx="10775">
                  <c:v>7.25</c:v>
                </c:pt>
                <c:pt idx="10776">
                  <c:v>7.25</c:v>
                </c:pt>
                <c:pt idx="10777">
                  <c:v>7.25</c:v>
                </c:pt>
                <c:pt idx="10778">
                  <c:v>7.2489999999999997</c:v>
                </c:pt>
                <c:pt idx="10779">
                  <c:v>7.25</c:v>
                </c:pt>
                <c:pt idx="10780">
                  <c:v>7.25</c:v>
                </c:pt>
                <c:pt idx="10781">
                  <c:v>7.25</c:v>
                </c:pt>
                <c:pt idx="10782">
                  <c:v>7.2489999999999997</c:v>
                </c:pt>
                <c:pt idx="10783">
                  <c:v>7.2489999999999997</c:v>
                </c:pt>
                <c:pt idx="10784">
                  <c:v>7.2489999999999997</c:v>
                </c:pt>
                <c:pt idx="10785">
                  <c:v>7.2489999999999997</c:v>
                </c:pt>
                <c:pt idx="10786">
                  <c:v>7.2489999999999997</c:v>
                </c:pt>
                <c:pt idx="10787">
                  <c:v>7.2489999999999997</c:v>
                </c:pt>
                <c:pt idx="10788">
                  <c:v>7.2489999999999997</c:v>
                </c:pt>
                <c:pt idx="10789">
                  <c:v>7.2489999999999997</c:v>
                </c:pt>
                <c:pt idx="10790">
                  <c:v>7.2489999999999997</c:v>
                </c:pt>
                <c:pt idx="10791">
                  <c:v>7.2489999999999997</c:v>
                </c:pt>
                <c:pt idx="10792">
                  <c:v>7.2489999999999997</c:v>
                </c:pt>
                <c:pt idx="10793">
                  <c:v>7.2489999999999997</c:v>
                </c:pt>
                <c:pt idx="10794">
                  <c:v>7.2480000000000002</c:v>
                </c:pt>
                <c:pt idx="10795">
                  <c:v>7.2480000000000002</c:v>
                </c:pt>
                <c:pt idx="10796">
                  <c:v>7.2480000000000002</c:v>
                </c:pt>
                <c:pt idx="10797">
                  <c:v>7.2480000000000002</c:v>
                </c:pt>
                <c:pt idx="10798">
                  <c:v>7.2480000000000002</c:v>
                </c:pt>
                <c:pt idx="10799">
                  <c:v>7.2480000000000002</c:v>
                </c:pt>
                <c:pt idx="10800">
                  <c:v>7.2480000000000002</c:v>
                </c:pt>
                <c:pt idx="10801">
                  <c:v>7.2489999999999997</c:v>
                </c:pt>
                <c:pt idx="10802">
                  <c:v>7.2480000000000002</c:v>
                </c:pt>
                <c:pt idx="10803">
                  <c:v>7.2469999999999999</c:v>
                </c:pt>
                <c:pt idx="10804">
                  <c:v>7.2469999999999999</c:v>
                </c:pt>
                <c:pt idx="10805">
                  <c:v>7.2480000000000002</c:v>
                </c:pt>
                <c:pt idx="10806">
                  <c:v>7.2480000000000002</c:v>
                </c:pt>
                <c:pt idx="10807">
                  <c:v>7.2469999999999999</c:v>
                </c:pt>
                <c:pt idx="10808">
                  <c:v>7.2469999999999999</c:v>
                </c:pt>
                <c:pt idx="10809">
                  <c:v>7.2480000000000002</c:v>
                </c:pt>
                <c:pt idx="10810">
                  <c:v>7.2469999999999999</c:v>
                </c:pt>
                <c:pt idx="10811">
                  <c:v>7.2469999999999999</c:v>
                </c:pt>
                <c:pt idx="10812">
                  <c:v>7.2469999999999999</c:v>
                </c:pt>
                <c:pt idx="10813">
                  <c:v>7.2469999999999999</c:v>
                </c:pt>
                <c:pt idx="10814">
                  <c:v>7.2469999999999999</c:v>
                </c:pt>
                <c:pt idx="10815">
                  <c:v>7.2460000000000004</c:v>
                </c:pt>
                <c:pt idx="10816">
                  <c:v>7.2460000000000004</c:v>
                </c:pt>
                <c:pt idx="10817">
                  <c:v>7.2450000000000001</c:v>
                </c:pt>
                <c:pt idx="10818">
                  <c:v>7.2460000000000004</c:v>
                </c:pt>
                <c:pt idx="10819">
                  <c:v>7.2450000000000001</c:v>
                </c:pt>
                <c:pt idx="10820">
                  <c:v>7.2460000000000004</c:v>
                </c:pt>
                <c:pt idx="10821">
                  <c:v>7.2450000000000001</c:v>
                </c:pt>
                <c:pt idx="10822">
                  <c:v>7.2450000000000001</c:v>
                </c:pt>
                <c:pt idx="10823">
                  <c:v>7.2450000000000001</c:v>
                </c:pt>
                <c:pt idx="10824">
                  <c:v>7.2450000000000001</c:v>
                </c:pt>
                <c:pt idx="10825">
                  <c:v>7.2450000000000001</c:v>
                </c:pt>
                <c:pt idx="10826">
                  <c:v>7.2460000000000004</c:v>
                </c:pt>
                <c:pt idx="10827">
                  <c:v>7.2460000000000004</c:v>
                </c:pt>
                <c:pt idx="10828">
                  <c:v>7.2450000000000001</c:v>
                </c:pt>
                <c:pt idx="10829">
                  <c:v>7.2460000000000004</c:v>
                </c:pt>
                <c:pt idx="10830">
                  <c:v>7.2450000000000001</c:v>
                </c:pt>
                <c:pt idx="10831">
                  <c:v>7.2460000000000004</c:v>
                </c:pt>
                <c:pt idx="10832">
                  <c:v>7.2460000000000004</c:v>
                </c:pt>
                <c:pt idx="10833">
                  <c:v>7.2450000000000001</c:v>
                </c:pt>
                <c:pt idx="10834">
                  <c:v>7.2450000000000001</c:v>
                </c:pt>
                <c:pt idx="10835">
                  <c:v>7.2439999999999998</c:v>
                </c:pt>
                <c:pt idx="10836">
                  <c:v>7.2439999999999998</c:v>
                </c:pt>
                <c:pt idx="10837">
                  <c:v>7.2439999999999998</c:v>
                </c:pt>
                <c:pt idx="10838">
                  <c:v>7.2439999999999998</c:v>
                </c:pt>
                <c:pt idx="10839">
                  <c:v>7.2439999999999998</c:v>
                </c:pt>
                <c:pt idx="10840">
                  <c:v>7.2439999999999998</c:v>
                </c:pt>
                <c:pt idx="10841">
                  <c:v>7.2439999999999998</c:v>
                </c:pt>
                <c:pt idx="10842">
                  <c:v>7.2439999999999998</c:v>
                </c:pt>
                <c:pt idx="10843">
                  <c:v>7.2439999999999998</c:v>
                </c:pt>
                <c:pt idx="10844">
                  <c:v>7.2439999999999998</c:v>
                </c:pt>
                <c:pt idx="10845">
                  <c:v>7.2439999999999998</c:v>
                </c:pt>
                <c:pt idx="10846">
                  <c:v>7.2450000000000001</c:v>
                </c:pt>
                <c:pt idx="10847">
                  <c:v>7.2450000000000001</c:v>
                </c:pt>
                <c:pt idx="10848">
                  <c:v>7.2450000000000001</c:v>
                </c:pt>
                <c:pt idx="10849">
                  <c:v>7.2450000000000001</c:v>
                </c:pt>
                <c:pt idx="10850">
                  <c:v>7.2450000000000001</c:v>
                </c:pt>
                <c:pt idx="10851">
                  <c:v>7.2439999999999998</c:v>
                </c:pt>
                <c:pt idx="10852">
                  <c:v>7.2439999999999998</c:v>
                </c:pt>
                <c:pt idx="10853">
                  <c:v>7.2450000000000001</c:v>
                </c:pt>
                <c:pt idx="10854">
                  <c:v>7.2450000000000001</c:v>
                </c:pt>
                <c:pt idx="10855">
                  <c:v>7.2450000000000001</c:v>
                </c:pt>
                <c:pt idx="10856">
                  <c:v>7.2439999999999998</c:v>
                </c:pt>
                <c:pt idx="10857">
                  <c:v>7.2439999999999998</c:v>
                </c:pt>
                <c:pt idx="10858">
                  <c:v>7.2450000000000001</c:v>
                </c:pt>
                <c:pt idx="10859">
                  <c:v>7.2439999999999998</c:v>
                </c:pt>
                <c:pt idx="10860">
                  <c:v>7.2439999999999998</c:v>
                </c:pt>
                <c:pt idx="10861">
                  <c:v>7.2450000000000001</c:v>
                </c:pt>
                <c:pt idx="10862">
                  <c:v>7.2450000000000001</c:v>
                </c:pt>
                <c:pt idx="10863">
                  <c:v>7.2439999999999998</c:v>
                </c:pt>
                <c:pt idx="10864">
                  <c:v>7.2439999999999998</c:v>
                </c:pt>
                <c:pt idx="10865">
                  <c:v>7.2439999999999998</c:v>
                </c:pt>
                <c:pt idx="10866">
                  <c:v>7.2439999999999998</c:v>
                </c:pt>
                <c:pt idx="10867">
                  <c:v>7.2439999999999998</c:v>
                </c:pt>
                <c:pt idx="10868">
                  <c:v>7.2439999999999998</c:v>
                </c:pt>
                <c:pt idx="10869">
                  <c:v>7.2439999999999998</c:v>
                </c:pt>
                <c:pt idx="10870">
                  <c:v>7.2439999999999998</c:v>
                </c:pt>
                <c:pt idx="10871">
                  <c:v>7.2439999999999998</c:v>
                </c:pt>
                <c:pt idx="10872">
                  <c:v>7.2439999999999998</c:v>
                </c:pt>
                <c:pt idx="10873">
                  <c:v>7.2439999999999998</c:v>
                </c:pt>
                <c:pt idx="10874">
                  <c:v>7.2430000000000003</c:v>
                </c:pt>
                <c:pt idx="10875">
                  <c:v>7.2430000000000003</c:v>
                </c:pt>
                <c:pt idx="10876">
                  <c:v>7.2439999999999998</c:v>
                </c:pt>
                <c:pt idx="10877">
                  <c:v>7.2439999999999998</c:v>
                </c:pt>
                <c:pt idx="10878">
                  <c:v>7.2430000000000003</c:v>
                </c:pt>
                <c:pt idx="10879">
                  <c:v>7.2430000000000003</c:v>
                </c:pt>
                <c:pt idx="10880">
                  <c:v>7.2439999999999998</c:v>
                </c:pt>
                <c:pt idx="10881">
                  <c:v>7.2430000000000003</c:v>
                </c:pt>
                <c:pt idx="10882">
                  <c:v>7.2430000000000003</c:v>
                </c:pt>
                <c:pt idx="10883">
                  <c:v>7.2430000000000003</c:v>
                </c:pt>
                <c:pt idx="10884">
                  <c:v>7.2430000000000003</c:v>
                </c:pt>
                <c:pt idx="10885">
                  <c:v>7.2439999999999998</c:v>
                </c:pt>
                <c:pt idx="10886">
                  <c:v>7.2430000000000003</c:v>
                </c:pt>
                <c:pt idx="10887">
                  <c:v>7.2439999999999998</c:v>
                </c:pt>
                <c:pt idx="10888">
                  <c:v>7.2439999999999998</c:v>
                </c:pt>
                <c:pt idx="10889">
                  <c:v>7.2430000000000003</c:v>
                </c:pt>
                <c:pt idx="10890">
                  <c:v>7.2430000000000003</c:v>
                </c:pt>
                <c:pt idx="10891">
                  <c:v>7.2430000000000003</c:v>
                </c:pt>
                <c:pt idx="10892">
                  <c:v>7.2430000000000003</c:v>
                </c:pt>
                <c:pt idx="10893">
                  <c:v>7.2430000000000003</c:v>
                </c:pt>
                <c:pt idx="10894">
                  <c:v>7.2430000000000003</c:v>
                </c:pt>
                <c:pt idx="10895">
                  <c:v>7.2430000000000003</c:v>
                </c:pt>
                <c:pt idx="10896">
                  <c:v>7.2430000000000003</c:v>
                </c:pt>
                <c:pt idx="10897">
                  <c:v>7.2430000000000003</c:v>
                </c:pt>
                <c:pt idx="10898">
                  <c:v>7.2430000000000003</c:v>
                </c:pt>
                <c:pt idx="10899">
                  <c:v>7.2430000000000003</c:v>
                </c:pt>
                <c:pt idx="10900">
                  <c:v>7.242</c:v>
                </c:pt>
                <c:pt idx="10901">
                  <c:v>7.242</c:v>
                </c:pt>
                <c:pt idx="10902">
                  <c:v>7.242</c:v>
                </c:pt>
                <c:pt idx="10903">
                  <c:v>7.242</c:v>
                </c:pt>
                <c:pt idx="10904">
                  <c:v>7.242</c:v>
                </c:pt>
                <c:pt idx="10905">
                  <c:v>7.242</c:v>
                </c:pt>
                <c:pt idx="10906">
                  <c:v>7.242</c:v>
                </c:pt>
                <c:pt idx="10907">
                  <c:v>7.242</c:v>
                </c:pt>
                <c:pt idx="10908">
                  <c:v>7.242</c:v>
                </c:pt>
                <c:pt idx="10909">
                  <c:v>7.242</c:v>
                </c:pt>
                <c:pt idx="10910">
                  <c:v>7.242</c:v>
                </c:pt>
                <c:pt idx="10911">
                  <c:v>7.2409999999999997</c:v>
                </c:pt>
                <c:pt idx="10912">
                  <c:v>7.242</c:v>
                </c:pt>
                <c:pt idx="10913">
                  <c:v>7.242</c:v>
                </c:pt>
                <c:pt idx="10914">
                  <c:v>7.242</c:v>
                </c:pt>
                <c:pt idx="10915">
                  <c:v>7.242</c:v>
                </c:pt>
                <c:pt idx="10916">
                  <c:v>7.242</c:v>
                </c:pt>
                <c:pt idx="10917">
                  <c:v>7.2409999999999997</c:v>
                </c:pt>
                <c:pt idx="10918">
                  <c:v>7.2409999999999997</c:v>
                </c:pt>
                <c:pt idx="10919">
                  <c:v>7.2409999999999997</c:v>
                </c:pt>
                <c:pt idx="10920">
                  <c:v>7.242</c:v>
                </c:pt>
                <c:pt idx="10921">
                  <c:v>7.2409999999999997</c:v>
                </c:pt>
                <c:pt idx="10922">
                  <c:v>7.2409999999999997</c:v>
                </c:pt>
                <c:pt idx="10923">
                  <c:v>7.2409999999999997</c:v>
                </c:pt>
                <c:pt idx="10924">
                  <c:v>7.2409999999999997</c:v>
                </c:pt>
                <c:pt idx="10925">
                  <c:v>7.2409999999999997</c:v>
                </c:pt>
                <c:pt idx="10926">
                  <c:v>7.2409999999999997</c:v>
                </c:pt>
                <c:pt idx="10927">
                  <c:v>7.2409999999999997</c:v>
                </c:pt>
                <c:pt idx="10928">
                  <c:v>7.2409999999999997</c:v>
                </c:pt>
                <c:pt idx="10929">
                  <c:v>7.2409999999999997</c:v>
                </c:pt>
                <c:pt idx="10930">
                  <c:v>7.2409999999999997</c:v>
                </c:pt>
                <c:pt idx="10931">
                  <c:v>7.2409999999999997</c:v>
                </c:pt>
                <c:pt idx="10932">
                  <c:v>7.24</c:v>
                </c:pt>
                <c:pt idx="10933">
                  <c:v>7.2409999999999997</c:v>
                </c:pt>
                <c:pt idx="10934">
                  <c:v>7.2409999999999997</c:v>
                </c:pt>
                <c:pt idx="10935">
                  <c:v>7.2409999999999997</c:v>
                </c:pt>
                <c:pt idx="10936">
                  <c:v>7.24</c:v>
                </c:pt>
                <c:pt idx="10937">
                  <c:v>7.24</c:v>
                </c:pt>
                <c:pt idx="10938">
                  <c:v>7.24</c:v>
                </c:pt>
                <c:pt idx="10939">
                  <c:v>7.2409999999999997</c:v>
                </c:pt>
                <c:pt idx="10940">
                  <c:v>7.24</c:v>
                </c:pt>
                <c:pt idx="10941">
                  <c:v>7.24</c:v>
                </c:pt>
                <c:pt idx="10942">
                  <c:v>7.24</c:v>
                </c:pt>
                <c:pt idx="10943">
                  <c:v>7.24</c:v>
                </c:pt>
                <c:pt idx="10944">
                  <c:v>7.24</c:v>
                </c:pt>
                <c:pt idx="10945">
                  <c:v>7.2389999999999999</c:v>
                </c:pt>
                <c:pt idx="10946">
                  <c:v>7.24</c:v>
                </c:pt>
                <c:pt idx="10947">
                  <c:v>7.24</c:v>
                </c:pt>
                <c:pt idx="10948">
                  <c:v>7.24</c:v>
                </c:pt>
                <c:pt idx="10949">
                  <c:v>7.2389999999999999</c:v>
                </c:pt>
                <c:pt idx="10950">
                  <c:v>7.2389999999999999</c:v>
                </c:pt>
                <c:pt idx="10951">
                  <c:v>7.24</c:v>
                </c:pt>
                <c:pt idx="10952">
                  <c:v>7.2389999999999999</c:v>
                </c:pt>
                <c:pt idx="10953">
                  <c:v>7.2389999999999999</c:v>
                </c:pt>
                <c:pt idx="10954">
                  <c:v>7.2389999999999999</c:v>
                </c:pt>
                <c:pt idx="10955">
                  <c:v>7.2389999999999999</c:v>
                </c:pt>
                <c:pt idx="10956">
                  <c:v>7.2389999999999999</c:v>
                </c:pt>
                <c:pt idx="10957">
                  <c:v>7.2389999999999999</c:v>
                </c:pt>
                <c:pt idx="10958">
                  <c:v>7.2389999999999999</c:v>
                </c:pt>
                <c:pt idx="10959">
                  <c:v>7.2389999999999999</c:v>
                </c:pt>
                <c:pt idx="10960">
                  <c:v>7.2389999999999999</c:v>
                </c:pt>
                <c:pt idx="10961">
                  <c:v>7.2389999999999999</c:v>
                </c:pt>
                <c:pt idx="10962">
                  <c:v>7.2389999999999999</c:v>
                </c:pt>
                <c:pt idx="10963">
                  <c:v>7.2389999999999999</c:v>
                </c:pt>
                <c:pt idx="10964">
                  <c:v>7.2389999999999999</c:v>
                </c:pt>
                <c:pt idx="10965">
                  <c:v>7.2389999999999999</c:v>
                </c:pt>
                <c:pt idx="10966">
                  <c:v>7.2389999999999999</c:v>
                </c:pt>
                <c:pt idx="10967">
                  <c:v>7.2389999999999999</c:v>
                </c:pt>
                <c:pt idx="10968">
                  <c:v>7.2389999999999999</c:v>
                </c:pt>
                <c:pt idx="10969">
                  <c:v>7.2380000000000004</c:v>
                </c:pt>
                <c:pt idx="10970">
                  <c:v>7.2389999999999999</c:v>
                </c:pt>
                <c:pt idx="10971">
                  <c:v>7.2389999999999999</c:v>
                </c:pt>
                <c:pt idx="10972">
                  <c:v>7.2380000000000004</c:v>
                </c:pt>
                <c:pt idx="10973">
                  <c:v>7.2389999999999999</c:v>
                </c:pt>
                <c:pt idx="10974">
                  <c:v>7.2380000000000004</c:v>
                </c:pt>
                <c:pt idx="10975">
                  <c:v>7.2380000000000004</c:v>
                </c:pt>
                <c:pt idx="10976">
                  <c:v>7.2380000000000004</c:v>
                </c:pt>
                <c:pt idx="10977">
                  <c:v>7.2380000000000004</c:v>
                </c:pt>
                <c:pt idx="10978">
                  <c:v>7.2380000000000004</c:v>
                </c:pt>
                <c:pt idx="10979">
                  <c:v>7.2380000000000004</c:v>
                </c:pt>
                <c:pt idx="10980">
                  <c:v>7.2380000000000004</c:v>
                </c:pt>
                <c:pt idx="10981">
                  <c:v>7.2380000000000004</c:v>
                </c:pt>
                <c:pt idx="10982">
                  <c:v>7.2380000000000004</c:v>
                </c:pt>
                <c:pt idx="10983">
                  <c:v>7.2389999999999999</c:v>
                </c:pt>
                <c:pt idx="10984">
                  <c:v>7.2380000000000004</c:v>
                </c:pt>
                <c:pt idx="10985">
                  <c:v>7.2380000000000004</c:v>
                </c:pt>
                <c:pt idx="10986">
                  <c:v>7.2380000000000004</c:v>
                </c:pt>
                <c:pt idx="10987">
                  <c:v>7.2370000000000001</c:v>
                </c:pt>
                <c:pt idx="10988">
                  <c:v>7.2380000000000004</c:v>
                </c:pt>
                <c:pt idx="10989">
                  <c:v>7.2380000000000004</c:v>
                </c:pt>
                <c:pt idx="10990">
                  <c:v>7.2370000000000001</c:v>
                </c:pt>
                <c:pt idx="10991">
                  <c:v>7.2370000000000001</c:v>
                </c:pt>
                <c:pt idx="10992">
                  <c:v>7.2370000000000001</c:v>
                </c:pt>
                <c:pt idx="10993">
                  <c:v>7.2370000000000001</c:v>
                </c:pt>
                <c:pt idx="10994">
                  <c:v>7.2370000000000001</c:v>
                </c:pt>
                <c:pt idx="10995">
                  <c:v>7.2370000000000001</c:v>
                </c:pt>
                <c:pt idx="10996">
                  <c:v>7.2370000000000001</c:v>
                </c:pt>
                <c:pt idx="10997">
                  <c:v>7.2370000000000001</c:v>
                </c:pt>
                <c:pt idx="10998">
                  <c:v>7.2370000000000001</c:v>
                </c:pt>
                <c:pt idx="10999">
                  <c:v>7.2370000000000001</c:v>
                </c:pt>
                <c:pt idx="11000">
                  <c:v>7.2370000000000001</c:v>
                </c:pt>
                <c:pt idx="11001">
                  <c:v>7.2359999999999998</c:v>
                </c:pt>
                <c:pt idx="11002">
                  <c:v>7.2370000000000001</c:v>
                </c:pt>
                <c:pt idx="11003">
                  <c:v>7.2370000000000001</c:v>
                </c:pt>
                <c:pt idx="11004">
                  <c:v>7.2370000000000001</c:v>
                </c:pt>
                <c:pt idx="11005">
                  <c:v>7.2370000000000001</c:v>
                </c:pt>
                <c:pt idx="11006">
                  <c:v>7.2370000000000001</c:v>
                </c:pt>
                <c:pt idx="11007">
                  <c:v>7.2370000000000001</c:v>
                </c:pt>
                <c:pt idx="11008">
                  <c:v>7.2370000000000001</c:v>
                </c:pt>
                <c:pt idx="11009">
                  <c:v>7.2370000000000001</c:v>
                </c:pt>
                <c:pt idx="11010">
                  <c:v>7.2359999999999998</c:v>
                </c:pt>
                <c:pt idx="11011">
                  <c:v>7.2370000000000001</c:v>
                </c:pt>
                <c:pt idx="11012">
                  <c:v>7.2370000000000001</c:v>
                </c:pt>
                <c:pt idx="11013">
                  <c:v>7.2359999999999998</c:v>
                </c:pt>
                <c:pt idx="11014">
                  <c:v>7.2370000000000001</c:v>
                </c:pt>
                <c:pt idx="11015">
                  <c:v>7.2359999999999998</c:v>
                </c:pt>
                <c:pt idx="11016">
                  <c:v>7.2359999999999998</c:v>
                </c:pt>
                <c:pt idx="11017">
                  <c:v>7.2370000000000001</c:v>
                </c:pt>
                <c:pt idx="11018">
                  <c:v>7.2359999999999998</c:v>
                </c:pt>
                <c:pt idx="11019">
                  <c:v>7.2359999999999998</c:v>
                </c:pt>
                <c:pt idx="11020">
                  <c:v>7.2359999999999998</c:v>
                </c:pt>
                <c:pt idx="11021">
                  <c:v>7.2359999999999998</c:v>
                </c:pt>
                <c:pt idx="11022">
                  <c:v>7.2359999999999998</c:v>
                </c:pt>
                <c:pt idx="11023">
                  <c:v>7.2359999999999998</c:v>
                </c:pt>
                <c:pt idx="11024">
                  <c:v>7.2359999999999998</c:v>
                </c:pt>
                <c:pt idx="11025">
                  <c:v>7.2359999999999998</c:v>
                </c:pt>
                <c:pt idx="11026">
                  <c:v>7.2359999999999998</c:v>
                </c:pt>
                <c:pt idx="11027">
                  <c:v>7.2359999999999998</c:v>
                </c:pt>
                <c:pt idx="11028">
                  <c:v>7.2359999999999998</c:v>
                </c:pt>
                <c:pt idx="11029">
                  <c:v>7.2359999999999998</c:v>
                </c:pt>
                <c:pt idx="11030">
                  <c:v>7.2359999999999998</c:v>
                </c:pt>
                <c:pt idx="11031">
                  <c:v>7.2359999999999998</c:v>
                </c:pt>
                <c:pt idx="11032">
                  <c:v>7.2350000000000003</c:v>
                </c:pt>
                <c:pt idx="11033">
                  <c:v>7.2350000000000003</c:v>
                </c:pt>
                <c:pt idx="11034">
                  <c:v>7.2350000000000003</c:v>
                </c:pt>
                <c:pt idx="11035">
                  <c:v>7.2350000000000003</c:v>
                </c:pt>
                <c:pt idx="11036">
                  <c:v>7.2370000000000001</c:v>
                </c:pt>
                <c:pt idx="11037">
                  <c:v>7.2359999999999998</c:v>
                </c:pt>
                <c:pt idx="11038">
                  <c:v>7.2350000000000003</c:v>
                </c:pt>
                <c:pt idx="11039">
                  <c:v>7.2350000000000003</c:v>
                </c:pt>
                <c:pt idx="11040">
                  <c:v>7.2350000000000003</c:v>
                </c:pt>
                <c:pt idx="11041">
                  <c:v>7.2350000000000003</c:v>
                </c:pt>
                <c:pt idx="11042">
                  <c:v>7.2350000000000003</c:v>
                </c:pt>
                <c:pt idx="11043">
                  <c:v>7.2350000000000003</c:v>
                </c:pt>
                <c:pt idx="11044">
                  <c:v>7.2350000000000003</c:v>
                </c:pt>
                <c:pt idx="11045">
                  <c:v>7.2350000000000003</c:v>
                </c:pt>
                <c:pt idx="11046">
                  <c:v>7.2350000000000003</c:v>
                </c:pt>
                <c:pt idx="11047">
                  <c:v>7.2350000000000003</c:v>
                </c:pt>
                <c:pt idx="11048">
                  <c:v>7.2350000000000003</c:v>
                </c:pt>
                <c:pt idx="11049">
                  <c:v>7.2350000000000003</c:v>
                </c:pt>
                <c:pt idx="11050">
                  <c:v>7.2350000000000003</c:v>
                </c:pt>
                <c:pt idx="11051">
                  <c:v>7.2350000000000003</c:v>
                </c:pt>
                <c:pt idx="11052">
                  <c:v>7.2350000000000003</c:v>
                </c:pt>
                <c:pt idx="11053">
                  <c:v>7.234</c:v>
                </c:pt>
                <c:pt idx="11054">
                  <c:v>7.2350000000000003</c:v>
                </c:pt>
                <c:pt idx="11055">
                  <c:v>7.234</c:v>
                </c:pt>
                <c:pt idx="11056">
                  <c:v>7.2350000000000003</c:v>
                </c:pt>
                <c:pt idx="11057">
                  <c:v>7.2350000000000003</c:v>
                </c:pt>
                <c:pt idx="11058">
                  <c:v>7.234</c:v>
                </c:pt>
                <c:pt idx="11059">
                  <c:v>7.234</c:v>
                </c:pt>
                <c:pt idx="11060">
                  <c:v>7.234</c:v>
                </c:pt>
                <c:pt idx="11061">
                  <c:v>7.234</c:v>
                </c:pt>
                <c:pt idx="11062">
                  <c:v>7.2350000000000003</c:v>
                </c:pt>
                <c:pt idx="11063">
                  <c:v>7.234</c:v>
                </c:pt>
                <c:pt idx="11064">
                  <c:v>7.234</c:v>
                </c:pt>
                <c:pt idx="11065">
                  <c:v>7.234</c:v>
                </c:pt>
                <c:pt idx="11066">
                  <c:v>7.2350000000000003</c:v>
                </c:pt>
                <c:pt idx="11067">
                  <c:v>7.2350000000000003</c:v>
                </c:pt>
                <c:pt idx="11068">
                  <c:v>7.234</c:v>
                </c:pt>
                <c:pt idx="11069">
                  <c:v>7.234</c:v>
                </c:pt>
                <c:pt idx="11070">
                  <c:v>7.234</c:v>
                </c:pt>
                <c:pt idx="11071">
                  <c:v>7.234</c:v>
                </c:pt>
                <c:pt idx="11072">
                  <c:v>7.234</c:v>
                </c:pt>
                <c:pt idx="11073">
                  <c:v>7.234</c:v>
                </c:pt>
                <c:pt idx="11074">
                  <c:v>7.234</c:v>
                </c:pt>
                <c:pt idx="11075">
                  <c:v>7.234</c:v>
                </c:pt>
                <c:pt idx="11076">
                  <c:v>7.234</c:v>
                </c:pt>
                <c:pt idx="11077">
                  <c:v>7.234</c:v>
                </c:pt>
                <c:pt idx="11078">
                  <c:v>7.234</c:v>
                </c:pt>
                <c:pt idx="11079">
                  <c:v>7.234</c:v>
                </c:pt>
                <c:pt idx="11080">
                  <c:v>7.234</c:v>
                </c:pt>
                <c:pt idx="11081">
                  <c:v>7.234</c:v>
                </c:pt>
                <c:pt idx="11082">
                  <c:v>7.234</c:v>
                </c:pt>
                <c:pt idx="11083">
                  <c:v>7.2350000000000003</c:v>
                </c:pt>
                <c:pt idx="11084">
                  <c:v>7.234</c:v>
                </c:pt>
                <c:pt idx="11085">
                  <c:v>7.234</c:v>
                </c:pt>
                <c:pt idx="11086">
                  <c:v>7.234</c:v>
                </c:pt>
                <c:pt idx="11087">
                  <c:v>7.234</c:v>
                </c:pt>
                <c:pt idx="11088">
                  <c:v>7.234</c:v>
                </c:pt>
                <c:pt idx="11089">
                  <c:v>7.234</c:v>
                </c:pt>
                <c:pt idx="11090">
                  <c:v>7.2350000000000003</c:v>
                </c:pt>
                <c:pt idx="11091">
                  <c:v>7.234</c:v>
                </c:pt>
                <c:pt idx="11092">
                  <c:v>7.2350000000000003</c:v>
                </c:pt>
                <c:pt idx="11093">
                  <c:v>7.234</c:v>
                </c:pt>
                <c:pt idx="11094">
                  <c:v>7.2350000000000003</c:v>
                </c:pt>
                <c:pt idx="11095">
                  <c:v>7.234</c:v>
                </c:pt>
                <c:pt idx="11096">
                  <c:v>7.234</c:v>
                </c:pt>
                <c:pt idx="11097">
                  <c:v>7.234</c:v>
                </c:pt>
                <c:pt idx="11098">
                  <c:v>7.234</c:v>
                </c:pt>
                <c:pt idx="11099">
                  <c:v>7.234</c:v>
                </c:pt>
                <c:pt idx="11100">
                  <c:v>7.234</c:v>
                </c:pt>
                <c:pt idx="11101">
                  <c:v>7.234</c:v>
                </c:pt>
                <c:pt idx="11102">
                  <c:v>7.234</c:v>
                </c:pt>
                <c:pt idx="11103">
                  <c:v>7.234</c:v>
                </c:pt>
                <c:pt idx="11104">
                  <c:v>7.234</c:v>
                </c:pt>
                <c:pt idx="11105">
                  <c:v>7.234</c:v>
                </c:pt>
                <c:pt idx="11106">
                  <c:v>7.234</c:v>
                </c:pt>
                <c:pt idx="11107">
                  <c:v>7.234</c:v>
                </c:pt>
                <c:pt idx="11108">
                  <c:v>7.234</c:v>
                </c:pt>
                <c:pt idx="11109">
                  <c:v>7.234</c:v>
                </c:pt>
                <c:pt idx="11110">
                  <c:v>7.234</c:v>
                </c:pt>
                <c:pt idx="11111">
                  <c:v>7.234</c:v>
                </c:pt>
                <c:pt idx="11112">
                  <c:v>7.234</c:v>
                </c:pt>
                <c:pt idx="11113">
                  <c:v>7.234</c:v>
                </c:pt>
                <c:pt idx="11114">
                  <c:v>7.234</c:v>
                </c:pt>
                <c:pt idx="11115">
                  <c:v>7.234</c:v>
                </c:pt>
                <c:pt idx="11116">
                  <c:v>7.234</c:v>
                </c:pt>
                <c:pt idx="11117">
                  <c:v>7.234</c:v>
                </c:pt>
                <c:pt idx="11118">
                  <c:v>7.2350000000000003</c:v>
                </c:pt>
                <c:pt idx="11119">
                  <c:v>7.234</c:v>
                </c:pt>
                <c:pt idx="11120">
                  <c:v>7.234</c:v>
                </c:pt>
                <c:pt idx="11121">
                  <c:v>7.234</c:v>
                </c:pt>
                <c:pt idx="11122">
                  <c:v>7.2350000000000003</c:v>
                </c:pt>
                <c:pt idx="11123">
                  <c:v>7.234</c:v>
                </c:pt>
                <c:pt idx="11124">
                  <c:v>7.234</c:v>
                </c:pt>
                <c:pt idx="11125">
                  <c:v>7.2350000000000003</c:v>
                </c:pt>
                <c:pt idx="11126">
                  <c:v>7.234</c:v>
                </c:pt>
                <c:pt idx="11127">
                  <c:v>7.234</c:v>
                </c:pt>
                <c:pt idx="11128">
                  <c:v>7.234</c:v>
                </c:pt>
                <c:pt idx="11129">
                  <c:v>7.2350000000000003</c:v>
                </c:pt>
                <c:pt idx="11130">
                  <c:v>7.234</c:v>
                </c:pt>
                <c:pt idx="11131">
                  <c:v>7.234</c:v>
                </c:pt>
                <c:pt idx="11132">
                  <c:v>7.234</c:v>
                </c:pt>
                <c:pt idx="11133">
                  <c:v>7.234</c:v>
                </c:pt>
                <c:pt idx="11134">
                  <c:v>7.234</c:v>
                </c:pt>
                <c:pt idx="11135">
                  <c:v>7.234</c:v>
                </c:pt>
                <c:pt idx="11136">
                  <c:v>7.234</c:v>
                </c:pt>
                <c:pt idx="11137">
                  <c:v>7.234</c:v>
                </c:pt>
                <c:pt idx="11138">
                  <c:v>7.234</c:v>
                </c:pt>
                <c:pt idx="11139">
                  <c:v>7.234</c:v>
                </c:pt>
                <c:pt idx="11140">
                  <c:v>7.234</c:v>
                </c:pt>
                <c:pt idx="11141">
                  <c:v>7.234</c:v>
                </c:pt>
                <c:pt idx="11142">
                  <c:v>7.234</c:v>
                </c:pt>
                <c:pt idx="11143">
                  <c:v>7.234</c:v>
                </c:pt>
                <c:pt idx="11144">
                  <c:v>7.234</c:v>
                </c:pt>
                <c:pt idx="11145">
                  <c:v>7.234</c:v>
                </c:pt>
                <c:pt idx="11146">
                  <c:v>7.234</c:v>
                </c:pt>
                <c:pt idx="11147">
                  <c:v>7.234</c:v>
                </c:pt>
                <c:pt idx="11148">
                  <c:v>7.234</c:v>
                </c:pt>
                <c:pt idx="11149">
                  <c:v>7.234</c:v>
                </c:pt>
                <c:pt idx="11150">
                  <c:v>7.234</c:v>
                </c:pt>
                <c:pt idx="11151">
                  <c:v>7.2350000000000003</c:v>
                </c:pt>
                <c:pt idx="11152">
                  <c:v>7.2350000000000003</c:v>
                </c:pt>
                <c:pt idx="11153">
                  <c:v>7.234</c:v>
                </c:pt>
                <c:pt idx="11154">
                  <c:v>7.2350000000000003</c:v>
                </c:pt>
                <c:pt idx="11155">
                  <c:v>7.2350000000000003</c:v>
                </c:pt>
                <c:pt idx="11156">
                  <c:v>7.234</c:v>
                </c:pt>
                <c:pt idx="11157">
                  <c:v>7.2350000000000003</c:v>
                </c:pt>
                <c:pt idx="11158">
                  <c:v>7.234</c:v>
                </c:pt>
                <c:pt idx="11159">
                  <c:v>7.234</c:v>
                </c:pt>
                <c:pt idx="11160">
                  <c:v>7.2350000000000003</c:v>
                </c:pt>
                <c:pt idx="11161">
                  <c:v>7.234</c:v>
                </c:pt>
                <c:pt idx="11162">
                  <c:v>7.234</c:v>
                </c:pt>
                <c:pt idx="11163">
                  <c:v>7.2350000000000003</c:v>
                </c:pt>
                <c:pt idx="11164">
                  <c:v>7.2350000000000003</c:v>
                </c:pt>
                <c:pt idx="11165">
                  <c:v>7.234</c:v>
                </c:pt>
                <c:pt idx="11166">
                  <c:v>7.2350000000000003</c:v>
                </c:pt>
                <c:pt idx="11167">
                  <c:v>7.2350000000000003</c:v>
                </c:pt>
                <c:pt idx="11168">
                  <c:v>7.2350000000000003</c:v>
                </c:pt>
                <c:pt idx="11169">
                  <c:v>7.2350000000000003</c:v>
                </c:pt>
                <c:pt idx="11170">
                  <c:v>7.2350000000000003</c:v>
                </c:pt>
                <c:pt idx="11171">
                  <c:v>7.2350000000000003</c:v>
                </c:pt>
                <c:pt idx="11172">
                  <c:v>7.2350000000000003</c:v>
                </c:pt>
                <c:pt idx="11173">
                  <c:v>7.2350000000000003</c:v>
                </c:pt>
                <c:pt idx="11174">
                  <c:v>7.2350000000000003</c:v>
                </c:pt>
                <c:pt idx="11175">
                  <c:v>7.2359999999999998</c:v>
                </c:pt>
                <c:pt idx="11176">
                  <c:v>7.2359999999999998</c:v>
                </c:pt>
                <c:pt idx="11177">
                  <c:v>7.2350000000000003</c:v>
                </c:pt>
                <c:pt idx="11178">
                  <c:v>7.2350000000000003</c:v>
                </c:pt>
                <c:pt idx="11179">
                  <c:v>7.2350000000000003</c:v>
                </c:pt>
                <c:pt idx="11180">
                  <c:v>7.2359999999999998</c:v>
                </c:pt>
                <c:pt idx="11181">
                  <c:v>7.2359999999999998</c:v>
                </c:pt>
                <c:pt idx="11182">
                  <c:v>7.2359999999999998</c:v>
                </c:pt>
                <c:pt idx="11183">
                  <c:v>7.2359999999999998</c:v>
                </c:pt>
                <c:pt idx="11184">
                  <c:v>7.2359999999999998</c:v>
                </c:pt>
                <c:pt idx="11185">
                  <c:v>7.2359999999999998</c:v>
                </c:pt>
                <c:pt idx="11186">
                  <c:v>7.2350000000000003</c:v>
                </c:pt>
                <c:pt idx="11187">
                  <c:v>7.2359999999999998</c:v>
                </c:pt>
                <c:pt idx="11188">
                  <c:v>7.2359999999999998</c:v>
                </c:pt>
                <c:pt idx="11189">
                  <c:v>7.2359999999999998</c:v>
                </c:pt>
                <c:pt idx="11190">
                  <c:v>7.2359999999999998</c:v>
                </c:pt>
                <c:pt idx="11191">
                  <c:v>7.2359999999999998</c:v>
                </c:pt>
                <c:pt idx="11192">
                  <c:v>7.2359999999999998</c:v>
                </c:pt>
                <c:pt idx="11193">
                  <c:v>7.2370000000000001</c:v>
                </c:pt>
                <c:pt idx="11194">
                  <c:v>7.2370000000000001</c:v>
                </c:pt>
                <c:pt idx="11195">
                  <c:v>7.2359999999999998</c:v>
                </c:pt>
                <c:pt idx="11196">
                  <c:v>7.2359999999999998</c:v>
                </c:pt>
                <c:pt idx="11197">
                  <c:v>7.2359999999999998</c:v>
                </c:pt>
                <c:pt idx="11198">
                  <c:v>7.2370000000000001</c:v>
                </c:pt>
                <c:pt idx="11199">
                  <c:v>7.2370000000000001</c:v>
                </c:pt>
                <c:pt idx="11200">
                  <c:v>7.2370000000000001</c:v>
                </c:pt>
                <c:pt idx="11201">
                  <c:v>7.2370000000000001</c:v>
                </c:pt>
                <c:pt idx="11202">
                  <c:v>7.2370000000000001</c:v>
                </c:pt>
                <c:pt idx="11203">
                  <c:v>7.2370000000000001</c:v>
                </c:pt>
                <c:pt idx="11204">
                  <c:v>7.2370000000000001</c:v>
                </c:pt>
                <c:pt idx="11205">
                  <c:v>7.2370000000000001</c:v>
                </c:pt>
                <c:pt idx="11206">
                  <c:v>7.2380000000000004</c:v>
                </c:pt>
                <c:pt idx="11207">
                  <c:v>7.2380000000000004</c:v>
                </c:pt>
                <c:pt idx="11208">
                  <c:v>7.2370000000000001</c:v>
                </c:pt>
                <c:pt idx="11209">
                  <c:v>7.2370000000000001</c:v>
                </c:pt>
                <c:pt idx="11210">
                  <c:v>7.2370000000000001</c:v>
                </c:pt>
                <c:pt idx="11211">
                  <c:v>7.2370000000000001</c:v>
                </c:pt>
                <c:pt idx="11212">
                  <c:v>7.2380000000000004</c:v>
                </c:pt>
                <c:pt idx="11213">
                  <c:v>7.2370000000000001</c:v>
                </c:pt>
                <c:pt idx="11214">
                  <c:v>7.2380000000000004</c:v>
                </c:pt>
                <c:pt idx="11215">
                  <c:v>7.2380000000000004</c:v>
                </c:pt>
                <c:pt idx="11216">
                  <c:v>7.2370000000000001</c:v>
                </c:pt>
                <c:pt idx="11217">
                  <c:v>7.2380000000000004</c:v>
                </c:pt>
                <c:pt idx="11218">
                  <c:v>7.2380000000000004</c:v>
                </c:pt>
                <c:pt idx="11219">
                  <c:v>7.2370000000000001</c:v>
                </c:pt>
                <c:pt idx="11220">
                  <c:v>7.2380000000000004</c:v>
                </c:pt>
                <c:pt idx="11221">
                  <c:v>7.2380000000000004</c:v>
                </c:pt>
                <c:pt idx="11222">
                  <c:v>7.2389999999999999</c:v>
                </c:pt>
                <c:pt idx="11223">
                  <c:v>7.2380000000000004</c:v>
                </c:pt>
                <c:pt idx="11224">
                  <c:v>7.2380000000000004</c:v>
                </c:pt>
                <c:pt idx="11225">
                  <c:v>7.2380000000000004</c:v>
                </c:pt>
                <c:pt idx="11226">
                  <c:v>7.2380000000000004</c:v>
                </c:pt>
                <c:pt idx="11227">
                  <c:v>7.2380000000000004</c:v>
                </c:pt>
                <c:pt idx="11228">
                  <c:v>7.2380000000000004</c:v>
                </c:pt>
                <c:pt idx="11229">
                  <c:v>7.2380000000000004</c:v>
                </c:pt>
                <c:pt idx="11230">
                  <c:v>7.2380000000000004</c:v>
                </c:pt>
                <c:pt idx="11231">
                  <c:v>7.2380000000000004</c:v>
                </c:pt>
                <c:pt idx="11232">
                  <c:v>7.2380000000000004</c:v>
                </c:pt>
                <c:pt idx="11233">
                  <c:v>7.2380000000000004</c:v>
                </c:pt>
                <c:pt idx="11234">
                  <c:v>7.2380000000000004</c:v>
                </c:pt>
                <c:pt idx="11235">
                  <c:v>7.24</c:v>
                </c:pt>
                <c:pt idx="11236">
                  <c:v>7.2389999999999999</c:v>
                </c:pt>
                <c:pt idx="11237">
                  <c:v>7.2389999999999999</c:v>
                </c:pt>
                <c:pt idx="11238">
                  <c:v>7.24</c:v>
                </c:pt>
                <c:pt idx="11239">
                  <c:v>7.2389999999999999</c:v>
                </c:pt>
                <c:pt idx="11240">
                  <c:v>7.24</c:v>
                </c:pt>
                <c:pt idx="11241">
                  <c:v>7.2389999999999999</c:v>
                </c:pt>
                <c:pt idx="11242">
                  <c:v>7.2389999999999999</c:v>
                </c:pt>
                <c:pt idx="11243">
                  <c:v>7.2389999999999999</c:v>
                </c:pt>
                <c:pt idx="11244">
                  <c:v>7.2389999999999999</c:v>
                </c:pt>
                <c:pt idx="11245">
                  <c:v>7.2389999999999999</c:v>
                </c:pt>
                <c:pt idx="11246">
                  <c:v>7.2389999999999999</c:v>
                </c:pt>
                <c:pt idx="11247">
                  <c:v>7.24</c:v>
                </c:pt>
                <c:pt idx="11248">
                  <c:v>7.2389999999999999</c:v>
                </c:pt>
                <c:pt idx="11249">
                  <c:v>7.2389999999999999</c:v>
                </c:pt>
                <c:pt idx="11250">
                  <c:v>7.2389999999999999</c:v>
                </c:pt>
                <c:pt idx="11251">
                  <c:v>7.24</c:v>
                </c:pt>
                <c:pt idx="11252">
                  <c:v>7.2389999999999999</c:v>
                </c:pt>
                <c:pt idx="11253">
                  <c:v>7.24</c:v>
                </c:pt>
                <c:pt idx="11254">
                  <c:v>7.2389999999999999</c:v>
                </c:pt>
                <c:pt idx="11255">
                  <c:v>7.2389999999999999</c:v>
                </c:pt>
                <c:pt idx="11256">
                  <c:v>7.24</c:v>
                </c:pt>
                <c:pt idx="11257">
                  <c:v>7.2389999999999999</c:v>
                </c:pt>
                <c:pt idx="11258">
                  <c:v>7.2389999999999999</c:v>
                </c:pt>
                <c:pt idx="11259">
                  <c:v>7.2389999999999999</c:v>
                </c:pt>
                <c:pt idx="11260">
                  <c:v>7.2389999999999999</c:v>
                </c:pt>
                <c:pt idx="11261">
                  <c:v>7.2389999999999999</c:v>
                </c:pt>
                <c:pt idx="11262">
                  <c:v>7.24</c:v>
                </c:pt>
                <c:pt idx="11263">
                  <c:v>7.2389999999999999</c:v>
                </c:pt>
                <c:pt idx="11264">
                  <c:v>7.2389999999999999</c:v>
                </c:pt>
                <c:pt idx="11265">
                  <c:v>7.2389999999999999</c:v>
                </c:pt>
                <c:pt idx="11266">
                  <c:v>7.2389999999999999</c:v>
                </c:pt>
                <c:pt idx="11267">
                  <c:v>7.2389999999999999</c:v>
                </c:pt>
                <c:pt idx="11268">
                  <c:v>7.2389999999999999</c:v>
                </c:pt>
                <c:pt idx="11269">
                  <c:v>7.2389999999999999</c:v>
                </c:pt>
                <c:pt idx="11270">
                  <c:v>7.2389999999999999</c:v>
                </c:pt>
                <c:pt idx="11271">
                  <c:v>7.2389999999999999</c:v>
                </c:pt>
                <c:pt idx="11272">
                  <c:v>7.2389999999999999</c:v>
                </c:pt>
                <c:pt idx="11273">
                  <c:v>7.2389999999999999</c:v>
                </c:pt>
                <c:pt idx="11274">
                  <c:v>7.2389999999999999</c:v>
                </c:pt>
                <c:pt idx="11275">
                  <c:v>7.2389999999999999</c:v>
                </c:pt>
                <c:pt idx="11276">
                  <c:v>7.2389999999999999</c:v>
                </c:pt>
                <c:pt idx="11277">
                  <c:v>7.2380000000000004</c:v>
                </c:pt>
                <c:pt idx="11278">
                  <c:v>7.2380000000000004</c:v>
                </c:pt>
                <c:pt idx="11279">
                  <c:v>7.2389999999999999</c:v>
                </c:pt>
                <c:pt idx="11280">
                  <c:v>7.2380000000000004</c:v>
                </c:pt>
                <c:pt idx="11281">
                  <c:v>7.2380000000000004</c:v>
                </c:pt>
                <c:pt idx="11282">
                  <c:v>7.2380000000000004</c:v>
                </c:pt>
                <c:pt idx="11283">
                  <c:v>7.2380000000000004</c:v>
                </c:pt>
                <c:pt idx="11284">
                  <c:v>7.2380000000000004</c:v>
                </c:pt>
                <c:pt idx="11285">
                  <c:v>7.2380000000000004</c:v>
                </c:pt>
                <c:pt idx="11286">
                  <c:v>7.2380000000000004</c:v>
                </c:pt>
                <c:pt idx="11287">
                  <c:v>7.2380000000000004</c:v>
                </c:pt>
                <c:pt idx="11288">
                  <c:v>7.2380000000000004</c:v>
                </c:pt>
                <c:pt idx="11289">
                  <c:v>7.2380000000000004</c:v>
                </c:pt>
                <c:pt idx="11290">
                  <c:v>7.2380000000000004</c:v>
                </c:pt>
                <c:pt idx="11291">
                  <c:v>7.2380000000000004</c:v>
                </c:pt>
                <c:pt idx="11292">
                  <c:v>7.2380000000000004</c:v>
                </c:pt>
                <c:pt idx="11293">
                  <c:v>7.2380000000000004</c:v>
                </c:pt>
                <c:pt idx="11294">
                  <c:v>7.2389999999999999</c:v>
                </c:pt>
                <c:pt idx="11295">
                  <c:v>7.2380000000000004</c:v>
                </c:pt>
                <c:pt idx="11296">
                  <c:v>7.2380000000000004</c:v>
                </c:pt>
                <c:pt idx="11297">
                  <c:v>7.2380000000000004</c:v>
                </c:pt>
                <c:pt idx="11298">
                  <c:v>7.2380000000000004</c:v>
                </c:pt>
                <c:pt idx="11299">
                  <c:v>7.2380000000000004</c:v>
                </c:pt>
                <c:pt idx="11300">
                  <c:v>7.2389999999999999</c:v>
                </c:pt>
                <c:pt idx="11301">
                  <c:v>7.2380000000000004</c:v>
                </c:pt>
                <c:pt idx="11302">
                  <c:v>7.2389999999999999</c:v>
                </c:pt>
                <c:pt idx="11303">
                  <c:v>7.2380000000000004</c:v>
                </c:pt>
                <c:pt idx="11304">
                  <c:v>7.2380000000000004</c:v>
                </c:pt>
                <c:pt idx="11305">
                  <c:v>7.2380000000000004</c:v>
                </c:pt>
                <c:pt idx="11306">
                  <c:v>7.2380000000000004</c:v>
                </c:pt>
                <c:pt idx="11307">
                  <c:v>7.2380000000000004</c:v>
                </c:pt>
                <c:pt idx="11308">
                  <c:v>7.2380000000000004</c:v>
                </c:pt>
                <c:pt idx="11309">
                  <c:v>7.2389999999999999</c:v>
                </c:pt>
                <c:pt idx="11310">
                  <c:v>7.2389999999999999</c:v>
                </c:pt>
                <c:pt idx="11311">
                  <c:v>7.2380000000000004</c:v>
                </c:pt>
                <c:pt idx="11312">
                  <c:v>7.2389999999999999</c:v>
                </c:pt>
                <c:pt idx="11313">
                  <c:v>7.2389999999999999</c:v>
                </c:pt>
                <c:pt idx="11314">
                  <c:v>7.2380000000000004</c:v>
                </c:pt>
                <c:pt idx="11315">
                  <c:v>7.2380000000000004</c:v>
                </c:pt>
                <c:pt idx="11316">
                  <c:v>7.2380000000000004</c:v>
                </c:pt>
                <c:pt idx="11317">
                  <c:v>7.2380000000000004</c:v>
                </c:pt>
                <c:pt idx="11318">
                  <c:v>7.2380000000000004</c:v>
                </c:pt>
                <c:pt idx="11319">
                  <c:v>7.2380000000000004</c:v>
                </c:pt>
                <c:pt idx="11320">
                  <c:v>7.2389999999999999</c:v>
                </c:pt>
                <c:pt idx="11321">
                  <c:v>7.2389999999999999</c:v>
                </c:pt>
                <c:pt idx="11322">
                  <c:v>7.2380000000000004</c:v>
                </c:pt>
                <c:pt idx="11323">
                  <c:v>7.2380000000000004</c:v>
                </c:pt>
                <c:pt idx="11324">
                  <c:v>7.2389999999999999</c:v>
                </c:pt>
                <c:pt idx="11325">
                  <c:v>7.2389999999999999</c:v>
                </c:pt>
                <c:pt idx="11326">
                  <c:v>7.2389999999999999</c:v>
                </c:pt>
                <c:pt idx="11327">
                  <c:v>7.2389999999999999</c:v>
                </c:pt>
                <c:pt idx="11328">
                  <c:v>7.2389999999999999</c:v>
                </c:pt>
                <c:pt idx="11329">
                  <c:v>7.2389999999999999</c:v>
                </c:pt>
                <c:pt idx="11330">
                  <c:v>7.2389999999999999</c:v>
                </c:pt>
                <c:pt idx="11331">
                  <c:v>7.24</c:v>
                </c:pt>
                <c:pt idx="11332">
                  <c:v>7.2389999999999999</c:v>
                </c:pt>
                <c:pt idx="11333">
                  <c:v>7.2389999999999999</c:v>
                </c:pt>
                <c:pt idx="11334">
                  <c:v>7.24</c:v>
                </c:pt>
                <c:pt idx="11335">
                  <c:v>7.2389999999999999</c:v>
                </c:pt>
                <c:pt idx="11336">
                  <c:v>7.2389999999999999</c:v>
                </c:pt>
                <c:pt idx="11337">
                  <c:v>7.2389999999999999</c:v>
                </c:pt>
                <c:pt idx="11338">
                  <c:v>7.2389999999999999</c:v>
                </c:pt>
                <c:pt idx="11339">
                  <c:v>7.2389999999999999</c:v>
                </c:pt>
                <c:pt idx="11340">
                  <c:v>7.2380000000000004</c:v>
                </c:pt>
                <c:pt idx="11341">
                  <c:v>7.2389999999999999</c:v>
                </c:pt>
                <c:pt idx="11342">
                  <c:v>7.2389999999999999</c:v>
                </c:pt>
                <c:pt idx="11343">
                  <c:v>7.24</c:v>
                </c:pt>
                <c:pt idx="11344">
                  <c:v>7.2389999999999999</c:v>
                </c:pt>
                <c:pt idx="11345">
                  <c:v>7.2389999999999999</c:v>
                </c:pt>
                <c:pt idx="11346">
                  <c:v>7.2389999999999999</c:v>
                </c:pt>
                <c:pt idx="11347">
                  <c:v>7.2389999999999999</c:v>
                </c:pt>
                <c:pt idx="11348">
                  <c:v>7.2389999999999999</c:v>
                </c:pt>
                <c:pt idx="11349">
                  <c:v>7.2389999999999999</c:v>
                </c:pt>
                <c:pt idx="11350">
                  <c:v>7.2389999999999999</c:v>
                </c:pt>
                <c:pt idx="11351">
                  <c:v>7.2389999999999999</c:v>
                </c:pt>
                <c:pt idx="11352">
                  <c:v>7.2389999999999999</c:v>
                </c:pt>
                <c:pt idx="11353">
                  <c:v>7.2389999999999999</c:v>
                </c:pt>
                <c:pt idx="11354">
                  <c:v>7.2389999999999999</c:v>
                </c:pt>
                <c:pt idx="11355">
                  <c:v>7.24</c:v>
                </c:pt>
                <c:pt idx="11356">
                  <c:v>7.2389999999999999</c:v>
                </c:pt>
                <c:pt idx="11357">
                  <c:v>7.2389999999999999</c:v>
                </c:pt>
                <c:pt idx="11358">
                  <c:v>7.2389999999999999</c:v>
                </c:pt>
                <c:pt idx="11359">
                  <c:v>7.2389999999999999</c:v>
                </c:pt>
                <c:pt idx="11360">
                  <c:v>7.2389999999999999</c:v>
                </c:pt>
                <c:pt idx="11361">
                  <c:v>7.2389999999999999</c:v>
                </c:pt>
                <c:pt idx="11362">
                  <c:v>7.2389999999999999</c:v>
                </c:pt>
                <c:pt idx="11363">
                  <c:v>7.2389999999999999</c:v>
                </c:pt>
                <c:pt idx="11364">
                  <c:v>7.2389999999999999</c:v>
                </c:pt>
                <c:pt idx="11365">
                  <c:v>7.2389999999999999</c:v>
                </c:pt>
                <c:pt idx="11366">
                  <c:v>7.24</c:v>
                </c:pt>
                <c:pt idx="11367">
                  <c:v>7.24</c:v>
                </c:pt>
                <c:pt idx="11368">
                  <c:v>7.2389999999999999</c:v>
                </c:pt>
                <c:pt idx="11369">
                  <c:v>7.24</c:v>
                </c:pt>
                <c:pt idx="11370">
                  <c:v>7.24</c:v>
                </c:pt>
                <c:pt idx="11371">
                  <c:v>7.2389999999999999</c:v>
                </c:pt>
                <c:pt idx="11372">
                  <c:v>7.2389999999999999</c:v>
                </c:pt>
                <c:pt idx="11373">
                  <c:v>7.2389999999999999</c:v>
                </c:pt>
                <c:pt idx="11374">
                  <c:v>7.2389999999999999</c:v>
                </c:pt>
                <c:pt idx="11375">
                  <c:v>7.2389999999999999</c:v>
                </c:pt>
                <c:pt idx="11376">
                  <c:v>7.2389999999999999</c:v>
                </c:pt>
                <c:pt idx="11377">
                  <c:v>7.24</c:v>
                </c:pt>
                <c:pt idx="11378">
                  <c:v>7.2389999999999999</c:v>
                </c:pt>
                <c:pt idx="11379">
                  <c:v>7.2389999999999999</c:v>
                </c:pt>
                <c:pt idx="11380">
                  <c:v>7.24</c:v>
                </c:pt>
                <c:pt idx="11381">
                  <c:v>7.24</c:v>
                </c:pt>
                <c:pt idx="11382">
                  <c:v>7.24</c:v>
                </c:pt>
                <c:pt idx="11383">
                  <c:v>7.24</c:v>
                </c:pt>
                <c:pt idx="11384">
                  <c:v>7.24</c:v>
                </c:pt>
                <c:pt idx="11385">
                  <c:v>7.24</c:v>
                </c:pt>
                <c:pt idx="11386">
                  <c:v>7.24</c:v>
                </c:pt>
                <c:pt idx="11387">
                  <c:v>7.24</c:v>
                </c:pt>
                <c:pt idx="11388">
                  <c:v>7.2389999999999999</c:v>
                </c:pt>
                <c:pt idx="11389">
                  <c:v>7.24</c:v>
                </c:pt>
                <c:pt idx="11390">
                  <c:v>7.24</c:v>
                </c:pt>
                <c:pt idx="11391">
                  <c:v>7.24</c:v>
                </c:pt>
                <c:pt idx="11392">
                  <c:v>7.24</c:v>
                </c:pt>
                <c:pt idx="11393">
                  <c:v>7.24</c:v>
                </c:pt>
                <c:pt idx="11394">
                  <c:v>7.24</c:v>
                </c:pt>
                <c:pt idx="11395">
                  <c:v>7.24</c:v>
                </c:pt>
                <c:pt idx="11396">
                  <c:v>7.24</c:v>
                </c:pt>
                <c:pt idx="11397">
                  <c:v>7.24</c:v>
                </c:pt>
                <c:pt idx="11398">
                  <c:v>7.2389999999999999</c:v>
                </c:pt>
                <c:pt idx="11399">
                  <c:v>7.24</c:v>
                </c:pt>
                <c:pt idx="11400">
                  <c:v>7.24</c:v>
                </c:pt>
                <c:pt idx="11401">
                  <c:v>7.24</c:v>
                </c:pt>
                <c:pt idx="11402">
                  <c:v>7.24</c:v>
                </c:pt>
                <c:pt idx="11403">
                  <c:v>7.2389999999999999</c:v>
                </c:pt>
                <c:pt idx="11404">
                  <c:v>7.24</c:v>
                </c:pt>
                <c:pt idx="11405">
                  <c:v>7.24</c:v>
                </c:pt>
                <c:pt idx="11406">
                  <c:v>7.2389999999999999</c:v>
                </c:pt>
                <c:pt idx="11407">
                  <c:v>7.24</c:v>
                </c:pt>
                <c:pt idx="11408">
                  <c:v>7.2389999999999999</c:v>
                </c:pt>
                <c:pt idx="11409">
                  <c:v>7.24</c:v>
                </c:pt>
                <c:pt idx="11410">
                  <c:v>7.2389999999999999</c:v>
                </c:pt>
                <c:pt idx="11411">
                  <c:v>7.24</c:v>
                </c:pt>
                <c:pt idx="11412">
                  <c:v>7.24</c:v>
                </c:pt>
                <c:pt idx="11413">
                  <c:v>7.24</c:v>
                </c:pt>
                <c:pt idx="11414">
                  <c:v>7.24</c:v>
                </c:pt>
                <c:pt idx="11415">
                  <c:v>7.2389999999999999</c:v>
                </c:pt>
                <c:pt idx="11416">
                  <c:v>7.2389999999999999</c:v>
                </c:pt>
                <c:pt idx="11417">
                  <c:v>7.24</c:v>
                </c:pt>
                <c:pt idx="11418">
                  <c:v>7.24</c:v>
                </c:pt>
                <c:pt idx="11419">
                  <c:v>7.2409999999999997</c:v>
                </c:pt>
                <c:pt idx="11420">
                  <c:v>7.2409999999999997</c:v>
                </c:pt>
                <c:pt idx="11421">
                  <c:v>7.24</c:v>
                </c:pt>
                <c:pt idx="11422">
                  <c:v>7.24</c:v>
                </c:pt>
                <c:pt idx="11423">
                  <c:v>7.24</c:v>
                </c:pt>
                <c:pt idx="11424">
                  <c:v>7.24</c:v>
                </c:pt>
                <c:pt idx="11425">
                  <c:v>7.24</c:v>
                </c:pt>
                <c:pt idx="11426">
                  <c:v>7.24</c:v>
                </c:pt>
                <c:pt idx="11427">
                  <c:v>7.24</c:v>
                </c:pt>
                <c:pt idx="11428">
                  <c:v>7.24</c:v>
                </c:pt>
                <c:pt idx="11429">
                  <c:v>7.24</c:v>
                </c:pt>
                <c:pt idx="11430">
                  <c:v>7.24</c:v>
                </c:pt>
                <c:pt idx="11431">
                  <c:v>7.24</c:v>
                </c:pt>
                <c:pt idx="11432">
                  <c:v>7.24</c:v>
                </c:pt>
                <c:pt idx="11433">
                  <c:v>7.24</c:v>
                </c:pt>
                <c:pt idx="11434">
                  <c:v>7.24</c:v>
                </c:pt>
                <c:pt idx="11435">
                  <c:v>7.24</c:v>
                </c:pt>
                <c:pt idx="11436">
                  <c:v>7.2389999999999999</c:v>
                </c:pt>
                <c:pt idx="11437">
                  <c:v>7.24</c:v>
                </c:pt>
                <c:pt idx="11438">
                  <c:v>7.24</c:v>
                </c:pt>
                <c:pt idx="11439">
                  <c:v>7.24</c:v>
                </c:pt>
                <c:pt idx="11440">
                  <c:v>7.24</c:v>
                </c:pt>
                <c:pt idx="11441">
                  <c:v>7.24</c:v>
                </c:pt>
                <c:pt idx="11442">
                  <c:v>7.2389999999999999</c:v>
                </c:pt>
                <c:pt idx="11443">
                  <c:v>7.2389999999999999</c:v>
                </c:pt>
                <c:pt idx="11444">
                  <c:v>7.24</c:v>
                </c:pt>
                <c:pt idx="11445">
                  <c:v>7.24</c:v>
                </c:pt>
                <c:pt idx="11446">
                  <c:v>7.24</c:v>
                </c:pt>
                <c:pt idx="11447">
                  <c:v>7.2389999999999999</c:v>
                </c:pt>
                <c:pt idx="11448">
                  <c:v>7.24</c:v>
                </c:pt>
                <c:pt idx="11449">
                  <c:v>7.2389999999999999</c:v>
                </c:pt>
                <c:pt idx="11450">
                  <c:v>7.24</c:v>
                </c:pt>
                <c:pt idx="11451">
                  <c:v>7.24</c:v>
                </c:pt>
                <c:pt idx="11452">
                  <c:v>7.24</c:v>
                </c:pt>
                <c:pt idx="11453">
                  <c:v>7.2389999999999999</c:v>
                </c:pt>
                <c:pt idx="11454">
                  <c:v>7.2389999999999999</c:v>
                </c:pt>
                <c:pt idx="11455">
                  <c:v>7.24</c:v>
                </c:pt>
                <c:pt idx="11456">
                  <c:v>7.24</c:v>
                </c:pt>
                <c:pt idx="11457">
                  <c:v>7.24</c:v>
                </c:pt>
                <c:pt idx="11458">
                  <c:v>7.24</c:v>
                </c:pt>
                <c:pt idx="11459">
                  <c:v>7.24</c:v>
                </c:pt>
                <c:pt idx="11460">
                  <c:v>7.24</c:v>
                </c:pt>
                <c:pt idx="11461">
                  <c:v>7.24</c:v>
                </c:pt>
                <c:pt idx="11462">
                  <c:v>7.24</c:v>
                </c:pt>
                <c:pt idx="11463">
                  <c:v>7.2389999999999999</c:v>
                </c:pt>
                <c:pt idx="11464">
                  <c:v>7.24</c:v>
                </c:pt>
                <c:pt idx="11465">
                  <c:v>7.2389999999999999</c:v>
                </c:pt>
                <c:pt idx="11466">
                  <c:v>7.24</c:v>
                </c:pt>
                <c:pt idx="11467">
                  <c:v>7.24</c:v>
                </c:pt>
                <c:pt idx="11468">
                  <c:v>7.24</c:v>
                </c:pt>
                <c:pt idx="11469">
                  <c:v>7.24</c:v>
                </c:pt>
                <c:pt idx="11470">
                  <c:v>7.2389999999999999</c:v>
                </c:pt>
                <c:pt idx="11471">
                  <c:v>7.2389999999999999</c:v>
                </c:pt>
                <c:pt idx="11472">
                  <c:v>7.24</c:v>
                </c:pt>
                <c:pt idx="11473">
                  <c:v>7.24</c:v>
                </c:pt>
                <c:pt idx="11474">
                  <c:v>7.2389999999999999</c:v>
                </c:pt>
                <c:pt idx="11475">
                  <c:v>7.2389999999999999</c:v>
                </c:pt>
                <c:pt idx="11476">
                  <c:v>7.24</c:v>
                </c:pt>
                <c:pt idx="11477">
                  <c:v>7.2389999999999999</c:v>
                </c:pt>
                <c:pt idx="11478">
                  <c:v>7.2389999999999999</c:v>
                </c:pt>
                <c:pt idx="11479">
                  <c:v>7.24</c:v>
                </c:pt>
                <c:pt idx="11480">
                  <c:v>7.2389999999999999</c:v>
                </c:pt>
                <c:pt idx="11481">
                  <c:v>7.24</c:v>
                </c:pt>
                <c:pt idx="11482">
                  <c:v>7.24</c:v>
                </c:pt>
                <c:pt idx="11483">
                  <c:v>7.24</c:v>
                </c:pt>
                <c:pt idx="11484">
                  <c:v>7.24</c:v>
                </c:pt>
                <c:pt idx="11485">
                  <c:v>7.24</c:v>
                </c:pt>
                <c:pt idx="11486">
                  <c:v>7.24</c:v>
                </c:pt>
                <c:pt idx="11487">
                  <c:v>7.2389999999999999</c:v>
                </c:pt>
                <c:pt idx="11488">
                  <c:v>7.24</c:v>
                </c:pt>
                <c:pt idx="11489">
                  <c:v>7.24</c:v>
                </c:pt>
                <c:pt idx="11490">
                  <c:v>7.24</c:v>
                </c:pt>
                <c:pt idx="11491">
                  <c:v>7.24</c:v>
                </c:pt>
                <c:pt idx="11492">
                  <c:v>7.24</c:v>
                </c:pt>
                <c:pt idx="11493">
                  <c:v>7.24</c:v>
                </c:pt>
                <c:pt idx="11494">
                  <c:v>7.24</c:v>
                </c:pt>
                <c:pt idx="11495">
                  <c:v>7.24</c:v>
                </c:pt>
                <c:pt idx="11496">
                  <c:v>7.24</c:v>
                </c:pt>
                <c:pt idx="11497">
                  <c:v>7.24</c:v>
                </c:pt>
                <c:pt idx="11498">
                  <c:v>7.24</c:v>
                </c:pt>
                <c:pt idx="11499">
                  <c:v>7.24</c:v>
                </c:pt>
                <c:pt idx="11500">
                  <c:v>7.24</c:v>
                </c:pt>
                <c:pt idx="11501">
                  <c:v>7.24</c:v>
                </c:pt>
                <c:pt idx="11502">
                  <c:v>7.24</c:v>
                </c:pt>
                <c:pt idx="11503">
                  <c:v>7.24</c:v>
                </c:pt>
                <c:pt idx="11504">
                  <c:v>7.24</c:v>
                </c:pt>
                <c:pt idx="11505">
                  <c:v>7.24</c:v>
                </c:pt>
                <c:pt idx="11506">
                  <c:v>7.24</c:v>
                </c:pt>
                <c:pt idx="11507">
                  <c:v>7.24</c:v>
                </c:pt>
                <c:pt idx="11508">
                  <c:v>7.2389999999999999</c:v>
                </c:pt>
                <c:pt idx="11509">
                  <c:v>7.24</c:v>
                </c:pt>
                <c:pt idx="11510">
                  <c:v>7.24</c:v>
                </c:pt>
                <c:pt idx="11511">
                  <c:v>7.2380000000000004</c:v>
                </c:pt>
                <c:pt idx="11512">
                  <c:v>7.2389999999999999</c:v>
                </c:pt>
                <c:pt idx="11513">
                  <c:v>7.24</c:v>
                </c:pt>
                <c:pt idx="11514">
                  <c:v>7.24</c:v>
                </c:pt>
                <c:pt idx="11515">
                  <c:v>7.24</c:v>
                </c:pt>
                <c:pt idx="11516">
                  <c:v>7.2389999999999999</c:v>
                </c:pt>
                <c:pt idx="11517">
                  <c:v>7.24</c:v>
                </c:pt>
                <c:pt idx="11518">
                  <c:v>7.24</c:v>
                </c:pt>
                <c:pt idx="11519">
                  <c:v>7.24</c:v>
                </c:pt>
                <c:pt idx="11520">
                  <c:v>7.24</c:v>
                </c:pt>
                <c:pt idx="11521">
                  <c:v>7.24</c:v>
                </c:pt>
                <c:pt idx="11522">
                  <c:v>7.2389999999999999</c:v>
                </c:pt>
                <c:pt idx="11523">
                  <c:v>7.2389999999999999</c:v>
                </c:pt>
                <c:pt idx="11524">
                  <c:v>7.24</c:v>
                </c:pt>
                <c:pt idx="11525">
                  <c:v>7.2389999999999999</c:v>
                </c:pt>
                <c:pt idx="11526">
                  <c:v>7.24</c:v>
                </c:pt>
                <c:pt idx="11527">
                  <c:v>7.24</c:v>
                </c:pt>
                <c:pt idx="11528">
                  <c:v>7.24</c:v>
                </c:pt>
                <c:pt idx="11529">
                  <c:v>7.2409999999999997</c:v>
                </c:pt>
                <c:pt idx="11530">
                  <c:v>7.24</c:v>
                </c:pt>
                <c:pt idx="11531">
                  <c:v>7.24</c:v>
                </c:pt>
                <c:pt idx="11532">
                  <c:v>7.24</c:v>
                </c:pt>
                <c:pt idx="11533">
                  <c:v>7.24</c:v>
                </c:pt>
                <c:pt idx="11534">
                  <c:v>7.2409999999999997</c:v>
                </c:pt>
                <c:pt idx="11535">
                  <c:v>7.24</c:v>
                </c:pt>
                <c:pt idx="11536">
                  <c:v>7.24</c:v>
                </c:pt>
                <c:pt idx="11537">
                  <c:v>7.2389999999999999</c:v>
                </c:pt>
                <c:pt idx="11538">
                  <c:v>7.2409999999999997</c:v>
                </c:pt>
                <c:pt idx="11539">
                  <c:v>7.2409999999999997</c:v>
                </c:pt>
                <c:pt idx="11540">
                  <c:v>7.2409999999999997</c:v>
                </c:pt>
                <c:pt idx="11541">
                  <c:v>7.2409999999999997</c:v>
                </c:pt>
                <c:pt idx="11542">
                  <c:v>7.2409999999999997</c:v>
                </c:pt>
                <c:pt idx="11543">
                  <c:v>7.2409999999999997</c:v>
                </c:pt>
                <c:pt idx="11544">
                  <c:v>7.2409999999999997</c:v>
                </c:pt>
                <c:pt idx="11545">
                  <c:v>7.2409999999999997</c:v>
                </c:pt>
                <c:pt idx="11546">
                  <c:v>7.2409999999999997</c:v>
                </c:pt>
                <c:pt idx="11547">
                  <c:v>7.2409999999999997</c:v>
                </c:pt>
                <c:pt idx="11548">
                  <c:v>7.2409999999999997</c:v>
                </c:pt>
                <c:pt idx="11549">
                  <c:v>7.2409999999999997</c:v>
                </c:pt>
                <c:pt idx="11550">
                  <c:v>7.2409999999999997</c:v>
                </c:pt>
                <c:pt idx="11551">
                  <c:v>7.2409999999999997</c:v>
                </c:pt>
                <c:pt idx="11552">
                  <c:v>7.24</c:v>
                </c:pt>
                <c:pt idx="11553">
                  <c:v>7.24</c:v>
                </c:pt>
                <c:pt idx="11554">
                  <c:v>7.24</c:v>
                </c:pt>
                <c:pt idx="11555">
                  <c:v>7.24</c:v>
                </c:pt>
                <c:pt idx="11556">
                  <c:v>7.2409999999999997</c:v>
                </c:pt>
                <c:pt idx="11557">
                  <c:v>7.2409999999999997</c:v>
                </c:pt>
                <c:pt idx="11558">
                  <c:v>7.24</c:v>
                </c:pt>
                <c:pt idx="11559">
                  <c:v>7.24</c:v>
                </c:pt>
                <c:pt idx="11560">
                  <c:v>7.2409999999999997</c:v>
                </c:pt>
                <c:pt idx="11561">
                  <c:v>7.24</c:v>
                </c:pt>
                <c:pt idx="11562">
                  <c:v>7.2409999999999997</c:v>
                </c:pt>
                <c:pt idx="11563">
                  <c:v>7.24</c:v>
                </c:pt>
                <c:pt idx="11564">
                  <c:v>7.24</c:v>
                </c:pt>
                <c:pt idx="11565">
                  <c:v>7.24</c:v>
                </c:pt>
                <c:pt idx="11566">
                  <c:v>7.24</c:v>
                </c:pt>
                <c:pt idx="11567">
                  <c:v>7.2409999999999997</c:v>
                </c:pt>
                <c:pt idx="11568">
                  <c:v>7.24</c:v>
                </c:pt>
                <c:pt idx="11569">
                  <c:v>7.2409999999999997</c:v>
                </c:pt>
                <c:pt idx="11570">
                  <c:v>7.24</c:v>
                </c:pt>
                <c:pt idx="11571">
                  <c:v>7.24</c:v>
                </c:pt>
                <c:pt idx="11572">
                  <c:v>7.24</c:v>
                </c:pt>
                <c:pt idx="11573">
                  <c:v>7.24</c:v>
                </c:pt>
                <c:pt idx="11574">
                  <c:v>7.24</c:v>
                </c:pt>
                <c:pt idx="11575">
                  <c:v>7.24</c:v>
                </c:pt>
                <c:pt idx="11576">
                  <c:v>7.2409999999999997</c:v>
                </c:pt>
                <c:pt idx="11577">
                  <c:v>7.24</c:v>
                </c:pt>
                <c:pt idx="11578">
                  <c:v>7.2409999999999997</c:v>
                </c:pt>
                <c:pt idx="11579">
                  <c:v>7.24</c:v>
                </c:pt>
                <c:pt idx="11580">
                  <c:v>7.24</c:v>
                </c:pt>
                <c:pt idx="11581">
                  <c:v>7.2409999999999997</c:v>
                </c:pt>
                <c:pt idx="11582">
                  <c:v>7.24</c:v>
                </c:pt>
                <c:pt idx="11583">
                  <c:v>7.24</c:v>
                </c:pt>
                <c:pt idx="11584">
                  <c:v>7.24</c:v>
                </c:pt>
                <c:pt idx="11585">
                  <c:v>7.2409999999999997</c:v>
                </c:pt>
                <c:pt idx="11586">
                  <c:v>7.2409999999999997</c:v>
                </c:pt>
                <c:pt idx="11587">
                  <c:v>7.24</c:v>
                </c:pt>
                <c:pt idx="11588">
                  <c:v>7.24</c:v>
                </c:pt>
                <c:pt idx="11589">
                  <c:v>7.24</c:v>
                </c:pt>
                <c:pt idx="11590">
                  <c:v>7.24</c:v>
                </c:pt>
                <c:pt idx="11591">
                  <c:v>7.24</c:v>
                </c:pt>
                <c:pt idx="11592">
                  <c:v>7.24</c:v>
                </c:pt>
                <c:pt idx="11593">
                  <c:v>7.24</c:v>
                </c:pt>
                <c:pt idx="11594">
                  <c:v>7.2389999999999999</c:v>
                </c:pt>
                <c:pt idx="11595">
                  <c:v>7.24</c:v>
                </c:pt>
                <c:pt idx="11596">
                  <c:v>7.24</c:v>
                </c:pt>
                <c:pt idx="11597">
                  <c:v>7.24</c:v>
                </c:pt>
                <c:pt idx="11598">
                  <c:v>7.24</c:v>
                </c:pt>
                <c:pt idx="11599">
                  <c:v>7.2409999999999997</c:v>
                </c:pt>
                <c:pt idx="11600">
                  <c:v>7.2409999999999997</c:v>
                </c:pt>
                <c:pt idx="11601">
                  <c:v>7.2409999999999997</c:v>
                </c:pt>
                <c:pt idx="11602">
                  <c:v>7.24</c:v>
                </c:pt>
                <c:pt idx="11603">
                  <c:v>7.24</c:v>
                </c:pt>
                <c:pt idx="11604">
                  <c:v>7.24</c:v>
                </c:pt>
                <c:pt idx="11605">
                  <c:v>7.24</c:v>
                </c:pt>
                <c:pt idx="11606">
                  <c:v>7.2409999999999997</c:v>
                </c:pt>
                <c:pt idx="11607">
                  <c:v>7.24</c:v>
                </c:pt>
                <c:pt idx="11608">
                  <c:v>7.24</c:v>
                </c:pt>
                <c:pt idx="11609">
                  <c:v>7.24</c:v>
                </c:pt>
                <c:pt idx="11610">
                  <c:v>7.2409999999999997</c:v>
                </c:pt>
                <c:pt idx="11611">
                  <c:v>7.24</c:v>
                </c:pt>
                <c:pt idx="11612">
                  <c:v>7.24</c:v>
                </c:pt>
                <c:pt idx="11613">
                  <c:v>7.24</c:v>
                </c:pt>
                <c:pt idx="11614">
                  <c:v>7.24</c:v>
                </c:pt>
                <c:pt idx="11615">
                  <c:v>7.24</c:v>
                </c:pt>
                <c:pt idx="11616">
                  <c:v>7.24</c:v>
                </c:pt>
                <c:pt idx="11617">
                  <c:v>7.24</c:v>
                </c:pt>
                <c:pt idx="11618">
                  <c:v>7.24</c:v>
                </c:pt>
                <c:pt idx="11619">
                  <c:v>7.24</c:v>
                </c:pt>
                <c:pt idx="11620">
                  <c:v>7.2409999999999997</c:v>
                </c:pt>
                <c:pt idx="11621">
                  <c:v>7.24</c:v>
                </c:pt>
                <c:pt idx="11622">
                  <c:v>7.2409999999999997</c:v>
                </c:pt>
                <c:pt idx="11623">
                  <c:v>7.24</c:v>
                </c:pt>
                <c:pt idx="11624">
                  <c:v>7.24</c:v>
                </c:pt>
                <c:pt idx="11625">
                  <c:v>7.24</c:v>
                </c:pt>
                <c:pt idx="11626">
                  <c:v>7.24</c:v>
                </c:pt>
                <c:pt idx="11627">
                  <c:v>7.24</c:v>
                </c:pt>
                <c:pt idx="11628">
                  <c:v>7.24</c:v>
                </c:pt>
                <c:pt idx="11629">
                  <c:v>7.24</c:v>
                </c:pt>
                <c:pt idx="11630">
                  <c:v>7.24</c:v>
                </c:pt>
                <c:pt idx="11631">
                  <c:v>7.24</c:v>
                </c:pt>
                <c:pt idx="11632">
                  <c:v>7.24</c:v>
                </c:pt>
                <c:pt idx="11633">
                  <c:v>7.2409999999999997</c:v>
                </c:pt>
                <c:pt idx="11634">
                  <c:v>7.24</c:v>
                </c:pt>
                <c:pt idx="11635">
                  <c:v>7.24</c:v>
                </c:pt>
                <c:pt idx="11636">
                  <c:v>7.2409999999999997</c:v>
                </c:pt>
                <c:pt idx="11637">
                  <c:v>7.24</c:v>
                </c:pt>
                <c:pt idx="11638">
                  <c:v>7.24</c:v>
                </c:pt>
                <c:pt idx="11639">
                  <c:v>7.2409999999999997</c:v>
                </c:pt>
                <c:pt idx="11640">
                  <c:v>7.24</c:v>
                </c:pt>
                <c:pt idx="11641">
                  <c:v>7.24</c:v>
                </c:pt>
                <c:pt idx="11642">
                  <c:v>7.24</c:v>
                </c:pt>
                <c:pt idx="11643">
                  <c:v>7.24</c:v>
                </c:pt>
                <c:pt idx="11644">
                  <c:v>7.24</c:v>
                </c:pt>
                <c:pt idx="11645">
                  <c:v>7.24</c:v>
                </c:pt>
                <c:pt idx="11646">
                  <c:v>7.24</c:v>
                </c:pt>
                <c:pt idx="11647">
                  <c:v>7.24</c:v>
                </c:pt>
                <c:pt idx="11648">
                  <c:v>7.24</c:v>
                </c:pt>
                <c:pt idx="11649">
                  <c:v>7.24</c:v>
                </c:pt>
                <c:pt idx="11650">
                  <c:v>7.24</c:v>
                </c:pt>
                <c:pt idx="11651">
                  <c:v>7.24</c:v>
                </c:pt>
                <c:pt idx="11652">
                  <c:v>7.24</c:v>
                </c:pt>
                <c:pt idx="11653">
                  <c:v>7.24</c:v>
                </c:pt>
                <c:pt idx="11654">
                  <c:v>7.24</c:v>
                </c:pt>
                <c:pt idx="11655">
                  <c:v>7.24</c:v>
                </c:pt>
                <c:pt idx="11656">
                  <c:v>7.24</c:v>
                </c:pt>
                <c:pt idx="11657">
                  <c:v>7.24</c:v>
                </c:pt>
                <c:pt idx="11658">
                  <c:v>7.24</c:v>
                </c:pt>
                <c:pt idx="11659">
                  <c:v>7.24</c:v>
                </c:pt>
                <c:pt idx="11660">
                  <c:v>7.2409999999999997</c:v>
                </c:pt>
                <c:pt idx="11661">
                  <c:v>7.24</c:v>
                </c:pt>
                <c:pt idx="11662">
                  <c:v>7.24</c:v>
                </c:pt>
                <c:pt idx="11663">
                  <c:v>7.24</c:v>
                </c:pt>
                <c:pt idx="11664">
                  <c:v>7.24</c:v>
                </c:pt>
                <c:pt idx="11665">
                  <c:v>7.24</c:v>
                </c:pt>
                <c:pt idx="11666">
                  <c:v>7.24</c:v>
                </c:pt>
                <c:pt idx="11667">
                  <c:v>7.2409999999999997</c:v>
                </c:pt>
                <c:pt idx="11668">
                  <c:v>7.24</c:v>
                </c:pt>
                <c:pt idx="11669">
                  <c:v>7.24</c:v>
                </c:pt>
                <c:pt idx="11670">
                  <c:v>7.2389999999999999</c:v>
                </c:pt>
                <c:pt idx="11671">
                  <c:v>7.2389999999999999</c:v>
                </c:pt>
                <c:pt idx="11672">
                  <c:v>7.24</c:v>
                </c:pt>
                <c:pt idx="11673">
                  <c:v>7.24</c:v>
                </c:pt>
                <c:pt idx="11674">
                  <c:v>7.24</c:v>
                </c:pt>
                <c:pt idx="11675">
                  <c:v>7.24</c:v>
                </c:pt>
                <c:pt idx="11676">
                  <c:v>7.2389999999999999</c:v>
                </c:pt>
                <c:pt idx="11677">
                  <c:v>7.24</c:v>
                </c:pt>
                <c:pt idx="11678">
                  <c:v>7.24</c:v>
                </c:pt>
                <c:pt idx="11679">
                  <c:v>7.24</c:v>
                </c:pt>
                <c:pt idx="11680">
                  <c:v>7.24</c:v>
                </c:pt>
                <c:pt idx="11681">
                  <c:v>7.24</c:v>
                </c:pt>
                <c:pt idx="11682">
                  <c:v>7.24</c:v>
                </c:pt>
                <c:pt idx="11683">
                  <c:v>7.24</c:v>
                </c:pt>
                <c:pt idx="11684">
                  <c:v>7.24</c:v>
                </c:pt>
                <c:pt idx="11685">
                  <c:v>7.24</c:v>
                </c:pt>
                <c:pt idx="11686">
                  <c:v>7.24</c:v>
                </c:pt>
                <c:pt idx="11687">
                  <c:v>7.24</c:v>
                </c:pt>
                <c:pt idx="11688">
                  <c:v>7.24</c:v>
                </c:pt>
                <c:pt idx="11689">
                  <c:v>7.24</c:v>
                </c:pt>
                <c:pt idx="11690">
                  <c:v>7.2409999999999997</c:v>
                </c:pt>
                <c:pt idx="11691">
                  <c:v>7.24</c:v>
                </c:pt>
                <c:pt idx="11692">
                  <c:v>7.24</c:v>
                </c:pt>
                <c:pt idx="11693">
                  <c:v>7.2389999999999999</c:v>
                </c:pt>
                <c:pt idx="11694">
                  <c:v>7.2389999999999999</c:v>
                </c:pt>
                <c:pt idx="11695">
                  <c:v>7.24</c:v>
                </c:pt>
                <c:pt idx="11696">
                  <c:v>7.24</c:v>
                </c:pt>
                <c:pt idx="11697">
                  <c:v>7.24</c:v>
                </c:pt>
                <c:pt idx="11698">
                  <c:v>7.24</c:v>
                </c:pt>
                <c:pt idx="11699">
                  <c:v>7.24</c:v>
                </c:pt>
                <c:pt idx="11700">
                  <c:v>7.2409999999999997</c:v>
                </c:pt>
                <c:pt idx="11701">
                  <c:v>7.2409999999999997</c:v>
                </c:pt>
                <c:pt idx="11702">
                  <c:v>7.2409999999999997</c:v>
                </c:pt>
                <c:pt idx="11703">
                  <c:v>7.24</c:v>
                </c:pt>
                <c:pt idx="11704">
                  <c:v>7.24</c:v>
                </c:pt>
                <c:pt idx="11705">
                  <c:v>7.24</c:v>
                </c:pt>
                <c:pt idx="11706">
                  <c:v>7.2409999999999997</c:v>
                </c:pt>
                <c:pt idx="11707">
                  <c:v>7.24</c:v>
                </c:pt>
                <c:pt idx="11708">
                  <c:v>7.24</c:v>
                </c:pt>
                <c:pt idx="11709">
                  <c:v>7.2409999999999997</c:v>
                </c:pt>
                <c:pt idx="11710">
                  <c:v>7.24</c:v>
                </c:pt>
                <c:pt idx="11711">
                  <c:v>7.24</c:v>
                </c:pt>
                <c:pt idx="11712">
                  <c:v>7.24</c:v>
                </c:pt>
                <c:pt idx="11713">
                  <c:v>7.2409999999999997</c:v>
                </c:pt>
                <c:pt idx="11714">
                  <c:v>7.24</c:v>
                </c:pt>
                <c:pt idx="11715">
                  <c:v>7.24</c:v>
                </c:pt>
                <c:pt idx="11716">
                  <c:v>7.2409999999999997</c:v>
                </c:pt>
                <c:pt idx="11717">
                  <c:v>7.2409999999999997</c:v>
                </c:pt>
                <c:pt idx="11718">
                  <c:v>7.2409999999999997</c:v>
                </c:pt>
                <c:pt idx="11719">
                  <c:v>7.2409999999999997</c:v>
                </c:pt>
                <c:pt idx="11720">
                  <c:v>7.2409999999999997</c:v>
                </c:pt>
                <c:pt idx="11721">
                  <c:v>7.2409999999999997</c:v>
                </c:pt>
                <c:pt idx="11722">
                  <c:v>7.2409999999999997</c:v>
                </c:pt>
                <c:pt idx="11723">
                  <c:v>7.2409999999999997</c:v>
                </c:pt>
                <c:pt idx="11724">
                  <c:v>7.2409999999999997</c:v>
                </c:pt>
                <c:pt idx="11725">
                  <c:v>7.2409999999999997</c:v>
                </c:pt>
                <c:pt idx="11726">
                  <c:v>7.24</c:v>
                </c:pt>
                <c:pt idx="11727">
                  <c:v>7.2409999999999997</c:v>
                </c:pt>
                <c:pt idx="11728">
                  <c:v>7.2409999999999997</c:v>
                </c:pt>
                <c:pt idx="11729">
                  <c:v>7.2409999999999997</c:v>
                </c:pt>
                <c:pt idx="11730">
                  <c:v>7.2409999999999997</c:v>
                </c:pt>
                <c:pt idx="11731">
                  <c:v>7.24</c:v>
                </c:pt>
                <c:pt idx="11732">
                  <c:v>7.242</c:v>
                </c:pt>
                <c:pt idx="11733">
                  <c:v>7.2409999999999997</c:v>
                </c:pt>
                <c:pt idx="11734">
                  <c:v>7.2409999999999997</c:v>
                </c:pt>
                <c:pt idx="11735">
                  <c:v>7.2409999999999997</c:v>
                </c:pt>
                <c:pt idx="11736">
                  <c:v>7.242</c:v>
                </c:pt>
                <c:pt idx="11737">
                  <c:v>7.2409999999999997</c:v>
                </c:pt>
                <c:pt idx="11738">
                  <c:v>7.2409999999999997</c:v>
                </c:pt>
                <c:pt idx="11739">
                  <c:v>7.2409999999999997</c:v>
                </c:pt>
                <c:pt idx="11740">
                  <c:v>7.242</c:v>
                </c:pt>
                <c:pt idx="11741">
                  <c:v>7.2409999999999997</c:v>
                </c:pt>
                <c:pt idx="11742">
                  <c:v>7.2409999999999997</c:v>
                </c:pt>
                <c:pt idx="11743">
                  <c:v>7.2409999999999997</c:v>
                </c:pt>
                <c:pt idx="11744">
                  <c:v>7.2409999999999997</c:v>
                </c:pt>
                <c:pt idx="11745">
                  <c:v>7.2409999999999997</c:v>
                </c:pt>
                <c:pt idx="11746">
                  <c:v>7.2409999999999997</c:v>
                </c:pt>
                <c:pt idx="11747">
                  <c:v>7.2409999999999997</c:v>
                </c:pt>
                <c:pt idx="11748">
                  <c:v>7.2409999999999997</c:v>
                </c:pt>
                <c:pt idx="11749">
                  <c:v>7.2409999999999997</c:v>
                </c:pt>
                <c:pt idx="11750">
                  <c:v>7.2409999999999997</c:v>
                </c:pt>
                <c:pt idx="11751">
                  <c:v>7.24</c:v>
                </c:pt>
                <c:pt idx="11752">
                  <c:v>7.24</c:v>
                </c:pt>
                <c:pt idx="11753">
                  <c:v>7.2409999999999997</c:v>
                </c:pt>
                <c:pt idx="11754">
                  <c:v>7.2409999999999997</c:v>
                </c:pt>
                <c:pt idx="11755">
                  <c:v>7.2409999999999997</c:v>
                </c:pt>
                <c:pt idx="11756">
                  <c:v>7.2409999999999997</c:v>
                </c:pt>
                <c:pt idx="11757">
                  <c:v>7.2409999999999997</c:v>
                </c:pt>
                <c:pt idx="11758">
                  <c:v>7.2409999999999997</c:v>
                </c:pt>
                <c:pt idx="11759">
                  <c:v>7.2409999999999997</c:v>
                </c:pt>
                <c:pt idx="11760">
                  <c:v>7.2409999999999997</c:v>
                </c:pt>
                <c:pt idx="11761">
                  <c:v>7.24</c:v>
                </c:pt>
                <c:pt idx="11762">
                  <c:v>7.24</c:v>
                </c:pt>
                <c:pt idx="11763">
                  <c:v>7.24</c:v>
                </c:pt>
                <c:pt idx="11764">
                  <c:v>7.24</c:v>
                </c:pt>
                <c:pt idx="11765">
                  <c:v>7.2409999999999997</c:v>
                </c:pt>
                <c:pt idx="11766">
                  <c:v>7.24</c:v>
                </c:pt>
                <c:pt idx="11767">
                  <c:v>7.24</c:v>
                </c:pt>
                <c:pt idx="11768">
                  <c:v>7.2389999999999999</c:v>
                </c:pt>
                <c:pt idx="11769">
                  <c:v>7.24</c:v>
                </c:pt>
                <c:pt idx="11770">
                  <c:v>7.24</c:v>
                </c:pt>
                <c:pt idx="11771">
                  <c:v>7.2389999999999999</c:v>
                </c:pt>
                <c:pt idx="11772">
                  <c:v>7.2389999999999999</c:v>
                </c:pt>
                <c:pt idx="11773">
                  <c:v>7.24</c:v>
                </c:pt>
                <c:pt idx="11774">
                  <c:v>7.2389999999999999</c:v>
                </c:pt>
                <c:pt idx="11775">
                  <c:v>7.2380000000000004</c:v>
                </c:pt>
                <c:pt idx="11776">
                  <c:v>7.2380000000000004</c:v>
                </c:pt>
                <c:pt idx="11777">
                  <c:v>7.2389999999999999</c:v>
                </c:pt>
                <c:pt idx="11778">
                  <c:v>7.2389999999999999</c:v>
                </c:pt>
                <c:pt idx="11779">
                  <c:v>7.2389999999999999</c:v>
                </c:pt>
                <c:pt idx="11780">
                  <c:v>7.2380000000000004</c:v>
                </c:pt>
                <c:pt idx="11781">
                  <c:v>7.2389999999999999</c:v>
                </c:pt>
                <c:pt idx="11782">
                  <c:v>7.2389999999999999</c:v>
                </c:pt>
                <c:pt idx="11783">
                  <c:v>7.2389999999999999</c:v>
                </c:pt>
                <c:pt idx="11784">
                  <c:v>7.2389999999999999</c:v>
                </c:pt>
                <c:pt idx="11785">
                  <c:v>7.2389999999999999</c:v>
                </c:pt>
                <c:pt idx="11786">
                  <c:v>7.24</c:v>
                </c:pt>
                <c:pt idx="11787">
                  <c:v>7.2389999999999999</c:v>
                </c:pt>
                <c:pt idx="11788">
                  <c:v>7.2389999999999999</c:v>
                </c:pt>
                <c:pt idx="11789">
                  <c:v>7.2389999999999999</c:v>
                </c:pt>
                <c:pt idx="11790">
                  <c:v>7.2389999999999999</c:v>
                </c:pt>
                <c:pt idx="11791">
                  <c:v>7.2389999999999999</c:v>
                </c:pt>
                <c:pt idx="11792">
                  <c:v>7.24</c:v>
                </c:pt>
                <c:pt idx="11793">
                  <c:v>7.2380000000000004</c:v>
                </c:pt>
                <c:pt idx="11794">
                  <c:v>7.24</c:v>
                </c:pt>
                <c:pt idx="11795">
                  <c:v>7.2389999999999999</c:v>
                </c:pt>
                <c:pt idx="11796">
                  <c:v>7.2389999999999999</c:v>
                </c:pt>
                <c:pt idx="11797">
                  <c:v>7.2389999999999999</c:v>
                </c:pt>
                <c:pt idx="11798">
                  <c:v>7.2389999999999999</c:v>
                </c:pt>
                <c:pt idx="11799">
                  <c:v>7.2389999999999999</c:v>
                </c:pt>
                <c:pt idx="11800">
                  <c:v>7.2389999999999999</c:v>
                </c:pt>
                <c:pt idx="11801">
                  <c:v>7.2389999999999999</c:v>
                </c:pt>
                <c:pt idx="11802">
                  <c:v>7.2389999999999999</c:v>
                </c:pt>
                <c:pt idx="11803">
                  <c:v>7.2380000000000004</c:v>
                </c:pt>
                <c:pt idx="11804">
                  <c:v>7.2380000000000004</c:v>
                </c:pt>
                <c:pt idx="11805">
                  <c:v>7.2380000000000004</c:v>
                </c:pt>
                <c:pt idx="11806">
                  <c:v>7.2389999999999999</c:v>
                </c:pt>
                <c:pt idx="11807">
                  <c:v>7.2389999999999999</c:v>
                </c:pt>
                <c:pt idx="11808">
                  <c:v>7.2380000000000004</c:v>
                </c:pt>
                <c:pt idx="11809">
                  <c:v>7.2370000000000001</c:v>
                </c:pt>
                <c:pt idx="11810">
                  <c:v>7.2380000000000004</c:v>
                </c:pt>
                <c:pt idx="11811">
                  <c:v>7.2380000000000004</c:v>
                </c:pt>
                <c:pt idx="11812">
                  <c:v>7.2380000000000004</c:v>
                </c:pt>
                <c:pt idx="11813">
                  <c:v>7.2380000000000004</c:v>
                </c:pt>
                <c:pt idx="11814">
                  <c:v>7.2380000000000004</c:v>
                </c:pt>
                <c:pt idx="11815">
                  <c:v>7.2370000000000001</c:v>
                </c:pt>
                <c:pt idx="11816">
                  <c:v>7.2380000000000004</c:v>
                </c:pt>
                <c:pt idx="11817">
                  <c:v>7.2380000000000004</c:v>
                </c:pt>
                <c:pt idx="11818">
                  <c:v>7.2380000000000004</c:v>
                </c:pt>
                <c:pt idx="11819">
                  <c:v>7.2380000000000004</c:v>
                </c:pt>
                <c:pt idx="11820">
                  <c:v>7.2380000000000004</c:v>
                </c:pt>
                <c:pt idx="11821">
                  <c:v>7.2380000000000004</c:v>
                </c:pt>
                <c:pt idx="11822">
                  <c:v>7.2380000000000004</c:v>
                </c:pt>
                <c:pt idx="11823">
                  <c:v>7.2380000000000004</c:v>
                </c:pt>
                <c:pt idx="11824">
                  <c:v>7.2380000000000004</c:v>
                </c:pt>
                <c:pt idx="11825">
                  <c:v>7.2380000000000004</c:v>
                </c:pt>
                <c:pt idx="11826">
                  <c:v>7.2380000000000004</c:v>
                </c:pt>
                <c:pt idx="11827">
                  <c:v>7.2380000000000004</c:v>
                </c:pt>
                <c:pt idx="11828">
                  <c:v>7.2380000000000004</c:v>
                </c:pt>
                <c:pt idx="11829">
                  <c:v>7.2380000000000004</c:v>
                </c:pt>
                <c:pt idx="11830">
                  <c:v>7.2370000000000001</c:v>
                </c:pt>
                <c:pt idx="11831">
                  <c:v>7.2380000000000004</c:v>
                </c:pt>
                <c:pt idx="11832">
                  <c:v>7.2370000000000001</c:v>
                </c:pt>
                <c:pt idx="11833">
                  <c:v>7.2380000000000004</c:v>
                </c:pt>
                <c:pt idx="11834">
                  <c:v>7.2370000000000001</c:v>
                </c:pt>
                <c:pt idx="11835">
                  <c:v>7.2370000000000001</c:v>
                </c:pt>
                <c:pt idx="11836">
                  <c:v>7.2359999999999998</c:v>
                </c:pt>
                <c:pt idx="11837">
                  <c:v>7.2370000000000001</c:v>
                </c:pt>
                <c:pt idx="11838">
                  <c:v>7.2380000000000004</c:v>
                </c:pt>
                <c:pt idx="11839">
                  <c:v>7.2370000000000001</c:v>
                </c:pt>
                <c:pt idx="11840">
                  <c:v>7.2359999999999998</c:v>
                </c:pt>
                <c:pt idx="11841">
                  <c:v>7.2370000000000001</c:v>
                </c:pt>
                <c:pt idx="11842">
                  <c:v>7.2380000000000004</c:v>
                </c:pt>
                <c:pt idx="11843">
                  <c:v>7.2370000000000001</c:v>
                </c:pt>
                <c:pt idx="11844">
                  <c:v>7.2370000000000001</c:v>
                </c:pt>
                <c:pt idx="11845">
                  <c:v>7.2370000000000001</c:v>
                </c:pt>
                <c:pt idx="11846">
                  <c:v>7.2380000000000004</c:v>
                </c:pt>
                <c:pt idx="11847">
                  <c:v>7.2370000000000001</c:v>
                </c:pt>
                <c:pt idx="11848">
                  <c:v>7.2370000000000001</c:v>
                </c:pt>
                <c:pt idx="11849">
                  <c:v>7.2370000000000001</c:v>
                </c:pt>
                <c:pt idx="11850">
                  <c:v>7.2359999999999998</c:v>
                </c:pt>
                <c:pt idx="11851">
                  <c:v>7.2370000000000001</c:v>
                </c:pt>
                <c:pt idx="11852">
                  <c:v>7.2370000000000001</c:v>
                </c:pt>
                <c:pt idx="11853">
                  <c:v>7.2370000000000001</c:v>
                </c:pt>
                <c:pt idx="11854">
                  <c:v>7.2370000000000001</c:v>
                </c:pt>
                <c:pt idx="11855">
                  <c:v>7.2359999999999998</c:v>
                </c:pt>
                <c:pt idx="11856">
                  <c:v>7.2359999999999998</c:v>
                </c:pt>
                <c:pt idx="11857">
                  <c:v>7.2370000000000001</c:v>
                </c:pt>
                <c:pt idx="11858">
                  <c:v>7.2359999999999998</c:v>
                </c:pt>
                <c:pt idx="11859">
                  <c:v>7.2370000000000001</c:v>
                </c:pt>
                <c:pt idx="11860">
                  <c:v>7.2370000000000001</c:v>
                </c:pt>
                <c:pt idx="11861">
                  <c:v>7.2359999999999998</c:v>
                </c:pt>
                <c:pt idx="11862">
                  <c:v>7.2359999999999998</c:v>
                </c:pt>
                <c:pt idx="11863">
                  <c:v>7.2370000000000001</c:v>
                </c:pt>
                <c:pt idx="11864">
                  <c:v>7.2370000000000001</c:v>
                </c:pt>
                <c:pt idx="11865">
                  <c:v>7.2359999999999998</c:v>
                </c:pt>
                <c:pt idx="11866">
                  <c:v>7.2359999999999998</c:v>
                </c:pt>
                <c:pt idx="11867">
                  <c:v>7.2370000000000001</c:v>
                </c:pt>
                <c:pt idx="11868">
                  <c:v>7.2370000000000001</c:v>
                </c:pt>
                <c:pt idx="11869">
                  <c:v>7.2359999999999998</c:v>
                </c:pt>
                <c:pt idx="11870">
                  <c:v>7.2359999999999998</c:v>
                </c:pt>
                <c:pt idx="11871">
                  <c:v>7.2370000000000001</c:v>
                </c:pt>
                <c:pt idx="11872">
                  <c:v>7.2370000000000001</c:v>
                </c:pt>
                <c:pt idx="11873">
                  <c:v>7.2359999999999998</c:v>
                </c:pt>
                <c:pt idx="11874">
                  <c:v>7.2359999999999998</c:v>
                </c:pt>
                <c:pt idx="11875">
                  <c:v>7.2359999999999998</c:v>
                </c:pt>
                <c:pt idx="11876">
                  <c:v>7.2359999999999998</c:v>
                </c:pt>
                <c:pt idx="11877">
                  <c:v>7.2359999999999998</c:v>
                </c:pt>
                <c:pt idx="11878">
                  <c:v>7.2359999999999998</c:v>
                </c:pt>
                <c:pt idx="11879">
                  <c:v>7.2359999999999998</c:v>
                </c:pt>
                <c:pt idx="11880">
                  <c:v>7.2359999999999998</c:v>
                </c:pt>
                <c:pt idx="11881">
                  <c:v>7.2350000000000003</c:v>
                </c:pt>
                <c:pt idx="11882">
                  <c:v>7.2359999999999998</c:v>
                </c:pt>
                <c:pt idx="11883">
                  <c:v>7.2359999999999998</c:v>
                </c:pt>
                <c:pt idx="11884">
                  <c:v>7.2359999999999998</c:v>
                </c:pt>
                <c:pt idx="11885">
                  <c:v>7.2350000000000003</c:v>
                </c:pt>
                <c:pt idx="11886">
                  <c:v>7.2350000000000003</c:v>
                </c:pt>
                <c:pt idx="11887">
                  <c:v>7.2350000000000003</c:v>
                </c:pt>
                <c:pt idx="11888">
                  <c:v>7.2350000000000003</c:v>
                </c:pt>
                <c:pt idx="11889">
                  <c:v>7.2350000000000003</c:v>
                </c:pt>
                <c:pt idx="11890">
                  <c:v>7.2350000000000003</c:v>
                </c:pt>
                <c:pt idx="11891">
                  <c:v>7.2350000000000003</c:v>
                </c:pt>
                <c:pt idx="11892">
                  <c:v>7.2350000000000003</c:v>
                </c:pt>
                <c:pt idx="11893">
                  <c:v>7.2350000000000003</c:v>
                </c:pt>
                <c:pt idx="11894">
                  <c:v>7.2350000000000003</c:v>
                </c:pt>
                <c:pt idx="11895">
                  <c:v>7.2350000000000003</c:v>
                </c:pt>
                <c:pt idx="11896">
                  <c:v>7.2350000000000003</c:v>
                </c:pt>
                <c:pt idx="11897">
                  <c:v>7.2350000000000003</c:v>
                </c:pt>
                <c:pt idx="11898">
                  <c:v>7.2350000000000003</c:v>
                </c:pt>
                <c:pt idx="11899">
                  <c:v>7.2350000000000003</c:v>
                </c:pt>
                <c:pt idx="11900">
                  <c:v>7.2350000000000003</c:v>
                </c:pt>
                <c:pt idx="11901">
                  <c:v>7.2350000000000003</c:v>
                </c:pt>
                <c:pt idx="11902">
                  <c:v>7.2350000000000003</c:v>
                </c:pt>
                <c:pt idx="11903">
                  <c:v>7.2350000000000003</c:v>
                </c:pt>
                <c:pt idx="11904">
                  <c:v>7.2350000000000003</c:v>
                </c:pt>
                <c:pt idx="11905">
                  <c:v>7.234</c:v>
                </c:pt>
                <c:pt idx="11906">
                  <c:v>7.2350000000000003</c:v>
                </c:pt>
                <c:pt idx="11907">
                  <c:v>7.2350000000000003</c:v>
                </c:pt>
                <c:pt idx="11908">
                  <c:v>7.234</c:v>
                </c:pt>
                <c:pt idx="11909">
                  <c:v>7.234</c:v>
                </c:pt>
                <c:pt idx="11910">
                  <c:v>7.2350000000000003</c:v>
                </c:pt>
                <c:pt idx="11911">
                  <c:v>7.2350000000000003</c:v>
                </c:pt>
                <c:pt idx="11912">
                  <c:v>7.2350000000000003</c:v>
                </c:pt>
                <c:pt idx="11913">
                  <c:v>7.234</c:v>
                </c:pt>
                <c:pt idx="11914">
                  <c:v>7.234</c:v>
                </c:pt>
                <c:pt idx="11915">
                  <c:v>7.2350000000000003</c:v>
                </c:pt>
                <c:pt idx="11916">
                  <c:v>7.234</c:v>
                </c:pt>
                <c:pt idx="11917">
                  <c:v>7.234</c:v>
                </c:pt>
                <c:pt idx="11918">
                  <c:v>7.2329999999999997</c:v>
                </c:pt>
                <c:pt idx="11919">
                  <c:v>7.234</c:v>
                </c:pt>
                <c:pt idx="11920">
                  <c:v>7.234</c:v>
                </c:pt>
                <c:pt idx="11921">
                  <c:v>7.2329999999999997</c:v>
                </c:pt>
                <c:pt idx="11922">
                  <c:v>7.2329999999999997</c:v>
                </c:pt>
                <c:pt idx="11923">
                  <c:v>7.2329999999999997</c:v>
                </c:pt>
                <c:pt idx="11924">
                  <c:v>7.2329999999999997</c:v>
                </c:pt>
                <c:pt idx="11925">
                  <c:v>7.2329999999999997</c:v>
                </c:pt>
                <c:pt idx="11926">
                  <c:v>7.2329999999999997</c:v>
                </c:pt>
                <c:pt idx="11927">
                  <c:v>7.2329999999999997</c:v>
                </c:pt>
                <c:pt idx="11928">
                  <c:v>7.2329999999999997</c:v>
                </c:pt>
                <c:pt idx="11929">
                  <c:v>7.2329999999999997</c:v>
                </c:pt>
                <c:pt idx="11930">
                  <c:v>7.2320000000000002</c:v>
                </c:pt>
                <c:pt idx="11931">
                  <c:v>7.2320000000000002</c:v>
                </c:pt>
                <c:pt idx="11932">
                  <c:v>7.2320000000000002</c:v>
                </c:pt>
                <c:pt idx="11933">
                  <c:v>7.2320000000000002</c:v>
                </c:pt>
                <c:pt idx="11934">
                  <c:v>7.2320000000000002</c:v>
                </c:pt>
                <c:pt idx="11935">
                  <c:v>7.2329999999999997</c:v>
                </c:pt>
                <c:pt idx="11936">
                  <c:v>7.2309999999999999</c:v>
                </c:pt>
                <c:pt idx="11937">
                  <c:v>7.2320000000000002</c:v>
                </c:pt>
                <c:pt idx="11938">
                  <c:v>7.2320000000000002</c:v>
                </c:pt>
                <c:pt idx="11939">
                  <c:v>7.2320000000000002</c:v>
                </c:pt>
                <c:pt idx="11940">
                  <c:v>7.2320000000000002</c:v>
                </c:pt>
                <c:pt idx="11941">
                  <c:v>7.2320000000000002</c:v>
                </c:pt>
                <c:pt idx="11942">
                  <c:v>7.2320000000000002</c:v>
                </c:pt>
                <c:pt idx="11943">
                  <c:v>7.2320000000000002</c:v>
                </c:pt>
                <c:pt idx="11944">
                  <c:v>7.2309999999999999</c:v>
                </c:pt>
                <c:pt idx="11945">
                  <c:v>7.2309999999999999</c:v>
                </c:pt>
                <c:pt idx="11946">
                  <c:v>7.2309999999999999</c:v>
                </c:pt>
                <c:pt idx="11947">
                  <c:v>7.2309999999999999</c:v>
                </c:pt>
                <c:pt idx="11948">
                  <c:v>7.2309999999999999</c:v>
                </c:pt>
                <c:pt idx="11949">
                  <c:v>7.2320000000000002</c:v>
                </c:pt>
                <c:pt idx="11950">
                  <c:v>7.2320000000000002</c:v>
                </c:pt>
                <c:pt idx="11951">
                  <c:v>7.2320000000000002</c:v>
                </c:pt>
                <c:pt idx="11952">
                  <c:v>7.2309999999999999</c:v>
                </c:pt>
                <c:pt idx="11953">
                  <c:v>7.2320000000000002</c:v>
                </c:pt>
                <c:pt idx="11954">
                  <c:v>7.2309999999999999</c:v>
                </c:pt>
                <c:pt idx="11955">
                  <c:v>7.2309999999999999</c:v>
                </c:pt>
                <c:pt idx="11956">
                  <c:v>7.2320000000000002</c:v>
                </c:pt>
                <c:pt idx="11957">
                  <c:v>7.2320000000000002</c:v>
                </c:pt>
                <c:pt idx="11958">
                  <c:v>7.2320000000000002</c:v>
                </c:pt>
                <c:pt idx="11959">
                  <c:v>7.2320000000000002</c:v>
                </c:pt>
                <c:pt idx="11960">
                  <c:v>7.2320000000000002</c:v>
                </c:pt>
                <c:pt idx="11961">
                  <c:v>7.2320000000000002</c:v>
                </c:pt>
                <c:pt idx="11962">
                  <c:v>7.2320000000000002</c:v>
                </c:pt>
                <c:pt idx="11963">
                  <c:v>7.2320000000000002</c:v>
                </c:pt>
                <c:pt idx="11964">
                  <c:v>7.2320000000000002</c:v>
                </c:pt>
                <c:pt idx="11965">
                  <c:v>7.2320000000000002</c:v>
                </c:pt>
                <c:pt idx="11966">
                  <c:v>7.2320000000000002</c:v>
                </c:pt>
                <c:pt idx="11967">
                  <c:v>7.2329999999999997</c:v>
                </c:pt>
                <c:pt idx="11968">
                  <c:v>7.2320000000000002</c:v>
                </c:pt>
                <c:pt idx="11969">
                  <c:v>7.2320000000000002</c:v>
                </c:pt>
                <c:pt idx="11970">
                  <c:v>7.2320000000000002</c:v>
                </c:pt>
                <c:pt idx="11971">
                  <c:v>7.2320000000000002</c:v>
                </c:pt>
                <c:pt idx="11972">
                  <c:v>7.2309999999999999</c:v>
                </c:pt>
                <c:pt idx="11973">
                  <c:v>7.2309999999999999</c:v>
                </c:pt>
                <c:pt idx="11974">
                  <c:v>7.2309999999999999</c:v>
                </c:pt>
                <c:pt idx="11975">
                  <c:v>7.2320000000000002</c:v>
                </c:pt>
                <c:pt idx="11976">
                  <c:v>7.2309999999999999</c:v>
                </c:pt>
                <c:pt idx="11977">
                  <c:v>7.2309999999999999</c:v>
                </c:pt>
                <c:pt idx="11978">
                  <c:v>7.2320000000000002</c:v>
                </c:pt>
                <c:pt idx="11979">
                  <c:v>7.2320000000000002</c:v>
                </c:pt>
                <c:pt idx="11980">
                  <c:v>7.2320000000000002</c:v>
                </c:pt>
                <c:pt idx="11981">
                  <c:v>7.2320000000000002</c:v>
                </c:pt>
                <c:pt idx="11982">
                  <c:v>7.2320000000000002</c:v>
                </c:pt>
                <c:pt idx="11983">
                  <c:v>7.2309999999999999</c:v>
                </c:pt>
                <c:pt idx="11984">
                  <c:v>7.2309999999999999</c:v>
                </c:pt>
                <c:pt idx="11985">
                  <c:v>7.2309999999999999</c:v>
                </c:pt>
                <c:pt idx="11986">
                  <c:v>7.2309999999999999</c:v>
                </c:pt>
                <c:pt idx="11987">
                  <c:v>7.2320000000000002</c:v>
                </c:pt>
                <c:pt idx="11988">
                  <c:v>7.2309999999999999</c:v>
                </c:pt>
                <c:pt idx="11989">
                  <c:v>7.2309999999999999</c:v>
                </c:pt>
                <c:pt idx="11990">
                  <c:v>7.2309999999999999</c:v>
                </c:pt>
                <c:pt idx="11991">
                  <c:v>7.2309999999999999</c:v>
                </c:pt>
                <c:pt idx="11992">
                  <c:v>7.2309999999999999</c:v>
                </c:pt>
                <c:pt idx="11993">
                  <c:v>7.2309999999999999</c:v>
                </c:pt>
                <c:pt idx="11994">
                  <c:v>7.2309999999999999</c:v>
                </c:pt>
                <c:pt idx="11995">
                  <c:v>7.2320000000000002</c:v>
                </c:pt>
                <c:pt idx="11996">
                  <c:v>7.2309999999999999</c:v>
                </c:pt>
                <c:pt idx="11997">
                  <c:v>7.2309999999999999</c:v>
                </c:pt>
                <c:pt idx="11998">
                  <c:v>7.2320000000000002</c:v>
                </c:pt>
                <c:pt idx="11999">
                  <c:v>7.2309999999999999</c:v>
                </c:pt>
                <c:pt idx="12000">
                  <c:v>7.2309999999999999</c:v>
                </c:pt>
                <c:pt idx="12001">
                  <c:v>7.2309999999999999</c:v>
                </c:pt>
                <c:pt idx="12002">
                  <c:v>7.2309999999999999</c:v>
                </c:pt>
                <c:pt idx="12003">
                  <c:v>7.2309999999999999</c:v>
                </c:pt>
                <c:pt idx="12004">
                  <c:v>7.2309999999999999</c:v>
                </c:pt>
                <c:pt idx="12005">
                  <c:v>7.23</c:v>
                </c:pt>
                <c:pt idx="12006">
                  <c:v>7.2309999999999999</c:v>
                </c:pt>
                <c:pt idx="12007">
                  <c:v>7.2309999999999999</c:v>
                </c:pt>
                <c:pt idx="12008">
                  <c:v>7.2309999999999999</c:v>
                </c:pt>
                <c:pt idx="12009">
                  <c:v>7.2309999999999999</c:v>
                </c:pt>
                <c:pt idx="12010">
                  <c:v>7.23</c:v>
                </c:pt>
                <c:pt idx="12011">
                  <c:v>7.2309999999999999</c:v>
                </c:pt>
                <c:pt idx="12012">
                  <c:v>7.23</c:v>
                </c:pt>
                <c:pt idx="12013">
                  <c:v>7.2309999999999999</c:v>
                </c:pt>
                <c:pt idx="12014">
                  <c:v>7.23</c:v>
                </c:pt>
                <c:pt idx="12015">
                  <c:v>7.2309999999999999</c:v>
                </c:pt>
                <c:pt idx="12016">
                  <c:v>7.23</c:v>
                </c:pt>
                <c:pt idx="12017">
                  <c:v>7.23</c:v>
                </c:pt>
                <c:pt idx="12018">
                  <c:v>7.23</c:v>
                </c:pt>
                <c:pt idx="12019">
                  <c:v>7.2290000000000001</c:v>
                </c:pt>
                <c:pt idx="12020">
                  <c:v>7.23</c:v>
                </c:pt>
                <c:pt idx="12021">
                  <c:v>7.2290000000000001</c:v>
                </c:pt>
                <c:pt idx="12022">
                  <c:v>7.2290000000000001</c:v>
                </c:pt>
                <c:pt idx="12023">
                  <c:v>7.2290000000000001</c:v>
                </c:pt>
                <c:pt idx="12024">
                  <c:v>7.2290000000000001</c:v>
                </c:pt>
                <c:pt idx="12025">
                  <c:v>7.2290000000000001</c:v>
                </c:pt>
                <c:pt idx="12026">
                  <c:v>7.2290000000000001</c:v>
                </c:pt>
                <c:pt idx="12027">
                  <c:v>7.2290000000000001</c:v>
                </c:pt>
                <c:pt idx="12028">
                  <c:v>7.2290000000000001</c:v>
                </c:pt>
                <c:pt idx="12029">
                  <c:v>7.2290000000000001</c:v>
                </c:pt>
                <c:pt idx="12030">
                  <c:v>7.2290000000000001</c:v>
                </c:pt>
                <c:pt idx="12031">
                  <c:v>7.2290000000000001</c:v>
                </c:pt>
                <c:pt idx="12032">
                  <c:v>7.2290000000000001</c:v>
                </c:pt>
                <c:pt idx="12033">
                  <c:v>7.2290000000000001</c:v>
                </c:pt>
                <c:pt idx="12034">
                  <c:v>7.2279999999999998</c:v>
                </c:pt>
                <c:pt idx="12035">
                  <c:v>7.2279999999999998</c:v>
                </c:pt>
                <c:pt idx="12036">
                  <c:v>7.2279999999999998</c:v>
                </c:pt>
                <c:pt idx="12037">
                  <c:v>7.2279999999999998</c:v>
                </c:pt>
                <c:pt idx="12038">
                  <c:v>7.2290000000000001</c:v>
                </c:pt>
                <c:pt idx="12039">
                  <c:v>7.2279999999999998</c:v>
                </c:pt>
                <c:pt idx="12040">
                  <c:v>7.2279999999999998</c:v>
                </c:pt>
                <c:pt idx="12041">
                  <c:v>7.2279999999999998</c:v>
                </c:pt>
                <c:pt idx="12042">
                  <c:v>7.2279999999999998</c:v>
                </c:pt>
                <c:pt idx="12043">
                  <c:v>7.2279999999999998</c:v>
                </c:pt>
                <c:pt idx="12044">
                  <c:v>7.2279999999999998</c:v>
                </c:pt>
                <c:pt idx="12045">
                  <c:v>7.2279999999999998</c:v>
                </c:pt>
                <c:pt idx="12046">
                  <c:v>7.2279999999999998</c:v>
                </c:pt>
                <c:pt idx="12047">
                  <c:v>7.2279999999999998</c:v>
                </c:pt>
                <c:pt idx="12048">
                  <c:v>7.2279999999999998</c:v>
                </c:pt>
                <c:pt idx="12049">
                  <c:v>7.2270000000000003</c:v>
                </c:pt>
                <c:pt idx="12050">
                  <c:v>7.2270000000000003</c:v>
                </c:pt>
                <c:pt idx="12051">
                  <c:v>7.2270000000000003</c:v>
                </c:pt>
                <c:pt idx="12052">
                  <c:v>7.2270000000000003</c:v>
                </c:pt>
                <c:pt idx="12053">
                  <c:v>7.226</c:v>
                </c:pt>
                <c:pt idx="12054">
                  <c:v>7.2270000000000003</c:v>
                </c:pt>
                <c:pt idx="12055">
                  <c:v>7.226</c:v>
                </c:pt>
                <c:pt idx="12056">
                  <c:v>7.2270000000000003</c:v>
                </c:pt>
                <c:pt idx="12057">
                  <c:v>7.2270000000000003</c:v>
                </c:pt>
                <c:pt idx="12058">
                  <c:v>7.2270000000000003</c:v>
                </c:pt>
                <c:pt idx="12059">
                  <c:v>7.2270000000000003</c:v>
                </c:pt>
                <c:pt idx="12060">
                  <c:v>7.226</c:v>
                </c:pt>
                <c:pt idx="12061">
                  <c:v>7.226</c:v>
                </c:pt>
                <c:pt idx="12062">
                  <c:v>7.226</c:v>
                </c:pt>
                <c:pt idx="12063">
                  <c:v>7.226</c:v>
                </c:pt>
                <c:pt idx="12064">
                  <c:v>7.226</c:v>
                </c:pt>
                <c:pt idx="12065">
                  <c:v>7.226</c:v>
                </c:pt>
                <c:pt idx="12066">
                  <c:v>7.226</c:v>
                </c:pt>
                <c:pt idx="12067">
                  <c:v>7.2270000000000003</c:v>
                </c:pt>
                <c:pt idx="12068">
                  <c:v>7.226</c:v>
                </c:pt>
                <c:pt idx="12069">
                  <c:v>7.226</c:v>
                </c:pt>
                <c:pt idx="12070">
                  <c:v>7.226</c:v>
                </c:pt>
                <c:pt idx="12071">
                  <c:v>7.226</c:v>
                </c:pt>
                <c:pt idx="12072">
                  <c:v>7.226</c:v>
                </c:pt>
                <c:pt idx="12073">
                  <c:v>7.226</c:v>
                </c:pt>
                <c:pt idx="12074">
                  <c:v>7.226</c:v>
                </c:pt>
                <c:pt idx="12075">
                  <c:v>7.226</c:v>
                </c:pt>
                <c:pt idx="12076">
                  <c:v>7.226</c:v>
                </c:pt>
                <c:pt idx="12077">
                  <c:v>7.2249999999999996</c:v>
                </c:pt>
                <c:pt idx="12078">
                  <c:v>7.226</c:v>
                </c:pt>
                <c:pt idx="12079">
                  <c:v>7.226</c:v>
                </c:pt>
                <c:pt idx="12080">
                  <c:v>7.2249999999999996</c:v>
                </c:pt>
                <c:pt idx="12081">
                  <c:v>7.2249999999999996</c:v>
                </c:pt>
                <c:pt idx="12082">
                  <c:v>7.2249999999999996</c:v>
                </c:pt>
                <c:pt idx="12083">
                  <c:v>7.2240000000000002</c:v>
                </c:pt>
                <c:pt idx="12084">
                  <c:v>7.2249999999999996</c:v>
                </c:pt>
                <c:pt idx="12085">
                  <c:v>7.2249999999999996</c:v>
                </c:pt>
                <c:pt idx="12086">
                  <c:v>7.2249999999999996</c:v>
                </c:pt>
                <c:pt idx="12087">
                  <c:v>7.2249999999999996</c:v>
                </c:pt>
                <c:pt idx="12088">
                  <c:v>7.2249999999999996</c:v>
                </c:pt>
                <c:pt idx="12089">
                  <c:v>7.2249999999999996</c:v>
                </c:pt>
                <c:pt idx="12090">
                  <c:v>7.2249999999999996</c:v>
                </c:pt>
                <c:pt idx="12091">
                  <c:v>7.2240000000000002</c:v>
                </c:pt>
                <c:pt idx="12092">
                  <c:v>7.2240000000000002</c:v>
                </c:pt>
                <c:pt idx="12093">
                  <c:v>7.2240000000000002</c:v>
                </c:pt>
                <c:pt idx="12094">
                  <c:v>7.2240000000000002</c:v>
                </c:pt>
                <c:pt idx="12095">
                  <c:v>7.2240000000000002</c:v>
                </c:pt>
                <c:pt idx="12096">
                  <c:v>7.2229999999999999</c:v>
                </c:pt>
                <c:pt idx="12097">
                  <c:v>7.2229999999999999</c:v>
                </c:pt>
                <c:pt idx="12098">
                  <c:v>7.2229999999999999</c:v>
                </c:pt>
                <c:pt idx="12099">
                  <c:v>7.2229999999999999</c:v>
                </c:pt>
                <c:pt idx="12100">
                  <c:v>7.2229999999999999</c:v>
                </c:pt>
                <c:pt idx="12101">
                  <c:v>7.2220000000000004</c:v>
                </c:pt>
                <c:pt idx="12102">
                  <c:v>7.2220000000000004</c:v>
                </c:pt>
                <c:pt idx="12103">
                  <c:v>7.2220000000000004</c:v>
                </c:pt>
                <c:pt idx="12104">
                  <c:v>7.2229999999999999</c:v>
                </c:pt>
                <c:pt idx="12105">
                  <c:v>7.2220000000000004</c:v>
                </c:pt>
                <c:pt idx="12106">
                  <c:v>7.2220000000000004</c:v>
                </c:pt>
                <c:pt idx="12107">
                  <c:v>7.2220000000000004</c:v>
                </c:pt>
                <c:pt idx="12108">
                  <c:v>7.2220000000000004</c:v>
                </c:pt>
                <c:pt idx="12109">
                  <c:v>7.2220000000000004</c:v>
                </c:pt>
                <c:pt idx="12110">
                  <c:v>7.2220000000000004</c:v>
                </c:pt>
                <c:pt idx="12111">
                  <c:v>7.2220000000000004</c:v>
                </c:pt>
                <c:pt idx="12112">
                  <c:v>7.2210000000000001</c:v>
                </c:pt>
                <c:pt idx="12113">
                  <c:v>7.2220000000000004</c:v>
                </c:pt>
                <c:pt idx="12114">
                  <c:v>7.2220000000000004</c:v>
                </c:pt>
                <c:pt idx="12115">
                  <c:v>7.2220000000000004</c:v>
                </c:pt>
                <c:pt idx="12116">
                  <c:v>7.2210000000000001</c:v>
                </c:pt>
                <c:pt idx="12117">
                  <c:v>7.2210000000000001</c:v>
                </c:pt>
                <c:pt idx="12118">
                  <c:v>7.2210000000000001</c:v>
                </c:pt>
                <c:pt idx="12119">
                  <c:v>7.2210000000000001</c:v>
                </c:pt>
                <c:pt idx="12120">
                  <c:v>7.22</c:v>
                </c:pt>
                <c:pt idx="12121">
                  <c:v>7.2210000000000001</c:v>
                </c:pt>
                <c:pt idx="12122">
                  <c:v>7.22</c:v>
                </c:pt>
                <c:pt idx="12123">
                  <c:v>7.22</c:v>
                </c:pt>
                <c:pt idx="12124">
                  <c:v>7.22</c:v>
                </c:pt>
                <c:pt idx="12125">
                  <c:v>7.2190000000000003</c:v>
                </c:pt>
                <c:pt idx="12126">
                  <c:v>7.2190000000000003</c:v>
                </c:pt>
                <c:pt idx="12127">
                  <c:v>7.2190000000000003</c:v>
                </c:pt>
                <c:pt idx="12128">
                  <c:v>7.2190000000000003</c:v>
                </c:pt>
                <c:pt idx="12129">
                  <c:v>7.2190000000000003</c:v>
                </c:pt>
                <c:pt idx="12130">
                  <c:v>7.218</c:v>
                </c:pt>
                <c:pt idx="12131">
                  <c:v>7.218</c:v>
                </c:pt>
                <c:pt idx="12132">
                  <c:v>7.218</c:v>
                </c:pt>
                <c:pt idx="12133">
                  <c:v>7.218</c:v>
                </c:pt>
                <c:pt idx="12134">
                  <c:v>7.218</c:v>
                </c:pt>
                <c:pt idx="12135">
                  <c:v>7.218</c:v>
                </c:pt>
                <c:pt idx="12136">
                  <c:v>7.2190000000000003</c:v>
                </c:pt>
                <c:pt idx="12137">
                  <c:v>7.2190000000000003</c:v>
                </c:pt>
                <c:pt idx="12138">
                  <c:v>7.2190000000000003</c:v>
                </c:pt>
                <c:pt idx="12139">
                  <c:v>7.2190000000000003</c:v>
                </c:pt>
                <c:pt idx="12140">
                  <c:v>7.2190000000000003</c:v>
                </c:pt>
                <c:pt idx="12141">
                  <c:v>7.2190000000000003</c:v>
                </c:pt>
                <c:pt idx="12142">
                  <c:v>7.2190000000000003</c:v>
                </c:pt>
                <c:pt idx="12143">
                  <c:v>7.2190000000000003</c:v>
                </c:pt>
                <c:pt idx="12144">
                  <c:v>7.2190000000000003</c:v>
                </c:pt>
                <c:pt idx="12145">
                  <c:v>7.218</c:v>
                </c:pt>
                <c:pt idx="12146">
                  <c:v>7.218</c:v>
                </c:pt>
                <c:pt idx="12147">
                  <c:v>7.218</c:v>
                </c:pt>
                <c:pt idx="12148">
                  <c:v>7.218</c:v>
                </c:pt>
                <c:pt idx="12149">
                  <c:v>7.218</c:v>
                </c:pt>
                <c:pt idx="12150">
                  <c:v>7.218</c:v>
                </c:pt>
                <c:pt idx="12151">
                  <c:v>7.218</c:v>
                </c:pt>
                <c:pt idx="12152">
                  <c:v>7.2169999999999996</c:v>
                </c:pt>
                <c:pt idx="12153">
                  <c:v>7.2169999999999996</c:v>
                </c:pt>
                <c:pt idx="12154">
                  <c:v>7.2169999999999996</c:v>
                </c:pt>
                <c:pt idx="12155">
                  <c:v>7.2169999999999996</c:v>
                </c:pt>
                <c:pt idx="12156">
                  <c:v>7.2169999999999996</c:v>
                </c:pt>
                <c:pt idx="12157">
                  <c:v>7.2160000000000002</c:v>
                </c:pt>
                <c:pt idx="12158">
                  <c:v>7.2160000000000002</c:v>
                </c:pt>
                <c:pt idx="12159">
                  <c:v>7.2160000000000002</c:v>
                </c:pt>
                <c:pt idx="12160">
                  <c:v>7.2160000000000002</c:v>
                </c:pt>
                <c:pt idx="12161">
                  <c:v>7.2149999999999999</c:v>
                </c:pt>
                <c:pt idx="12162">
                  <c:v>7.2149999999999999</c:v>
                </c:pt>
                <c:pt idx="12163">
                  <c:v>7.2149999999999999</c:v>
                </c:pt>
                <c:pt idx="12164">
                  <c:v>7.2140000000000004</c:v>
                </c:pt>
                <c:pt idx="12165">
                  <c:v>7.2140000000000004</c:v>
                </c:pt>
                <c:pt idx="12166">
                  <c:v>7.2140000000000004</c:v>
                </c:pt>
                <c:pt idx="12167">
                  <c:v>7.2140000000000004</c:v>
                </c:pt>
                <c:pt idx="12168">
                  <c:v>7.2140000000000004</c:v>
                </c:pt>
                <c:pt idx="12169">
                  <c:v>7.2140000000000004</c:v>
                </c:pt>
                <c:pt idx="12170">
                  <c:v>7.2130000000000001</c:v>
                </c:pt>
                <c:pt idx="12171">
                  <c:v>7.2130000000000001</c:v>
                </c:pt>
                <c:pt idx="12172">
                  <c:v>7.2140000000000004</c:v>
                </c:pt>
                <c:pt idx="12173">
                  <c:v>7.2140000000000004</c:v>
                </c:pt>
                <c:pt idx="12174">
                  <c:v>7.2140000000000004</c:v>
                </c:pt>
                <c:pt idx="12175">
                  <c:v>7.2140000000000004</c:v>
                </c:pt>
                <c:pt idx="12176">
                  <c:v>7.2130000000000001</c:v>
                </c:pt>
                <c:pt idx="12177">
                  <c:v>7.2130000000000001</c:v>
                </c:pt>
                <c:pt idx="12178">
                  <c:v>7.2140000000000004</c:v>
                </c:pt>
                <c:pt idx="12179">
                  <c:v>7.2140000000000004</c:v>
                </c:pt>
                <c:pt idx="12180">
                  <c:v>7.2140000000000004</c:v>
                </c:pt>
                <c:pt idx="12181">
                  <c:v>7.2140000000000004</c:v>
                </c:pt>
                <c:pt idx="12182">
                  <c:v>7.2140000000000004</c:v>
                </c:pt>
                <c:pt idx="12183">
                  <c:v>7.2140000000000004</c:v>
                </c:pt>
                <c:pt idx="12184">
                  <c:v>7.2130000000000001</c:v>
                </c:pt>
                <c:pt idx="12185">
                  <c:v>7.2130000000000001</c:v>
                </c:pt>
                <c:pt idx="12186">
                  <c:v>7.2130000000000001</c:v>
                </c:pt>
                <c:pt idx="12187">
                  <c:v>7.2130000000000001</c:v>
                </c:pt>
                <c:pt idx="12188">
                  <c:v>7.2130000000000001</c:v>
                </c:pt>
                <c:pt idx="12189">
                  <c:v>7.2130000000000001</c:v>
                </c:pt>
                <c:pt idx="12190">
                  <c:v>7.2130000000000001</c:v>
                </c:pt>
                <c:pt idx="12191">
                  <c:v>7.2130000000000001</c:v>
                </c:pt>
                <c:pt idx="12192">
                  <c:v>7.2119999999999997</c:v>
                </c:pt>
                <c:pt idx="12193">
                  <c:v>7.2119999999999997</c:v>
                </c:pt>
                <c:pt idx="12194">
                  <c:v>7.2119999999999997</c:v>
                </c:pt>
                <c:pt idx="12195">
                  <c:v>7.2119999999999997</c:v>
                </c:pt>
                <c:pt idx="12196">
                  <c:v>7.2110000000000003</c:v>
                </c:pt>
                <c:pt idx="12197">
                  <c:v>7.2110000000000003</c:v>
                </c:pt>
                <c:pt idx="12198">
                  <c:v>7.2110000000000003</c:v>
                </c:pt>
                <c:pt idx="12199">
                  <c:v>7.2110000000000003</c:v>
                </c:pt>
                <c:pt idx="12200">
                  <c:v>7.2110000000000003</c:v>
                </c:pt>
                <c:pt idx="12201">
                  <c:v>7.2110000000000003</c:v>
                </c:pt>
                <c:pt idx="12202">
                  <c:v>7.2110000000000003</c:v>
                </c:pt>
                <c:pt idx="12203">
                  <c:v>7.21</c:v>
                </c:pt>
                <c:pt idx="12204">
                  <c:v>7.21</c:v>
                </c:pt>
                <c:pt idx="12205">
                  <c:v>7.21</c:v>
                </c:pt>
                <c:pt idx="12206">
                  <c:v>7.21</c:v>
                </c:pt>
                <c:pt idx="12207">
                  <c:v>7.21</c:v>
                </c:pt>
                <c:pt idx="12208">
                  <c:v>7.2110000000000003</c:v>
                </c:pt>
                <c:pt idx="12209">
                  <c:v>7.21</c:v>
                </c:pt>
                <c:pt idx="12210">
                  <c:v>7.21</c:v>
                </c:pt>
                <c:pt idx="12211">
                  <c:v>7.21</c:v>
                </c:pt>
                <c:pt idx="12212">
                  <c:v>7.2089999999999996</c:v>
                </c:pt>
                <c:pt idx="12213">
                  <c:v>7.21</c:v>
                </c:pt>
                <c:pt idx="12214">
                  <c:v>7.2089999999999996</c:v>
                </c:pt>
                <c:pt idx="12215">
                  <c:v>7.2089999999999996</c:v>
                </c:pt>
                <c:pt idx="12216">
                  <c:v>7.2089999999999996</c:v>
                </c:pt>
                <c:pt idx="12217">
                  <c:v>7.2089999999999996</c:v>
                </c:pt>
                <c:pt idx="12218">
                  <c:v>7.2089999999999996</c:v>
                </c:pt>
                <c:pt idx="12219">
                  <c:v>7.2089999999999996</c:v>
                </c:pt>
                <c:pt idx="12220">
                  <c:v>7.2089999999999996</c:v>
                </c:pt>
                <c:pt idx="12221">
                  <c:v>7.2080000000000002</c:v>
                </c:pt>
                <c:pt idx="12222">
                  <c:v>7.2080000000000002</c:v>
                </c:pt>
                <c:pt idx="12223">
                  <c:v>7.2080000000000002</c:v>
                </c:pt>
                <c:pt idx="12224">
                  <c:v>7.2080000000000002</c:v>
                </c:pt>
                <c:pt idx="12225">
                  <c:v>7.2080000000000002</c:v>
                </c:pt>
                <c:pt idx="12226">
                  <c:v>7.2080000000000002</c:v>
                </c:pt>
                <c:pt idx="12227">
                  <c:v>7.2080000000000002</c:v>
                </c:pt>
                <c:pt idx="12228">
                  <c:v>7.2080000000000002</c:v>
                </c:pt>
                <c:pt idx="12229">
                  <c:v>7.2080000000000002</c:v>
                </c:pt>
                <c:pt idx="12230">
                  <c:v>7.2069999999999999</c:v>
                </c:pt>
                <c:pt idx="12231">
                  <c:v>7.2069999999999999</c:v>
                </c:pt>
                <c:pt idx="12232">
                  <c:v>7.2069999999999999</c:v>
                </c:pt>
                <c:pt idx="12233">
                  <c:v>7.2069999999999999</c:v>
                </c:pt>
                <c:pt idx="12234">
                  <c:v>7.2069999999999999</c:v>
                </c:pt>
                <c:pt idx="12235">
                  <c:v>7.2069999999999999</c:v>
                </c:pt>
                <c:pt idx="12236">
                  <c:v>7.2069999999999999</c:v>
                </c:pt>
                <c:pt idx="12237">
                  <c:v>7.2069999999999999</c:v>
                </c:pt>
                <c:pt idx="12238">
                  <c:v>7.2060000000000004</c:v>
                </c:pt>
                <c:pt idx="12239">
                  <c:v>7.2069999999999999</c:v>
                </c:pt>
                <c:pt idx="12240">
                  <c:v>7.2069999999999999</c:v>
                </c:pt>
                <c:pt idx="12241">
                  <c:v>7.2060000000000004</c:v>
                </c:pt>
                <c:pt idx="12242">
                  <c:v>7.2069999999999999</c:v>
                </c:pt>
                <c:pt idx="12243">
                  <c:v>7.2069999999999999</c:v>
                </c:pt>
                <c:pt idx="12244">
                  <c:v>7.2060000000000004</c:v>
                </c:pt>
                <c:pt idx="12245">
                  <c:v>7.2069999999999999</c:v>
                </c:pt>
                <c:pt idx="12246">
                  <c:v>7.2069999999999999</c:v>
                </c:pt>
                <c:pt idx="12247">
                  <c:v>7.2069999999999999</c:v>
                </c:pt>
                <c:pt idx="12248">
                  <c:v>7.2069999999999999</c:v>
                </c:pt>
                <c:pt idx="12249">
                  <c:v>7.2069999999999999</c:v>
                </c:pt>
                <c:pt idx="12250">
                  <c:v>7.2069999999999999</c:v>
                </c:pt>
                <c:pt idx="12251">
                  <c:v>7.2060000000000004</c:v>
                </c:pt>
                <c:pt idx="12252">
                  <c:v>7.2060000000000004</c:v>
                </c:pt>
                <c:pt idx="12253">
                  <c:v>7.2069999999999999</c:v>
                </c:pt>
                <c:pt idx="12254">
                  <c:v>7.2069999999999999</c:v>
                </c:pt>
                <c:pt idx="12255">
                  <c:v>7.2060000000000004</c:v>
                </c:pt>
                <c:pt idx="12256">
                  <c:v>7.2060000000000004</c:v>
                </c:pt>
                <c:pt idx="12257">
                  <c:v>7.2060000000000004</c:v>
                </c:pt>
                <c:pt idx="12258">
                  <c:v>7.2069999999999999</c:v>
                </c:pt>
                <c:pt idx="12259">
                  <c:v>7.2069999999999999</c:v>
                </c:pt>
                <c:pt idx="12260">
                  <c:v>7.2060000000000004</c:v>
                </c:pt>
                <c:pt idx="12261">
                  <c:v>7.2069999999999999</c:v>
                </c:pt>
                <c:pt idx="12262">
                  <c:v>7.2060000000000004</c:v>
                </c:pt>
                <c:pt idx="12263">
                  <c:v>7.2060000000000004</c:v>
                </c:pt>
                <c:pt idx="12264">
                  <c:v>7.2060000000000004</c:v>
                </c:pt>
                <c:pt idx="12265">
                  <c:v>7.2060000000000004</c:v>
                </c:pt>
                <c:pt idx="12266">
                  <c:v>7.2060000000000004</c:v>
                </c:pt>
                <c:pt idx="12267">
                  <c:v>7.2060000000000004</c:v>
                </c:pt>
                <c:pt idx="12268">
                  <c:v>7.2060000000000004</c:v>
                </c:pt>
                <c:pt idx="12269">
                  <c:v>7.2060000000000004</c:v>
                </c:pt>
                <c:pt idx="12270">
                  <c:v>7.2050000000000001</c:v>
                </c:pt>
                <c:pt idx="12271">
                  <c:v>7.2060000000000004</c:v>
                </c:pt>
                <c:pt idx="12272">
                  <c:v>7.2060000000000004</c:v>
                </c:pt>
                <c:pt idx="12273">
                  <c:v>7.2060000000000004</c:v>
                </c:pt>
                <c:pt idx="12274">
                  <c:v>7.2060000000000004</c:v>
                </c:pt>
                <c:pt idx="12275">
                  <c:v>7.2060000000000004</c:v>
                </c:pt>
                <c:pt idx="12276">
                  <c:v>7.2060000000000004</c:v>
                </c:pt>
                <c:pt idx="12277">
                  <c:v>7.2050000000000001</c:v>
                </c:pt>
                <c:pt idx="12278">
                  <c:v>7.2060000000000004</c:v>
                </c:pt>
                <c:pt idx="12279">
                  <c:v>7.2050000000000001</c:v>
                </c:pt>
                <c:pt idx="12280">
                  <c:v>7.2060000000000004</c:v>
                </c:pt>
                <c:pt idx="12281">
                  <c:v>7.2050000000000001</c:v>
                </c:pt>
                <c:pt idx="12282">
                  <c:v>7.2060000000000004</c:v>
                </c:pt>
                <c:pt idx="12283">
                  <c:v>7.2060000000000004</c:v>
                </c:pt>
                <c:pt idx="12284">
                  <c:v>7.2050000000000001</c:v>
                </c:pt>
                <c:pt idx="12285">
                  <c:v>7.2050000000000001</c:v>
                </c:pt>
                <c:pt idx="12286">
                  <c:v>7.2050000000000001</c:v>
                </c:pt>
                <c:pt idx="12287">
                  <c:v>7.2050000000000001</c:v>
                </c:pt>
                <c:pt idx="12288">
                  <c:v>7.2050000000000001</c:v>
                </c:pt>
                <c:pt idx="12289">
                  <c:v>7.2050000000000001</c:v>
                </c:pt>
                <c:pt idx="12290">
                  <c:v>7.2050000000000001</c:v>
                </c:pt>
                <c:pt idx="12291">
                  <c:v>7.2050000000000001</c:v>
                </c:pt>
                <c:pt idx="12292">
                  <c:v>7.2050000000000001</c:v>
                </c:pt>
                <c:pt idx="12293">
                  <c:v>7.2050000000000001</c:v>
                </c:pt>
                <c:pt idx="12294">
                  <c:v>7.2050000000000001</c:v>
                </c:pt>
                <c:pt idx="12295">
                  <c:v>7.2050000000000001</c:v>
                </c:pt>
                <c:pt idx="12296">
                  <c:v>7.2039999999999997</c:v>
                </c:pt>
                <c:pt idx="12297">
                  <c:v>7.2050000000000001</c:v>
                </c:pt>
                <c:pt idx="12298">
                  <c:v>7.2050000000000001</c:v>
                </c:pt>
                <c:pt idx="12299">
                  <c:v>7.2039999999999997</c:v>
                </c:pt>
                <c:pt idx="12300">
                  <c:v>7.2039999999999997</c:v>
                </c:pt>
                <c:pt idx="12301">
                  <c:v>7.2039999999999997</c:v>
                </c:pt>
                <c:pt idx="12302">
                  <c:v>7.2039999999999997</c:v>
                </c:pt>
                <c:pt idx="12303">
                  <c:v>7.2050000000000001</c:v>
                </c:pt>
                <c:pt idx="12304">
                  <c:v>7.2039999999999997</c:v>
                </c:pt>
                <c:pt idx="12305">
                  <c:v>7.2039999999999997</c:v>
                </c:pt>
                <c:pt idx="12306">
                  <c:v>7.2039999999999997</c:v>
                </c:pt>
                <c:pt idx="12307">
                  <c:v>7.2039999999999997</c:v>
                </c:pt>
                <c:pt idx="12308">
                  <c:v>7.2039999999999997</c:v>
                </c:pt>
                <c:pt idx="12309">
                  <c:v>7.2050000000000001</c:v>
                </c:pt>
                <c:pt idx="12310">
                  <c:v>7.2039999999999997</c:v>
                </c:pt>
                <c:pt idx="12311">
                  <c:v>7.2039999999999997</c:v>
                </c:pt>
                <c:pt idx="12312">
                  <c:v>7.2050000000000001</c:v>
                </c:pt>
                <c:pt idx="12313">
                  <c:v>7.2050000000000001</c:v>
                </c:pt>
                <c:pt idx="12314">
                  <c:v>7.2050000000000001</c:v>
                </c:pt>
                <c:pt idx="12315">
                  <c:v>7.2039999999999997</c:v>
                </c:pt>
                <c:pt idx="12316">
                  <c:v>7.2039999999999997</c:v>
                </c:pt>
                <c:pt idx="12317">
                  <c:v>7.2050000000000001</c:v>
                </c:pt>
                <c:pt idx="12318">
                  <c:v>7.2039999999999997</c:v>
                </c:pt>
                <c:pt idx="12319">
                  <c:v>7.2039999999999997</c:v>
                </c:pt>
                <c:pt idx="12320">
                  <c:v>7.2039999999999997</c:v>
                </c:pt>
                <c:pt idx="12321">
                  <c:v>7.2039999999999997</c:v>
                </c:pt>
                <c:pt idx="12322">
                  <c:v>7.2039999999999997</c:v>
                </c:pt>
                <c:pt idx="12323">
                  <c:v>7.2039999999999997</c:v>
                </c:pt>
                <c:pt idx="12324">
                  <c:v>7.2039999999999997</c:v>
                </c:pt>
                <c:pt idx="12325">
                  <c:v>7.2039999999999997</c:v>
                </c:pt>
                <c:pt idx="12326">
                  <c:v>7.2039999999999997</c:v>
                </c:pt>
                <c:pt idx="12327">
                  <c:v>7.2050000000000001</c:v>
                </c:pt>
                <c:pt idx="12328">
                  <c:v>7.2039999999999997</c:v>
                </c:pt>
                <c:pt idx="12329">
                  <c:v>7.2039999999999997</c:v>
                </c:pt>
                <c:pt idx="12330">
                  <c:v>7.2050000000000001</c:v>
                </c:pt>
                <c:pt idx="12331">
                  <c:v>7.2039999999999997</c:v>
                </c:pt>
                <c:pt idx="12332">
                  <c:v>7.2039999999999997</c:v>
                </c:pt>
                <c:pt idx="12333">
                  <c:v>7.2039999999999997</c:v>
                </c:pt>
                <c:pt idx="12334">
                  <c:v>7.2039999999999997</c:v>
                </c:pt>
                <c:pt idx="12335">
                  <c:v>7.2039999999999997</c:v>
                </c:pt>
                <c:pt idx="12336">
                  <c:v>7.2039999999999997</c:v>
                </c:pt>
                <c:pt idx="12337">
                  <c:v>7.2039999999999997</c:v>
                </c:pt>
                <c:pt idx="12338">
                  <c:v>7.2039999999999997</c:v>
                </c:pt>
                <c:pt idx="12339">
                  <c:v>7.2039999999999997</c:v>
                </c:pt>
                <c:pt idx="12340">
                  <c:v>7.2039999999999997</c:v>
                </c:pt>
                <c:pt idx="12341">
                  <c:v>7.2039999999999997</c:v>
                </c:pt>
                <c:pt idx="12342">
                  <c:v>7.2030000000000003</c:v>
                </c:pt>
                <c:pt idx="12343">
                  <c:v>7.2039999999999997</c:v>
                </c:pt>
                <c:pt idx="12344">
                  <c:v>7.2039999999999997</c:v>
                </c:pt>
                <c:pt idx="12345">
                  <c:v>7.2039999999999997</c:v>
                </c:pt>
                <c:pt idx="12346">
                  <c:v>7.2039999999999997</c:v>
                </c:pt>
                <c:pt idx="12347">
                  <c:v>7.2039999999999997</c:v>
                </c:pt>
                <c:pt idx="12348">
                  <c:v>7.2039999999999997</c:v>
                </c:pt>
                <c:pt idx="12349">
                  <c:v>7.2039999999999997</c:v>
                </c:pt>
                <c:pt idx="12350">
                  <c:v>7.2039999999999997</c:v>
                </c:pt>
                <c:pt idx="12351">
                  <c:v>7.2039999999999997</c:v>
                </c:pt>
                <c:pt idx="12352">
                  <c:v>7.2039999999999997</c:v>
                </c:pt>
                <c:pt idx="12353">
                  <c:v>7.2039999999999997</c:v>
                </c:pt>
                <c:pt idx="12354">
                  <c:v>7.2039999999999997</c:v>
                </c:pt>
                <c:pt idx="12355">
                  <c:v>7.2039999999999997</c:v>
                </c:pt>
                <c:pt idx="12356">
                  <c:v>7.2050000000000001</c:v>
                </c:pt>
                <c:pt idx="12357">
                  <c:v>7.2039999999999997</c:v>
                </c:pt>
                <c:pt idx="12358">
                  <c:v>7.2039999999999997</c:v>
                </c:pt>
                <c:pt idx="12359">
                  <c:v>7.2039999999999997</c:v>
                </c:pt>
                <c:pt idx="12360">
                  <c:v>7.2039999999999997</c:v>
                </c:pt>
                <c:pt idx="12361">
                  <c:v>7.2039999999999997</c:v>
                </c:pt>
                <c:pt idx="12362">
                  <c:v>7.2039999999999997</c:v>
                </c:pt>
                <c:pt idx="12363">
                  <c:v>7.2030000000000003</c:v>
                </c:pt>
                <c:pt idx="12364">
                  <c:v>7.2030000000000003</c:v>
                </c:pt>
                <c:pt idx="12365">
                  <c:v>7.2039999999999997</c:v>
                </c:pt>
                <c:pt idx="12366">
                  <c:v>7.2030000000000003</c:v>
                </c:pt>
                <c:pt idx="12367">
                  <c:v>7.2030000000000003</c:v>
                </c:pt>
                <c:pt idx="12368">
                  <c:v>7.2030000000000003</c:v>
                </c:pt>
                <c:pt idx="12369">
                  <c:v>7.2039999999999997</c:v>
                </c:pt>
                <c:pt idx="12370">
                  <c:v>7.2030000000000003</c:v>
                </c:pt>
                <c:pt idx="12371">
                  <c:v>7.2039999999999997</c:v>
                </c:pt>
                <c:pt idx="12372">
                  <c:v>7.2030000000000003</c:v>
                </c:pt>
                <c:pt idx="12373">
                  <c:v>7.2030000000000003</c:v>
                </c:pt>
                <c:pt idx="12374">
                  <c:v>7.2030000000000003</c:v>
                </c:pt>
                <c:pt idx="12375">
                  <c:v>7.2030000000000003</c:v>
                </c:pt>
                <c:pt idx="12376">
                  <c:v>7.2030000000000003</c:v>
                </c:pt>
                <c:pt idx="12377">
                  <c:v>7.2030000000000003</c:v>
                </c:pt>
                <c:pt idx="12378">
                  <c:v>7.2030000000000003</c:v>
                </c:pt>
                <c:pt idx="12379">
                  <c:v>7.2030000000000003</c:v>
                </c:pt>
                <c:pt idx="12380">
                  <c:v>7.2030000000000003</c:v>
                </c:pt>
                <c:pt idx="12381">
                  <c:v>7.2030000000000003</c:v>
                </c:pt>
                <c:pt idx="12382">
                  <c:v>7.2030000000000003</c:v>
                </c:pt>
                <c:pt idx="12383">
                  <c:v>7.2030000000000003</c:v>
                </c:pt>
                <c:pt idx="12384">
                  <c:v>7.2030000000000003</c:v>
                </c:pt>
                <c:pt idx="12385">
                  <c:v>7.2030000000000003</c:v>
                </c:pt>
                <c:pt idx="12386">
                  <c:v>7.2030000000000003</c:v>
                </c:pt>
                <c:pt idx="12387">
                  <c:v>7.202</c:v>
                </c:pt>
                <c:pt idx="12388">
                  <c:v>7.2030000000000003</c:v>
                </c:pt>
                <c:pt idx="12389">
                  <c:v>7.2030000000000003</c:v>
                </c:pt>
                <c:pt idx="12390">
                  <c:v>7.2030000000000003</c:v>
                </c:pt>
                <c:pt idx="12391">
                  <c:v>7.2030000000000003</c:v>
                </c:pt>
                <c:pt idx="12392">
                  <c:v>7.2030000000000003</c:v>
                </c:pt>
                <c:pt idx="12393">
                  <c:v>7.2030000000000003</c:v>
                </c:pt>
                <c:pt idx="12394">
                  <c:v>7.2030000000000003</c:v>
                </c:pt>
                <c:pt idx="12395">
                  <c:v>7.2030000000000003</c:v>
                </c:pt>
                <c:pt idx="12396">
                  <c:v>7.2030000000000003</c:v>
                </c:pt>
                <c:pt idx="12397">
                  <c:v>7.2030000000000003</c:v>
                </c:pt>
                <c:pt idx="12398">
                  <c:v>7.2030000000000003</c:v>
                </c:pt>
                <c:pt idx="12399">
                  <c:v>7.2030000000000003</c:v>
                </c:pt>
                <c:pt idx="12400">
                  <c:v>7.2030000000000003</c:v>
                </c:pt>
                <c:pt idx="12401">
                  <c:v>7.2030000000000003</c:v>
                </c:pt>
                <c:pt idx="12402">
                  <c:v>7.2030000000000003</c:v>
                </c:pt>
                <c:pt idx="12403">
                  <c:v>7.2030000000000003</c:v>
                </c:pt>
                <c:pt idx="12404">
                  <c:v>7.2030000000000003</c:v>
                </c:pt>
                <c:pt idx="12405">
                  <c:v>7.2030000000000003</c:v>
                </c:pt>
                <c:pt idx="12406">
                  <c:v>7.2030000000000003</c:v>
                </c:pt>
                <c:pt idx="12407">
                  <c:v>7.2030000000000003</c:v>
                </c:pt>
                <c:pt idx="12408">
                  <c:v>7.2030000000000003</c:v>
                </c:pt>
                <c:pt idx="12409">
                  <c:v>7.202</c:v>
                </c:pt>
                <c:pt idx="12410">
                  <c:v>7.2030000000000003</c:v>
                </c:pt>
                <c:pt idx="12411">
                  <c:v>7.2030000000000003</c:v>
                </c:pt>
                <c:pt idx="12412">
                  <c:v>7.2030000000000003</c:v>
                </c:pt>
                <c:pt idx="12413">
                  <c:v>7.2030000000000003</c:v>
                </c:pt>
                <c:pt idx="12414">
                  <c:v>7.2030000000000003</c:v>
                </c:pt>
                <c:pt idx="12415">
                  <c:v>7.2030000000000003</c:v>
                </c:pt>
                <c:pt idx="12416">
                  <c:v>7.2030000000000003</c:v>
                </c:pt>
                <c:pt idx="12417">
                  <c:v>7.2030000000000003</c:v>
                </c:pt>
                <c:pt idx="12418">
                  <c:v>7.2030000000000003</c:v>
                </c:pt>
                <c:pt idx="12419">
                  <c:v>7.202</c:v>
                </c:pt>
                <c:pt idx="12420">
                  <c:v>7.202</c:v>
                </c:pt>
                <c:pt idx="12421">
                  <c:v>7.2030000000000003</c:v>
                </c:pt>
                <c:pt idx="12422">
                  <c:v>7.202</c:v>
                </c:pt>
                <c:pt idx="12423">
                  <c:v>7.2030000000000003</c:v>
                </c:pt>
                <c:pt idx="12424">
                  <c:v>7.202</c:v>
                </c:pt>
                <c:pt idx="12425">
                  <c:v>7.2030000000000003</c:v>
                </c:pt>
                <c:pt idx="12426">
                  <c:v>7.2030000000000003</c:v>
                </c:pt>
                <c:pt idx="12427">
                  <c:v>7.2030000000000003</c:v>
                </c:pt>
                <c:pt idx="12428">
                  <c:v>7.202</c:v>
                </c:pt>
                <c:pt idx="12429">
                  <c:v>7.202</c:v>
                </c:pt>
                <c:pt idx="12430">
                  <c:v>7.2030000000000003</c:v>
                </c:pt>
                <c:pt idx="12431">
                  <c:v>7.202</c:v>
                </c:pt>
                <c:pt idx="12432">
                  <c:v>7.202</c:v>
                </c:pt>
                <c:pt idx="12433">
                  <c:v>7.202</c:v>
                </c:pt>
                <c:pt idx="12434">
                  <c:v>7.202</c:v>
                </c:pt>
                <c:pt idx="12435">
                  <c:v>7.202</c:v>
                </c:pt>
                <c:pt idx="12436">
                  <c:v>7.202</c:v>
                </c:pt>
                <c:pt idx="12437">
                  <c:v>7.202</c:v>
                </c:pt>
                <c:pt idx="12438">
                  <c:v>7.202</c:v>
                </c:pt>
                <c:pt idx="12439">
                  <c:v>7.202</c:v>
                </c:pt>
                <c:pt idx="12440">
                  <c:v>7.202</c:v>
                </c:pt>
                <c:pt idx="12441">
                  <c:v>7.202</c:v>
                </c:pt>
                <c:pt idx="12442">
                  <c:v>7.202</c:v>
                </c:pt>
                <c:pt idx="12443">
                  <c:v>7.202</c:v>
                </c:pt>
                <c:pt idx="12444">
                  <c:v>7.202</c:v>
                </c:pt>
                <c:pt idx="12445">
                  <c:v>7.202</c:v>
                </c:pt>
                <c:pt idx="12446">
                  <c:v>7.202</c:v>
                </c:pt>
                <c:pt idx="12447">
                  <c:v>7.202</c:v>
                </c:pt>
                <c:pt idx="12448">
                  <c:v>7.202</c:v>
                </c:pt>
                <c:pt idx="12449">
                  <c:v>7.202</c:v>
                </c:pt>
                <c:pt idx="12450">
                  <c:v>7.202</c:v>
                </c:pt>
                <c:pt idx="12451">
                  <c:v>7.202</c:v>
                </c:pt>
                <c:pt idx="12452">
                  <c:v>7.202</c:v>
                </c:pt>
                <c:pt idx="12453">
                  <c:v>7.202</c:v>
                </c:pt>
                <c:pt idx="12454">
                  <c:v>7.202</c:v>
                </c:pt>
                <c:pt idx="12455">
                  <c:v>7.202</c:v>
                </c:pt>
                <c:pt idx="12456">
                  <c:v>7.202</c:v>
                </c:pt>
                <c:pt idx="12457">
                  <c:v>7.202</c:v>
                </c:pt>
                <c:pt idx="12458">
                  <c:v>7.202</c:v>
                </c:pt>
                <c:pt idx="12459">
                  <c:v>7.202</c:v>
                </c:pt>
                <c:pt idx="12460">
                  <c:v>7.202</c:v>
                </c:pt>
                <c:pt idx="12461">
                  <c:v>7.202</c:v>
                </c:pt>
                <c:pt idx="12462">
                  <c:v>7.202</c:v>
                </c:pt>
                <c:pt idx="12463">
                  <c:v>7.202</c:v>
                </c:pt>
                <c:pt idx="12464">
                  <c:v>7.202</c:v>
                </c:pt>
                <c:pt idx="12465">
                  <c:v>7.202</c:v>
                </c:pt>
                <c:pt idx="12466">
                  <c:v>7.202</c:v>
                </c:pt>
                <c:pt idx="12467">
                  <c:v>7.202</c:v>
                </c:pt>
                <c:pt idx="12468">
                  <c:v>7.202</c:v>
                </c:pt>
                <c:pt idx="12469">
                  <c:v>7.202</c:v>
                </c:pt>
                <c:pt idx="12470">
                  <c:v>7.2030000000000003</c:v>
                </c:pt>
                <c:pt idx="12471">
                  <c:v>7.202</c:v>
                </c:pt>
                <c:pt idx="12472">
                  <c:v>7.202</c:v>
                </c:pt>
                <c:pt idx="12473">
                  <c:v>7.202</c:v>
                </c:pt>
                <c:pt idx="12474">
                  <c:v>7.202</c:v>
                </c:pt>
                <c:pt idx="12475">
                  <c:v>7.202</c:v>
                </c:pt>
                <c:pt idx="12476">
                  <c:v>7.202</c:v>
                </c:pt>
                <c:pt idx="12477">
                  <c:v>7.2009999999999996</c:v>
                </c:pt>
                <c:pt idx="12478">
                  <c:v>7.202</c:v>
                </c:pt>
                <c:pt idx="12479">
                  <c:v>7.202</c:v>
                </c:pt>
                <c:pt idx="12480">
                  <c:v>7.202</c:v>
                </c:pt>
                <c:pt idx="12481">
                  <c:v>7.202</c:v>
                </c:pt>
                <c:pt idx="12482">
                  <c:v>7.202</c:v>
                </c:pt>
                <c:pt idx="12483">
                  <c:v>7.202</c:v>
                </c:pt>
                <c:pt idx="12484">
                  <c:v>7.202</c:v>
                </c:pt>
                <c:pt idx="12485">
                  <c:v>7.202</c:v>
                </c:pt>
                <c:pt idx="12486">
                  <c:v>7.202</c:v>
                </c:pt>
                <c:pt idx="12487">
                  <c:v>7.202</c:v>
                </c:pt>
                <c:pt idx="12488">
                  <c:v>7.202</c:v>
                </c:pt>
                <c:pt idx="12489">
                  <c:v>7.202</c:v>
                </c:pt>
                <c:pt idx="12490">
                  <c:v>7.202</c:v>
                </c:pt>
                <c:pt idx="12491">
                  <c:v>7.2009999999999996</c:v>
                </c:pt>
                <c:pt idx="12492">
                  <c:v>7.202</c:v>
                </c:pt>
                <c:pt idx="12493">
                  <c:v>7.2009999999999996</c:v>
                </c:pt>
                <c:pt idx="12494">
                  <c:v>7.2009999999999996</c:v>
                </c:pt>
                <c:pt idx="12495">
                  <c:v>7.202</c:v>
                </c:pt>
                <c:pt idx="12496">
                  <c:v>7.2009999999999996</c:v>
                </c:pt>
                <c:pt idx="12497">
                  <c:v>7.2009999999999996</c:v>
                </c:pt>
                <c:pt idx="12498">
                  <c:v>7.202</c:v>
                </c:pt>
                <c:pt idx="12499">
                  <c:v>7.2009999999999996</c:v>
                </c:pt>
                <c:pt idx="12500">
                  <c:v>7.202</c:v>
                </c:pt>
                <c:pt idx="12501">
                  <c:v>7.202</c:v>
                </c:pt>
                <c:pt idx="12502">
                  <c:v>7.202</c:v>
                </c:pt>
                <c:pt idx="12503">
                  <c:v>7.202</c:v>
                </c:pt>
                <c:pt idx="12504">
                  <c:v>7.202</c:v>
                </c:pt>
                <c:pt idx="12505">
                  <c:v>7.2009999999999996</c:v>
                </c:pt>
                <c:pt idx="12506">
                  <c:v>7.202</c:v>
                </c:pt>
                <c:pt idx="12507">
                  <c:v>7.2009999999999996</c:v>
                </c:pt>
                <c:pt idx="12508">
                  <c:v>7.202</c:v>
                </c:pt>
                <c:pt idx="12509">
                  <c:v>7.202</c:v>
                </c:pt>
                <c:pt idx="12510">
                  <c:v>7.2009999999999996</c:v>
                </c:pt>
                <c:pt idx="12511">
                  <c:v>7.2009999999999996</c:v>
                </c:pt>
                <c:pt idx="12512">
                  <c:v>7.2009999999999996</c:v>
                </c:pt>
                <c:pt idx="12513">
                  <c:v>7.202</c:v>
                </c:pt>
                <c:pt idx="12514">
                  <c:v>7.202</c:v>
                </c:pt>
                <c:pt idx="12515">
                  <c:v>7.202</c:v>
                </c:pt>
                <c:pt idx="12516">
                  <c:v>7.202</c:v>
                </c:pt>
                <c:pt idx="12517">
                  <c:v>7.202</c:v>
                </c:pt>
                <c:pt idx="12518">
                  <c:v>7.2009999999999996</c:v>
                </c:pt>
                <c:pt idx="12519">
                  <c:v>7.2009999999999996</c:v>
                </c:pt>
                <c:pt idx="12520">
                  <c:v>7.2009999999999996</c:v>
                </c:pt>
                <c:pt idx="12521">
                  <c:v>7.202</c:v>
                </c:pt>
                <c:pt idx="12522">
                  <c:v>7.2009999999999996</c:v>
                </c:pt>
                <c:pt idx="12523">
                  <c:v>7.202</c:v>
                </c:pt>
                <c:pt idx="12524">
                  <c:v>7.202</c:v>
                </c:pt>
                <c:pt idx="12525">
                  <c:v>7.202</c:v>
                </c:pt>
                <c:pt idx="12526">
                  <c:v>7.2009999999999996</c:v>
                </c:pt>
                <c:pt idx="12527">
                  <c:v>7.2009999999999996</c:v>
                </c:pt>
                <c:pt idx="12528">
                  <c:v>7.202</c:v>
                </c:pt>
                <c:pt idx="12529">
                  <c:v>7.2009999999999996</c:v>
                </c:pt>
                <c:pt idx="12530">
                  <c:v>7.2009999999999996</c:v>
                </c:pt>
                <c:pt idx="12531">
                  <c:v>7.2009999999999996</c:v>
                </c:pt>
                <c:pt idx="12532">
                  <c:v>7.2009999999999996</c:v>
                </c:pt>
                <c:pt idx="12533">
                  <c:v>7.202</c:v>
                </c:pt>
                <c:pt idx="12534">
                  <c:v>7.2009999999999996</c:v>
                </c:pt>
                <c:pt idx="12535">
                  <c:v>7.2009999999999996</c:v>
                </c:pt>
                <c:pt idx="12536">
                  <c:v>7.2009999999999996</c:v>
                </c:pt>
                <c:pt idx="12537">
                  <c:v>7.2009999999999996</c:v>
                </c:pt>
                <c:pt idx="12538">
                  <c:v>7.2009999999999996</c:v>
                </c:pt>
                <c:pt idx="12539">
                  <c:v>7.2009999999999996</c:v>
                </c:pt>
                <c:pt idx="12540">
                  <c:v>7.2009999999999996</c:v>
                </c:pt>
                <c:pt idx="12541">
                  <c:v>7.2009999999999996</c:v>
                </c:pt>
                <c:pt idx="12542">
                  <c:v>7.2009999999999996</c:v>
                </c:pt>
                <c:pt idx="12543">
                  <c:v>7.2</c:v>
                </c:pt>
                <c:pt idx="12544">
                  <c:v>7.2</c:v>
                </c:pt>
                <c:pt idx="12545">
                  <c:v>7.2009999999999996</c:v>
                </c:pt>
                <c:pt idx="12546">
                  <c:v>7.2009999999999996</c:v>
                </c:pt>
                <c:pt idx="12547">
                  <c:v>7.2009999999999996</c:v>
                </c:pt>
                <c:pt idx="12548">
                  <c:v>7.2009999999999996</c:v>
                </c:pt>
                <c:pt idx="12549">
                  <c:v>7.2009999999999996</c:v>
                </c:pt>
                <c:pt idx="12550">
                  <c:v>7.2009999999999996</c:v>
                </c:pt>
                <c:pt idx="12551">
                  <c:v>7.2</c:v>
                </c:pt>
                <c:pt idx="12552">
                  <c:v>7.2</c:v>
                </c:pt>
                <c:pt idx="12553">
                  <c:v>7.2</c:v>
                </c:pt>
                <c:pt idx="12554">
                  <c:v>7.2</c:v>
                </c:pt>
                <c:pt idx="12555">
                  <c:v>7.2</c:v>
                </c:pt>
                <c:pt idx="12556">
                  <c:v>7.2</c:v>
                </c:pt>
                <c:pt idx="12557">
                  <c:v>7.2</c:v>
                </c:pt>
                <c:pt idx="12558">
                  <c:v>7.2009999999999996</c:v>
                </c:pt>
                <c:pt idx="12559">
                  <c:v>7.2</c:v>
                </c:pt>
                <c:pt idx="12560">
                  <c:v>7.2</c:v>
                </c:pt>
                <c:pt idx="12561">
                  <c:v>7.2</c:v>
                </c:pt>
                <c:pt idx="12562">
                  <c:v>7.2</c:v>
                </c:pt>
                <c:pt idx="12563">
                  <c:v>7.2</c:v>
                </c:pt>
                <c:pt idx="12564">
                  <c:v>7.2</c:v>
                </c:pt>
                <c:pt idx="12565">
                  <c:v>7.2</c:v>
                </c:pt>
                <c:pt idx="12566">
                  <c:v>7.2</c:v>
                </c:pt>
                <c:pt idx="12567">
                  <c:v>7.2</c:v>
                </c:pt>
                <c:pt idx="12568">
                  <c:v>7.2</c:v>
                </c:pt>
                <c:pt idx="12569">
                  <c:v>7.1989999999999998</c:v>
                </c:pt>
                <c:pt idx="12570">
                  <c:v>7.2</c:v>
                </c:pt>
                <c:pt idx="12571">
                  <c:v>7.2</c:v>
                </c:pt>
                <c:pt idx="12572">
                  <c:v>7.2</c:v>
                </c:pt>
                <c:pt idx="12573">
                  <c:v>7.2</c:v>
                </c:pt>
                <c:pt idx="12574">
                  <c:v>7.2</c:v>
                </c:pt>
                <c:pt idx="12575">
                  <c:v>7.2</c:v>
                </c:pt>
                <c:pt idx="12576">
                  <c:v>7.2</c:v>
                </c:pt>
                <c:pt idx="12577">
                  <c:v>7.2</c:v>
                </c:pt>
                <c:pt idx="12578">
                  <c:v>7.2</c:v>
                </c:pt>
                <c:pt idx="12579">
                  <c:v>7.2</c:v>
                </c:pt>
                <c:pt idx="12580">
                  <c:v>7.2</c:v>
                </c:pt>
                <c:pt idx="12581">
                  <c:v>7.2</c:v>
                </c:pt>
                <c:pt idx="12582">
                  <c:v>7.1989999999999998</c:v>
                </c:pt>
                <c:pt idx="12583">
                  <c:v>7.2</c:v>
                </c:pt>
                <c:pt idx="12584">
                  <c:v>7.2</c:v>
                </c:pt>
                <c:pt idx="12585">
                  <c:v>7.2</c:v>
                </c:pt>
                <c:pt idx="12586">
                  <c:v>7.2</c:v>
                </c:pt>
                <c:pt idx="12587">
                  <c:v>7.2</c:v>
                </c:pt>
                <c:pt idx="12588">
                  <c:v>7.2</c:v>
                </c:pt>
                <c:pt idx="12589">
                  <c:v>7.2</c:v>
                </c:pt>
                <c:pt idx="12590">
                  <c:v>7.2</c:v>
                </c:pt>
                <c:pt idx="12591">
                  <c:v>7.2</c:v>
                </c:pt>
                <c:pt idx="12592">
                  <c:v>7.2</c:v>
                </c:pt>
                <c:pt idx="12593">
                  <c:v>7.2</c:v>
                </c:pt>
                <c:pt idx="12594">
                  <c:v>7.2</c:v>
                </c:pt>
                <c:pt idx="12595">
                  <c:v>7.2</c:v>
                </c:pt>
                <c:pt idx="12596">
                  <c:v>7.2</c:v>
                </c:pt>
                <c:pt idx="12597">
                  <c:v>7.2</c:v>
                </c:pt>
                <c:pt idx="12598">
                  <c:v>7.1989999999999998</c:v>
                </c:pt>
                <c:pt idx="12599">
                  <c:v>7.1989999999999998</c:v>
                </c:pt>
                <c:pt idx="12600">
                  <c:v>7.1989999999999998</c:v>
                </c:pt>
                <c:pt idx="12601">
                  <c:v>7.1989999999999998</c:v>
                </c:pt>
                <c:pt idx="12602">
                  <c:v>7.2</c:v>
                </c:pt>
                <c:pt idx="12603">
                  <c:v>7.1989999999999998</c:v>
                </c:pt>
                <c:pt idx="12604">
                  <c:v>7.1989999999999998</c:v>
                </c:pt>
                <c:pt idx="12605">
                  <c:v>7.1989999999999998</c:v>
                </c:pt>
                <c:pt idx="12606">
                  <c:v>7.1989999999999998</c:v>
                </c:pt>
                <c:pt idx="12607">
                  <c:v>7.1989999999999998</c:v>
                </c:pt>
                <c:pt idx="12608">
                  <c:v>7.1989999999999998</c:v>
                </c:pt>
                <c:pt idx="12609">
                  <c:v>7.1989999999999998</c:v>
                </c:pt>
                <c:pt idx="12610">
                  <c:v>7.1989999999999998</c:v>
                </c:pt>
                <c:pt idx="12611">
                  <c:v>7.1989999999999998</c:v>
                </c:pt>
                <c:pt idx="12612">
                  <c:v>7.1989999999999998</c:v>
                </c:pt>
                <c:pt idx="12613">
                  <c:v>7.1989999999999998</c:v>
                </c:pt>
                <c:pt idx="12614">
                  <c:v>7.1989999999999998</c:v>
                </c:pt>
                <c:pt idx="12615">
                  <c:v>7.1989999999999998</c:v>
                </c:pt>
                <c:pt idx="12616">
                  <c:v>7.1989999999999998</c:v>
                </c:pt>
                <c:pt idx="12617">
                  <c:v>7.1989999999999998</c:v>
                </c:pt>
                <c:pt idx="12618">
                  <c:v>7.1989999999999998</c:v>
                </c:pt>
                <c:pt idx="12619">
                  <c:v>7.1989999999999998</c:v>
                </c:pt>
                <c:pt idx="12620">
                  <c:v>7.1989999999999998</c:v>
                </c:pt>
                <c:pt idx="12621">
                  <c:v>7.1989999999999998</c:v>
                </c:pt>
                <c:pt idx="12622">
                  <c:v>7.1989999999999998</c:v>
                </c:pt>
                <c:pt idx="12623">
                  <c:v>7.1989999999999998</c:v>
                </c:pt>
                <c:pt idx="12624">
                  <c:v>7.1989999999999998</c:v>
                </c:pt>
                <c:pt idx="12625">
                  <c:v>7.1989999999999998</c:v>
                </c:pt>
                <c:pt idx="12626">
                  <c:v>7.1989999999999998</c:v>
                </c:pt>
                <c:pt idx="12627">
                  <c:v>7.1989999999999998</c:v>
                </c:pt>
                <c:pt idx="12628">
                  <c:v>7.1989999999999998</c:v>
                </c:pt>
                <c:pt idx="12629">
                  <c:v>7.1989999999999998</c:v>
                </c:pt>
                <c:pt idx="12630">
                  <c:v>7.2</c:v>
                </c:pt>
                <c:pt idx="12631">
                  <c:v>7.1989999999999998</c:v>
                </c:pt>
                <c:pt idx="12632">
                  <c:v>7.1989999999999998</c:v>
                </c:pt>
                <c:pt idx="12633">
                  <c:v>7.1989999999999998</c:v>
                </c:pt>
                <c:pt idx="12634">
                  <c:v>7.1989999999999998</c:v>
                </c:pt>
                <c:pt idx="12635">
                  <c:v>7.1989999999999998</c:v>
                </c:pt>
                <c:pt idx="12636">
                  <c:v>7.1989999999999998</c:v>
                </c:pt>
                <c:pt idx="12637">
                  <c:v>7.1989999999999998</c:v>
                </c:pt>
                <c:pt idx="12638">
                  <c:v>7.1989999999999998</c:v>
                </c:pt>
                <c:pt idx="12639">
                  <c:v>7.1989999999999998</c:v>
                </c:pt>
                <c:pt idx="12640">
                  <c:v>7.1989999999999998</c:v>
                </c:pt>
                <c:pt idx="12641">
                  <c:v>7.1989999999999998</c:v>
                </c:pt>
                <c:pt idx="12642">
                  <c:v>7.1989999999999998</c:v>
                </c:pt>
                <c:pt idx="12643">
                  <c:v>7.1989999999999998</c:v>
                </c:pt>
                <c:pt idx="12644">
                  <c:v>7.1989999999999998</c:v>
                </c:pt>
                <c:pt idx="12645">
                  <c:v>7.1989999999999998</c:v>
                </c:pt>
                <c:pt idx="12646">
                  <c:v>7.1989999999999998</c:v>
                </c:pt>
                <c:pt idx="12647">
                  <c:v>7.1980000000000004</c:v>
                </c:pt>
                <c:pt idx="12648">
                  <c:v>7.1989999999999998</c:v>
                </c:pt>
                <c:pt idx="12649">
                  <c:v>7.1980000000000004</c:v>
                </c:pt>
                <c:pt idx="12650">
                  <c:v>7.1980000000000004</c:v>
                </c:pt>
                <c:pt idx="12651">
                  <c:v>7.1989999999999998</c:v>
                </c:pt>
                <c:pt idx="12652">
                  <c:v>7.1989999999999998</c:v>
                </c:pt>
                <c:pt idx="12653">
                  <c:v>7.1989999999999998</c:v>
                </c:pt>
                <c:pt idx="12654">
                  <c:v>7.1989999999999998</c:v>
                </c:pt>
                <c:pt idx="12655">
                  <c:v>7.1980000000000004</c:v>
                </c:pt>
                <c:pt idx="12656">
                  <c:v>7.1980000000000004</c:v>
                </c:pt>
                <c:pt idx="12657">
                  <c:v>7.1989999999999998</c:v>
                </c:pt>
                <c:pt idx="12658">
                  <c:v>7.1989999999999998</c:v>
                </c:pt>
                <c:pt idx="12659">
                  <c:v>7.1989999999999998</c:v>
                </c:pt>
                <c:pt idx="12660">
                  <c:v>7.1980000000000004</c:v>
                </c:pt>
                <c:pt idx="12661">
                  <c:v>7.1980000000000004</c:v>
                </c:pt>
                <c:pt idx="12662">
                  <c:v>7.1989999999999998</c:v>
                </c:pt>
                <c:pt idx="12663">
                  <c:v>7.1989999999999998</c:v>
                </c:pt>
                <c:pt idx="12664">
                  <c:v>7.1989999999999998</c:v>
                </c:pt>
                <c:pt idx="12665">
                  <c:v>7.1989999999999998</c:v>
                </c:pt>
                <c:pt idx="12666">
                  <c:v>7.1980000000000004</c:v>
                </c:pt>
                <c:pt idx="12667">
                  <c:v>7.1980000000000004</c:v>
                </c:pt>
                <c:pt idx="12668">
                  <c:v>7.1980000000000004</c:v>
                </c:pt>
                <c:pt idx="12669">
                  <c:v>7.1980000000000004</c:v>
                </c:pt>
                <c:pt idx="12670">
                  <c:v>7.1980000000000004</c:v>
                </c:pt>
                <c:pt idx="12671">
                  <c:v>7.1989999999999998</c:v>
                </c:pt>
                <c:pt idx="12672">
                  <c:v>7.1980000000000004</c:v>
                </c:pt>
                <c:pt idx="12673">
                  <c:v>7.1980000000000004</c:v>
                </c:pt>
                <c:pt idx="12674">
                  <c:v>7.1980000000000004</c:v>
                </c:pt>
                <c:pt idx="12675">
                  <c:v>7.1989999999999998</c:v>
                </c:pt>
                <c:pt idx="12676">
                  <c:v>7.1980000000000004</c:v>
                </c:pt>
                <c:pt idx="12677">
                  <c:v>7.1980000000000004</c:v>
                </c:pt>
                <c:pt idx="12678">
                  <c:v>7.1980000000000004</c:v>
                </c:pt>
                <c:pt idx="12679">
                  <c:v>7.1980000000000004</c:v>
                </c:pt>
                <c:pt idx="12680">
                  <c:v>7.1989999999999998</c:v>
                </c:pt>
                <c:pt idx="12681">
                  <c:v>7.1980000000000004</c:v>
                </c:pt>
                <c:pt idx="12682">
                  <c:v>7.1980000000000004</c:v>
                </c:pt>
                <c:pt idx="12683">
                  <c:v>7.1980000000000004</c:v>
                </c:pt>
                <c:pt idx="12684">
                  <c:v>7.1980000000000004</c:v>
                </c:pt>
                <c:pt idx="12685">
                  <c:v>7.1980000000000004</c:v>
                </c:pt>
                <c:pt idx="12686">
                  <c:v>7.1980000000000004</c:v>
                </c:pt>
                <c:pt idx="12687">
                  <c:v>7.1970000000000001</c:v>
                </c:pt>
                <c:pt idx="12688">
                  <c:v>7.1980000000000004</c:v>
                </c:pt>
                <c:pt idx="12689">
                  <c:v>7.1980000000000004</c:v>
                </c:pt>
                <c:pt idx="12690">
                  <c:v>7.1980000000000004</c:v>
                </c:pt>
                <c:pt idx="12691">
                  <c:v>7.1980000000000004</c:v>
                </c:pt>
                <c:pt idx="12692">
                  <c:v>7.1980000000000004</c:v>
                </c:pt>
                <c:pt idx="12693">
                  <c:v>7.1980000000000004</c:v>
                </c:pt>
                <c:pt idx="12694">
                  <c:v>7.1980000000000004</c:v>
                </c:pt>
                <c:pt idx="12695">
                  <c:v>7.1980000000000004</c:v>
                </c:pt>
                <c:pt idx="12696">
                  <c:v>7.1970000000000001</c:v>
                </c:pt>
                <c:pt idx="12697">
                  <c:v>7.1970000000000001</c:v>
                </c:pt>
                <c:pt idx="12698">
                  <c:v>7.1970000000000001</c:v>
                </c:pt>
                <c:pt idx="12699">
                  <c:v>7.1970000000000001</c:v>
                </c:pt>
                <c:pt idx="12700">
                  <c:v>7.1970000000000001</c:v>
                </c:pt>
                <c:pt idx="12701">
                  <c:v>7.1970000000000001</c:v>
                </c:pt>
                <c:pt idx="12702">
                  <c:v>7.1970000000000001</c:v>
                </c:pt>
                <c:pt idx="12703">
                  <c:v>7.1970000000000001</c:v>
                </c:pt>
                <c:pt idx="12704">
                  <c:v>7.1970000000000001</c:v>
                </c:pt>
                <c:pt idx="12705">
                  <c:v>7.1970000000000001</c:v>
                </c:pt>
                <c:pt idx="12706">
                  <c:v>7.1980000000000004</c:v>
                </c:pt>
                <c:pt idx="12707">
                  <c:v>7.1980000000000004</c:v>
                </c:pt>
                <c:pt idx="12708">
                  <c:v>7.1980000000000004</c:v>
                </c:pt>
                <c:pt idx="12709">
                  <c:v>7.1970000000000001</c:v>
                </c:pt>
                <c:pt idx="12710">
                  <c:v>7.1970000000000001</c:v>
                </c:pt>
                <c:pt idx="12711">
                  <c:v>7.1980000000000004</c:v>
                </c:pt>
                <c:pt idx="12712">
                  <c:v>7.1970000000000001</c:v>
                </c:pt>
                <c:pt idx="12713">
                  <c:v>7.1980000000000004</c:v>
                </c:pt>
                <c:pt idx="12714">
                  <c:v>7.1970000000000001</c:v>
                </c:pt>
                <c:pt idx="12715">
                  <c:v>7.1970000000000001</c:v>
                </c:pt>
                <c:pt idx="12716">
                  <c:v>7.1970000000000001</c:v>
                </c:pt>
                <c:pt idx="12717">
                  <c:v>7.1970000000000001</c:v>
                </c:pt>
                <c:pt idx="12718">
                  <c:v>7.1970000000000001</c:v>
                </c:pt>
                <c:pt idx="12719">
                  <c:v>7.1970000000000001</c:v>
                </c:pt>
                <c:pt idx="12720">
                  <c:v>7.1980000000000004</c:v>
                </c:pt>
                <c:pt idx="12721">
                  <c:v>7.1970000000000001</c:v>
                </c:pt>
                <c:pt idx="12722">
                  <c:v>7.1970000000000001</c:v>
                </c:pt>
                <c:pt idx="12723">
                  <c:v>7.1970000000000001</c:v>
                </c:pt>
                <c:pt idx="12724">
                  <c:v>7.1970000000000001</c:v>
                </c:pt>
                <c:pt idx="12725">
                  <c:v>7.1970000000000001</c:v>
                </c:pt>
                <c:pt idx="12726">
                  <c:v>7.1970000000000001</c:v>
                </c:pt>
                <c:pt idx="12727">
                  <c:v>7.1970000000000001</c:v>
                </c:pt>
                <c:pt idx="12728">
                  <c:v>7.1970000000000001</c:v>
                </c:pt>
                <c:pt idx="12729">
                  <c:v>7.1970000000000001</c:v>
                </c:pt>
                <c:pt idx="12730">
                  <c:v>7.1970000000000001</c:v>
                </c:pt>
                <c:pt idx="12731">
                  <c:v>7.1959999999999997</c:v>
                </c:pt>
                <c:pt idx="12732">
                  <c:v>7.1970000000000001</c:v>
                </c:pt>
                <c:pt idx="12733">
                  <c:v>7.1970000000000001</c:v>
                </c:pt>
                <c:pt idx="12734">
                  <c:v>7.1970000000000001</c:v>
                </c:pt>
                <c:pt idx="12735">
                  <c:v>7.1970000000000001</c:v>
                </c:pt>
                <c:pt idx="12736">
                  <c:v>7.1959999999999997</c:v>
                </c:pt>
                <c:pt idx="12737">
                  <c:v>7.1970000000000001</c:v>
                </c:pt>
                <c:pt idx="12738">
                  <c:v>7.1959999999999997</c:v>
                </c:pt>
                <c:pt idx="12739">
                  <c:v>7.1970000000000001</c:v>
                </c:pt>
                <c:pt idx="12740">
                  <c:v>7.1970000000000001</c:v>
                </c:pt>
                <c:pt idx="12741">
                  <c:v>7.1970000000000001</c:v>
                </c:pt>
                <c:pt idx="12742">
                  <c:v>7.1959999999999997</c:v>
                </c:pt>
                <c:pt idx="12743">
                  <c:v>7.1970000000000001</c:v>
                </c:pt>
                <c:pt idx="12744">
                  <c:v>7.1970000000000001</c:v>
                </c:pt>
                <c:pt idx="12745">
                  <c:v>7.1970000000000001</c:v>
                </c:pt>
                <c:pt idx="12746">
                  <c:v>7.1970000000000001</c:v>
                </c:pt>
                <c:pt idx="12747">
                  <c:v>7.1970000000000001</c:v>
                </c:pt>
                <c:pt idx="12748">
                  <c:v>7.1970000000000001</c:v>
                </c:pt>
                <c:pt idx="12749">
                  <c:v>7.1959999999999997</c:v>
                </c:pt>
                <c:pt idx="12750">
                  <c:v>7.1970000000000001</c:v>
                </c:pt>
                <c:pt idx="12751">
                  <c:v>7.1970000000000001</c:v>
                </c:pt>
                <c:pt idx="12752">
                  <c:v>7.1970000000000001</c:v>
                </c:pt>
                <c:pt idx="12753">
                  <c:v>7.1970000000000001</c:v>
                </c:pt>
                <c:pt idx="12754">
                  <c:v>7.1970000000000001</c:v>
                </c:pt>
                <c:pt idx="12755">
                  <c:v>7.1970000000000001</c:v>
                </c:pt>
                <c:pt idx="12756">
                  <c:v>7.1970000000000001</c:v>
                </c:pt>
                <c:pt idx="12757">
                  <c:v>7.1970000000000001</c:v>
                </c:pt>
                <c:pt idx="12758">
                  <c:v>7.1959999999999997</c:v>
                </c:pt>
                <c:pt idx="12759">
                  <c:v>7.1970000000000001</c:v>
                </c:pt>
                <c:pt idx="12760">
                  <c:v>7.1959999999999997</c:v>
                </c:pt>
                <c:pt idx="12761">
                  <c:v>7.1959999999999997</c:v>
                </c:pt>
                <c:pt idx="12762">
                  <c:v>7.1970000000000001</c:v>
                </c:pt>
                <c:pt idx="12763">
                  <c:v>7.1959999999999997</c:v>
                </c:pt>
                <c:pt idx="12764">
                  <c:v>7.1970000000000001</c:v>
                </c:pt>
                <c:pt idx="12765">
                  <c:v>7.1970000000000001</c:v>
                </c:pt>
                <c:pt idx="12766">
                  <c:v>7.1959999999999997</c:v>
                </c:pt>
                <c:pt idx="12767">
                  <c:v>7.1970000000000001</c:v>
                </c:pt>
                <c:pt idx="12768">
                  <c:v>7.1970000000000001</c:v>
                </c:pt>
                <c:pt idx="12769">
                  <c:v>7.1970000000000001</c:v>
                </c:pt>
                <c:pt idx="12770">
                  <c:v>7.1959999999999997</c:v>
                </c:pt>
                <c:pt idx="12771">
                  <c:v>7.1970000000000001</c:v>
                </c:pt>
                <c:pt idx="12772">
                  <c:v>7.1970000000000001</c:v>
                </c:pt>
                <c:pt idx="12773">
                  <c:v>7.1970000000000001</c:v>
                </c:pt>
                <c:pt idx="12774">
                  <c:v>7.1959999999999997</c:v>
                </c:pt>
                <c:pt idx="12775">
                  <c:v>7.1959999999999997</c:v>
                </c:pt>
                <c:pt idx="12776">
                  <c:v>7.1959999999999997</c:v>
                </c:pt>
                <c:pt idx="12777">
                  <c:v>7.1959999999999997</c:v>
                </c:pt>
                <c:pt idx="12778">
                  <c:v>7.1959999999999997</c:v>
                </c:pt>
                <c:pt idx="12779">
                  <c:v>7.1970000000000001</c:v>
                </c:pt>
                <c:pt idx="12780">
                  <c:v>7.1970000000000001</c:v>
                </c:pt>
                <c:pt idx="12781">
                  <c:v>7.1959999999999997</c:v>
                </c:pt>
                <c:pt idx="12782">
                  <c:v>7.1970000000000001</c:v>
                </c:pt>
                <c:pt idx="12783">
                  <c:v>7.1959999999999997</c:v>
                </c:pt>
                <c:pt idx="12784">
                  <c:v>7.1959999999999997</c:v>
                </c:pt>
                <c:pt idx="12785">
                  <c:v>7.1959999999999997</c:v>
                </c:pt>
                <c:pt idx="12786">
                  <c:v>7.1959999999999997</c:v>
                </c:pt>
                <c:pt idx="12787">
                  <c:v>7.1959999999999997</c:v>
                </c:pt>
                <c:pt idx="12788">
                  <c:v>7.1959999999999997</c:v>
                </c:pt>
                <c:pt idx="12789">
                  <c:v>7.1959999999999997</c:v>
                </c:pt>
                <c:pt idx="12790">
                  <c:v>7.1959999999999997</c:v>
                </c:pt>
                <c:pt idx="12791">
                  <c:v>7.1959999999999997</c:v>
                </c:pt>
                <c:pt idx="12792">
                  <c:v>7.1970000000000001</c:v>
                </c:pt>
                <c:pt idx="12793">
                  <c:v>7.1970000000000001</c:v>
                </c:pt>
                <c:pt idx="12794">
                  <c:v>7.1959999999999997</c:v>
                </c:pt>
                <c:pt idx="12795">
                  <c:v>7.1959999999999997</c:v>
                </c:pt>
                <c:pt idx="12796">
                  <c:v>7.1959999999999997</c:v>
                </c:pt>
                <c:pt idx="12797">
                  <c:v>7.1959999999999997</c:v>
                </c:pt>
                <c:pt idx="12798">
                  <c:v>7.1959999999999997</c:v>
                </c:pt>
                <c:pt idx="12799">
                  <c:v>7.1959999999999997</c:v>
                </c:pt>
                <c:pt idx="12800">
                  <c:v>7.1959999999999997</c:v>
                </c:pt>
                <c:pt idx="12801">
                  <c:v>7.1959999999999997</c:v>
                </c:pt>
                <c:pt idx="12802">
                  <c:v>7.1959999999999997</c:v>
                </c:pt>
                <c:pt idx="12803">
                  <c:v>7.1959999999999997</c:v>
                </c:pt>
                <c:pt idx="12804">
                  <c:v>7.1959999999999997</c:v>
                </c:pt>
                <c:pt idx="12805">
                  <c:v>7.1959999999999997</c:v>
                </c:pt>
                <c:pt idx="12806">
                  <c:v>7.1950000000000003</c:v>
                </c:pt>
                <c:pt idx="12807">
                  <c:v>7.1950000000000003</c:v>
                </c:pt>
                <c:pt idx="12808">
                  <c:v>7.1959999999999997</c:v>
                </c:pt>
                <c:pt idx="12809">
                  <c:v>7.1959999999999997</c:v>
                </c:pt>
                <c:pt idx="12810">
                  <c:v>7.1959999999999997</c:v>
                </c:pt>
                <c:pt idx="12811">
                  <c:v>7.1950000000000003</c:v>
                </c:pt>
                <c:pt idx="12812">
                  <c:v>7.1959999999999997</c:v>
                </c:pt>
                <c:pt idx="12813">
                  <c:v>7.1959999999999997</c:v>
                </c:pt>
                <c:pt idx="12814">
                  <c:v>7.1959999999999997</c:v>
                </c:pt>
                <c:pt idx="12815">
                  <c:v>7.1950000000000003</c:v>
                </c:pt>
                <c:pt idx="12816">
                  <c:v>7.1950000000000003</c:v>
                </c:pt>
                <c:pt idx="12817">
                  <c:v>7.1959999999999997</c:v>
                </c:pt>
                <c:pt idx="12818">
                  <c:v>7.1959999999999997</c:v>
                </c:pt>
                <c:pt idx="12819">
                  <c:v>7.1950000000000003</c:v>
                </c:pt>
                <c:pt idx="12820">
                  <c:v>7.1959999999999997</c:v>
                </c:pt>
                <c:pt idx="12821">
                  <c:v>7.1959999999999997</c:v>
                </c:pt>
                <c:pt idx="12822">
                  <c:v>7.1959999999999997</c:v>
                </c:pt>
                <c:pt idx="12823">
                  <c:v>7.1950000000000003</c:v>
                </c:pt>
                <c:pt idx="12824">
                  <c:v>7.1950000000000003</c:v>
                </c:pt>
                <c:pt idx="12825">
                  <c:v>7.1959999999999997</c:v>
                </c:pt>
                <c:pt idx="12826">
                  <c:v>7.1950000000000003</c:v>
                </c:pt>
                <c:pt idx="12827">
                  <c:v>7.1959999999999997</c:v>
                </c:pt>
                <c:pt idx="12828">
                  <c:v>7.1950000000000003</c:v>
                </c:pt>
                <c:pt idx="12829">
                  <c:v>7.1959999999999997</c:v>
                </c:pt>
                <c:pt idx="12830">
                  <c:v>7.1950000000000003</c:v>
                </c:pt>
                <c:pt idx="12831">
                  <c:v>7.1950000000000003</c:v>
                </c:pt>
                <c:pt idx="12832">
                  <c:v>7.1950000000000003</c:v>
                </c:pt>
                <c:pt idx="12833">
                  <c:v>7.1950000000000003</c:v>
                </c:pt>
                <c:pt idx="12834">
                  <c:v>7.1950000000000003</c:v>
                </c:pt>
                <c:pt idx="12835">
                  <c:v>7.1950000000000003</c:v>
                </c:pt>
                <c:pt idx="12836">
                  <c:v>7.1959999999999997</c:v>
                </c:pt>
                <c:pt idx="12837">
                  <c:v>7.1959999999999997</c:v>
                </c:pt>
                <c:pt idx="12838">
                  <c:v>7.1959999999999997</c:v>
                </c:pt>
                <c:pt idx="12839">
                  <c:v>7.1950000000000003</c:v>
                </c:pt>
                <c:pt idx="12840">
                  <c:v>7.1950000000000003</c:v>
                </c:pt>
                <c:pt idx="12841">
                  <c:v>7.1950000000000003</c:v>
                </c:pt>
                <c:pt idx="12842">
                  <c:v>7.1950000000000003</c:v>
                </c:pt>
                <c:pt idx="12843">
                  <c:v>7.1950000000000003</c:v>
                </c:pt>
                <c:pt idx="12844">
                  <c:v>7.1950000000000003</c:v>
                </c:pt>
                <c:pt idx="12845">
                  <c:v>7.1950000000000003</c:v>
                </c:pt>
                <c:pt idx="12846">
                  <c:v>7.1950000000000003</c:v>
                </c:pt>
                <c:pt idx="12847">
                  <c:v>7.1950000000000003</c:v>
                </c:pt>
                <c:pt idx="12848">
                  <c:v>7.1950000000000003</c:v>
                </c:pt>
                <c:pt idx="12849">
                  <c:v>7.1950000000000003</c:v>
                </c:pt>
                <c:pt idx="12850">
                  <c:v>7.1950000000000003</c:v>
                </c:pt>
                <c:pt idx="12851">
                  <c:v>7.1950000000000003</c:v>
                </c:pt>
                <c:pt idx="12852">
                  <c:v>7.1950000000000003</c:v>
                </c:pt>
                <c:pt idx="12853">
                  <c:v>7.1950000000000003</c:v>
                </c:pt>
                <c:pt idx="12854">
                  <c:v>7.1950000000000003</c:v>
                </c:pt>
                <c:pt idx="12855">
                  <c:v>7.1950000000000003</c:v>
                </c:pt>
                <c:pt idx="12856">
                  <c:v>7.1950000000000003</c:v>
                </c:pt>
                <c:pt idx="12857">
                  <c:v>7.1950000000000003</c:v>
                </c:pt>
                <c:pt idx="12858">
                  <c:v>7.1950000000000003</c:v>
                </c:pt>
                <c:pt idx="12859">
                  <c:v>7.1950000000000003</c:v>
                </c:pt>
                <c:pt idx="12860">
                  <c:v>7.1950000000000003</c:v>
                </c:pt>
                <c:pt idx="12861">
                  <c:v>7.1950000000000003</c:v>
                </c:pt>
                <c:pt idx="12862">
                  <c:v>7.1950000000000003</c:v>
                </c:pt>
                <c:pt idx="12863">
                  <c:v>7.1950000000000003</c:v>
                </c:pt>
                <c:pt idx="12864">
                  <c:v>7.1950000000000003</c:v>
                </c:pt>
                <c:pt idx="12865">
                  <c:v>7.1950000000000003</c:v>
                </c:pt>
                <c:pt idx="12866">
                  <c:v>7.1950000000000003</c:v>
                </c:pt>
                <c:pt idx="12867">
                  <c:v>7.1950000000000003</c:v>
                </c:pt>
                <c:pt idx="12868">
                  <c:v>7.1950000000000003</c:v>
                </c:pt>
                <c:pt idx="12869">
                  <c:v>7.1950000000000003</c:v>
                </c:pt>
                <c:pt idx="12870">
                  <c:v>7.1950000000000003</c:v>
                </c:pt>
                <c:pt idx="12871">
                  <c:v>7.1950000000000003</c:v>
                </c:pt>
                <c:pt idx="12872">
                  <c:v>7.1950000000000003</c:v>
                </c:pt>
                <c:pt idx="12873">
                  <c:v>7.1950000000000003</c:v>
                </c:pt>
                <c:pt idx="12874">
                  <c:v>7.1950000000000003</c:v>
                </c:pt>
                <c:pt idx="12875">
                  <c:v>7.1950000000000003</c:v>
                </c:pt>
                <c:pt idx="12876">
                  <c:v>7.1950000000000003</c:v>
                </c:pt>
                <c:pt idx="12877">
                  <c:v>7.1950000000000003</c:v>
                </c:pt>
                <c:pt idx="12878">
                  <c:v>7.1950000000000003</c:v>
                </c:pt>
                <c:pt idx="12879">
                  <c:v>7.1950000000000003</c:v>
                </c:pt>
                <c:pt idx="12880">
                  <c:v>7.1950000000000003</c:v>
                </c:pt>
                <c:pt idx="12881">
                  <c:v>7.1950000000000003</c:v>
                </c:pt>
                <c:pt idx="12882">
                  <c:v>7.1950000000000003</c:v>
                </c:pt>
                <c:pt idx="12883">
                  <c:v>7.1950000000000003</c:v>
                </c:pt>
                <c:pt idx="12884">
                  <c:v>7.194</c:v>
                </c:pt>
                <c:pt idx="12885">
                  <c:v>7.1950000000000003</c:v>
                </c:pt>
                <c:pt idx="12886">
                  <c:v>7.1950000000000003</c:v>
                </c:pt>
                <c:pt idx="12887">
                  <c:v>7.1950000000000003</c:v>
                </c:pt>
                <c:pt idx="12888">
                  <c:v>7.1950000000000003</c:v>
                </c:pt>
                <c:pt idx="12889">
                  <c:v>7.1950000000000003</c:v>
                </c:pt>
                <c:pt idx="12890">
                  <c:v>7.194</c:v>
                </c:pt>
                <c:pt idx="12891">
                  <c:v>7.194</c:v>
                </c:pt>
                <c:pt idx="12892">
                  <c:v>7.1950000000000003</c:v>
                </c:pt>
                <c:pt idx="12893">
                  <c:v>7.194</c:v>
                </c:pt>
                <c:pt idx="12894">
                  <c:v>7.1950000000000003</c:v>
                </c:pt>
                <c:pt idx="12895">
                  <c:v>7.194</c:v>
                </c:pt>
                <c:pt idx="12896">
                  <c:v>7.1950000000000003</c:v>
                </c:pt>
                <c:pt idx="12897">
                  <c:v>7.1950000000000003</c:v>
                </c:pt>
                <c:pt idx="12898">
                  <c:v>7.194</c:v>
                </c:pt>
                <c:pt idx="12899">
                  <c:v>7.1950000000000003</c:v>
                </c:pt>
                <c:pt idx="12900">
                  <c:v>7.194</c:v>
                </c:pt>
                <c:pt idx="12901">
                  <c:v>7.1950000000000003</c:v>
                </c:pt>
                <c:pt idx="12902">
                  <c:v>7.194</c:v>
                </c:pt>
                <c:pt idx="12903">
                  <c:v>7.1950000000000003</c:v>
                </c:pt>
                <c:pt idx="12904">
                  <c:v>7.194</c:v>
                </c:pt>
                <c:pt idx="12905">
                  <c:v>7.194</c:v>
                </c:pt>
                <c:pt idx="12906">
                  <c:v>7.194</c:v>
                </c:pt>
                <c:pt idx="12907">
                  <c:v>7.194</c:v>
                </c:pt>
                <c:pt idx="12908">
                  <c:v>7.194</c:v>
                </c:pt>
                <c:pt idx="12909">
                  <c:v>7.194</c:v>
                </c:pt>
                <c:pt idx="12910">
                  <c:v>7.194</c:v>
                </c:pt>
                <c:pt idx="12911">
                  <c:v>7.194</c:v>
                </c:pt>
                <c:pt idx="12912">
                  <c:v>7.194</c:v>
                </c:pt>
                <c:pt idx="12913">
                  <c:v>7.194</c:v>
                </c:pt>
                <c:pt idx="12914">
                  <c:v>7.194</c:v>
                </c:pt>
                <c:pt idx="12915">
                  <c:v>7.194</c:v>
                </c:pt>
                <c:pt idx="12916">
                  <c:v>7.194</c:v>
                </c:pt>
                <c:pt idx="12917">
                  <c:v>7.194</c:v>
                </c:pt>
                <c:pt idx="12918">
                  <c:v>7.194</c:v>
                </c:pt>
                <c:pt idx="12919">
                  <c:v>7.194</c:v>
                </c:pt>
                <c:pt idx="12920">
                  <c:v>7.194</c:v>
                </c:pt>
                <c:pt idx="12921">
                  <c:v>7.194</c:v>
                </c:pt>
                <c:pt idx="12922">
                  <c:v>7.194</c:v>
                </c:pt>
                <c:pt idx="12923">
                  <c:v>7.194</c:v>
                </c:pt>
                <c:pt idx="12924">
                  <c:v>7.194</c:v>
                </c:pt>
                <c:pt idx="12925">
                  <c:v>7.194</c:v>
                </c:pt>
                <c:pt idx="12926">
                  <c:v>7.194</c:v>
                </c:pt>
                <c:pt idx="12927">
                  <c:v>7.194</c:v>
                </c:pt>
                <c:pt idx="12928">
                  <c:v>7.194</c:v>
                </c:pt>
                <c:pt idx="12929">
                  <c:v>7.194</c:v>
                </c:pt>
                <c:pt idx="12930">
                  <c:v>7.194</c:v>
                </c:pt>
                <c:pt idx="12931">
                  <c:v>7.194</c:v>
                </c:pt>
                <c:pt idx="12932">
                  <c:v>7.194</c:v>
                </c:pt>
                <c:pt idx="12933">
                  <c:v>7.194</c:v>
                </c:pt>
                <c:pt idx="12934">
                  <c:v>7.194</c:v>
                </c:pt>
                <c:pt idx="12935">
                  <c:v>7.194</c:v>
                </c:pt>
                <c:pt idx="12936">
                  <c:v>7.194</c:v>
                </c:pt>
                <c:pt idx="12937">
                  <c:v>7.194</c:v>
                </c:pt>
                <c:pt idx="12938">
                  <c:v>7.194</c:v>
                </c:pt>
                <c:pt idx="12939">
                  <c:v>7.1929999999999996</c:v>
                </c:pt>
                <c:pt idx="12940">
                  <c:v>7.194</c:v>
                </c:pt>
                <c:pt idx="12941">
                  <c:v>7.1929999999999996</c:v>
                </c:pt>
                <c:pt idx="12942">
                  <c:v>7.194</c:v>
                </c:pt>
                <c:pt idx="12943">
                  <c:v>7.194</c:v>
                </c:pt>
                <c:pt idx="12944">
                  <c:v>7.194</c:v>
                </c:pt>
                <c:pt idx="12945">
                  <c:v>7.1929999999999996</c:v>
                </c:pt>
                <c:pt idx="12946">
                  <c:v>7.1929999999999996</c:v>
                </c:pt>
                <c:pt idx="12947">
                  <c:v>7.194</c:v>
                </c:pt>
                <c:pt idx="12948">
                  <c:v>7.194</c:v>
                </c:pt>
                <c:pt idx="12949">
                  <c:v>7.194</c:v>
                </c:pt>
                <c:pt idx="12950">
                  <c:v>7.1929999999999996</c:v>
                </c:pt>
                <c:pt idx="12951">
                  <c:v>7.194</c:v>
                </c:pt>
                <c:pt idx="12952">
                  <c:v>7.194</c:v>
                </c:pt>
                <c:pt idx="12953">
                  <c:v>7.1929999999999996</c:v>
                </c:pt>
                <c:pt idx="12954">
                  <c:v>7.194</c:v>
                </c:pt>
                <c:pt idx="12955">
                  <c:v>7.194</c:v>
                </c:pt>
                <c:pt idx="12956">
                  <c:v>7.194</c:v>
                </c:pt>
                <c:pt idx="12957">
                  <c:v>7.194</c:v>
                </c:pt>
                <c:pt idx="12958">
                  <c:v>7.194</c:v>
                </c:pt>
                <c:pt idx="12959">
                  <c:v>7.194</c:v>
                </c:pt>
                <c:pt idx="12960">
                  <c:v>7.194</c:v>
                </c:pt>
                <c:pt idx="12961">
                  <c:v>7.194</c:v>
                </c:pt>
                <c:pt idx="12962">
                  <c:v>7.194</c:v>
                </c:pt>
                <c:pt idx="12963">
                  <c:v>7.194</c:v>
                </c:pt>
                <c:pt idx="12964">
                  <c:v>7.194</c:v>
                </c:pt>
                <c:pt idx="12965">
                  <c:v>7.194</c:v>
                </c:pt>
                <c:pt idx="12966">
                  <c:v>7.194</c:v>
                </c:pt>
                <c:pt idx="12967">
                  <c:v>7.194</c:v>
                </c:pt>
                <c:pt idx="12968">
                  <c:v>7.1929999999999996</c:v>
                </c:pt>
                <c:pt idx="12969">
                  <c:v>7.194</c:v>
                </c:pt>
                <c:pt idx="12970">
                  <c:v>7.1929999999999996</c:v>
                </c:pt>
                <c:pt idx="12971">
                  <c:v>7.194</c:v>
                </c:pt>
                <c:pt idx="12972">
                  <c:v>7.1929999999999996</c:v>
                </c:pt>
                <c:pt idx="12973">
                  <c:v>7.1929999999999996</c:v>
                </c:pt>
                <c:pt idx="12974">
                  <c:v>7.1929999999999996</c:v>
                </c:pt>
                <c:pt idx="12975">
                  <c:v>7.1929999999999996</c:v>
                </c:pt>
                <c:pt idx="12976">
                  <c:v>7.1929999999999996</c:v>
                </c:pt>
                <c:pt idx="12977">
                  <c:v>7.1929999999999996</c:v>
                </c:pt>
                <c:pt idx="12978">
                  <c:v>7.1929999999999996</c:v>
                </c:pt>
                <c:pt idx="12979">
                  <c:v>7.1929999999999996</c:v>
                </c:pt>
                <c:pt idx="12980">
                  <c:v>7.1929999999999996</c:v>
                </c:pt>
                <c:pt idx="12981">
                  <c:v>7.1929999999999996</c:v>
                </c:pt>
                <c:pt idx="12982">
                  <c:v>7.1929999999999996</c:v>
                </c:pt>
                <c:pt idx="12983">
                  <c:v>7.1929999999999996</c:v>
                </c:pt>
                <c:pt idx="12984">
                  <c:v>7.1929999999999996</c:v>
                </c:pt>
                <c:pt idx="12985">
                  <c:v>7.1929999999999996</c:v>
                </c:pt>
                <c:pt idx="12986">
                  <c:v>7.1929999999999996</c:v>
                </c:pt>
                <c:pt idx="12987">
                  <c:v>7.1929999999999996</c:v>
                </c:pt>
                <c:pt idx="12988">
                  <c:v>7.1929999999999996</c:v>
                </c:pt>
                <c:pt idx="12989">
                  <c:v>7.1929999999999996</c:v>
                </c:pt>
                <c:pt idx="12990">
                  <c:v>7.1929999999999996</c:v>
                </c:pt>
                <c:pt idx="12991">
                  <c:v>7.1929999999999996</c:v>
                </c:pt>
                <c:pt idx="12992">
                  <c:v>7.1929999999999996</c:v>
                </c:pt>
                <c:pt idx="12993">
                  <c:v>7.194</c:v>
                </c:pt>
                <c:pt idx="12994">
                  <c:v>7.194</c:v>
                </c:pt>
                <c:pt idx="12995">
                  <c:v>7.1929999999999996</c:v>
                </c:pt>
                <c:pt idx="12996">
                  <c:v>7.1929999999999996</c:v>
                </c:pt>
                <c:pt idx="12997">
                  <c:v>7.1929999999999996</c:v>
                </c:pt>
                <c:pt idx="12998">
                  <c:v>7.1929999999999996</c:v>
                </c:pt>
                <c:pt idx="12999">
                  <c:v>7.1929999999999996</c:v>
                </c:pt>
                <c:pt idx="13000">
                  <c:v>7.1929999999999996</c:v>
                </c:pt>
                <c:pt idx="13001">
                  <c:v>7.1929999999999996</c:v>
                </c:pt>
                <c:pt idx="13002">
                  <c:v>7.1929999999999996</c:v>
                </c:pt>
                <c:pt idx="13003">
                  <c:v>7.1929999999999996</c:v>
                </c:pt>
                <c:pt idx="13004">
                  <c:v>7.1929999999999996</c:v>
                </c:pt>
                <c:pt idx="13005">
                  <c:v>7.1929999999999996</c:v>
                </c:pt>
                <c:pt idx="13006">
                  <c:v>7.1929999999999996</c:v>
                </c:pt>
                <c:pt idx="13007">
                  <c:v>7.1929999999999996</c:v>
                </c:pt>
                <c:pt idx="13008">
                  <c:v>7.1929999999999996</c:v>
                </c:pt>
                <c:pt idx="13009">
                  <c:v>7.1929999999999996</c:v>
                </c:pt>
                <c:pt idx="13010">
                  <c:v>7.1929999999999996</c:v>
                </c:pt>
                <c:pt idx="13011">
                  <c:v>7.1929999999999996</c:v>
                </c:pt>
                <c:pt idx="13012">
                  <c:v>7.1920000000000002</c:v>
                </c:pt>
                <c:pt idx="13013">
                  <c:v>7.1920000000000002</c:v>
                </c:pt>
                <c:pt idx="13014">
                  <c:v>7.1929999999999996</c:v>
                </c:pt>
                <c:pt idx="13015">
                  <c:v>7.1929999999999996</c:v>
                </c:pt>
                <c:pt idx="13016">
                  <c:v>7.1929999999999996</c:v>
                </c:pt>
                <c:pt idx="13017">
                  <c:v>7.1929999999999996</c:v>
                </c:pt>
                <c:pt idx="13018">
                  <c:v>7.1929999999999996</c:v>
                </c:pt>
                <c:pt idx="13019">
                  <c:v>7.1929999999999996</c:v>
                </c:pt>
                <c:pt idx="13020">
                  <c:v>7.1929999999999996</c:v>
                </c:pt>
                <c:pt idx="13021">
                  <c:v>7.1929999999999996</c:v>
                </c:pt>
                <c:pt idx="13022">
                  <c:v>7.1929999999999996</c:v>
                </c:pt>
                <c:pt idx="13023">
                  <c:v>7.1929999999999996</c:v>
                </c:pt>
                <c:pt idx="13024">
                  <c:v>7.1929999999999996</c:v>
                </c:pt>
                <c:pt idx="13025">
                  <c:v>7.1929999999999996</c:v>
                </c:pt>
                <c:pt idx="13026">
                  <c:v>7.1929999999999996</c:v>
                </c:pt>
                <c:pt idx="13027">
                  <c:v>7.1929999999999996</c:v>
                </c:pt>
                <c:pt idx="13028">
                  <c:v>7.1929999999999996</c:v>
                </c:pt>
                <c:pt idx="13029">
                  <c:v>7.1929999999999996</c:v>
                </c:pt>
                <c:pt idx="13030">
                  <c:v>7.1929999999999996</c:v>
                </c:pt>
                <c:pt idx="13031">
                  <c:v>7.1929999999999996</c:v>
                </c:pt>
                <c:pt idx="13032">
                  <c:v>7.1929999999999996</c:v>
                </c:pt>
                <c:pt idx="13033">
                  <c:v>7.194</c:v>
                </c:pt>
                <c:pt idx="13034">
                  <c:v>7.194</c:v>
                </c:pt>
                <c:pt idx="13035">
                  <c:v>7.1929999999999996</c:v>
                </c:pt>
                <c:pt idx="13036">
                  <c:v>7.1929999999999996</c:v>
                </c:pt>
                <c:pt idx="13037">
                  <c:v>7.1929999999999996</c:v>
                </c:pt>
                <c:pt idx="13038">
                  <c:v>7.1929999999999996</c:v>
                </c:pt>
                <c:pt idx="13039">
                  <c:v>7.1929999999999996</c:v>
                </c:pt>
                <c:pt idx="13040">
                  <c:v>7.1929999999999996</c:v>
                </c:pt>
                <c:pt idx="13041">
                  <c:v>7.1929999999999996</c:v>
                </c:pt>
                <c:pt idx="13042">
                  <c:v>7.1929999999999996</c:v>
                </c:pt>
                <c:pt idx="13043">
                  <c:v>7.1929999999999996</c:v>
                </c:pt>
                <c:pt idx="13044">
                  <c:v>7.1929999999999996</c:v>
                </c:pt>
                <c:pt idx="13045">
                  <c:v>7.1929999999999996</c:v>
                </c:pt>
                <c:pt idx="13046">
                  <c:v>7.1929999999999996</c:v>
                </c:pt>
                <c:pt idx="13047">
                  <c:v>7.1929999999999996</c:v>
                </c:pt>
                <c:pt idx="13048">
                  <c:v>7.1929999999999996</c:v>
                </c:pt>
                <c:pt idx="13049">
                  <c:v>7.1929999999999996</c:v>
                </c:pt>
                <c:pt idx="13050">
                  <c:v>7.1929999999999996</c:v>
                </c:pt>
                <c:pt idx="13051">
                  <c:v>7.1929999999999996</c:v>
                </c:pt>
                <c:pt idx="13052">
                  <c:v>7.1929999999999996</c:v>
                </c:pt>
                <c:pt idx="13053">
                  <c:v>7.1929999999999996</c:v>
                </c:pt>
                <c:pt idx="13054">
                  <c:v>7.1929999999999996</c:v>
                </c:pt>
                <c:pt idx="13055">
                  <c:v>7.1929999999999996</c:v>
                </c:pt>
                <c:pt idx="13056">
                  <c:v>7.1920000000000002</c:v>
                </c:pt>
                <c:pt idx="13057">
                  <c:v>7.1920000000000002</c:v>
                </c:pt>
                <c:pt idx="13058">
                  <c:v>7.1920000000000002</c:v>
                </c:pt>
                <c:pt idx="13059">
                  <c:v>7.1929999999999996</c:v>
                </c:pt>
                <c:pt idx="13060">
                  <c:v>7.1920000000000002</c:v>
                </c:pt>
                <c:pt idx="13061">
                  <c:v>7.1920000000000002</c:v>
                </c:pt>
                <c:pt idx="13062">
                  <c:v>7.1920000000000002</c:v>
                </c:pt>
                <c:pt idx="13063">
                  <c:v>7.1920000000000002</c:v>
                </c:pt>
                <c:pt idx="13064">
                  <c:v>7.1920000000000002</c:v>
                </c:pt>
                <c:pt idx="13065">
                  <c:v>7.1920000000000002</c:v>
                </c:pt>
                <c:pt idx="13066">
                  <c:v>7.1920000000000002</c:v>
                </c:pt>
                <c:pt idx="13067">
                  <c:v>7.1920000000000002</c:v>
                </c:pt>
                <c:pt idx="13068">
                  <c:v>7.1929999999999996</c:v>
                </c:pt>
                <c:pt idx="13069">
                  <c:v>7.1920000000000002</c:v>
                </c:pt>
                <c:pt idx="13070">
                  <c:v>7.1920000000000002</c:v>
                </c:pt>
                <c:pt idx="13071">
                  <c:v>7.1920000000000002</c:v>
                </c:pt>
                <c:pt idx="13072">
                  <c:v>7.1929999999999996</c:v>
                </c:pt>
                <c:pt idx="13073">
                  <c:v>7.1920000000000002</c:v>
                </c:pt>
                <c:pt idx="13074">
                  <c:v>7.1920000000000002</c:v>
                </c:pt>
                <c:pt idx="13075">
                  <c:v>7.1929999999999996</c:v>
                </c:pt>
                <c:pt idx="13076">
                  <c:v>7.1929999999999996</c:v>
                </c:pt>
                <c:pt idx="13077">
                  <c:v>7.1920000000000002</c:v>
                </c:pt>
                <c:pt idx="13078">
                  <c:v>7.1929999999999996</c:v>
                </c:pt>
                <c:pt idx="13079">
                  <c:v>7.1920000000000002</c:v>
                </c:pt>
                <c:pt idx="13080">
                  <c:v>7.1929999999999996</c:v>
                </c:pt>
                <c:pt idx="13081">
                  <c:v>7.1929999999999996</c:v>
                </c:pt>
                <c:pt idx="13082">
                  <c:v>7.1920000000000002</c:v>
                </c:pt>
                <c:pt idx="13083">
                  <c:v>7.1920000000000002</c:v>
                </c:pt>
                <c:pt idx="13084">
                  <c:v>7.1929999999999996</c:v>
                </c:pt>
                <c:pt idx="13085">
                  <c:v>7.1929999999999996</c:v>
                </c:pt>
                <c:pt idx="13086">
                  <c:v>7.1929999999999996</c:v>
                </c:pt>
                <c:pt idx="13087">
                  <c:v>7.1929999999999996</c:v>
                </c:pt>
                <c:pt idx="13088">
                  <c:v>7.1929999999999996</c:v>
                </c:pt>
                <c:pt idx="13089">
                  <c:v>7.1929999999999996</c:v>
                </c:pt>
                <c:pt idx="13090">
                  <c:v>7.1929999999999996</c:v>
                </c:pt>
                <c:pt idx="13091">
                  <c:v>7.1920000000000002</c:v>
                </c:pt>
                <c:pt idx="13092">
                  <c:v>7.1920000000000002</c:v>
                </c:pt>
                <c:pt idx="13093">
                  <c:v>7.1920000000000002</c:v>
                </c:pt>
                <c:pt idx="13094">
                  <c:v>7.1920000000000002</c:v>
                </c:pt>
                <c:pt idx="13095">
                  <c:v>7.1920000000000002</c:v>
                </c:pt>
                <c:pt idx="13096">
                  <c:v>7.1920000000000002</c:v>
                </c:pt>
                <c:pt idx="13097">
                  <c:v>7.1920000000000002</c:v>
                </c:pt>
                <c:pt idx="13098">
                  <c:v>7.1920000000000002</c:v>
                </c:pt>
                <c:pt idx="13099">
                  <c:v>7.1920000000000002</c:v>
                </c:pt>
                <c:pt idx="13100">
                  <c:v>7.1920000000000002</c:v>
                </c:pt>
                <c:pt idx="13101">
                  <c:v>7.1920000000000002</c:v>
                </c:pt>
                <c:pt idx="13102">
                  <c:v>7.1920000000000002</c:v>
                </c:pt>
                <c:pt idx="13103">
                  <c:v>7.1920000000000002</c:v>
                </c:pt>
                <c:pt idx="13104">
                  <c:v>7.1929999999999996</c:v>
                </c:pt>
                <c:pt idx="13105">
                  <c:v>7.1920000000000002</c:v>
                </c:pt>
                <c:pt idx="13106">
                  <c:v>7.1920000000000002</c:v>
                </c:pt>
                <c:pt idx="13107">
                  <c:v>7.1920000000000002</c:v>
                </c:pt>
                <c:pt idx="13108">
                  <c:v>7.1920000000000002</c:v>
                </c:pt>
                <c:pt idx="13109">
                  <c:v>7.1920000000000002</c:v>
                </c:pt>
                <c:pt idx="13110">
                  <c:v>7.1920000000000002</c:v>
                </c:pt>
                <c:pt idx="13111">
                  <c:v>7.1920000000000002</c:v>
                </c:pt>
                <c:pt idx="13112">
                  <c:v>7.1920000000000002</c:v>
                </c:pt>
                <c:pt idx="13113">
                  <c:v>7.1920000000000002</c:v>
                </c:pt>
                <c:pt idx="13114">
                  <c:v>7.1920000000000002</c:v>
                </c:pt>
                <c:pt idx="13115">
                  <c:v>7.1920000000000002</c:v>
                </c:pt>
                <c:pt idx="13116">
                  <c:v>7.1909999999999998</c:v>
                </c:pt>
                <c:pt idx="13117">
                  <c:v>7.1920000000000002</c:v>
                </c:pt>
                <c:pt idx="13118">
                  <c:v>7.1920000000000002</c:v>
                </c:pt>
                <c:pt idx="13119">
                  <c:v>7.1920000000000002</c:v>
                </c:pt>
                <c:pt idx="13120">
                  <c:v>7.1920000000000002</c:v>
                </c:pt>
                <c:pt idx="13121">
                  <c:v>7.1920000000000002</c:v>
                </c:pt>
                <c:pt idx="13122">
                  <c:v>7.1909999999999998</c:v>
                </c:pt>
                <c:pt idx="13123">
                  <c:v>7.1920000000000002</c:v>
                </c:pt>
                <c:pt idx="13124">
                  <c:v>7.1909999999999998</c:v>
                </c:pt>
                <c:pt idx="13125">
                  <c:v>7.1909999999999998</c:v>
                </c:pt>
                <c:pt idx="13126">
                  <c:v>7.1920000000000002</c:v>
                </c:pt>
                <c:pt idx="13127">
                  <c:v>7.1909999999999998</c:v>
                </c:pt>
                <c:pt idx="13128">
                  <c:v>7.1909999999999998</c:v>
                </c:pt>
                <c:pt idx="13129">
                  <c:v>7.1909999999999998</c:v>
                </c:pt>
                <c:pt idx="13130">
                  <c:v>7.1909999999999998</c:v>
                </c:pt>
                <c:pt idx="13131">
                  <c:v>7.1909999999999998</c:v>
                </c:pt>
                <c:pt idx="13132">
                  <c:v>7.1909999999999998</c:v>
                </c:pt>
                <c:pt idx="13133">
                  <c:v>7.1909999999999998</c:v>
                </c:pt>
                <c:pt idx="13134">
                  <c:v>7.1909999999999998</c:v>
                </c:pt>
                <c:pt idx="13135">
                  <c:v>7.1909999999999998</c:v>
                </c:pt>
                <c:pt idx="13136">
                  <c:v>7.1920000000000002</c:v>
                </c:pt>
                <c:pt idx="13137">
                  <c:v>7.1909999999999998</c:v>
                </c:pt>
                <c:pt idx="13138">
                  <c:v>7.1909999999999998</c:v>
                </c:pt>
                <c:pt idx="13139">
                  <c:v>7.1909999999999998</c:v>
                </c:pt>
                <c:pt idx="13140">
                  <c:v>7.1909999999999998</c:v>
                </c:pt>
                <c:pt idx="13141">
                  <c:v>7.1909999999999998</c:v>
                </c:pt>
                <c:pt idx="13142">
                  <c:v>7.1909999999999998</c:v>
                </c:pt>
                <c:pt idx="13143">
                  <c:v>7.1909999999999998</c:v>
                </c:pt>
                <c:pt idx="13144">
                  <c:v>7.1920000000000002</c:v>
                </c:pt>
                <c:pt idx="13145">
                  <c:v>7.1909999999999998</c:v>
                </c:pt>
                <c:pt idx="13146">
                  <c:v>7.1909999999999998</c:v>
                </c:pt>
                <c:pt idx="13147">
                  <c:v>7.1909999999999998</c:v>
                </c:pt>
                <c:pt idx="13148">
                  <c:v>7.1909999999999998</c:v>
                </c:pt>
                <c:pt idx="13149">
                  <c:v>7.1909999999999998</c:v>
                </c:pt>
                <c:pt idx="13150">
                  <c:v>7.1909999999999998</c:v>
                </c:pt>
                <c:pt idx="13151">
                  <c:v>7.1909999999999998</c:v>
                </c:pt>
                <c:pt idx="13152">
                  <c:v>7.1909999999999998</c:v>
                </c:pt>
                <c:pt idx="13153">
                  <c:v>7.1909999999999998</c:v>
                </c:pt>
                <c:pt idx="13154">
                  <c:v>7.1909999999999998</c:v>
                </c:pt>
                <c:pt idx="13155">
                  <c:v>7.1909999999999998</c:v>
                </c:pt>
                <c:pt idx="13156">
                  <c:v>7.1909999999999998</c:v>
                </c:pt>
                <c:pt idx="13157">
                  <c:v>7.1909999999999998</c:v>
                </c:pt>
                <c:pt idx="13158">
                  <c:v>7.1909999999999998</c:v>
                </c:pt>
                <c:pt idx="13159">
                  <c:v>7.1909999999999998</c:v>
                </c:pt>
                <c:pt idx="13160">
                  <c:v>7.1909999999999998</c:v>
                </c:pt>
                <c:pt idx="13161">
                  <c:v>7.1909999999999998</c:v>
                </c:pt>
                <c:pt idx="13162">
                  <c:v>7.1909999999999998</c:v>
                </c:pt>
                <c:pt idx="13163">
                  <c:v>7.1909999999999998</c:v>
                </c:pt>
                <c:pt idx="13164">
                  <c:v>7.1909999999999998</c:v>
                </c:pt>
                <c:pt idx="13165">
                  <c:v>7.1909999999999998</c:v>
                </c:pt>
                <c:pt idx="13166">
                  <c:v>7.1909999999999998</c:v>
                </c:pt>
                <c:pt idx="13167">
                  <c:v>7.1909999999999998</c:v>
                </c:pt>
                <c:pt idx="13168">
                  <c:v>7.1909999999999998</c:v>
                </c:pt>
                <c:pt idx="13169">
                  <c:v>7.1909999999999998</c:v>
                </c:pt>
                <c:pt idx="13170">
                  <c:v>7.1909999999999998</c:v>
                </c:pt>
                <c:pt idx="13171">
                  <c:v>7.1909999999999998</c:v>
                </c:pt>
                <c:pt idx="13172">
                  <c:v>7.1909999999999998</c:v>
                </c:pt>
                <c:pt idx="13173">
                  <c:v>7.1909999999999998</c:v>
                </c:pt>
                <c:pt idx="13174">
                  <c:v>7.1909999999999998</c:v>
                </c:pt>
                <c:pt idx="13175">
                  <c:v>7.1909999999999998</c:v>
                </c:pt>
                <c:pt idx="13176">
                  <c:v>7.1909999999999998</c:v>
                </c:pt>
                <c:pt idx="13177">
                  <c:v>7.1909999999999998</c:v>
                </c:pt>
                <c:pt idx="13178">
                  <c:v>7.1909999999999998</c:v>
                </c:pt>
                <c:pt idx="13179">
                  <c:v>7.1909999999999998</c:v>
                </c:pt>
                <c:pt idx="13180">
                  <c:v>7.19</c:v>
                </c:pt>
                <c:pt idx="13181">
                  <c:v>7.1909999999999998</c:v>
                </c:pt>
                <c:pt idx="13182">
                  <c:v>7.1909999999999998</c:v>
                </c:pt>
                <c:pt idx="13183">
                  <c:v>7.19</c:v>
                </c:pt>
                <c:pt idx="13184">
                  <c:v>7.1909999999999998</c:v>
                </c:pt>
                <c:pt idx="13185">
                  <c:v>7.19</c:v>
                </c:pt>
                <c:pt idx="13186">
                  <c:v>7.1909999999999998</c:v>
                </c:pt>
                <c:pt idx="13187">
                  <c:v>7.19</c:v>
                </c:pt>
                <c:pt idx="13188">
                  <c:v>7.19</c:v>
                </c:pt>
                <c:pt idx="13189">
                  <c:v>7.1909999999999998</c:v>
                </c:pt>
                <c:pt idx="13190">
                  <c:v>7.19</c:v>
                </c:pt>
                <c:pt idx="13191">
                  <c:v>7.19</c:v>
                </c:pt>
                <c:pt idx="13192">
                  <c:v>7.19</c:v>
                </c:pt>
                <c:pt idx="13193">
                  <c:v>7.19</c:v>
                </c:pt>
                <c:pt idx="13194">
                  <c:v>7.19</c:v>
                </c:pt>
                <c:pt idx="13195">
                  <c:v>7.19</c:v>
                </c:pt>
                <c:pt idx="13196">
                  <c:v>7.19</c:v>
                </c:pt>
                <c:pt idx="13197">
                  <c:v>7.1909999999999998</c:v>
                </c:pt>
                <c:pt idx="13198">
                  <c:v>7.19</c:v>
                </c:pt>
                <c:pt idx="13199">
                  <c:v>7.19</c:v>
                </c:pt>
                <c:pt idx="13200">
                  <c:v>7.1909999999999998</c:v>
                </c:pt>
                <c:pt idx="13201">
                  <c:v>7.1909999999999998</c:v>
                </c:pt>
                <c:pt idx="13202">
                  <c:v>7.19</c:v>
                </c:pt>
                <c:pt idx="13203">
                  <c:v>7.19</c:v>
                </c:pt>
                <c:pt idx="13204">
                  <c:v>7.1909999999999998</c:v>
                </c:pt>
                <c:pt idx="13205">
                  <c:v>7.19</c:v>
                </c:pt>
                <c:pt idx="13206">
                  <c:v>7.1909999999999998</c:v>
                </c:pt>
                <c:pt idx="13207">
                  <c:v>7.19</c:v>
                </c:pt>
                <c:pt idx="13208">
                  <c:v>7.19</c:v>
                </c:pt>
                <c:pt idx="13209">
                  <c:v>7.19</c:v>
                </c:pt>
                <c:pt idx="13210">
                  <c:v>7.19</c:v>
                </c:pt>
                <c:pt idx="13211">
                  <c:v>7.19</c:v>
                </c:pt>
                <c:pt idx="13212">
                  <c:v>7.19</c:v>
                </c:pt>
                <c:pt idx="13213">
                  <c:v>7.19</c:v>
                </c:pt>
                <c:pt idx="13214">
                  <c:v>7.19</c:v>
                </c:pt>
                <c:pt idx="13215">
                  <c:v>7.19</c:v>
                </c:pt>
                <c:pt idx="13216">
                  <c:v>7.19</c:v>
                </c:pt>
                <c:pt idx="13217">
                  <c:v>7.19</c:v>
                </c:pt>
                <c:pt idx="13218">
                  <c:v>7.19</c:v>
                </c:pt>
                <c:pt idx="13219">
                  <c:v>7.19</c:v>
                </c:pt>
                <c:pt idx="13220">
                  <c:v>7.19</c:v>
                </c:pt>
                <c:pt idx="13221">
                  <c:v>7.19</c:v>
                </c:pt>
                <c:pt idx="13222">
                  <c:v>7.19</c:v>
                </c:pt>
                <c:pt idx="13223">
                  <c:v>7.19</c:v>
                </c:pt>
                <c:pt idx="13224">
                  <c:v>7.19</c:v>
                </c:pt>
                <c:pt idx="13225">
                  <c:v>7.19</c:v>
                </c:pt>
                <c:pt idx="13226">
                  <c:v>7.1909999999999998</c:v>
                </c:pt>
                <c:pt idx="13227">
                  <c:v>7.19</c:v>
                </c:pt>
                <c:pt idx="13228">
                  <c:v>7.19</c:v>
                </c:pt>
                <c:pt idx="13229">
                  <c:v>7.19</c:v>
                </c:pt>
                <c:pt idx="13230">
                  <c:v>7.19</c:v>
                </c:pt>
                <c:pt idx="13231">
                  <c:v>7.19</c:v>
                </c:pt>
                <c:pt idx="13232">
                  <c:v>7.1909999999999998</c:v>
                </c:pt>
                <c:pt idx="13233">
                  <c:v>7.19</c:v>
                </c:pt>
                <c:pt idx="13234">
                  <c:v>7.19</c:v>
                </c:pt>
                <c:pt idx="13235">
                  <c:v>7.19</c:v>
                </c:pt>
                <c:pt idx="13236">
                  <c:v>7.19</c:v>
                </c:pt>
                <c:pt idx="13237">
                  <c:v>7.1909999999999998</c:v>
                </c:pt>
                <c:pt idx="13238">
                  <c:v>7.19</c:v>
                </c:pt>
                <c:pt idx="13239">
                  <c:v>7.19</c:v>
                </c:pt>
                <c:pt idx="13240">
                  <c:v>7.1909999999999998</c:v>
                </c:pt>
                <c:pt idx="13241">
                  <c:v>7.19</c:v>
                </c:pt>
                <c:pt idx="13242">
                  <c:v>7.19</c:v>
                </c:pt>
                <c:pt idx="13243">
                  <c:v>7.19</c:v>
                </c:pt>
                <c:pt idx="13244">
                  <c:v>7.19</c:v>
                </c:pt>
                <c:pt idx="13245">
                  <c:v>7.19</c:v>
                </c:pt>
                <c:pt idx="13246">
                  <c:v>7.19</c:v>
                </c:pt>
                <c:pt idx="13247">
                  <c:v>7.19</c:v>
                </c:pt>
                <c:pt idx="13248">
                  <c:v>7.19</c:v>
                </c:pt>
                <c:pt idx="13249">
                  <c:v>7.19</c:v>
                </c:pt>
                <c:pt idx="13250">
                  <c:v>7.1890000000000001</c:v>
                </c:pt>
                <c:pt idx="13251">
                  <c:v>7.19</c:v>
                </c:pt>
                <c:pt idx="13252">
                  <c:v>7.1890000000000001</c:v>
                </c:pt>
                <c:pt idx="13253">
                  <c:v>7.19</c:v>
                </c:pt>
                <c:pt idx="13254">
                  <c:v>7.1890000000000001</c:v>
                </c:pt>
                <c:pt idx="13255">
                  <c:v>7.19</c:v>
                </c:pt>
                <c:pt idx="13256">
                  <c:v>7.19</c:v>
                </c:pt>
                <c:pt idx="13257">
                  <c:v>7.19</c:v>
                </c:pt>
                <c:pt idx="13258">
                  <c:v>7.19</c:v>
                </c:pt>
                <c:pt idx="13259">
                  <c:v>7.19</c:v>
                </c:pt>
                <c:pt idx="13260">
                  <c:v>7.19</c:v>
                </c:pt>
                <c:pt idx="13261">
                  <c:v>7.19</c:v>
                </c:pt>
                <c:pt idx="13262">
                  <c:v>7.19</c:v>
                </c:pt>
                <c:pt idx="13263">
                  <c:v>7.19</c:v>
                </c:pt>
                <c:pt idx="13264">
                  <c:v>7.1890000000000001</c:v>
                </c:pt>
                <c:pt idx="13265">
                  <c:v>7.1890000000000001</c:v>
                </c:pt>
                <c:pt idx="13266">
                  <c:v>7.1890000000000001</c:v>
                </c:pt>
                <c:pt idx="13267">
                  <c:v>7.1890000000000001</c:v>
                </c:pt>
                <c:pt idx="13268">
                  <c:v>7.1890000000000001</c:v>
                </c:pt>
                <c:pt idx="13269">
                  <c:v>7.1890000000000001</c:v>
                </c:pt>
                <c:pt idx="13270">
                  <c:v>7.1890000000000001</c:v>
                </c:pt>
                <c:pt idx="13271">
                  <c:v>7.1890000000000001</c:v>
                </c:pt>
                <c:pt idx="13272">
                  <c:v>7.1890000000000001</c:v>
                </c:pt>
                <c:pt idx="13273">
                  <c:v>7.1890000000000001</c:v>
                </c:pt>
                <c:pt idx="13274">
                  <c:v>7.1890000000000001</c:v>
                </c:pt>
                <c:pt idx="13275">
                  <c:v>7.1890000000000001</c:v>
                </c:pt>
                <c:pt idx="13276">
                  <c:v>7.1890000000000001</c:v>
                </c:pt>
                <c:pt idx="13277">
                  <c:v>7.1890000000000001</c:v>
                </c:pt>
                <c:pt idx="13278">
                  <c:v>7.1890000000000001</c:v>
                </c:pt>
                <c:pt idx="13279">
                  <c:v>7.1890000000000001</c:v>
                </c:pt>
                <c:pt idx="13280">
                  <c:v>7.1890000000000001</c:v>
                </c:pt>
                <c:pt idx="13281">
                  <c:v>7.1890000000000001</c:v>
                </c:pt>
                <c:pt idx="13282">
                  <c:v>7.1890000000000001</c:v>
                </c:pt>
                <c:pt idx="13283">
                  <c:v>7.1890000000000001</c:v>
                </c:pt>
                <c:pt idx="13284">
                  <c:v>7.1879999999999997</c:v>
                </c:pt>
                <c:pt idx="13285">
                  <c:v>7.1890000000000001</c:v>
                </c:pt>
                <c:pt idx="13286">
                  <c:v>7.1890000000000001</c:v>
                </c:pt>
                <c:pt idx="13287">
                  <c:v>7.1879999999999997</c:v>
                </c:pt>
                <c:pt idx="13288">
                  <c:v>7.1890000000000001</c:v>
                </c:pt>
                <c:pt idx="13289">
                  <c:v>7.1890000000000001</c:v>
                </c:pt>
                <c:pt idx="13290">
                  <c:v>7.1879999999999997</c:v>
                </c:pt>
                <c:pt idx="13291">
                  <c:v>7.1890000000000001</c:v>
                </c:pt>
                <c:pt idx="13292">
                  <c:v>7.1890000000000001</c:v>
                </c:pt>
                <c:pt idx="13293">
                  <c:v>7.1890000000000001</c:v>
                </c:pt>
                <c:pt idx="13294">
                  <c:v>7.1879999999999997</c:v>
                </c:pt>
                <c:pt idx="13295">
                  <c:v>7.1879999999999997</c:v>
                </c:pt>
                <c:pt idx="13296">
                  <c:v>7.1890000000000001</c:v>
                </c:pt>
                <c:pt idx="13297">
                  <c:v>7.1890000000000001</c:v>
                </c:pt>
                <c:pt idx="13298">
                  <c:v>7.1879999999999997</c:v>
                </c:pt>
                <c:pt idx="13299">
                  <c:v>7.1879999999999997</c:v>
                </c:pt>
                <c:pt idx="13300">
                  <c:v>7.1879999999999997</c:v>
                </c:pt>
                <c:pt idx="13301">
                  <c:v>7.1890000000000001</c:v>
                </c:pt>
                <c:pt idx="13302">
                  <c:v>7.1879999999999997</c:v>
                </c:pt>
                <c:pt idx="13303">
                  <c:v>7.1890000000000001</c:v>
                </c:pt>
                <c:pt idx="13304">
                  <c:v>7.1890000000000001</c:v>
                </c:pt>
                <c:pt idx="13305">
                  <c:v>7.1879999999999997</c:v>
                </c:pt>
                <c:pt idx="13306">
                  <c:v>7.1879999999999997</c:v>
                </c:pt>
                <c:pt idx="13307">
                  <c:v>7.1879999999999997</c:v>
                </c:pt>
                <c:pt idx="13308">
                  <c:v>7.1890000000000001</c:v>
                </c:pt>
                <c:pt idx="13309">
                  <c:v>7.1879999999999997</c:v>
                </c:pt>
                <c:pt idx="13310">
                  <c:v>7.1890000000000001</c:v>
                </c:pt>
                <c:pt idx="13311">
                  <c:v>7.1879999999999997</c:v>
                </c:pt>
                <c:pt idx="13312">
                  <c:v>7.1890000000000001</c:v>
                </c:pt>
                <c:pt idx="13313">
                  <c:v>7.1890000000000001</c:v>
                </c:pt>
                <c:pt idx="13314">
                  <c:v>7.1879999999999997</c:v>
                </c:pt>
                <c:pt idx="13315">
                  <c:v>7.1879999999999997</c:v>
                </c:pt>
                <c:pt idx="13316">
                  <c:v>7.1879999999999997</c:v>
                </c:pt>
                <c:pt idx="13317">
                  <c:v>7.1879999999999997</c:v>
                </c:pt>
                <c:pt idx="13318">
                  <c:v>7.1879999999999997</c:v>
                </c:pt>
                <c:pt idx="13319">
                  <c:v>7.1879999999999997</c:v>
                </c:pt>
                <c:pt idx="13320">
                  <c:v>7.1879999999999997</c:v>
                </c:pt>
                <c:pt idx="13321">
                  <c:v>7.1879999999999997</c:v>
                </c:pt>
                <c:pt idx="13322">
                  <c:v>7.1879999999999997</c:v>
                </c:pt>
                <c:pt idx="13323">
                  <c:v>7.1879999999999997</c:v>
                </c:pt>
                <c:pt idx="13324">
                  <c:v>7.1879999999999997</c:v>
                </c:pt>
                <c:pt idx="13325">
                  <c:v>7.1879999999999997</c:v>
                </c:pt>
                <c:pt idx="13326">
                  <c:v>7.1870000000000003</c:v>
                </c:pt>
                <c:pt idx="13327">
                  <c:v>7.1879999999999997</c:v>
                </c:pt>
                <c:pt idx="13328">
                  <c:v>7.1879999999999997</c:v>
                </c:pt>
                <c:pt idx="13329">
                  <c:v>7.1879999999999997</c:v>
                </c:pt>
                <c:pt idx="13330">
                  <c:v>7.1879999999999997</c:v>
                </c:pt>
                <c:pt idx="13331">
                  <c:v>7.1879999999999997</c:v>
                </c:pt>
                <c:pt idx="13332">
                  <c:v>7.1879999999999997</c:v>
                </c:pt>
                <c:pt idx="13333">
                  <c:v>7.1879999999999997</c:v>
                </c:pt>
                <c:pt idx="13334">
                  <c:v>7.1879999999999997</c:v>
                </c:pt>
                <c:pt idx="13335">
                  <c:v>7.1879999999999997</c:v>
                </c:pt>
                <c:pt idx="13336">
                  <c:v>7.1879999999999997</c:v>
                </c:pt>
                <c:pt idx="13337">
                  <c:v>7.1879999999999997</c:v>
                </c:pt>
                <c:pt idx="13338">
                  <c:v>7.1879999999999997</c:v>
                </c:pt>
                <c:pt idx="13339">
                  <c:v>7.1879999999999997</c:v>
                </c:pt>
                <c:pt idx="13340">
                  <c:v>7.1890000000000001</c:v>
                </c:pt>
                <c:pt idx="13341">
                  <c:v>7.1879999999999997</c:v>
                </c:pt>
                <c:pt idx="13342">
                  <c:v>7.1879999999999997</c:v>
                </c:pt>
                <c:pt idx="13343">
                  <c:v>7.1879999999999997</c:v>
                </c:pt>
                <c:pt idx="13344">
                  <c:v>7.1879999999999997</c:v>
                </c:pt>
                <c:pt idx="13345">
                  <c:v>7.1879999999999997</c:v>
                </c:pt>
                <c:pt idx="13346">
                  <c:v>7.1879999999999997</c:v>
                </c:pt>
                <c:pt idx="13347">
                  <c:v>7.1879999999999997</c:v>
                </c:pt>
                <c:pt idx="13348">
                  <c:v>7.1890000000000001</c:v>
                </c:pt>
                <c:pt idx="13349">
                  <c:v>7.1879999999999997</c:v>
                </c:pt>
                <c:pt idx="13350">
                  <c:v>7.1879999999999997</c:v>
                </c:pt>
                <c:pt idx="13351">
                  <c:v>7.1879999999999997</c:v>
                </c:pt>
                <c:pt idx="13352">
                  <c:v>7.1879999999999997</c:v>
                </c:pt>
                <c:pt idx="13353">
                  <c:v>7.1879999999999997</c:v>
                </c:pt>
                <c:pt idx="13354">
                  <c:v>7.1879999999999997</c:v>
                </c:pt>
                <c:pt idx="13355">
                  <c:v>7.1879999999999997</c:v>
                </c:pt>
                <c:pt idx="13356">
                  <c:v>7.1879999999999997</c:v>
                </c:pt>
                <c:pt idx="13357">
                  <c:v>7.1879999999999997</c:v>
                </c:pt>
                <c:pt idx="13358">
                  <c:v>7.1879999999999997</c:v>
                </c:pt>
                <c:pt idx="13359">
                  <c:v>7.1879999999999997</c:v>
                </c:pt>
                <c:pt idx="13360">
                  <c:v>7.1879999999999997</c:v>
                </c:pt>
                <c:pt idx="13361">
                  <c:v>7.1879999999999997</c:v>
                </c:pt>
                <c:pt idx="13362">
                  <c:v>7.1879999999999997</c:v>
                </c:pt>
                <c:pt idx="13363">
                  <c:v>7.1870000000000003</c:v>
                </c:pt>
                <c:pt idx="13364">
                  <c:v>7.1870000000000003</c:v>
                </c:pt>
                <c:pt idx="13365">
                  <c:v>7.1870000000000003</c:v>
                </c:pt>
                <c:pt idx="13366">
                  <c:v>7.1879999999999997</c:v>
                </c:pt>
                <c:pt idx="13367">
                  <c:v>7.1879999999999997</c:v>
                </c:pt>
                <c:pt idx="13368">
                  <c:v>7.1879999999999997</c:v>
                </c:pt>
                <c:pt idx="13369">
                  <c:v>7.1870000000000003</c:v>
                </c:pt>
                <c:pt idx="13370">
                  <c:v>7.1879999999999997</c:v>
                </c:pt>
                <c:pt idx="13371">
                  <c:v>7.1879999999999997</c:v>
                </c:pt>
                <c:pt idx="13372">
                  <c:v>7.1870000000000003</c:v>
                </c:pt>
                <c:pt idx="13373">
                  <c:v>7.1870000000000003</c:v>
                </c:pt>
                <c:pt idx="13374">
                  <c:v>7.1870000000000003</c:v>
                </c:pt>
                <c:pt idx="13375">
                  <c:v>7.1870000000000003</c:v>
                </c:pt>
                <c:pt idx="13376">
                  <c:v>7.1870000000000003</c:v>
                </c:pt>
                <c:pt idx="13377">
                  <c:v>7.1870000000000003</c:v>
                </c:pt>
                <c:pt idx="13378">
                  <c:v>7.1879999999999997</c:v>
                </c:pt>
                <c:pt idx="13379">
                  <c:v>7.1870000000000003</c:v>
                </c:pt>
                <c:pt idx="13380">
                  <c:v>7.1870000000000003</c:v>
                </c:pt>
                <c:pt idx="13381">
                  <c:v>7.1870000000000003</c:v>
                </c:pt>
                <c:pt idx="13382">
                  <c:v>7.1870000000000003</c:v>
                </c:pt>
                <c:pt idx="13383">
                  <c:v>7.1870000000000003</c:v>
                </c:pt>
                <c:pt idx="13384">
                  <c:v>7.1870000000000003</c:v>
                </c:pt>
                <c:pt idx="13385">
                  <c:v>7.1870000000000003</c:v>
                </c:pt>
                <c:pt idx="13386">
                  <c:v>7.1870000000000003</c:v>
                </c:pt>
                <c:pt idx="13387">
                  <c:v>7.1870000000000003</c:v>
                </c:pt>
                <c:pt idx="13388">
                  <c:v>7.1870000000000003</c:v>
                </c:pt>
                <c:pt idx="13389">
                  <c:v>7.1870000000000003</c:v>
                </c:pt>
                <c:pt idx="13390">
                  <c:v>7.1870000000000003</c:v>
                </c:pt>
                <c:pt idx="13391">
                  <c:v>7.1870000000000003</c:v>
                </c:pt>
                <c:pt idx="13392">
                  <c:v>7.1870000000000003</c:v>
                </c:pt>
                <c:pt idx="13393">
                  <c:v>7.1870000000000003</c:v>
                </c:pt>
                <c:pt idx="13394">
                  <c:v>7.1879999999999997</c:v>
                </c:pt>
                <c:pt idx="13395">
                  <c:v>7.1879999999999997</c:v>
                </c:pt>
                <c:pt idx="13396">
                  <c:v>7.1879999999999997</c:v>
                </c:pt>
                <c:pt idx="13397">
                  <c:v>7.1879999999999997</c:v>
                </c:pt>
                <c:pt idx="13398">
                  <c:v>7.1870000000000003</c:v>
                </c:pt>
                <c:pt idx="13399">
                  <c:v>7.1870000000000003</c:v>
                </c:pt>
                <c:pt idx="13400">
                  <c:v>7.1870000000000003</c:v>
                </c:pt>
                <c:pt idx="13401">
                  <c:v>7.1870000000000003</c:v>
                </c:pt>
                <c:pt idx="13402">
                  <c:v>7.1870000000000003</c:v>
                </c:pt>
                <c:pt idx="13403">
                  <c:v>7.1870000000000003</c:v>
                </c:pt>
                <c:pt idx="13404">
                  <c:v>7.1870000000000003</c:v>
                </c:pt>
                <c:pt idx="13405">
                  <c:v>7.1870000000000003</c:v>
                </c:pt>
                <c:pt idx="13406">
                  <c:v>7.1870000000000003</c:v>
                </c:pt>
                <c:pt idx="13407">
                  <c:v>7.1870000000000003</c:v>
                </c:pt>
                <c:pt idx="13408">
                  <c:v>7.1870000000000003</c:v>
                </c:pt>
                <c:pt idx="13409">
                  <c:v>7.1870000000000003</c:v>
                </c:pt>
                <c:pt idx="13410">
                  <c:v>7.1870000000000003</c:v>
                </c:pt>
                <c:pt idx="13411">
                  <c:v>7.1870000000000003</c:v>
                </c:pt>
                <c:pt idx="13412">
                  <c:v>7.1870000000000003</c:v>
                </c:pt>
                <c:pt idx="13413">
                  <c:v>7.1870000000000003</c:v>
                </c:pt>
                <c:pt idx="13414">
                  <c:v>7.1859999999999999</c:v>
                </c:pt>
                <c:pt idx="13415">
                  <c:v>7.1859999999999999</c:v>
                </c:pt>
                <c:pt idx="13416">
                  <c:v>7.1870000000000003</c:v>
                </c:pt>
                <c:pt idx="13417">
                  <c:v>7.1870000000000003</c:v>
                </c:pt>
                <c:pt idx="13418">
                  <c:v>7.1870000000000003</c:v>
                </c:pt>
                <c:pt idx="13419">
                  <c:v>7.1870000000000003</c:v>
                </c:pt>
                <c:pt idx="13420">
                  <c:v>7.1870000000000003</c:v>
                </c:pt>
                <c:pt idx="13421">
                  <c:v>7.1870000000000003</c:v>
                </c:pt>
                <c:pt idx="13422">
                  <c:v>7.1859999999999999</c:v>
                </c:pt>
                <c:pt idx="13423">
                  <c:v>7.1870000000000003</c:v>
                </c:pt>
                <c:pt idx="13424">
                  <c:v>7.1870000000000003</c:v>
                </c:pt>
                <c:pt idx="13425">
                  <c:v>7.1870000000000003</c:v>
                </c:pt>
                <c:pt idx="13426">
                  <c:v>7.1870000000000003</c:v>
                </c:pt>
                <c:pt idx="13427">
                  <c:v>7.1870000000000003</c:v>
                </c:pt>
                <c:pt idx="13428">
                  <c:v>7.1859999999999999</c:v>
                </c:pt>
                <c:pt idx="13429">
                  <c:v>7.1859999999999999</c:v>
                </c:pt>
                <c:pt idx="13430">
                  <c:v>7.1859999999999999</c:v>
                </c:pt>
                <c:pt idx="13431">
                  <c:v>7.1859999999999999</c:v>
                </c:pt>
                <c:pt idx="13432">
                  <c:v>7.1859999999999999</c:v>
                </c:pt>
                <c:pt idx="13433">
                  <c:v>7.1870000000000003</c:v>
                </c:pt>
                <c:pt idx="13434">
                  <c:v>7.1859999999999999</c:v>
                </c:pt>
                <c:pt idx="13435">
                  <c:v>7.1870000000000003</c:v>
                </c:pt>
                <c:pt idx="13436">
                  <c:v>7.1870000000000003</c:v>
                </c:pt>
                <c:pt idx="13437">
                  <c:v>7.1859999999999999</c:v>
                </c:pt>
                <c:pt idx="13438">
                  <c:v>7.1859999999999999</c:v>
                </c:pt>
                <c:pt idx="13439">
                  <c:v>7.1859999999999999</c:v>
                </c:pt>
                <c:pt idx="13440">
                  <c:v>7.1859999999999999</c:v>
                </c:pt>
                <c:pt idx="13441">
                  <c:v>7.1870000000000003</c:v>
                </c:pt>
                <c:pt idx="13442">
                  <c:v>7.1870000000000003</c:v>
                </c:pt>
                <c:pt idx="13443">
                  <c:v>7.1859999999999999</c:v>
                </c:pt>
                <c:pt idx="13444">
                  <c:v>7.1859999999999999</c:v>
                </c:pt>
                <c:pt idx="13445">
                  <c:v>7.1870000000000003</c:v>
                </c:pt>
                <c:pt idx="13446">
                  <c:v>7.1870000000000003</c:v>
                </c:pt>
                <c:pt idx="13447">
                  <c:v>7.1859999999999999</c:v>
                </c:pt>
                <c:pt idx="13448">
                  <c:v>7.1870000000000003</c:v>
                </c:pt>
                <c:pt idx="13449">
                  <c:v>7.1859999999999999</c:v>
                </c:pt>
                <c:pt idx="13450">
                  <c:v>7.1870000000000003</c:v>
                </c:pt>
                <c:pt idx="13451">
                  <c:v>7.1859999999999999</c:v>
                </c:pt>
                <c:pt idx="13452">
                  <c:v>7.1870000000000003</c:v>
                </c:pt>
                <c:pt idx="13453">
                  <c:v>7.1859999999999999</c:v>
                </c:pt>
                <c:pt idx="13454">
                  <c:v>7.1870000000000003</c:v>
                </c:pt>
                <c:pt idx="13455">
                  <c:v>7.1859999999999999</c:v>
                </c:pt>
                <c:pt idx="13456">
                  <c:v>7.1870000000000003</c:v>
                </c:pt>
                <c:pt idx="13457">
                  <c:v>7.1859999999999999</c:v>
                </c:pt>
                <c:pt idx="13458">
                  <c:v>7.1859999999999999</c:v>
                </c:pt>
                <c:pt idx="13459">
                  <c:v>7.1859999999999999</c:v>
                </c:pt>
                <c:pt idx="13460">
                  <c:v>7.1870000000000003</c:v>
                </c:pt>
                <c:pt idx="13461">
                  <c:v>7.1859999999999999</c:v>
                </c:pt>
                <c:pt idx="13462">
                  <c:v>7.1859999999999999</c:v>
                </c:pt>
                <c:pt idx="13463">
                  <c:v>7.1870000000000003</c:v>
                </c:pt>
                <c:pt idx="13464">
                  <c:v>7.1870000000000003</c:v>
                </c:pt>
                <c:pt idx="13465">
                  <c:v>7.1859999999999999</c:v>
                </c:pt>
                <c:pt idx="13466">
                  <c:v>7.1859999999999999</c:v>
                </c:pt>
                <c:pt idx="13467">
                  <c:v>7.1870000000000003</c:v>
                </c:pt>
                <c:pt idx="13468">
                  <c:v>7.1859999999999999</c:v>
                </c:pt>
                <c:pt idx="13469">
                  <c:v>7.1859999999999999</c:v>
                </c:pt>
                <c:pt idx="13470">
                  <c:v>7.1859999999999999</c:v>
                </c:pt>
                <c:pt idx="13471">
                  <c:v>7.1859999999999999</c:v>
                </c:pt>
                <c:pt idx="13472">
                  <c:v>7.1859999999999999</c:v>
                </c:pt>
                <c:pt idx="13473">
                  <c:v>7.1859999999999999</c:v>
                </c:pt>
                <c:pt idx="13474">
                  <c:v>7.1859999999999999</c:v>
                </c:pt>
                <c:pt idx="13475">
                  <c:v>7.1859999999999999</c:v>
                </c:pt>
                <c:pt idx="13476">
                  <c:v>7.1859999999999999</c:v>
                </c:pt>
                <c:pt idx="13477">
                  <c:v>7.1859999999999999</c:v>
                </c:pt>
                <c:pt idx="13478">
                  <c:v>7.1849999999999996</c:v>
                </c:pt>
                <c:pt idx="13479">
                  <c:v>7.1859999999999999</c:v>
                </c:pt>
                <c:pt idx="13480">
                  <c:v>7.1859999999999999</c:v>
                </c:pt>
                <c:pt idx="13481">
                  <c:v>7.1859999999999999</c:v>
                </c:pt>
                <c:pt idx="13482">
                  <c:v>7.1859999999999999</c:v>
                </c:pt>
                <c:pt idx="13483">
                  <c:v>7.1859999999999999</c:v>
                </c:pt>
                <c:pt idx="13484">
                  <c:v>7.1859999999999999</c:v>
                </c:pt>
                <c:pt idx="13485">
                  <c:v>7.1859999999999999</c:v>
                </c:pt>
                <c:pt idx="13486">
                  <c:v>7.1859999999999999</c:v>
                </c:pt>
                <c:pt idx="13487">
                  <c:v>7.1859999999999999</c:v>
                </c:pt>
                <c:pt idx="13488">
                  <c:v>7.1859999999999999</c:v>
                </c:pt>
                <c:pt idx="13489">
                  <c:v>7.1859999999999999</c:v>
                </c:pt>
                <c:pt idx="13490">
                  <c:v>7.1859999999999999</c:v>
                </c:pt>
                <c:pt idx="13491">
                  <c:v>7.1859999999999999</c:v>
                </c:pt>
                <c:pt idx="13492">
                  <c:v>7.1859999999999999</c:v>
                </c:pt>
                <c:pt idx="13493">
                  <c:v>7.1859999999999999</c:v>
                </c:pt>
                <c:pt idx="13494">
                  <c:v>7.1859999999999999</c:v>
                </c:pt>
                <c:pt idx="13495">
                  <c:v>7.1859999999999999</c:v>
                </c:pt>
                <c:pt idx="13496">
                  <c:v>7.1859999999999999</c:v>
                </c:pt>
                <c:pt idx="13497">
                  <c:v>7.1859999999999999</c:v>
                </c:pt>
                <c:pt idx="13498">
                  <c:v>7.1859999999999999</c:v>
                </c:pt>
                <c:pt idx="13499">
                  <c:v>7.1859999999999999</c:v>
                </c:pt>
                <c:pt idx="13500">
                  <c:v>7.1849999999999996</c:v>
                </c:pt>
                <c:pt idx="13501">
                  <c:v>7.1859999999999999</c:v>
                </c:pt>
                <c:pt idx="13502">
                  <c:v>7.1849999999999996</c:v>
                </c:pt>
                <c:pt idx="13503">
                  <c:v>7.1849999999999996</c:v>
                </c:pt>
                <c:pt idx="13504">
                  <c:v>7.1849999999999996</c:v>
                </c:pt>
                <c:pt idx="13505">
                  <c:v>7.1849999999999996</c:v>
                </c:pt>
                <c:pt idx="13506">
                  <c:v>7.1859999999999999</c:v>
                </c:pt>
                <c:pt idx="13507">
                  <c:v>7.1849999999999996</c:v>
                </c:pt>
                <c:pt idx="13508">
                  <c:v>7.1849999999999996</c:v>
                </c:pt>
                <c:pt idx="13509">
                  <c:v>7.1859999999999999</c:v>
                </c:pt>
                <c:pt idx="13510">
                  <c:v>7.1859999999999999</c:v>
                </c:pt>
                <c:pt idx="13511">
                  <c:v>7.1859999999999999</c:v>
                </c:pt>
                <c:pt idx="13512">
                  <c:v>7.1849999999999996</c:v>
                </c:pt>
                <c:pt idx="13513">
                  <c:v>7.1849999999999996</c:v>
                </c:pt>
                <c:pt idx="13514">
                  <c:v>7.1849999999999996</c:v>
                </c:pt>
                <c:pt idx="13515">
                  <c:v>7.1849999999999996</c:v>
                </c:pt>
                <c:pt idx="13516">
                  <c:v>7.1859999999999999</c:v>
                </c:pt>
                <c:pt idx="13517">
                  <c:v>7.1849999999999996</c:v>
                </c:pt>
                <c:pt idx="13518">
                  <c:v>7.1859999999999999</c:v>
                </c:pt>
                <c:pt idx="13519">
                  <c:v>7.1859999999999999</c:v>
                </c:pt>
                <c:pt idx="13520">
                  <c:v>7.1859999999999999</c:v>
                </c:pt>
                <c:pt idx="13521">
                  <c:v>7.1849999999999996</c:v>
                </c:pt>
                <c:pt idx="13522">
                  <c:v>7.1859999999999999</c:v>
                </c:pt>
                <c:pt idx="13523">
                  <c:v>7.1849999999999996</c:v>
                </c:pt>
                <c:pt idx="13524">
                  <c:v>7.1849999999999996</c:v>
                </c:pt>
                <c:pt idx="13525">
                  <c:v>7.1849999999999996</c:v>
                </c:pt>
                <c:pt idx="13526">
                  <c:v>7.1859999999999999</c:v>
                </c:pt>
                <c:pt idx="13527">
                  <c:v>7.1859999999999999</c:v>
                </c:pt>
                <c:pt idx="13528">
                  <c:v>7.1859999999999999</c:v>
                </c:pt>
                <c:pt idx="13529">
                  <c:v>7.1859999999999999</c:v>
                </c:pt>
                <c:pt idx="13530">
                  <c:v>7.1849999999999996</c:v>
                </c:pt>
                <c:pt idx="13531">
                  <c:v>7.1859999999999999</c:v>
                </c:pt>
                <c:pt idx="13532">
                  <c:v>7.1859999999999999</c:v>
                </c:pt>
                <c:pt idx="13533">
                  <c:v>7.1849999999999996</c:v>
                </c:pt>
                <c:pt idx="13534">
                  <c:v>7.1849999999999996</c:v>
                </c:pt>
                <c:pt idx="13535">
                  <c:v>7.1849999999999996</c:v>
                </c:pt>
                <c:pt idx="13536">
                  <c:v>7.1849999999999996</c:v>
                </c:pt>
                <c:pt idx="13537">
                  <c:v>7.1849999999999996</c:v>
                </c:pt>
                <c:pt idx="13538">
                  <c:v>7.1849999999999996</c:v>
                </c:pt>
                <c:pt idx="13539">
                  <c:v>7.1849999999999996</c:v>
                </c:pt>
                <c:pt idx="13540">
                  <c:v>7.1849999999999996</c:v>
                </c:pt>
                <c:pt idx="13541">
                  <c:v>7.1849999999999996</c:v>
                </c:pt>
                <c:pt idx="13542">
                  <c:v>7.1849999999999996</c:v>
                </c:pt>
                <c:pt idx="13543">
                  <c:v>7.1849999999999996</c:v>
                </c:pt>
                <c:pt idx="13544">
                  <c:v>7.1849999999999996</c:v>
                </c:pt>
                <c:pt idx="13545">
                  <c:v>7.1849999999999996</c:v>
                </c:pt>
                <c:pt idx="13546">
                  <c:v>7.1849999999999996</c:v>
                </c:pt>
                <c:pt idx="13547">
                  <c:v>7.1859999999999999</c:v>
                </c:pt>
                <c:pt idx="13548">
                  <c:v>7.1849999999999996</c:v>
                </c:pt>
                <c:pt idx="13549">
                  <c:v>7.1849999999999996</c:v>
                </c:pt>
                <c:pt idx="13550">
                  <c:v>7.1849999999999996</c:v>
                </c:pt>
                <c:pt idx="13551">
                  <c:v>7.1849999999999996</c:v>
                </c:pt>
                <c:pt idx="13552">
                  <c:v>7.1849999999999996</c:v>
                </c:pt>
                <c:pt idx="13553">
                  <c:v>7.1849999999999996</c:v>
                </c:pt>
                <c:pt idx="13554">
                  <c:v>7.1849999999999996</c:v>
                </c:pt>
                <c:pt idx="13555">
                  <c:v>7.1849999999999996</c:v>
                </c:pt>
                <c:pt idx="13556">
                  <c:v>7.1859999999999999</c:v>
                </c:pt>
                <c:pt idx="13557">
                  <c:v>7.1849999999999996</c:v>
                </c:pt>
                <c:pt idx="13558">
                  <c:v>7.1859999999999999</c:v>
                </c:pt>
                <c:pt idx="13559">
                  <c:v>7.1859999999999999</c:v>
                </c:pt>
                <c:pt idx="13560">
                  <c:v>7.1859999999999999</c:v>
                </c:pt>
                <c:pt idx="13561">
                  <c:v>7.1859999999999999</c:v>
                </c:pt>
                <c:pt idx="13562">
                  <c:v>7.1859999999999999</c:v>
                </c:pt>
                <c:pt idx="13563">
                  <c:v>7.1859999999999999</c:v>
                </c:pt>
                <c:pt idx="13564">
                  <c:v>7.1859999999999999</c:v>
                </c:pt>
                <c:pt idx="13565">
                  <c:v>7.1859999999999999</c:v>
                </c:pt>
                <c:pt idx="13566">
                  <c:v>7.1859999999999999</c:v>
                </c:pt>
                <c:pt idx="13567">
                  <c:v>7.1859999999999999</c:v>
                </c:pt>
                <c:pt idx="13568">
                  <c:v>7.1859999999999999</c:v>
                </c:pt>
                <c:pt idx="13569">
                  <c:v>7.1859999999999999</c:v>
                </c:pt>
                <c:pt idx="13570">
                  <c:v>7.1859999999999999</c:v>
                </c:pt>
                <c:pt idx="13571">
                  <c:v>7.1849999999999996</c:v>
                </c:pt>
                <c:pt idx="13572">
                  <c:v>7.1859999999999999</c:v>
                </c:pt>
                <c:pt idx="13573">
                  <c:v>7.1849999999999996</c:v>
                </c:pt>
                <c:pt idx="13574">
                  <c:v>7.1859999999999999</c:v>
                </c:pt>
                <c:pt idx="13575">
                  <c:v>7.1849999999999996</c:v>
                </c:pt>
                <c:pt idx="13576">
                  <c:v>7.1849999999999996</c:v>
                </c:pt>
                <c:pt idx="13577">
                  <c:v>7.1849999999999996</c:v>
                </c:pt>
                <c:pt idx="13578">
                  <c:v>7.1849999999999996</c:v>
                </c:pt>
                <c:pt idx="13579">
                  <c:v>7.1849999999999996</c:v>
                </c:pt>
                <c:pt idx="13580">
                  <c:v>7.1849999999999996</c:v>
                </c:pt>
                <c:pt idx="13581">
                  <c:v>7.1849999999999996</c:v>
                </c:pt>
                <c:pt idx="13582">
                  <c:v>7.1849999999999996</c:v>
                </c:pt>
                <c:pt idx="13583">
                  <c:v>7.1849999999999996</c:v>
                </c:pt>
                <c:pt idx="13584">
                  <c:v>7.1849999999999996</c:v>
                </c:pt>
                <c:pt idx="13585">
                  <c:v>7.1849999999999996</c:v>
                </c:pt>
                <c:pt idx="13586">
                  <c:v>7.1849999999999996</c:v>
                </c:pt>
                <c:pt idx="13587">
                  <c:v>7.1849999999999996</c:v>
                </c:pt>
                <c:pt idx="13588">
                  <c:v>7.1849999999999996</c:v>
                </c:pt>
                <c:pt idx="13589">
                  <c:v>7.1849999999999996</c:v>
                </c:pt>
                <c:pt idx="13590">
                  <c:v>7.1849999999999996</c:v>
                </c:pt>
                <c:pt idx="13591">
                  <c:v>7.1849999999999996</c:v>
                </c:pt>
                <c:pt idx="13592">
                  <c:v>7.1849999999999996</c:v>
                </c:pt>
                <c:pt idx="13593">
                  <c:v>7.1849999999999996</c:v>
                </c:pt>
                <c:pt idx="13594">
                  <c:v>7.1840000000000002</c:v>
                </c:pt>
                <c:pt idx="13595">
                  <c:v>7.1840000000000002</c:v>
                </c:pt>
                <c:pt idx="13596">
                  <c:v>7.1840000000000002</c:v>
                </c:pt>
                <c:pt idx="13597">
                  <c:v>7.1840000000000002</c:v>
                </c:pt>
                <c:pt idx="13598">
                  <c:v>7.1849999999999996</c:v>
                </c:pt>
                <c:pt idx="13599">
                  <c:v>7.1849999999999996</c:v>
                </c:pt>
                <c:pt idx="13600">
                  <c:v>7.1840000000000002</c:v>
                </c:pt>
                <c:pt idx="13601">
                  <c:v>7.1849999999999996</c:v>
                </c:pt>
                <c:pt idx="13602">
                  <c:v>7.1849999999999996</c:v>
                </c:pt>
                <c:pt idx="13603">
                  <c:v>7.1849999999999996</c:v>
                </c:pt>
                <c:pt idx="13604">
                  <c:v>7.1849999999999996</c:v>
                </c:pt>
                <c:pt idx="13605">
                  <c:v>7.1840000000000002</c:v>
                </c:pt>
                <c:pt idx="13606">
                  <c:v>7.1840000000000002</c:v>
                </c:pt>
                <c:pt idx="13607">
                  <c:v>7.1840000000000002</c:v>
                </c:pt>
                <c:pt idx="13608">
                  <c:v>7.1840000000000002</c:v>
                </c:pt>
                <c:pt idx="13609">
                  <c:v>7.1849999999999996</c:v>
                </c:pt>
                <c:pt idx="13610">
                  <c:v>7.1849999999999996</c:v>
                </c:pt>
                <c:pt idx="13611">
                  <c:v>7.1840000000000002</c:v>
                </c:pt>
                <c:pt idx="13612">
                  <c:v>7.1849999999999996</c:v>
                </c:pt>
                <c:pt idx="13613">
                  <c:v>7.1840000000000002</c:v>
                </c:pt>
                <c:pt idx="13614">
                  <c:v>7.1840000000000002</c:v>
                </c:pt>
                <c:pt idx="13615">
                  <c:v>7.1840000000000002</c:v>
                </c:pt>
                <c:pt idx="13616">
                  <c:v>7.1840000000000002</c:v>
                </c:pt>
                <c:pt idx="13617">
                  <c:v>7.1849999999999996</c:v>
                </c:pt>
                <c:pt idx="13618">
                  <c:v>7.1840000000000002</c:v>
                </c:pt>
                <c:pt idx="13619">
                  <c:v>7.1849999999999996</c:v>
                </c:pt>
                <c:pt idx="13620">
                  <c:v>7.1840000000000002</c:v>
                </c:pt>
                <c:pt idx="13621">
                  <c:v>7.1849999999999996</c:v>
                </c:pt>
                <c:pt idx="13622">
                  <c:v>7.1849999999999996</c:v>
                </c:pt>
                <c:pt idx="13623">
                  <c:v>7.1849999999999996</c:v>
                </c:pt>
                <c:pt idx="13624">
                  <c:v>7.1849999999999996</c:v>
                </c:pt>
                <c:pt idx="13625">
                  <c:v>7.1840000000000002</c:v>
                </c:pt>
                <c:pt idx="13626">
                  <c:v>7.1840000000000002</c:v>
                </c:pt>
                <c:pt idx="13627">
                  <c:v>7.1840000000000002</c:v>
                </c:pt>
                <c:pt idx="13628">
                  <c:v>7.1840000000000002</c:v>
                </c:pt>
                <c:pt idx="13629">
                  <c:v>7.1849999999999996</c:v>
                </c:pt>
                <c:pt idx="13630">
                  <c:v>7.1840000000000002</c:v>
                </c:pt>
                <c:pt idx="13631">
                  <c:v>7.1849999999999996</c:v>
                </c:pt>
                <c:pt idx="13632">
                  <c:v>7.1849999999999996</c:v>
                </c:pt>
                <c:pt idx="13633">
                  <c:v>7.1840000000000002</c:v>
                </c:pt>
                <c:pt idx="13634">
                  <c:v>7.1840000000000002</c:v>
                </c:pt>
                <c:pt idx="13635">
                  <c:v>7.1840000000000002</c:v>
                </c:pt>
                <c:pt idx="13636">
                  <c:v>7.1840000000000002</c:v>
                </c:pt>
                <c:pt idx="13637">
                  <c:v>7.1840000000000002</c:v>
                </c:pt>
                <c:pt idx="13638">
                  <c:v>7.1840000000000002</c:v>
                </c:pt>
                <c:pt idx="13639">
                  <c:v>7.1840000000000002</c:v>
                </c:pt>
                <c:pt idx="13640">
                  <c:v>7.1840000000000002</c:v>
                </c:pt>
                <c:pt idx="13641">
                  <c:v>7.1840000000000002</c:v>
                </c:pt>
                <c:pt idx="13642">
                  <c:v>7.1840000000000002</c:v>
                </c:pt>
                <c:pt idx="13643">
                  <c:v>7.1840000000000002</c:v>
                </c:pt>
                <c:pt idx="13644">
                  <c:v>7.1840000000000002</c:v>
                </c:pt>
                <c:pt idx="13645">
                  <c:v>7.1840000000000002</c:v>
                </c:pt>
                <c:pt idx="13646">
                  <c:v>7.1840000000000002</c:v>
                </c:pt>
                <c:pt idx="13647">
                  <c:v>7.1840000000000002</c:v>
                </c:pt>
                <c:pt idx="13648">
                  <c:v>7.1840000000000002</c:v>
                </c:pt>
                <c:pt idx="13649">
                  <c:v>7.1840000000000002</c:v>
                </c:pt>
                <c:pt idx="13650">
                  <c:v>7.1840000000000002</c:v>
                </c:pt>
                <c:pt idx="13651">
                  <c:v>7.1840000000000002</c:v>
                </c:pt>
                <c:pt idx="13652">
                  <c:v>7.1840000000000002</c:v>
                </c:pt>
                <c:pt idx="13653">
                  <c:v>7.1840000000000002</c:v>
                </c:pt>
                <c:pt idx="13654">
                  <c:v>7.1840000000000002</c:v>
                </c:pt>
                <c:pt idx="13655">
                  <c:v>7.1840000000000002</c:v>
                </c:pt>
                <c:pt idx="13656">
                  <c:v>7.1840000000000002</c:v>
                </c:pt>
                <c:pt idx="13657">
                  <c:v>7.1840000000000002</c:v>
                </c:pt>
                <c:pt idx="13658">
                  <c:v>7.1840000000000002</c:v>
                </c:pt>
                <c:pt idx="13659">
                  <c:v>7.1829999999999998</c:v>
                </c:pt>
                <c:pt idx="13660">
                  <c:v>7.1840000000000002</c:v>
                </c:pt>
                <c:pt idx="13661">
                  <c:v>7.1840000000000002</c:v>
                </c:pt>
                <c:pt idx="13662">
                  <c:v>7.1840000000000002</c:v>
                </c:pt>
                <c:pt idx="13663">
                  <c:v>7.1829999999999998</c:v>
                </c:pt>
                <c:pt idx="13664">
                  <c:v>7.1829999999999998</c:v>
                </c:pt>
                <c:pt idx="13665">
                  <c:v>7.1829999999999998</c:v>
                </c:pt>
                <c:pt idx="13666">
                  <c:v>7.1840000000000002</c:v>
                </c:pt>
                <c:pt idx="13667">
                  <c:v>7.1840000000000002</c:v>
                </c:pt>
                <c:pt idx="13668">
                  <c:v>7.1829999999999998</c:v>
                </c:pt>
                <c:pt idx="13669">
                  <c:v>7.1829999999999998</c:v>
                </c:pt>
                <c:pt idx="13670">
                  <c:v>7.1829999999999998</c:v>
                </c:pt>
                <c:pt idx="13671">
                  <c:v>7.1829999999999998</c:v>
                </c:pt>
                <c:pt idx="13672">
                  <c:v>7.1840000000000002</c:v>
                </c:pt>
                <c:pt idx="13673">
                  <c:v>7.1840000000000002</c:v>
                </c:pt>
                <c:pt idx="13674">
                  <c:v>7.1840000000000002</c:v>
                </c:pt>
                <c:pt idx="13675">
                  <c:v>7.1840000000000002</c:v>
                </c:pt>
                <c:pt idx="13676">
                  <c:v>7.1840000000000002</c:v>
                </c:pt>
                <c:pt idx="13677">
                  <c:v>7.1840000000000002</c:v>
                </c:pt>
                <c:pt idx="13678">
                  <c:v>7.1840000000000002</c:v>
                </c:pt>
                <c:pt idx="13679">
                  <c:v>7.1840000000000002</c:v>
                </c:pt>
                <c:pt idx="13680">
                  <c:v>7.1840000000000002</c:v>
                </c:pt>
                <c:pt idx="13681">
                  <c:v>7.1840000000000002</c:v>
                </c:pt>
                <c:pt idx="13682">
                  <c:v>7.1840000000000002</c:v>
                </c:pt>
                <c:pt idx="13683">
                  <c:v>7.1829999999999998</c:v>
                </c:pt>
                <c:pt idx="13684">
                  <c:v>7.1829999999999998</c:v>
                </c:pt>
                <c:pt idx="13685">
                  <c:v>7.1829999999999998</c:v>
                </c:pt>
                <c:pt idx="13686">
                  <c:v>7.1840000000000002</c:v>
                </c:pt>
                <c:pt idx="13687">
                  <c:v>7.1829999999999998</c:v>
                </c:pt>
                <c:pt idx="13688">
                  <c:v>7.1829999999999998</c:v>
                </c:pt>
                <c:pt idx="13689">
                  <c:v>7.1829999999999998</c:v>
                </c:pt>
                <c:pt idx="13690">
                  <c:v>7.1829999999999998</c:v>
                </c:pt>
                <c:pt idx="13691">
                  <c:v>7.1829999999999998</c:v>
                </c:pt>
                <c:pt idx="13692">
                  <c:v>7.1829999999999998</c:v>
                </c:pt>
                <c:pt idx="13693">
                  <c:v>7.1829999999999998</c:v>
                </c:pt>
                <c:pt idx="13694">
                  <c:v>7.1829999999999998</c:v>
                </c:pt>
                <c:pt idx="13695">
                  <c:v>7.1829999999999998</c:v>
                </c:pt>
                <c:pt idx="13696">
                  <c:v>7.1829999999999998</c:v>
                </c:pt>
                <c:pt idx="13697">
                  <c:v>7.1829999999999998</c:v>
                </c:pt>
                <c:pt idx="13698">
                  <c:v>7.1829999999999998</c:v>
                </c:pt>
                <c:pt idx="13699">
                  <c:v>7.1820000000000004</c:v>
                </c:pt>
                <c:pt idx="13700">
                  <c:v>7.1829999999999998</c:v>
                </c:pt>
                <c:pt idx="13701">
                  <c:v>7.1820000000000004</c:v>
                </c:pt>
                <c:pt idx="13702">
                  <c:v>7.1829999999999998</c:v>
                </c:pt>
                <c:pt idx="13703">
                  <c:v>7.1829999999999998</c:v>
                </c:pt>
                <c:pt idx="13704">
                  <c:v>7.1829999999999998</c:v>
                </c:pt>
                <c:pt idx="13705">
                  <c:v>7.1829999999999998</c:v>
                </c:pt>
                <c:pt idx="13706">
                  <c:v>7.1829999999999998</c:v>
                </c:pt>
                <c:pt idx="13707">
                  <c:v>7.1829999999999998</c:v>
                </c:pt>
                <c:pt idx="13708">
                  <c:v>7.1829999999999998</c:v>
                </c:pt>
                <c:pt idx="13709">
                  <c:v>7.1829999999999998</c:v>
                </c:pt>
                <c:pt idx="13710">
                  <c:v>7.1829999999999998</c:v>
                </c:pt>
                <c:pt idx="13711">
                  <c:v>7.1829999999999998</c:v>
                </c:pt>
                <c:pt idx="13712">
                  <c:v>7.1829999999999998</c:v>
                </c:pt>
                <c:pt idx="13713">
                  <c:v>7.1829999999999998</c:v>
                </c:pt>
                <c:pt idx="13714">
                  <c:v>7.1820000000000004</c:v>
                </c:pt>
                <c:pt idx="13715">
                  <c:v>7.1829999999999998</c:v>
                </c:pt>
                <c:pt idx="13716">
                  <c:v>7.1820000000000004</c:v>
                </c:pt>
                <c:pt idx="13717">
                  <c:v>7.1829999999999998</c:v>
                </c:pt>
                <c:pt idx="13718">
                  <c:v>7.1820000000000004</c:v>
                </c:pt>
                <c:pt idx="13719">
                  <c:v>7.1829999999999998</c:v>
                </c:pt>
                <c:pt idx="13720">
                  <c:v>7.1829999999999998</c:v>
                </c:pt>
                <c:pt idx="13721">
                  <c:v>7.1820000000000004</c:v>
                </c:pt>
                <c:pt idx="13722">
                  <c:v>7.1829999999999998</c:v>
                </c:pt>
                <c:pt idx="13723">
                  <c:v>7.1829999999999998</c:v>
                </c:pt>
                <c:pt idx="13724">
                  <c:v>7.1829999999999998</c:v>
                </c:pt>
                <c:pt idx="13725">
                  <c:v>7.1829999999999998</c:v>
                </c:pt>
                <c:pt idx="13726">
                  <c:v>7.1829999999999998</c:v>
                </c:pt>
                <c:pt idx="13727">
                  <c:v>7.1829999999999998</c:v>
                </c:pt>
                <c:pt idx="13728">
                  <c:v>7.1829999999999998</c:v>
                </c:pt>
                <c:pt idx="13729">
                  <c:v>7.1829999999999998</c:v>
                </c:pt>
                <c:pt idx="13730">
                  <c:v>7.1829999999999998</c:v>
                </c:pt>
                <c:pt idx="13731">
                  <c:v>7.1820000000000004</c:v>
                </c:pt>
                <c:pt idx="13732">
                  <c:v>7.1829999999999998</c:v>
                </c:pt>
                <c:pt idx="13733">
                  <c:v>7.1829999999999998</c:v>
                </c:pt>
                <c:pt idx="13734">
                  <c:v>7.1829999999999998</c:v>
                </c:pt>
                <c:pt idx="13735">
                  <c:v>7.1829999999999998</c:v>
                </c:pt>
                <c:pt idx="13736">
                  <c:v>7.1829999999999998</c:v>
                </c:pt>
                <c:pt idx="13737">
                  <c:v>7.1829999999999998</c:v>
                </c:pt>
                <c:pt idx="13738">
                  <c:v>7.1829999999999998</c:v>
                </c:pt>
                <c:pt idx="13739">
                  <c:v>7.1829999999999998</c:v>
                </c:pt>
                <c:pt idx="13740">
                  <c:v>7.1829999999999998</c:v>
                </c:pt>
                <c:pt idx="13741">
                  <c:v>7.1829999999999998</c:v>
                </c:pt>
                <c:pt idx="13742">
                  <c:v>7.1829999999999998</c:v>
                </c:pt>
                <c:pt idx="13743">
                  <c:v>7.1820000000000004</c:v>
                </c:pt>
                <c:pt idx="13744">
                  <c:v>7.1829999999999998</c:v>
                </c:pt>
                <c:pt idx="13745">
                  <c:v>7.1820000000000004</c:v>
                </c:pt>
                <c:pt idx="13746">
                  <c:v>7.1820000000000004</c:v>
                </c:pt>
                <c:pt idx="13747">
                  <c:v>7.1820000000000004</c:v>
                </c:pt>
                <c:pt idx="13748">
                  <c:v>7.1820000000000004</c:v>
                </c:pt>
                <c:pt idx="13749">
                  <c:v>7.1820000000000004</c:v>
                </c:pt>
                <c:pt idx="13750">
                  <c:v>7.1829999999999998</c:v>
                </c:pt>
                <c:pt idx="13751">
                  <c:v>7.1820000000000004</c:v>
                </c:pt>
                <c:pt idx="13752">
                  <c:v>7.1820000000000004</c:v>
                </c:pt>
                <c:pt idx="13753">
                  <c:v>7.1820000000000004</c:v>
                </c:pt>
                <c:pt idx="13754">
                  <c:v>7.1820000000000004</c:v>
                </c:pt>
                <c:pt idx="13755">
                  <c:v>7.1820000000000004</c:v>
                </c:pt>
                <c:pt idx="13756">
                  <c:v>7.1820000000000004</c:v>
                </c:pt>
                <c:pt idx="13757">
                  <c:v>7.1820000000000004</c:v>
                </c:pt>
                <c:pt idx="13758">
                  <c:v>7.1820000000000004</c:v>
                </c:pt>
                <c:pt idx="13759">
                  <c:v>7.1820000000000004</c:v>
                </c:pt>
                <c:pt idx="13760">
                  <c:v>7.1820000000000004</c:v>
                </c:pt>
                <c:pt idx="13761">
                  <c:v>7.1820000000000004</c:v>
                </c:pt>
                <c:pt idx="13762">
                  <c:v>7.1820000000000004</c:v>
                </c:pt>
                <c:pt idx="13763">
                  <c:v>7.1820000000000004</c:v>
                </c:pt>
                <c:pt idx="13764">
                  <c:v>7.1820000000000004</c:v>
                </c:pt>
                <c:pt idx="13765">
                  <c:v>7.1820000000000004</c:v>
                </c:pt>
                <c:pt idx="13766">
                  <c:v>7.1820000000000004</c:v>
                </c:pt>
                <c:pt idx="13767">
                  <c:v>7.1820000000000004</c:v>
                </c:pt>
                <c:pt idx="13768">
                  <c:v>7.1820000000000004</c:v>
                </c:pt>
                <c:pt idx="13769">
                  <c:v>7.1820000000000004</c:v>
                </c:pt>
                <c:pt idx="13770">
                  <c:v>7.1820000000000004</c:v>
                </c:pt>
                <c:pt idx="13771">
                  <c:v>7.1820000000000004</c:v>
                </c:pt>
                <c:pt idx="13772">
                  <c:v>7.1820000000000004</c:v>
                </c:pt>
                <c:pt idx="13773">
                  <c:v>7.1820000000000004</c:v>
                </c:pt>
                <c:pt idx="13774">
                  <c:v>7.1820000000000004</c:v>
                </c:pt>
                <c:pt idx="13775">
                  <c:v>7.1820000000000004</c:v>
                </c:pt>
                <c:pt idx="13776">
                  <c:v>7.181</c:v>
                </c:pt>
                <c:pt idx="13777">
                  <c:v>7.1820000000000004</c:v>
                </c:pt>
                <c:pt idx="13778">
                  <c:v>7.1820000000000004</c:v>
                </c:pt>
                <c:pt idx="13779">
                  <c:v>7.1820000000000004</c:v>
                </c:pt>
                <c:pt idx="13780">
                  <c:v>7.1820000000000004</c:v>
                </c:pt>
                <c:pt idx="13781">
                  <c:v>7.1820000000000004</c:v>
                </c:pt>
                <c:pt idx="13782">
                  <c:v>7.181</c:v>
                </c:pt>
                <c:pt idx="13783">
                  <c:v>7.1820000000000004</c:v>
                </c:pt>
                <c:pt idx="13784">
                  <c:v>7.1820000000000004</c:v>
                </c:pt>
                <c:pt idx="13785">
                  <c:v>7.1820000000000004</c:v>
                </c:pt>
                <c:pt idx="13786">
                  <c:v>7.1820000000000004</c:v>
                </c:pt>
                <c:pt idx="13787">
                  <c:v>7.1820000000000004</c:v>
                </c:pt>
                <c:pt idx="13788">
                  <c:v>7.1820000000000004</c:v>
                </c:pt>
                <c:pt idx="13789">
                  <c:v>7.1820000000000004</c:v>
                </c:pt>
                <c:pt idx="13790">
                  <c:v>7.181</c:v>
                </c:pt>
                <c:pt idx="13791">
                  <c:v>7.1820000000000004</c:v>
                </c:pt>
                <c:pt idx="13792">
                  <c:v>7.1820000000000004</c:v>
                </c:pt>
                <c:pt idx="13793">
                  <c:v>7.1820000000000004</c:v>
                </c:pt>
                <c:pt idx="13794">
                  <c:v>7.1820000000000004</c:v>
                </c:pt>
                <c:pt idx="13795">
                  <c:v>7.1820000000000004</c:v>
                </c:pt>
                <c:pt idx="13796">
                  <c:v>7.1820000000000004</c:v>
                </c:pt>
                <c:pt idx="13797">
                  <c:v>7.181</c:v>
                </c:pt>
                <c:pt idx="13798">
                  <c:v>7.181</c:v>
                </c:pt>
                <c:pt idx="13799">
                  <c:v>7.181</c:v>
                </c:pt>
                <c:pt idx="13800">
                  <c:v>7.181</c:v>
                </c:pt>
                <c:pt idx="13801">
                  <c:v>7.181</c:v>
                </c:pt>
                <c:pt idx="13802">
                  <c:v>7.1820000000000004</c:v>
                </c:pt>
                <c:pt idx="13803">
                  <c:v>7.181</c:v>
                </c:pt>
                <c:pt idx="13804">
                  <c:v>7.181</c:v>
                </c:pt>
                <c:pt idx="13805">
                  <c:v>7.181</c:v>
                </c:pt>
                <c:pt idx="13806">
                  <c:v>7.1820000000000004</c:v>
                </c:pt>
                <c:pt idx="13807">
                  <c:v>7.181</c:v>
                </c:pt>
                <c:pt idx="13808">
                  <c:v>7.181</c:v>
                </c:pt>
                <c:pt idx="13809">
                  <c:v>7.1820000000000004</c:v>
                </c:pt>
                <c:pt idx="13810">
                  <c:v>7.1820000000000004</c:v>
                </c:pt>
                <c:pt idx="13811">
                  <c:v>7.1820000000000004</c:v>
                </c:pt>
                <c:pt idx="13812">
                  <c:v>7.181</c:v>
                </c:pt>
                <c:pt idx="13813">
                  <c:v>7.181</c:v>
                </c:pt>
                <c:pt idx="13814">
                  <c:v>7.181</c:v>
                </c:pt>
                <c:pt idx="13815">
                  <c:v>7.1820000000000004</c:v>
                </c:pt>
                <c:pt idx="13816">
                  <c:v>7.1820000000000004</c:v>
                </c:pt>
                <c:pt idx="13817">
                  <c:v>7.1820000000000004</c:v>
                </c:pt>
                <c:pt idx="13818">
                  <c:v>7.181</c:v>
                </c:pt>
                <c:pt idx="13819">
                  <c:v>7.181</c:v>
                </c:pt>
                <c:pt idx="13820">
                  <c:v>7.181</c:v>
                </c:pt>
                <c:pt idx="13821">
                  <c:v>7.181</c:v>
                </c:pt>
                <c:pt idx="13822">
                  <c:v>7.1820000000000004</c:v>
                </c:pt>
                <c:pt idx="13823">
                  <c:v>7.181</c:v>
                </c:pt>
                <c:pt idx="13824">
                  <c:v>7.181</c:v>
                </c:pt>
                <c:pt idx="13825">
                  <c:v>7.181</c:v>
                </c:pt>
                <c:pt idx="13826">
                  <c:v>7.181</c:v>
                </c:pt>
                <c:pt idx="13827">
                  <c:v>7.181</c:v>
                </c:pt>
                <c:pt idx="13828">
                  <c:v>7.181</c:v>
                </c:pt>
                <c:pt idx="13829">
                  <c:v>7.181</c:v>
                </c:pt>
                <c:pt idx="13830">
                  <c:v>7.181</c:v>
                </c:pt>
                <c:pt idx="13831">
                  <c:v>7.181</c:v>
                </c:pt>
                <c:pt idx="13832">
                  <c:v>7.181</c:v>
                </c:pt>
                <c:pt idx="13833">
                  <c:v>7.181</c:v>
                </c:pt>
                <c:pt idx="13834">
                  <c:v>7.181</c:v>
                </c:pt>
                <c:pt idx="13835">
                  <c:v>7.181</c:v>
                </c:pt>
                <c:pt idx="13836">
                  <c:v>7.181</c:v>
                </c:pt>
                <c:pt idx="13837">
                  <c:v>7.181</c:v>
                </c:pt>
                <c:pt idx="13838">
                  <c:v>7.181</c:v>
                </c:pt>
                <c:pt idx="13839">
                  <c:v>7.181</c:v>
                </c:pt>
                <c:pt idx="13840">
                  <c:v>7.181</c:v>
                </c:pt>
                <c:pt idx="13841">
                  <c:v>7.181</c:v>
                </c:pt>
                <c:pt idx="13842">
                  <c:v>7.18</c:v>
                </c:pt>
                <c:pt idx="13843">
                  <c:v>7.18</c:v>
                </c:pt>
                <c:pt idx="13844">
                  <c:v>7.181</c:v>
                </c:pt>
                <c:pt idx="13845">
                  <c:v>7.181</c:v>
                </c:pt>
                <c:pt idx="13846">
                  <c:v>7.181</c:v>
                </c:pt>
                <c:pt idx="13847">
                  <c:v>7.181</c:v>
                </c:pt>
                <c:pt idx="13848">
                  <c:v>7.181</c:v>
                </c:pt>
                <c:pt idx="13849">
                  <c:v>7.18</c:v>
                </c:pt>
                <c:pt idx="13850">
                  <c:v>7.18</c:v>
                </c:pt>
                <c:pt idx="13851">
                  <c:v>7.18</c:v>
                </c:pt>
                <c:pt idx="13852">
                  <c:v>7.181</c:v>
                </c:pt>
                <c:pt idx="13853">
                  <c:v>7.181</c:v>
                </c:pt>
                <c:pt idx="13854">
                  <c:v>7.181</c:v>
                </c:pt>
                <c:pt idx="13855">
                  <c:v>7.181</c:v>
                </c:pt>
                <c:pt idx="13856">
                  <c:v>7.181</c:v>
                </c:pt>
                <c:pt idx="13857">
                  <c:v>7.181</c:v>
                </c:pt>
                <c:pt idx="13858">
                  <c:v>7.181</c:v>
                </c:pt>
                <c:pt idx="13859">
                  <c:v>7.181</c:v>
                </c:pt>
                <c:pt idx="13860">
                  <c:v>7.181</c:v>
                </c:pt>
                <c:pt idx="13861">
                  <c:v>7.181</c:v>
                </c:pt>
                <c:pt idx="13862">
                  <c:v>7.181</c:v>
                </c:pt>
                <c:pt idx="13863">
                  <c:v>7.181</c:v>
                </c:pt>
                <c:pt idx="13864">
                  <c:v>7.181</c:v>
                </c:pt>
                <c:pt idx="13865">
                  <c:v>7.181</c:v>
                </c:pt>
                <c:pt idx="13866">
                  <c:v>7.181</c:v>
                </c:pt>
                <c:pt idx="13867">
                  <c:v>7.181</c:v>
                </c:pt>
                <c:pt idx="13868">
                  <c:v>7.181</c:v>
                </c:pt>
                <c:pt idx="13869">
                  <c:v>7.181</c:v>
                </c:pt>
                <c:pt idx="13870">
                  <c:v>7.181</c:v>
                </c:pt>
                <c:pt idx="13871">
                  <c:v>7.181</c:v>
                </c:pt>
                <c:pt idx="13872">
                  <c:v>7.181</c:v>
                </c:pt>
                <c:pt idx="13873">
                  <c:v>7.18</c:v>
                </c:pt>
                <c:pt idx="13874">
                  <c:v>7.18</c:v>
                </c:pt>
                <c:pt idx="13875">
                  <c:v>7.18</c:v>
                </c:pt>
                <c:pt idx="13876">
                  <c:v>7.18</c:v>
                </c:pt>
                <c:pt idx="13877">
                  <c:v>7.18</c:v>
                </c:pt>
                <c:pt idx="13878">
                  <c:v>7.18</c:v>
                </c:pt>
                <c:pt idx="13879">
                  <c:v>7.18</c:v>
                </c:pt>
                <c:pt idx="13880">
                  <c:v>7.18</c:v>
                </c:pt>
                <c:pt idx="13881">
                  <c:v>7.18</c:v>
                </c:pt>
                <c:pt idx="13882">
                  <c:v>7.18</c:v>
                </c:pt>
                <c:pt idx="13883">
                  <c:v>7.18</c:v>
                </c:pt>
                <c:pt idx="13884">
                  <c:v>7.18</c:v>
                </c:pt>
                <c:pt idx="13885">
                  <c:v>7.18</c:v>
                </c:pt>
                <c:pt idx="13886">
                  <c:v>7.1790000000000003</c:v>
                </c:pt>
                <c:pt idx="13887">
                  <c:v>7.18</c:v>
                </c:pt>
                <c:pt idx="13888">
                  <c:v>7.18</c:v>
                </c:pt>
                <c:pt idx="13889">
                  <c:v>7.18</c:v>
                </c:pt>
                <c:pt idx="13890">
                  <c:v>7.18</c:v>
                </c:pt>
                <c:pt idx="13891">
                  <c:v>7.18</c:v>
                </c:pt>
                <c:pt idx="13892">
                  <c:v>7.18</c:v>
                </c:pt>
                <c:pt idx="13893">
                  <c:v>7.18</c:v>
                </c:pt>
                <c:pt idx="13894">
                  <c:v>7.1790000000000003</c:v>
                </c:pt>
                <c:pt idx="13895">
                  <c:v>7.18</c:v>
                </c:pt>
                <c:pt idx="13896">
                  <c:v>7.18</c:v>
                </c:pt>
                <c:pt idx="13897">
                  <c:v>7.1790000000000003</c:v>
                </c:pt>
                <c:pt idx="13898">
                  <c:v>7.1790000000000003</c:v>
                </c:pt>
                <c:pt idx="13899">
                  <c:v>7.18</c:v>
                </c:pt>
                <c:pt idx="13900">
                  <c:v>7.18</c:v>
                </c:pt>
                <c:pt idx="13901">
                  <c:v>7.18</c:v>
                </c:pt>
                <c:pt idx="13902">
                  <c:v>7.1790000000000003</c:v>
                </c:pt>
                <c:pt idx="13903">
                  <c:v>7.1790000000000003</c:v>
                </c:pt>
                <c:pt idx="13904">
                  <c:v>7.1790000000000003</c:v>
                </c:pt>
                <c:pt idx="13905">
                  <c:v>7.18</c:v>
                </c:pt>
                <c:pt idx="13906">
                  <c:v>7.18</c:v>
                </c:pt>
                <c:pt idx="13907">
                  <c:v>7.18</c:v>
                </c:pt>
                <c:pt idx="13908">
                  <c:v>7.18</c:v>
                </c:pt>
                <c:pt idx="13909">
                  <c:v>7.18</c:v>
                </c:pt>
                <c:pt idx="13910">
                  <c:v>7.1790000000000003</c:v>
                </c:pt>
                <c:pt idx="13911">
                  <c:v>7.18</c:v>
                </c:pt>
                <c:pt idx="13912">
                  <c:v>7.18</c:v>
                </c:pt>
                <c:pt idx="13913">
                  <c:v>7.18</c:v>
                </c:pt>
                <c:pt idx="13914">
                  <c:v>7.18</c:v>
                </c:pt>
                <c:pt idx="13915">
                  <c:v>7.1790000000000003</c:v>
                </c:pt>
                <c:pt idx="13916">
                  <c:v>7.18</c:v>
                </c:pt>
                <c:pt idx="13917">
                  <c:v>7.18</c:v>
                </c:pt>
                <c:pt idx="13918">
                  <c:v>7.18</c:v>
                </c:pt>
                <c:pt idx="13919">
                  <c:v>7.1790000000000003</c:v>
                </c:pt>
                <c:pt idx="13920">
                  <c:v>7.1790000000000003</c:v>
                </c:pt>
                <c:pt idx="13921">
                  <c:v>7.1790000000000003</c:v>
                </c:pt>
                <c:pt idx="13922">
                  <c:v>7.1790000000000003</c:v>
                </c:pt>
                <c:pt idx="13923">
                  <c:v>7.1790000000000003</c:v>
                </c:pt>
                <c:pt idx="13924">
                  <c:v>7.1790000000000003</c:v>
                </c:pt>
                <c:pt idx="13925">
                  <c:v>7.1790000000000003</c:v>
                </c:pt>
                <c:pt idx="13926">
                  <c:v>7.1790000000000003</c:v>
                </c:pt>
                <c:pt idx="13927">
                  <c:v>7.1790000000000003</c:v>
                </c:pt>
                <c:pt idx="13928">
                  <c:v>7.1790000000000003</c:v>
                </c:pt>
                <c:pt idx="13929">
                  <c:v>7.1790000000000003</c:v>
                </c:pt>
                <c:pt idx="13930">
                  <c:v>7.1790000000000003</c:v>
                </c:pt>
                <c:pt idx="13931">
                  <c:v>7.1790000000000003</c:v>
                </c:pt>
                <c:pt idx="13932">
                  <c:v>7.1790000000000003</c:v>
                </c:pt>
                <c:pt idx="13933">
                  <c:v>7.1790000000000003</c:v>
                </c:pt>
                <c:pt idx="13934">
                  <c:v>7.1790000000000003</c:v>
                </c:pt>
                <c:pt idx="13935">
                  <c:v>7.1790000000000003</c:v>
                </c:pt>
                <c:pt idx="13936">
                  <c:v>7.1790000000000003</c:v>
                </c:pt>
                <c:pt idx="13937">
                  <c:v>7.1790000000000003</c:v>
                </c:pt>
                <c:pt idx="13938">
                  <c:v>7.1790000000000003</c:v>
                </c:pt>
                <c:pt idx="13939">
                  <c:v>7.1790000000000003</c:v>
                </c:pt>
                <c:pt idx="13940">
                  <c:v>7.1790000000000003</c:v>
                </c:pt>
                <c:pt idx="13941">
                  <c:v>7.1779999999999999</c:v>
                </c:pt>
                <c:pt idx="13942">
                  <c:v>7.1779999999999999</c:v>
                </c:pt>
                <c:pt idx="13943">
                  <c:v>7.1779999999999999</c:v>
                </c:pt>
                <c:pt idx="13944">
                  <c:v>7.1779999999999999</c:v>
                </c:pt>
                <c:pt idx="13945">
                  <c:v>7.1790000000000003</c:v>
                </c:pt>
                <c:pt idx="13946">
                  <c:v>7.1779999999999999</c:v>
                </c:pt>
                <c:pt idx="13947">
                  <c:v>7.1779999999999999</c:v>
                </c:pt>
                <c:pt idx="13948">
                  <c:v>7.1779999999999999</c:v>
                </c:pt>
                <c:pt idx="13949">
                  <c:v>7.1779999999999999</c:v>
                </c:pt>
                <c:pt idx="13950">
                  <c:v>7.1779999999999999</c:v>
                </c:pt>
                <c:pt idx="13951">
                  <c:v>7.1779999999999999</c:v>
                </c:pt>
                <c:pt idx="13952">
                  <c:v>7.1779999999999999</c:v>
                </c:pt>
                <c:pt idx="13953">
                  <c:v>7.1779999999999999</c:v>
                </c:pt>
                <c:pt idx="13954">
                  <c:v>7.1779999999999999</c:v>
                </c:pt>
                <c:pt idx="13955">
                  <c:v>7.1779999999999999</c:v>
                </c:pt>
                <c:pt idx="13956">
                  <c:v>7.1779999999999999</c:v>
                </c:pt>
                <c:pt idx="13957">
                  <c:v>7.1779999999999999</c:v>
                </c:pt>
                <c:pt idx="13958">
                  <c:v>7.1779999999999999</c:v>
                </c:pt>
                <c:pt idx="13959">
                  <c:v>7.1779999999999999</c:v>
                </c:pt>
                <c:pt idx="13960">
                  <c:v>7.1779999999999999</c:v>
                </c:pt>
                <c:pt idx="13961">
                  <c:v>7.1779999999999999</c:v>
                </c:pt>
                <c:pt idx="13962">
                  <c:v>7.1779999999999999</c:v>
                </c:pt>
                <c:pt idx="13963">
                  <c:v>7.1779999999999999</c:v>
                </c:pt>
                <c:pt idx="13964">
                  <c:v>7.1790000000000003</c:v>
                </c:pt>
                <c:pt idx="13965">
                  <c:v>7.1779999999999999</c:v>
                </c:pt>
                <c:pt idx="13966">
                  <c:v>7.1779999999999999</c:v>
                </c:pt>
                <c:pt idx="13967">
                  <c:v>7.1779999999999999</c:v>
                </c:pt>
                <c:pt idx="13968">
                  <c:v>7.1779999999999999</c:v>
                </c:pt>
                <c:pt idx="13969">
                  <c:v>7.1779999999999999</c:v>
                </c:pt>
                <c:pt idx="13970">
                  <c:v>7.1779999999999999</c:v>
                </c:pt>
                <c:pt idx="13971">
                  <c:v>7.1779999999999999</c:v>
                </c:pt>
                <c:pt idx="13972">
                  <c:v>7.1779999999999999</c:v>
                </c:pt>
                <c:pt idx="13973">
                  <c:v>7.1779999999999999</c:v>
                </c:pt>
                <c:pt idx="13974">
                  <c:v>7.1779999999999999</c:v>
                </c:pt>
                <c:pt idx="13975">
                  <c:v>7.1779999999999999</c:v>
                </c:pt>
                <c:pt idx="13976">
                  <c:v>7.1779999999999999</c:v>
                </c:pt>
                <c:pt idx="13977">
                  <c:v>7.1779999999999999</c:v>
                </c:pt>
                <c:pt idx="13978">
                  <c:v>7.1779999999999999</c:v>
                </c:pt>
                <c:pt idx="13979">
                  <c:v>7.1779999999999999</c:v>
                </c:pt>
                <c:pt idx="13980">
                  <c:v>7.1779999999999999</c:v>
                </c:pt>
                <c:pt idx="13981">
                  <c:v>7.1779999999999999</c:v>
                </c:pt>
                <c:pt idx="13982">
                  <c:v>7.1779999999999999</c:v>
                </c:pt>
                <c:pt idx="13983">
                  <c:v>7.1779999999999999</c:v>
                </c:pt>
                <c:pt idx="13984">
                  <c:v>7.1769999999999996</c:v>
                </c:pt>
                <c:pt idx="13985">
                  <c:v>7.1779999999999999</c:v>
                </c:pt>
                <c:pt idx="13986">
                  <c:v>7.1769999999999996</c:v>
                </c:pt>
                <c:pt idx="13987">
                  <c:v>7.1779999999999999</c:v>
                </c:pt>
                <c:pt idx="13988">
                  <c:v>7.1779999999999999</c:v>
                </c:pt>
                <c:pt idx="13989">
                  <c:v>7.1779999999999999</c:v>
                </c:pt>
                <c:pt idx="13990">
                  <c:v>7.1779999999999999</c:v>
                </c:pt>
                <c:pt idx="13991">
                  <c:v>7.1779999999999999</c:v>
                </c:pt>
                <c:pt idx="13992">
                  <c:v>7.1779999999999999</c:v>
                </c:pt>
                <c:pt idx="13993">
                  <c:v>7.1779999999999999</c:v>
                </c:pt>
                <c:pt idx="13994">
                  <c:v>7.1779999999999999</c:v>
                </c:pt>
                <c:pt idx="13995">
                  <c:v>7.1779999999999999</c:v>
                </c:pt>
                <c:pt idx="13996">
                  <c:v>7.1779999999999999</c:v>
                </c:pt>
                <c:pt idx="13997">
                  <c:v>7.1769999999999996</c:v>
                </c:pt>
                <c:pt idx="13998">
                  <c:v>7.1769999999999996</c:v>
                </c:pt>
                <c:pt idx="13999">
                  <c:v>7.1769999999999996</c:v>
                </c:pt>
                <c:pt idx="14000">
                  <c:v>7.1779999999999999</c:v>
                </c:pt>
                <c:pt idx="14001">
                  <c:v>7.1769999999999996</c:v>
                </c:pt>
                <c:pt idx="14002">
                  <c:v>7.1769999999999996</c:v>
                </c:pt>
                <c:pt idx="14003">
                  <c:v>7.1769999999999996</c:v>
                </c:pt>
                <c:pt idx="14004">
                  <c:v>7.1769999999999996</c:v>
                </c:pt>
                <c:pt idx="14005">
                  <c:v>7.1769999999999996</c:v>
                </c:pt>
                <c:pt idx="14006">
                  <c:v>7.1769999999999996</c:v>
                </c:pt>
                <c:pt idx="14007">
                  <c:v>7.1769999999999996</c:v>
                </c:pt>
                <c:pt idx="14008">
                  <c:v>7.1769999999999996</c:v>
                </c:pt>
                <c:pt idx="14009">
                  <c:v>7.1769999999999996</c:v>
                </c:pt>
                <c:pt idx="14010">
                  <c:v>7.1769999999999996</c:v>
                </c:pt>
                <c:pt idx="14011">
                  <c:v>7.1769999999999996</c:v>
                </c:pt>
                <c:pt idx="14012">
                  <c:v>7.1769999999999996</c:v>
                </c:pt>
                <c:pt idx="14013">
                  <c:v>7.1769999999999996</c:v>
                </c:pt>
                <c:pt idx="14014">
                  <c:v>7.1769999999999996</c:v>
                </c:pt>
                <c:pt idx="14015">
                  <c:v>7.1769999999999996</c:v>
                </c:pt>
                <c:pt idx="14016">
                  <c:v>7.1769999999999996</c:v>
                </c:pt>
                <c:pt idx="14017">
                  <c:v>7.1769999999999996</c:v>
                </c:pt>
                <c:pt idx="14018">
                  <c:v>7.1769999999999996</c:v>
                </c:pt>
                <c:pt idx="14019">
                  <c:v>7.1769999999999996</c:v>
                </c:pt>
                <c:pt idx="14020">
                  <c:v>7.1769999999999996</c:v>
                </c:pt>
                <c:pt idx="14021">
                  <c:v>7.1769999999999996</c:v>
                </c:pt>
                <c:pt idx="14022">
                  <c:v>7.1769999999999996</c:v>
                </c:pt>
                <c:pt idx="14023">
                  <c:v>7.1769999999999996</c:v>
                </c:pt>
                <c:pt idx="14024">
                  <c:v>7.1769999999999996</c:v>
                </c:pt>
                <c:pt idx="14025">
                  <c:v>7.1769999999999996</c:v>
                </c:pt>
                <c:pt idx="14026">
                  <c:v>7.1769999999999996</c:v>
                </c:pt>
                <c:pt idx="14027">
                  <c:v>7.1769999999999996</c:v>
                </c:pt>
                <c:pt idx="14028">
                  <c:v>7.1769999999999996</c:v>
                </c:pt>
                <c:pt idx="14029">
                  <c:v>7.1769999999999996</c:v>
                </c:pt>
                <c:pt idx="14030">
                  <c:v>7.1769999999999996</c:v>
                </c:pt>
                <c:pt idx="14031">
                  <c:v>7.1769999999999996</c:v>
                </c:pt>
                <c:pt idx="14032">
                  <c:v>7.1769999999999996</c:v>
                </c:pt>
                <c:pt idx="14033">
                  <c:v>7.1769999999999996</c:v>
                </c:pt>
                <c:pt idx="14034">
                  <c:v>7.1769999999999996</c:v>
                </c:pt>
                <c:pt idx="14035">
                  <c:v>7.1769999999999996</c:v>
                </c:pt>
                <c:pt idx="14036">
                  <c:v>7.1769999999999996</c:v>
                </c:pt>
                <c:pt idx="14037">
                  <c:v>7.1769999999999996</c:v>
                </c:pt>
                <c:pt idx="14038">
                  <c:v>7.1769999999999996</c:v>
                </c:pt>
                <c:pt idx="14039">
                  <c:v>7.1769999999999996</c:v>
                </c:pt>
                <c:pt idx="14040">
                  <c:v>7.1769999999999996</c:v>
                </c:pt>
                <c:pt idx="14041">
                  <c:v>7.1769999999999996</c:v>
                </c:pt>
                <c:pt idx="14042">
                  <c:v>7.1769999999999996</c:v>
                </c:pt>
                <c:pt idx="14043">
                  <c:v>7.1760000000000002</c:v>
                </c:pt>
                <c:pt idx="14044">
                  <c:v>7.1769999999999996</c:v>
                </c:pt>
                <c:pt idx="14045">
                  <c:v>7.1769999999999996</c:v>
                </c:pt>
                <c:pt idx="14046">
                  <c:v>7.1769999999999996</c:v>
                </c:pt>
                <c:pt idx="14047">
                  <c:v>7.1769999999999996</c:v>
                </c:pt>
                <c:pt idx="14048">
                  <c:v>7.1769999999999996</c:v>
                </c:pt>
                <c:pt idx="14049">
                  <c:v>7.1769999999999996</c:v>
                </c:pt>
                <c:pt idx="14050">
                  <c:v>7.1769999999999996</c:v>
                </c:pt>
                <c:pt idx="14051">
                  <c:v>7.1769999999999996</c:v>
                </c:pt>
                <c:pt idx="14052">
                  <c:v>7.1769999999999996</c:v>
                </c:pt>
                <c:pt idx="14053">
                  <c:v>7.1769999999999996</c:v>
                </c:pt>
                <c:pt idx="14054">
                  <c:v>7.1769999999999996</c:v>
                </c:pt>
                <c:pt idx="14055">
                  <c:v>7.1769999999999996</c:v>
                </c:pt>
                <c:pt idx="14056">
                  <c:v>7.1769999999999996</c:v>
                </c:pt>
                <c:pt idx="14057">
                  <c:v>7.1769999999999996</c:v>
                </c:pt>
                <c:pt idx="14058">
                  <c:v>7.1769999999999996</c:v>
                </c:pt>
                <c:pt idx="14059">
                  <c:v>7.1769999999999996</c:v>
                </c:pt>
                <c:pt idx="14060">
                  <c:v>7.1769999999999996</c:v>
                </c:pt>
                <c:pt idx="14061">
                  <c:v>7.1769999999999996</c:v>
                </c:pt>
                <c:pt idx="14062">
                  <c:v>7.1769999999999996</c:v>
                </c:pt>
                <c:pt idx="14063">
                  <c:v>7.1760000000000002</c:v>
                </c:pt>
                <c:pt idx="14064">
                  <c:v>7.1760000000000002</c:v>
                </c:pt>
                <c:pt idx="14065">
                  <c:v>7.1769999999999996</c:v>
                </c:pt>
                <c:pt idx="14066">
                  <c:v>7.1769999999999996</c:v>
                </c:pt>
                <c:pt idx="14067">
                  <c:v>7.1769999999999996</c:v>
                </c:pt>
                <c:pt idx="14068">
                  <c:v>7.1769999999999996</c:v>
                </c:pt>
                <c:pt idx="14069">
                  <c:v>7.1769999999999996</c:v>
                </c:pt>
                <c:pt idx="14070">
                  <c:v>7.1769999999999996</c:v>
                </c:pt>
                <c:pt idx="14071">
                  <c:v>7.1760000000000002</c:v>
                </c:pt>
                <c:pt idx="14072">
                  <c:v>7.1769999999999996</c:v>
                </c:pt>
                <c:pt idx="14073">
                  <c:v>7.1760000000000002</c:v>
                </c:pt>
                <c:pt idx="14074">
                  <c:v>7.1760000000000002</c:v>
                </c:pt>
                <c:pt idx="14075">
                  <c:v>7.1760000000000002</c:v>
                </c:pt>
                <c:pt idx="14076">
                  <c:v>7.1769999999999996</c:v>
                </c:pt>
                <c:pt idx="14077">
                  <c:v>7.1769999999999996</c:v>
                </c:pt>
                <c:pt idx="14078">
                  <c:v>7.1769999999999996</c:v>
                </c:pt>
                <c:pt idx="14079">
                  <c:v>7.1760000000000002</c:v>
                </c:pt>
                <c:pt idx="14080">
                  <c:v>7.1760000000000002</c:v>
                </c:pt>
                <c:pt idx="14081">
                  <c:v>7.1769999999999996</c:v>
                </c:pt>
                <c:pt idx="14082">
                  <c:v>7.1760000000000002</c:v>
                </c:pt>
                <c:pt idx="14083">
                  <c:v>7.1760000000000002</c:v>
                </c:pt>
                <c:pt idx="14084">
                  <c:v>7.1769999999999996</c:v>
                </c:pt>
                <c:pt idx="14085">
                  <c:v>7.1760000000000002</c:v>
                </c:pt>
                <c:pt idx="14086">
                  <c:v>7.1769999999999996</c:v>
                </c:pt>
                <c:pt idx="14087">
                  <c:v>7.1760000000000002</c:v>
                </c:pt>
                <c:pt idx="14088">
                  <c:v>7.1760000000000002</c:v>
                </c:pt>
                <c:pt idx="14089">
                  <c:v>7.1760000000000002</c:v>
                </c:pt>
                <c:pt idx="14090">
                  <c:v>7.1760000000000002</c:v>
                </c:pt>
                <c:pt idx="14091">
                  <c:v>7.1760000000000002</c:v>
                </c:pt>
                <c:pt idx="14092">
                  <c:v>7.1760000000000002</c:v>
                </c:pt>
                <c:pt idx="14093">
                  <c:v>7.1760000000000002</c:v>
                </c:pt>
                <c:pt idx="14094">
                  <c:v>7.1760000000000002</c:v>
                </c:pt>
                <c:pt idx="14095">
                  <c:v>7.1760000000000002</c:v>
                </c:pt>
                <c:pt idx="14096">
                  <c:v>7.1760000000000002</c:v>
                </c:pt>
                <c:pt idx="14097">
                  <c:v>7.1760000000000002</c:v>
                </c:pt>
                <c:pt idx="14098">
                  <c:v>7.1760000000000002</c:v>
                </c:pt>
                <c:pt idx="14099">
                  <c:v>7.1760000000000002</c:v>
                </c:pt>
                <c:pt idx="14100">
                  <c:v>7.1760000000000002</c:v>
                </c:pt>
                <c:pt idx="14101">
                  <c:v>7.1760000000000002</c:v>
                </c:pt>
                <c:pt idx="14102">
                  <c:v>7.1749999999999998</c:v>
                </c:pt>
                <c:pt idx="14103">
                  <c:v>7.1760000000000002</c:v>
                </c:pt>
                <c:pt idx="14104">
                  <c:v>7.1760000000000002</c:v>
                </c:pt>
                <c:pt idx="14105">
                  <c:v>7.1760000000000002</c:v>
                </c:pt>
                <c:pt idx="14106">
                  <c:v>7.1760000000000002</c:v>
                </c:pt>
                <c:pt idx="14107">
                  <c:v>7.1749999999999998</c:v>
                </c:pt>
                <c:pt idx="14108">
                  <c:v>7.1760000000000002</c:v>
                </c:pt>
                <c:pt idx="14109">
                  <c:v>7.1760000000000002</c:v>
                </c:pt>
                <c:pt idx="14110">
                  <c:v>7.1760000000000002</c:v>
                </c:pt>
                <c:pt idx="14111">
                  <c:v>7.1760000000000002</c:v>
                </c:pt>
                <c:pt idx="14112">
                  <c:v>7.1760000000000002</c:v>
                </c:pt>
                <c:pt idx="14113">
                  <c:v>7.1760000000000002</c:v>
                </c:pt>
                <c:pt idx="14114">
                  <c:v>7.1749999999999998</c:v>
                </c:pt>
                <c:pt idx="14115">
                  <c:v>7.1749999999999998</c:v>
                </c:pt>
                <c:pt idx="14116">
                  <c:v>7.1749999999999998</c:v>
                </c:pt>
                <c:pt idx="14117">
                  <c:v>7.1749999999999998</c:v>
                </c:pt>
                <c:pt idx="14118">
                  <c:v>7.1760000000000002</c:v>
                </c:pt>
                <c:pt idx="14119">
                  <c:v>7.1749999999999998</c:v>
                </c:pt>
                <c:pt idx="14120">
                  <c:v>7.1749999999999998</c:v>
                </c:pt>
                <c:pt idx="14121">
                  <c:v>7.1749999999999998</c:v>
                </c:pt>
                <c:pt idx="14122">
                  <c:v>7.1749999999999998</c:v>
                </c:pt>
                <c:pt idx="14123">
                  <c:v>7.1749999999999998</c:v>
                </c:pt>
                <c:pt idx="14124">
                  <c:v>7.1749999999999998</c:v>
                </c:pt>
                <c:pt idx="14125">
                  <c:v>7.1760000000000002</c:v>
                </c:pt>
                <c:pt idx="14126">
                  <c:v>7.1749999999999998</c:v>
                </c:pt>
                <c:pt idx="14127">
                  <c:v>7.1760000000000002</c:v>
                </c:pt>
                <c:pt idx="14128">
                  <c:v>7.1760000000000002</c:v>
                </c:pt>
                <c:pt idx="14129">
                  <c:v>7.1760000000000002</c:v>
                </c:pt>
                <c:pt idx="14130">
                  <c:v>7.1760000000000002</c:v>
                </c:pt>
                <c:pt idx="14131">
                  <c:v>7.1760000000000002</c:v>
                </c:pt>
                <c:pt idx="14132">
                  <c:v>7.1760000000000002</c:v>
                </c:pt>
                <c:pt idx="14133">
                  <c:v>7.1760000000000002</c:v>
                </c:pt>
                <c:pt idx="14134">
                  <c:v>7.1749999999999998</c:v>
                </c:pt>
                <c:pt idx="14135">
                  <c:v>7.1760000000000002</c:v>
                </c:pt>
                <c:pt idx="14136">
                  <c:v>7.1749999999999998</c:v>
                </c:pt>
                <c:pt idx="14137">
                  <c:v>7.1760000000000002</c:v>
                </c:pt>
                <c:pt idx="14138">
                  <c:v>7.1760000000000002</c:v>
                </c:pt>
                <c:pt idx="14139">
                  <c:v>7.1760000000000002</c:v>
                </c:pt>
                <c:pt idx="14140">
                  <c:v>7.1760000000000002</c:v>
                </c:pt>
                <c:pt idx="14141">
                  <c:v>7.1760000000000002</c:v>
                </c:pt>
                <c:pt idx="14142">
                  <c:v>7.1760000000000002</c:v>
                </c:pt>
                <c:pt idx="14143">
                  <c:v>7.1760000000000002</c:v>
                </c:pt>
                <c:pt idx="14144">
                  <c:v>7.1749999999999998</c:v>
                </c:pt>
                <c:pt idx="14145">
                  <c:v>7.1760000000000002</c:v>
                </c:pt>
                <c:pt idx="14146">
                  <c:v>7.1760000000000002</c:v>
                </c:pt>
                <c:pt idx="14147">
                  <c:v>7.1749999999999998</c:v>
                </c:pt>
                <c:pt idx="14148">
                  <c:v>7.1749999999999998</c:v>
                </c:pt>
                <c:pt idx="14149">
                  <c:v>7.1749999999999998</c:v>
                </c:pt>
                <c:pt idx="14150">
                  <c:v>7.1749999999999998</c:v>
                </c:pt>
                <c:pt idx="14151">
                  <c:v>7.1749999999999998</c:v>
                </c:pt>
                <c:pt idx="14152">
                  <c:v>7.1749999999999998</c:v>
                </c:pt>
                <c:pt idx="14153">
                  <c:v>7.1749999999999998</c:v>
                </c:pt>
                <c:pt idx="14154">
                  <c:v>7.1749999999999998</c:v>
                </c:pt>
                <c:pt idx="14155">
                  <c:v>7.1749999999999998</c:v>
                </c:pt>
                <c:pt idx="14156">
                  <c:v>7.1749999999999998</c:v>
                </c:pt>
                <c:pt idx="14157">
                  <c:v>7.1749999999999998</c:v>
                </c:pt>
                <c:pt idx="14158">
                  <c:v>7.1749999999999998</c:v>
                </c:pt>
                <c:pt idx="14159">
                  <c:v>7.1749999999999998</c:v>
                </c:pt>
                <c:pt idx="14160">
                  <c:v>7.1749999999999998</c:v>
                </c:pt>
                <c:pt idx="14161">
                  <c:v>7.1749999999999998</c:v>
                </c:pt>
                <c:pt idx="14162">
                  <c:v>7.1749999999999998</c:v>
                </c:pt>
                <c:pt idx="14163">
                  <c:v>7.1749999999999998</c:v>
                </c:pt>
                <c:pt idx="14164">
                  <c:v>7.1749999999999998</c:v>
                </c:pt>
                <c:pt idx="14165">
                  <c:v>7.1740000000000004</c:v>
                </c:pt>
                <c:pt idx="14166">
                  <c:v>7.1749999999999998</c:v>
                </c:pt>
                <c:pt idx="14167">
                  <c:v>7.1749999999999998</c:v>
                </c:pt>
                <c:pt idx="14168">
                  <c:v>7.1749999999999998</c:v>
                </c:pt>
                <c:pt idx="14169">
                  <c:v>7.1749999999999998</c:v>
                </c:pt>
                <c:pt idx="14170">
                  <c:v>7.1740000000000004</c:v>
                </c:pt>
                <c:pt idx="14171">
                  <c:v>7.1749999999999998</c:v>
                </c:pt>
                <c:pt idx="14172">
                  <c:v>7.1749999999999998</c:v>
                </c:pt>
                <c:pt idx="14173">
                  <c:v>7.1749999999999998</c:v>
                </c:pt>
                <c:pt idx="14174">
                  <c:v>7.1740000000000004</c:v>
                </c:pt>
                <c:pt idx="14175">
                  <c:v>7.1749999999999998</c:v>
                </c:pt>
                <c:pt idx="14176">
                  <c:v>7.1749999999999998</c:v>
                </c:pt>
                <c:pt idx="14177">
                  <c:v>7.1740000000000004</c:v>
                </c:pt>
                <c:pt idx="14178">
                  <c:v>7.1740000000000004</c:v>
                </c:pt>
                <c:pt idx="14179">
                  <c:v>7.1740000000000004</c:v>
                </c:pt>
                <c:pt idx="14180">
                  <c:v>7.1740000000000004</c:v>
                </c:pt>
                <c:pt idx="14181">
                  <c:v>7.1740000000000004</c:v>
                </c:pt>
                <c:pt idx="14182">
                  <c:v>7.1740000000000004</c:v>
                </c:pt>
                <c:pt idx="14183">
                  <c:v>7.1740000000000004</c:v>
                </c:pt>
                <c:pt idx="14184">
                  <c:v>7.1740000000000004</c:v>
                </c:pt>
                <c:pt idx="14185">
                  <c:v>7.1740000000000004</c:v>
                </c:pt>
                <c:pt idx="14186">
                  <c:v>7.1740000000000004</c:v>
                </c:pt>
                <c:pt idx="14187">
                  <c:v>7.1740000000000004</c:v>
                </c:pt>
                <c:pt idx="14188">
                  <c:v>7.1740000000000004</c:v>
                </c:pt>
                <c:pt idx="14189">
                  <c:v>7.1740000000000004</c:v>
                </c:pt>
                <c:pt idx="14190">
                  <c:v>7.1740000000000004</c:v>
                </c:pt>
                <c:pt idx="14191">
                  <c:v>7.1740000000000004</c:v>
                </c:pt>
                <c:pt idx="14192">
                  <c:v>7.1740000000000004</c:v>
                </c:pt>
                <c:pt idx="14193">
                  <c:v>7.1740000000000004</c:v>
                </c:pt>
                <c:pt idx="14194">
                  <c:v>7.1740000000000004</c:v>
                </c:pt>
                <c:pt idx="14195">
                  <c:v>7.1740000000000004</c:v>
                </c:pt>
                <c:pt idx="14196">
                  <c:v>7.1740000000000004</c:v>
                </c:pt>
                <c:pt idx="14197">
                  <c:v>7.1740000000000004</c:v>
                </c:pt>
                <c:pt idx="14198">
                  <c:v>7.173</c:v>
                </c:pt>
                <c:pt idx="14199">
                  <c:v>7.173</c:v>
                </c:pt>
                <c:pt idx="14200">
                  <c:v>7.173</c:v>
                </c:pt>
                <c:pt idx="14201">
                  <c:v>7.1740000000000004</c:v>
                </c:pt>
                <c:pt idx="14202">
                  <c:v>7.1740000000000004</c:v>
                </c:pt>
                <c:pt idx="14203">
                  <c:v>7.1740000000000004</c:v>
                </c:pt>
                <c:pt idx="14204">
                  <c:v>7.1740000000000004</c:v>
                </c:pt>
                <c:pt idx="14205">
                  <c:v>7.1740000000000004</c:v>
                </c:pt>
                <c:pt idx="14206">
                  <c:v>7.1740000000000004</c:v>
                </c:pt>
                <c:pt idx="14207">
                  <c:v>7.1740000000000004</c:v>
                </c:pt>
                <c:pt idx="14208">
                  <c:v>7.1740000000000004</c:v>
                </c:pt>
                <c:pt idx="14209">
                  <c:v>7.1740000000000004</c:v>
                </c:pt>
                <c:pt idx="14210">
                  <c:v>7.1740000000000004</c:v>
                </c:pt>
                <c:pt idx="14211">
                  <c:v>7.1740000000000004</c:v>
                </c:pt>
                <c:pt idx="14212">
                  <c:v>7.1740000000000004</c:v>
                </c:pt>
                <c:pt idx="14213">
                  <c:v>7.1740000000000004</c:v>
                </c:pt>
                <c:pt idx="14214">
                  <c:v>7.1740000000000004</c:v>
                </c:pt>
                <c:pt idx="14215">
                  <c:v>7.173</c:v>
                </c:pt>
                <c:pt idx="14216">
                  <c:v>7.173</c:v>
                </c:pt>
                <c:pt idx="14217">
                  <c:v>7.173</c:v>
                </c:pt>
                <c:pt idx="14218">
                  <c:v>7.173</c:v>
                </c:pt>
                <c:pt idx="14219">
                  <c:v>7.1740000000000004</c:v>
                </c:pt>
                <c:pt idx="14220">
                  <c:v>7.1740000000000004</c:v>
                </c:pt>
                <c:pt idx="14221">
                  <c:v>7.1740000000000004</c:v>
                </c:pt>
                <c:pt idx="14222">
                  <c:v>7.1740000000000004</c:v>
                </c:pt>
                <c:pt idx="14223">
                  <c:v>7.1740000000000004</c:v>
                </c:pt>
                <c:pt idx="14224">
                  <c:v>7.1740000000000004</c:v>
                </c:pt>
                <c:pt idx="14225">
                  <c:v>7.1740000000000004</c:v>
                </c:pt>
                <c:pt idx="14226">
                  <c:v>7.1740000000000004</c:v>
                </c:pt>
                <c:pt idx="14227">
                  <c:v>7.1740000000000004</c:v>
                </c:pt>
                <c:pt idx="14228">
                  <c:v>7.1740000000000004</c:v>
                </c:pt>
                <c:pt idx="14229">
                  <c:v>7.173</c:v>
                </c:pt>
                <c:pt idx="14230">
                  <c:v>7.1740000000000004</c:v>
                </c:pt>
                <c:pt idx="14231">
                  <c:v>7.1740000000000004</c:v>
                </c:pt>
                <c:pt idx="14232">
                  <c:v>7.173</c:v>
                </c:pt>
                <c:pt idx="14233">
                  <c:v>7.1740000000000004</c:v>
                </c:pt>
                <c:pt idx="14234">
                  <c:v>7.173</c:v>
                </c:pt>
                <c:pt idx="14235">
                  <c:v>7.173</c:v>
                </c:pt>
                <c:pt idx="14236">
                  <c:v>7.173</c:v>
                </c:pt>
                <c:pt idx="14237">
                  <c:v>7.1740000000000004</c:v>
                </c:pt>
                <c:pt idx="14238">
                  <c:v>7.1740000000000004</c:v>
                </c:pt>
                <c:pt idx="14239">
                  <c:v>7.173</c:v>
                </c:pt>
                <c:pt idx="14240">
                  <c:v>7.1740000000000004</c:v>
                </c:pt>
                <c:pt idx="14241">
                  <c:v>7.1740000000000004</c:v>
                </c:pt>
                <c:pt idx="14242">
                  <c:v>7.173</c:v>
                </c:pt>
                <c:pt idx="14243">
                  <c:v>7.1740000000000004</c:v>
                </c:pt>
                <c:pt idx="14244">
                  <c:v>7.1740000000000004</c:v>
                </c:pt>
                <c:pt idx="14245">
                  <c:v>7.173</c:v>
                </c:pt>
                <c:pt idx="14246">
                  <c:v>7.173</c:v>
                </c:pt>
                <c:pt idx="14247">
                  <c:v>7.1740000000000004</c:v>
                </c:pt>
                <c:pt idx="14248">
                  <c:v>7.173</c:v>
                </c:pt>
                <c:pt idx="14249">
                  <c:v>7.173</c:v>
                </c:pt>
                <c:pt idx="14250">
                  <c:v>7.173</c:v>
                </c:pt>
                <c:pt idx="14251">
                  <c:v>7.173</c:v>
                </c:pt>
                <c:pt idx="14252">
                  <c:v>7.173</c:v>
                </c:pt>
                <c:pt idx="14253">
                  <c:v>7.173</c:v>
                </c:pt>
                <c:pt idx="14254">
                  <c:v>7.173</c:v>
                </c:pt>
                <c:pt idx="14255">
                  <c:v>7.173</c:v>
                </c:pt>
                <c:pt idx="14256">
                  <c:v>7.173</c:v>
                </c:pt>
                <c:pt idx="14257">
                  <c:v>7.173</c:v>
                </c:pt>
                <c:pt idx="14258">
                  <c:v>7.173</c:v>
                </c:pt>
                <c:pt idx="14259">
                  <c:v>7.173</c:v>
                </c:pt>
                <c:pt idx="14260">
                  <c:v>7.173</c:v>
                </c:pt>
                <c:pt idx="14261">
                  <c:v>7.173</c:v>
                </c:pt>
                <c:pt idx="14262">
                  <c:v>7.173</c:v>
                </c:pt>
                <c:pt idx="14263">
                  <c:v>7.173</c:v>
                </c:pt>
                <c:pt idx="14264">
                  <c:v>7.173</c:v>
                </c:pt>
                <c:pt idx="14265">
                  <c:v>7.173</c:v>
                </c:pt>
                <c:pt idx="14266">
                  <c:v>7.173</c:v>
                </c:pt>
                <c:pt idx="14267">
                  <c:v>7.173</c:v>
                </c:pt>
                <c:pt idx="14268">
                  <c:v>7.173</c:v>
                </c:pt>
                <c:pt idx="14269">
                  <c:v>7.173</c:v>
                </c:pt>
                <c:pt idx="14270">
                  <c:v>7.173</c:v>
                </c:pt>
                <c:pt idx="14271">
                  <c:v>7.173</c:v>
                </c:pt>
                <c:pt idx="14272">
                  <c:v>7.173</c:v>
                </c:pt>
                <c:pt idx="14273">
                  <c:v>7.173</c:v>
                </c:pt>
                <c:pt idx="14274">
                  <c:v>7.173</c:v>
                </c:pt>
                <c:pt idx="14275">
                  <c:v>7.173</c:v>
                </c:pt>
                <c:pt idx="14276">
                  <c:v>7.173</c:v>
                </c:pt>
                <c:pt idx="14277">
                  <c:v>7.173</c:v>
                </c:pt>
                <c:pt idx="14278">
                  <c:v>7.173</c:v>
                </c:pt>
                <c:pt idx="14279">
                  <c:v>7.173</c:v>
                </c:pt>
                <c:pt idx="14280">
                  <c:v>7.173</c:v>
                </c:pt>
                <c:pt idx="14281">
                  <c:v>7.173</c:v>
                </c:pt>
                <c:pt idx="14282">
                  <c:v>7.173</c:v>
                </c:pt>
                <c:pt idx="14283">
                  <c:v>7.173</c:v>
                </c:pt>
                <c:pt idx="14284">
                  <c:v>7.173</c:v>
                </c:pt>
                <c:pt idx="14285">
                  <c:v>7.1719999999999997</c:v>
                </c:pt>
                <c:pt idx="14286">
                  <c:v>7.173</c:v>
                </c:pt>
                <c:pt idx="14287">
                  <c:v>7.1719999999999997</c:v>
                </c:pt>
                <c:pt idx="14288">
                  <c:v>7.173</c:v>
                </c:pt>
                <c:pt idx="14289">
                  <c:v>7.173</c:v>
                </c:pt>
                <c:pt idx="14290">
                  <c:v>7.173</c:v>
                </c:pt>
                <c:pt idx="14291">
                  <c:v>7.173</c:v>
                </c:pt>
                <c:pt idx="14292">
                  <c:v>7.1719999999999997</c:v>
                </c:pt>
                <c:pt idx="14293">
                  <c:v>7.1719999999999997</c:v>
                </c:pt>
                <c:pt idx="14294">
                  <c:v>7.1719999999999997</c:v>
                </c:pt>
                <c:pt idx="14295">
                  <c:v>7.1719999999999997</c:v>
                </c:pt>
                <c:pt idx="14296">
                  <c:v>7.1719999999999997</c:v>
                </c:pt>
                <c:pt idx="14297">
                  <c:v>7.1719999999999997</c:v>
                </c:pt>
                <c:pt idx="14298">
                  <c:v>7.1719999999999997</c:v>
                </c:pt>
                <c:pt idx="14299">
                  <c:v>7.1719999999999997</c:v>
                </c:pt>
                <c:pt idx="14300">
                  <c:v>7.1719999999999997</c:v>
                </c:pt>
                <c:pt idx="14301">
                  <c:v>7.1719999999999997</c:v>
                </c:pt>
                <c:pt idx="14302">
                  <c:v>7.1719999999999997</c:v>
                </c:pt>
                <c:pt idx="14303">
                  <c:v>7.1719999999999997</c:v>
                </c:pt>
                <c:pt idx="14304">
                  <c:v>7.1719999999999997</c:v>
                </c:pt>
                <c:pt idx="14305">
                  <c:v>7.1719999999999997</c:v>
                </c:pt>
                <c:pt idx="14306">
                  <c:v>7.1719999999999997</c:v>
                </c:pt>
                <c:pt idx="14307">
                  <c:v>7.1719999999999997</c:v>
                </c:pt>
                <c:pt idx="14308">
                  <c:v>7.173</c:v>
                </c:pt>
                <c:pt idx="14309">
                  <c:v>7.1719999999999997</c:v>
                </c:pt>
                <c:pt idx="14310">
                  <c:v>7.1719999999999997</c:v>
                </c:pt>
                <c:pt idx="14311">
                  <c:v>7.1719999999999997</c:v>
                </c:pt>
                <c:pt idx="14312">
                  <c:v>7.1719999999999997</c:v>
                </c:pt>
                <c:pt idx="14313">
                  <c:v>7.1719999999999997</c:v>
                </c:pt>
                <c:pt idx="14314">
                  <c:v>7.1719999999999997</c:v>
                </c:pt>
                <c:pt idx="14315">
                  <c:v>7.1719999999999997</c:v>
                </c:pt>
                <c:pt idx="14316">
                  <c:v>7.1719999999999997</c:v>
                </c:pt>
                <c:pt idx="14317">
                  <c:v>7.1719999999999997</c:v>
                </c:pt>
                <c:pt idx="14318">
                  <c:v>7.1719999999999997</c:v>
                </c:pt>
                <c:pt idx="14319">
                  <c:v>7.1719999999999997</c:v>
                </c:pt>
                <c:pt idx="14320">
                  <c:v>7.1719999999999997</c:v>
                </c:pt>
                <c:pt idx="14321">
                  <c:v>7.1719999999999997</c:v>
                </c:pt>
                <c:pt idx="14322">
                  <c:v>7.1710000000000003</c:v>
                </c:pt>
                <c:pt idx="14323">
                  <c:v>7.1719999999999997</c:v>
                </c:pt>
                <c:pt idx="14324">
                  <c:v>7.1719999999999997</c:v>
                </c:pt>
                <c:pt idx="14325">
                  <c:v>7.1719999999999997</c:v>
                </c:pt>
                <c:pt idx="14326">
                  <c:v>7.1719999999999997</c:v>
                </c:pt>
                <c:pt idx="14327">
                  <c:v>7.1719999999999997</c:v>
                </c:pt>
                <c:pt idx="14328">
                  <c:v>7.1719999999999997</c:v>
                </c:pt>
                <c:pt idx="14329">
                  <c:v>7.1719999999999997</c:v>
                </c:pt>
                <c:pt idx="14330">
                  <c:v>7.1710000000000003</c:v>
                </c:pt>
                <c:pt idx="14331">
                  <c:v>7.1719999999999997</c:v>
                </c:pt>
                <c:pt idx="14332">
                  <c:v>7.1710000000000003</c:v>
                </c:pt>
                <c:pt idx="14333">
                  <c:v>7.1719999999999997</c:v>
                </c:pt>
                <c:pt idx="14334">
                  <c:v>7.1719999999999997</c:v>
                </c:pt>
                <c:pt idx="14335">
                  <c:v>7.1719999999999997</c:v>
                </c:pt>
                <c:pt idx="14336">
                  <c:v>7.1719999999999997</c:v>
                </c:pt>
                <c:pt idx="14337">
                  <c:v>7.1719999999999997</c:v>
                </c:pt>
                <c:pt idx="14338">
                  <c:v>7.1719999999999997</c:v>
                </c:pt>
                <c:pt idx="14339">
                  <c:v>7.1719999999999997</c:v>
                </c:pt>
                <c:pt idx="14340">
                  <c:v>7.1719999999999997</c:v>
                </c:pt>
                <c:pt idx="14341">
                  <c:v>7.1719999999999997</c:v>
                </c:pt>
                <c:pt idx="14342">
                  <c:v>7.1719999999999997</c:v>
                </c:pt>
                <c:pt idx="14343">
                  <c:v>7.1719999999999997</c:v>
                </c:pt>
                <c:pt idx="14344">
                  <c:v>7.1719999999999997</c:v>
                </c:pt>
                <c:pt idx="14345">
                  <c:v>7.1719999999999997</c:v>
                </c:pt>
                <c:pt idx="14346">
                  <c:v>7.1710000000000003</c:v>
                </c:pt>
                <c:pt idx="14347">
                  <c:v>7.1710000000000003</c:v>
                </c:pt>
                <c:pt idx="14348">
                  <c:v>7.1719999999999997</c:v>
                </c:pt>
                <c:pt idx="14349">
                  <c:v>7.1710000000000003</c:v>
                </c:pt>
                <c:pt idx="14350">
                  <c:v>7.1710000000000003</c:v>
                </c:pt>
                <c:pt idx="14351">
                  <c:v>7.1710000000000003</c:v>
                </c:pt>
                <c:pt idx="14352">
                  <c:v>7.1710000000000003</c:v>
                </c:pt>
                <c:pt idx="14353">
                  <c:v>7.1710000000000003</c:v>
                </c:pt>
                <c:pt idx="14354">
                  <c:v>7.1710000000000003</c:v>
                </c:pt>
                <c:pt idx="14355">
                  <c:v>7.1719999999999997</c:v>
                </c:pt>
                <c:pt idx="14356">
                  <c:v>7.1719999999999997</c:v>
                </c:pt>
                <c:pt idx="14357">
                  <c:v>7.1710000000000003</c:v>
                </c:pt>
                <c:pt idx="14358">
                  <c:v>7.1710000000000003</c:v>
                </c:pt>
                <c:pt idx="14359">
                  <c:v>7.1719999999999997</c:v>
                </c:pt>
                <c:pt idx="14360">
                  <c:v>7.1719999999999997</c:v>
                </c:pt>
                <c:pt idx="14361">
                  <c:v>7.1719999999999997</c:v>
                </c:pt>
                <c:pt idx="14362">
                  <c:v>7.1710000000000003</c:v>
                </c:pt>
                <c:pt idx="14363">
                  <c:v>7.1710000000000003</c:v>
                </c:pt>
                <c:pt idx="14364">
                  <c:v>7.1710000000000003</c:v>
                </c:pt>
                <c:pt idx="14365">
                  <c:v>7.1710000000000003</c:v>
                </c:pt>
                <c:pt idx="14366">
                  <c:v>7.1710000000000003</c:v>
                </c:pt>
                <c:pt idx="14367">
                  <c:v>7.1719999999999997</c:v>
                </c:pt>
                <c:pt idx="14368">
                  <c:v>7.1710000000000003</c:v>
                </c:pt>
                <c:pt idx="14369">
                  <c:v>7.1710000000000003</c:v>
                </c:pt>
                <c:pt idx="14370">
                  <c:v>7.1710000000000003</c:v>
                </c:pt>
                <c:pt idx="14371">
                  <c:v>7.1710000000000003</c:v>
                </c:pt>
                <c:pt idx="14372">
                  <c:v>7.1710000000000003</c:v>
                </c:pt>
                <c:pt idx="14373">
                  <c:v>7.1710000000000003</c:v>
                </c:pt>
                <c:pt idx="14374">
                  <c:v>7.1710000000000003</c:v>
                </c:pt>
                <c:pt idx="14375">
                  <c:v>7.1710000000000003</c:v>
                </c:pt>
                <c:pt idx="14376">
                  <c:v>7.1710000000000003</c:v>
                </c:pt>
                <c:pt idx="14377">
                  <c:v>7.1710000000000003</c:v>
                </c:pt>
                <c:pt idx="14378">
                  <c:v>7.1710000000000003</c:v>
                </c:pt>
                <c:pt idx="14379">
                  <c:v>7.1710000000000003</c:v>
                </c:pt>
                <c:pt idx="14380">
                  <c:v>7.1710000000000003</c:v>
                </c:pt>
                <c:pt idx="14381">
                  <c:v>7.17</c:v>
                </c:pt>
                <c:pt idx="14382">
                  <c:v>7.1710000000000003</c:v>
                </c:pt>
                <c:pt idx="14383">
                  <c:v>7.1710000000000003</c:v>
                </c:pt>
                <c:pt idx="14384">
                  <c:v>7.1710000000000003</c:v>
                </c:pt>
                <c:pt idx="14385">
                  <c:v>7.1710000000000003</c:v>
                </c:pt>
                <c:pt idx="14386">
                  <c:v>7.1710000000000003</c:v>
                </c:pt>
                <c:pt idx="14387">
                  <c:v>7.1710000000000003</c:v>
                </c:pt>
                <c:pt idx="14388">
                  <c:v>7.1710000000000003</c:v>
                </c:pt>
                <c:pt idx="14389">
                  <c:v>7.1710000000000003</c:v>
                </c:pt>
                <c:pt idx="14390">
                  <c:v>7.1710000000000003</c:v>
                </c:pt>
                <c:pt idx="14391">
                  <c:v>7.1710000000000003</c:v>
                </c:pt>
                <c:pt idx="14392">
                  <c:v>7.17</c:v>
                </c:pt>
                <c:pt idx="14393">
                  <c:v>7.17</c:v>
                </c:pt>
                <c:pt idx="14394">
                  <c:v>7.17</c:v>
                </c:pt>
                <c:pt idx="14395">
                  <c:v>7.17</c:v>
                </c:pt>
                <c:pt idx="14396">
                  <c:v>7.17</c:v>
                </c:pt>
                <c:pt idx="14397">
                  <c:v>7.1710000000000003</c:v>
                </c:pt>
                <c:pt idx="14398">
                  <c:v>7.17</c:v>
                </c:pt>
                <c:pt idx="14399">
                  <c:v>7.17</c:v>
                </c:pt>
                <c:pt idx="14400">
                  <c:v>7.17</c:v>
                </c:pt>
                <c:pt idx="14401">
                  <c:v>7.17</c:v>
                </c:pt>
                <c:pt idx="14402">
                  <c:v>7.17</c:v>
                </c:pt>
                <c:pt idx="14403">
                  <c:v>7.17</c:v>
                </c:pt>
                <c:pt idx="14404">
                  <c:v>7.17</c:v>
                </c:pt>
                <c:pt idx="14405">
                  <c:v>7.1710000000000003</c:v>
                </c:pt>
                <c:pt idx="14406">
                  <c:v>7.17</c:v>
                </c:pt>
                <c:pt idx="14407">
                  <c:v>7.17</c:v>
                </c:pt>
                <c:pt idx="14408">
                  <c:v>7.17</c:v>
                </c:pt>
                <c:pt idx="14409">
                  <c:v>7.17</c:v>
                </c:pt>
                <c:pt idx="14410">
                  <c:v>7.17</c:v>
                </c:pt>
                <c:pt idx="14411">
                  <c:v>7.17</c:v>
                </c:pt>
                <c:pt idx="14412">
                  <c:v>7.17</c:v>
                </c:pt>
                <c:pt idx="14413">
                  <c:v>7.17</c:v>
                </c:pt>
                <c:pt idx="14414">
                  <c:v>7.17</c:v>
                </c:pt>
                <c:pt idx="14415">
                  <c:v>7.1710000000000003</c:v>
                </c:pt>
                <c:pt idx="14416">
                  <c:v>7.17</c:v>
                </c:pt>
                <c:pt idx="14417">
                  <c:v>7.17</c:v>
                </c:pt>
                <c:pt idx="14418">
                  <c:v>7.17</c:v>
                </c:pt>
                <c:pt idx="14419">
                  <c:v>7.17</c:v>
                </c:pt>
                <c:pt idx="14420">
                  <c:v>7.17</c:v>
                </c:pt>
                <c:pt idx="14421">
                  <c:v>7.17</c:v>
                </c:pt>
                <c:pt idx="14422">
                  <c:v>7.17</c:v>
                </c:pt>
                <c:pt idx="14423">
                  <c:v>7.17</c:v>
                </c:pt>
                <c:pt idx="14424">
                  <c:v>7.17</c:v>
                </c:pt>
                <c:pt idx="14425">
                  <c:v>7.17</c:v>
                </c:pt>
                <c:pt idx="14426">
                  <c:v>7.17</c:v>
                </c:pt>
                <c:pt idx="14427">
                  <c:v>7.17</c:v>
                </c:pt>
                <c:pt idx="14428">
                  <c:v>7.17</c:v>
                </c:pt>
                <c:pt idx="14429">
                  <c:v>7.17</c:v>
                </c:pt>
                <c:pt idx="14430">
                  <c:v>7.17</c:v>
                </c:pt>
                <c:pt idx="14431">
                  <c:v>7.17</c:v>
                </c:pt>
                <c:pt idx="14432">
                  <c:v>7.1689999999999996</c:v>
                </c:pt>
                <c:pt idx="14433">
                  <c:v>7.17</c:v>
                </c:pt>
                <c:pt idx="14434">
                  <c:v>7.17</c:v>
                </c:pt>
                <c:pt idx="14435">
                  <c:v>7.17</c:v>
                </c:pt>
                <c:pt idx="14436">
                  <c:v>7.17</c:v>
                </c:pt>
                <c:pt idx="14437">
                  <c:v>7.17</c:v>
                </c:pt>
                <c:pt idx="14438">
                  <c:v>7.17</c:v>
                </c:pt>
                <c:pt idx="14439">
                  <c:v>7.17</c:v>
                </c:pt>
                <c:pt idx="14440">
                  <c:v>7.17</c:v>
                </c:pt>
                <c:pt idx="14441">
                  <c:v>7.17</c:v>
                </c:pt>
                <c:pt idx="14442">
                  <c:v>7.17</c:v>
                </c:pt>
                <c:pt idx="14443">
                  <c:v>7.17</c:v>
                </c:pt>
                <c:pt idx="14444">
                  <c:v>7.1689999999999996</c:v>
                </c:pt>
                <c:pt idx="14445">
                  <c:v>7.17</c:v>
                </c:pt>
                <c:pt idx="14446">
                  <c:v>7.1689999999999996</c:v>
                </c:pt>
                <c:pt idx="14447">
                  <c:v>7.1689999999999996</c:v>
                </c:pt>
                <c:pt idx="14448">
                  <c:v>7.1689999999999996</c:v>
                </c:pt>
                <c:pt idx="14449">
                  <c:v>7.1689999999999996</c:v>
                </c:pt>
                <c:pt idx="14450">
                  <c:v>7.1689999999999996</c:v>
                </c:pt>
                <c:pt idx="14451">
                  <c:v>7.1689999999999996</c:v>
                </c:pt>
                <c:pt idx="14452">
                  <c:v>7.1689999999999996</c:v>
                </c:pt>
                <c:pt idx="14453">
                  <c:v>7.1689999999999996</c:v>
                </c:pt>
                <c:pt idx="14454">
                  <c:v>7.1689999999999996</c:v>
                </c:pt>
                <c:pt idx="14455">
                  <c:v>7.1689999999999996</c:v>
                </c:pt>
                <c:pt idx="14456">
                  <c:v>7.1689999999999996</c:v>
                </c:pt>
                <c:pt idx="14457">
                  <c:v>7.1689999999999996</c:v>
                </c:pt>
                <c:pt idx="14458">
                  <c:v>7.1689999999999996</c:v>
                </c:pt>
                <c:pt idx="14459">
                  <c:v>7.1689999999999996</c:v>
                </c:pt>
                <c:pt idx="14460">
                  <c:v>7.1689999999999996</c:v>
                </c:pt>
                <c:pt idx="14461">
                  <c:v>7.1689999999999996</c:v>
                </c:pt>
                <c:pt idx="14462">
                  <c:v>7.1689999999999996</c:v>
                </c:pt>
                <c:pt idx="14463">
                  <c:v>7.1689999999999996</c:v>
                </c:pt>
                <c:pt idx="14464">
                  <c:v>7.1689999999999996</c:v>
                </c:pt>
                <c:pt idx="14465">
                  <c:v>7.1689999999999996</c:v>
                </c:pt>
                <c:pt idx="14466">
                  <c:v>7.1689999999999996</c:v>
                </c:pt>
                <c:pt idx="14467">
                  <c:v>7.1689999999999996</c:v>
                </c:pt>
                <c:pt idx="14468">
                  <c:v>7.1689999999999996</c:v>
                </c:pt>
                <c:pt idx="14469">
                  <c:v>7.1689999999999996</c:v>
                </c:pt>
                <c:pt idx="14470">
                  <c:v>7.1689999999999996</c:v>
                </c:pt>
                <c:pt idx="14471">
                  <c:v>7.1689999999999996</c:v>
                </c:pt>
                <c:pt idx="14472">
                  <c:v>7.1680000000000001</c:v>
                </c:pt>
                <c:pt idx="14473">
                  <c:v>7.1689999999999996</c:v>
                </c:pt>
                <c:pt idx="14474">
                  <c:v>7.1689999999999996</c:v>
                </c:pt>
                <c:pt idx="14475">
                  <c:v>7.1689999999999996</c:v>
                </c:pt>
                <c:pt idx="14476">
                  <c:v>7.1689999999999996</c:v>
                </c:pt>
                <c:pt idx="14477">
                  <c:v>7.1689999999999996</c:v>
                </c:pt>
                <c:pt idx="14478">
                  <c:v>7.1689999999999996</c:v>
                </c:pt>
                <c:pt idx="14479">
                  <c:v>7.1689999999999996</c:v>
                </c:pt>
                <c:pt idx="14480">
                  <c:v>7.1689999999999996</c:v>
                </c:pt>
                <c:pt idx="14481">
                  <c:v>7.1680000000000001</c:v>
                </c:pt>
                <c:pt idx="14482">
                  <c:v>7.1689999999999996</c:v>
                </c:pt>
                <c:pt idx="14483">
                  <c:v>7.1689999999999996</c:v>
                </c:pt>
                <c:pt idx="14484">
                  <c:v>7.1689999999999996</c:v>
                </c:pt>
                <c:pt idx="14485">
                  <c:v>7.1689999999999996</c:v>
                </c:pt>
                <c:pt idx="14486">
                  <c:v>7.1689999999999996</c:v>
                </c:pt>
                <c:pt idx="14487">
                  <c:v>7.1689999999999996</c:v>
                </c:pt>
                <c:pt idx="14488">
                  <c:v>7.1680000000000001</c:v>
                </c:pt>
                <c:pt idx="14489">
                  <c:v>7.1680000000000001</c:v>
                </c:pt>
                <c:pt idx="14490">
                  <c:v>7.1680000000000001</c:v>
                </c:pt>
                <c:pt idx="14491">
                  <c:v>7.1680000000000001</c:v>
                </c:pt>
                <c:pt idx="14492">
                  <c:v>7.1680000000000001</c:v>
                </c:pt>
                <c:pt idx="14493">
                  <c:v>7.1680000000000001</c:v>
                </c:pt>
                <c:pt idx="14494">
                  <c:v>7.1680000000000001</c:v>
                </c:pt>
                <c:pt idx="14495">
                  <c:v>7.1680000000000001</c:v>
                </c:pt>
                <c:pt idx="14496">
                  <c:v>7.1680000000000001</c:v>
                </c:pt>
                <c:pt idx="14497">
                  <c:v>7.1680000000000001</c:v>
                </c:pt>
                <c:pt idx="14498">
                  <c:v>7.1680000000000001</c:v>
                </c:pt>
                <c:pt idx="14499">
                  <c:v>7.1680000000000001</c:v>
                </c:pt>
                <c:pt idx="14500">
                  <c:v>7.1689999999999996</c:v>
                </c:pt>
                <c:pt idx="14501">
                  <c:v>7.1680000000000001</c:v>
                </c:pt>
                <c:pt idx="14502">
                  <c:v>7.1680000000000001</c:v>
                </c:pt>
                <c:pt idx="14503">
                  <c:v>7.1680000000000001</c:v>
                </c:pt>
                <c:pt idx="14504">
                  <c:v>7.1680000000000001</c:v>
                </c:pt>
                <c:pt idx="14505">
                  <c:v>7.1680000000000001</c:v>
                </c:pt>
                <c:pt idx="14506">
                  <c:v>7.1689999999999996</c:v>
                </c:pt>
                <c:pt idx="14507">
                  <c:v>7.1680000000000001</c:v>
                </c:pt>
                <c:pt idx="14508">
                  <c:v>7.1680000000000001</c:v>
                </c:pt>
                <c:pt idx="14509">
                  <c:v>7.1680000000000001</c:v>
                </c:pt>
                <c:pt idx="14510">
                  <c:v>7.1680000000000001</c:v>
                </c:pt>
                <c:pt idx="14511">
                  <c:v>7.1680000000000001</c:v>
                </c:pt>
                <c:pt idx="14512">
                  <c:v>7.1680000000000001</c:v>
                </c:pt>
                <c:pt idx="14513">
                  <c:v>7.1689999999999996</c:v>
                </c:pt>
                <c:pt idx="14514">
                  <c:v>7.1680000000000001</c:v>
                </c:pt>
                <c:pt idx="14515">
                  <c:v>7.1680000000000001</c:v>
                </c:pt>
                <c:pt idx="14516">
                  <c:v>7.1680000000000001</c:v>
                </c:pt>
                <c:pt idx="14517">
                  <c:v>7.1680000000000001</c:v>
                </c:pt>
                <c:pt idx="14518">
                  <c:v>7.1680000000000001</c:v>
                </c:pt>
                <c:pt idx="14519">
                  <c:v>7.1680000000000001</c:v>
                </c:pt>
                <c:pt idx="14520">
                  <c:v>7.1680000000000001</c:v>
                </c:pt>
                <c:pt idx="14521">
                  <c:v>7.1680000000000001</c:v>
                </c:pt>
                <c:pt idx="14522">
                  <c:v>7.1680000000000001</c:v>
                </c:pt>
                <c:pt idx="14523">
                  <c:v>7.1680000000000001</c:v>
                </c:pt>
                <c:pt idx="14524">
                  <c:v>7.1680000000000001</c:v>
                </c:pt>
                <c:pt idx="14525">
                  <c:v>7.1680000000000001</c:v>
                </c:pt>
                <c:pt idx="14526">
                  <c:v>7.1680000000000001</c:v>
                </c:pt>
                <c:pt idx="14527">
                  <c:v>7.1680000000000001</c:v>
                </c:pt>
                <c:pt idx="14528">
                  <c:v>7.1680000000000001</c:v>
                </c:pt>
                <c:pt idx="14529">
                  <c:v>7.1680000000000001</c:v>
                </c:pt>
                <c:pt idx="14530">
                  <c:v>7.1680000000000001</c:v>
                </c:pt>
                <c:pt idx="14531">
                  <c:v>7.1680000000000001</c:v>
                </c:pt>
                <c:pt idx="14532">
                  <c:v>7.1680000000000001</c:v>
                </c:pt>
                <c:pt idx="14533">
                  <c:v>7.1680000000000001</c:v>
                </c:pt>
                <c:pt idx="14534">
                  <c:v>7.1680000000000001</c:v>
                </c:pt>
                <c:pt idx="14535">
                  <c:v>7.1680000000000001</c:v>
                </c:pt>
                <c:pt idx="14536">
                  <c:v>7.1680000000000001</c:v>
                </c:pt>
                <c:pt idx="14537">
                  <c:v>7.1669999999999998</c:v>
                </c:pt>
                <c:pt idx="14538">
                  <c:v>7.1680000000000001</c:v>
                </c:pt>
                <c:pt idx="14539">
                  <c:v>7.1680000000000001</c:v>
                </c:pt>
                <c:pt idx="14540">
                  <c:v>7.1669999999999998</c:v>
                </c:pt>
                <c:pt idx="14541">
                  <c:v>7.1669999999999998</c:v>
                </c:pt>
                <c:pt idx="14542">
                  <c:v>7.1680000000000001</c:v>
                </c:pt>
                <c:pt idx="14543">
                  <c:v>7.1669999999999998</c:v>
                </c:pt>
                <c:pt idx="14544">
                  <c:v>7.1669999999999998</c:v>
                </c:pt>
                <c:pt idx="14545">
                  <c:v>7.1669999999999998</c:v>
                </c:pt>
                <c:pt idx="14546">
                  <c:v>7.1669999999999998</c:v>
                </c:pt>
                <c:pt idx="14547">
                  <c:v>7.1669999999999998</c:v>
                </c:pt>
                <c:pt idx="14548">
                  <c:v>7.1669999999999998</c:v>
                </c:pt>
                <c:pt idx="14549">
                  <c:v>7.1669999999999998</c:v>
                </c:pt>
                <c:pt idx="14550">
                  <c:v>7.1669999999999998</c:v>
                </c:pt>
                <c:pt idx="14551">
                  <c:v>7.1680000000000001</c:v>
                </c:pt>
                <c:pt idx="14552">
                  <c:v>7.1669999999999998</c:v>
                </c:pt>
                <c:pt idx="14553">
                  <c:v>7.1680000000000001</c:v>
                </c:pt>
                <c:pt idx="14554">
                  <c:v>7.1669999999999998</c:v>
                </c:pt>
                <c:pt idx="14555">
                  <c:v>7.1669999999999998</c:v>
                </c:pt>
                <c:pt idx="14556">
                  <c:v>7.1669999999999998</c:v>
                </c:pt>
                <c:pt idx="14557">
                  <c:v>7.1669999999999998</c:v>
                </c:pt>
                <c:pt idx="14558">
                  <c:v>7.1669999999999998</c:v>
                </c:pt>
                <c:pt idx="14559">
                  <c:v>7.1669999999999998</c:v>
                </c:pt>
                <c:pt idx="14560">
                  <c:v>7.1669999999999998</c:v>
                </c:pt>
                <c:pt idx="14561">
                  <c:v>7.1680000000000001</c:v>
                </c:pt>
                <c:pt idx="14562">
                  <c:v>7.1669999999999998</c:v>
                </c:pt>
                <c:pt idx="14563">
                  <c:v>7.1669999999999998</c:v>
                </c:pt>
                <c:pt idx="14564">
                  <c:v>7.1669999999999998</c:v>
                </c:pt>
                <c:pt idx="14565">
                  <c:v>7.1680000000000001</c:v>
                </c:pt>
                <c:pt idx="14566">
                  <c:v>7.1669999999999998</c:v>
                </c:pt>
                <c:pt idx="14567">
                  <c:v>7.1669999999999998</c:v>
                </c:pt>
                <c:pt idx="14568">
                  <c:v>7.1669999999999998</c:v>
                </c:pt>
                <c:pt idx="14569">
                  <c:v>7.1669999999999998</c:v>
                </c:pt>
                <c:pt idx="14570">
                  <c:v>7.1669999999999998</c:v>
                </c:pt>
                <c:pt idx="14571">
                  <c:v>7.1669999999999998</c:v>
                </c:pt>
                <c:pt idx="14572">
                  <c:v>7.1669999999999998</c:v>
                </c:pt>
                <c:pt idx="14573">
                  <c:v>7.1680000000000001</c:v>
                </c:pt>
                <c:pt idx="14574">
                  <c:v>7.1669999999999998</c:v>
                </c:pt>
                <c:pt idx="14575">
                  <c:v>7.1680000000000001</c:v>
                </c:pt>
                <c:pt idx="14576">
                  <c:v>7.1669999999999998</c:v>
                </c:pt>
                <c:pt idx="14577">
                  <c:v>7.1669999999999998</c:v>
                </c:pt>
                <c:pt idx="14578">
                  <c:v>7.1669999999999998</c:v>
                </c:pt>
                <c:pt idx="14579">
                  <c:v>7.1669999999999998</c:v>
                </c:pt>
                <c:pt idx="14580">
                  <c:v>7.1669999999999998</c:v>
                </c:pt>
                <c:pt idx="14581">
                  <c:v>7.1669999999999998</c:v>
                </c:pt>
                <c:pt idx="14582">
                  <c:v>7.1669999999999998</c:v>
                </c:pt>
                <c:pt idx="14583">
                  <c:v>7.1669999999999998</c:v>
                </c:pt>
                <c:pt idx="14584">
                  <c:v>7.1669999999999998</c:v>
                </c:pt>
                <c:pt idx="14585">
                  <c:v>7.1669999999999998</c:v>
                </c:pt>
                <c:pt idx="14586">
                  <c:v>7.1669999999999998</c:v>
                </c:pt>
                <c:pt idx="14587">
                  <c:v>7.1669999999999998</c:v>
                </c:pt>
                <c:pt idx="14588">
                  <c:v>7.1669999999999998</c:v>
                </c:pt>
                <c:pt idx="14589">
                  <c:v>7.1669999999999998</c:v>
                </c:pt>
                <c:pt idx="14590">
                  <c:v>7.1669999999999998</c:v>
                </c:pt>
                <c:pt idx="14591">
                  <c:v>7.1669999999999998</c:v>
                </c:pt>
                <c:pt idx="14592">
                  <c:v>7.1669999999999998</c:v>
                </c:pt>
                <c:pt idx="14593">
                  <c:v>7.1669999999999998</c:v>
                </c:pt>
                <c:pt idx="14594">
                  <c:v>7.1669999999999998</c:v>
                </c:pt>
                <c:pt idx="14595">
                  <c:v>7.1660000000000004</c:v>
                </c:pt>
                <c:pt idx="14596">
                  <c:v>7.1660000000000004</c:v>
                </c:pt>
                <c:pt idx="14597">
                  <c:v>7.1660000000000004</c:v>
                </c:pt>
                <c:pt idx="14598">
                  <c:v>7.1660000000000004</c:v>
                </c:pt>
                <c:pt idx="14599">
                  <c:v>7.1669999999999998</c:v>
                </c:pt>
                <c:pt idx="14600">
                  <c:v>7.1660000000000004</c:v>
                </c:pt>
                <c:pt idx="14601">
                  <c:v>7.1660000000000004</c:v>
                </c:pt>
                <c:pt idx="14602">
                  <c:v>7.1660000000000004</c:v>
                </c:pt>
                <c:pt idx="14603">
                  <c:v>7.1660000000000004</c:v>
                </c:pt>
                <c:pt idx="14604">
                  <c:v>7.1660000000000004</c:v>
                </c:pt>
                <c:pt idx="14605">
                  <c:v>7.1660000000000004</c:v>
                </c:pt>
                <c:pt idx="14606">
                  <c:v>7.1660000000000004</c:v>
                </c:pt>
                <c:pt idx="14607">
                  <c:v>7.1660000000000004</c:v>
                </c:pt>
                <c:pt idx="14608">
                  <c:v>7.1660000000000004</c:v>
                </c:pt>
                <c:pt idx="14609">
                  <c:v>7.1669999999999998</c:v>
                </c:pt>
                <c:pt idx="14610">
                  <c:v>7.1660000000000004</c:v>
                </c:pt>
                <c:pt idx="14611">
                  <c:v>7.1660000000000004</c:v>
                </c:pt>
                <c:pt idx="14612">
                  <c:v>7.1660000000000004</c:v>
                </c:pt>
                <c:pt idx="14613">
                  <c:v>7.1660000000000004</c:v>
                </c:pt>
                <c:pt idx="14614">
                  <c:v>7.1660000000000004</c:v>
                </c:pt>
                <c:pt idx="14615">
                  <c:v>7.1660000000000004</c:v>
                </c:pt>
                <c:pt idx="14616">
                  <c:v>7.1660000000000004</c:v>
                </c:pt>
                <c:pt idx="14617">
                  <c:v>7.1660000000000004</c:v>
                </c:pt>
                <c:pt idx="14618">
                  <c:v>7.1660000000000004</c:v>
                </c:pt>
                <c:pt idx="14619">
                  <c:v>7.1660000000000004</c:v>
                </c:pt>
                <c:pt idx="14620">
                  <c:v>7.1660000000000004</c:v>
                </c:pt>
                <c:pt idx="14621">
                  <c:v>7.1660000000000004</c:v>
                </c:pt>
                <c:pt idx="14622">
                  <c:v>7.1660000000000004</c:v>
                </c:pt>
                <c:pt idx="14623">
                  <c:v>7.1660000000000004</c:v>
                </c:pt>
                <c:pt idx="14624">
                  <c:v>7.1660000000000004</c:v>
                </c:pt>
                <c:pt idx="14625">
                  <c:v>7.1660000000000004</c:v>
                </c:pt>
                <c:pt idx="14626">
                  <c:v>7.1660000000000004</c:v>
                </c:pt>
                <c:pt idx="14627">
                  <c:v>7.1660000000000004</c:v>
                </c:pt>
                <c:pt idx="14628">
                  <c:v>7.1660000000000004</c:v>
                </c:pt>
                <c:pt idx="14629">
                  <c:v>7.1660000000000004</c:v>
                </c:pt>
                <c:pt idx="14630">
                  <c:v>7.1660000000000004</c:v>
                </c:pt>
                <c:pt idx="14631">
                  <c:v>7.1660000000000004</c:v>
                </c:pt>
                <c:pt idx="14632">
                  <c:v>7.1660000000000004</c:v>
                </c:pt>
                <c:pt idx="14633">
                  <c:v>7.1660000000000004</c:v>
                </c:pt>
                <c:pt idx="14634">
                  <c:v>7.1669999999999998</c:v>
                </c:pt>
                <c:pt idx="14635">
                  <c:v>7.1660000000000004</c:v>
                </c:pt>
                <c:pt idx="14636">
                  <c:v>7.1660000000000004</c:v>
                </c:pt>
                <c:pt idx="14637">
                  <c:v>7.1660000000000004</c:v>
                </c:pt>
                <c:pt idx="14638">
                  <c:v>7.1660000000000004</c:v>
                </c:pt>
                <c:pt idx="14639">
                  <c:v>7.1660000000000004</c:v>
                </c:pt>
                <c:pt idx="14640">
                  <c:v>7.1660000000000004</c:v>
                </c:pt>
                <c:pt idx="14641">
                  <c:v>7.1660000000000004</c:v>
                </c:pt>
                <c:pt idx="14642">
                  <c:v>7.1660000000000004</c:v>
                </c:pt>
                <c:pt idx="14643">
                  <c:v>7.1660000000000004</c:v>
                </c:pt>
                <c:pt idx="14644">
                  <c:v>7.1660000000000004</c:v>
                </c:pt>
                <c:pt idx="14645">
                  <c:v>7.1660000000000004</c:v>
                </c:pt>
                <c:pt idx="14646">
                  <c:v>7.1660000000000004</c:v>
                </c:pt>
                <c:pt idx="14647">
                  <c:v>7.1660000000000004</c:v>
                </c:pt>
                <c:pt idx="14648">
                  <c:v>7.1660000000000004</c:v>
                </c:pt>
                <c:pt idx="14649">
                  <c:v>7.1660000000000004</c:v>
                </c:pt>
                <c:pt idx="14650">
                  <c:v>7.1660000000000004</c:v>
                </c:pt>
                <c:pt idx="14651">
                  <c:v>7.1660000000000004</c:v>
                </c:pt>
                <c:pt idx="14652">
                  <c:v>7.1660000000000004</c:v>
                </c:pt>
                <c:pt idx="14653">
                  <c:v>7.1660000000000004</c:v>
                </c:pt>
                <c:pt idx="14654">
                  <c:v>7.1660000000000004</c:v>
                </c:pt>
                <c:pt idx="14655">
                  <c:v>7.1660000000000004</c:v>
                </c:pt>
                <c:pt idx="14656">
                  <c:v>7.1660000000000004</c:v>
                </c:pt>
                <c:pt idx="14657">
                  <c:v>7.1660000000000004</c:v>
                </c:pt>
                <c:pt idx="14658">
                  <c:v>7.1660000000000004</c:v>
                </c:pt>
                <c:pt idx="14659">
                  <c:v>7.1660000000000004</c:v>
                </c:pt>
                <c:pt idx="14660">
                  <c:v>7.1660000000000004</c:v>
                </c:pt>
                <c:pt idx="14661">
                  <c:v>7.1660000000000004</c:v>
                </c:pt>
                <c:pt idx="14662">
                  <c:v>7.1660000000000004</c:v>
                </c:pt>
                <c:pt idx="14663">
                  <c:v>7.1660000000000004</c:v>
                </c:pt>
                <c:pt idx="14664">
                  <c:v>7.1660000000000004</c:v>
                </c:pt>
                <c:pt idx="14665">
                  <c:v>7.1660000000000004</c:v>
                </c:pt>
                <c:pt idx="14666">
                  <c:v>7.1669999999999998</c:v>
                </c:pt>
                <c:pt idx="14667">
                  <c:v>7.1660000000000004</c:v>
                </c:pt>
                <c:pt idx="14668">
                  <c:v>7.1660000000000004</c:v>
                </c:pt>
                <c:pt idx="14669">
                  <c:v>7.1660000000000004</c:v>
                </c:pt>
                <c:pt idx="14670">
                  <c:v>7.1660000000000004</c:v>
                </c:pt>
                <c:pt idx="14671">
                  <c:v>7.1660000000000004</c:v>
                </c:pt>
                <c:pt idx="14672">
                  <c:v>7.1660000000000004</c:v>
                </c:pt>
                <c:pt idx="14673">
                  <c:v>7.1660000000000004</c:v>
                </c:pt>
                <c:pt idx="14674">
                  <c:v>7.1660000000000004</c:v>
                </c:pt>
                <c:pt idx="14675">
                  <c:v>7.165</c:v>
                </c:pt>
                <c:pt idx="14676">
                  <c:v>7.1660000000000004</c:v>
                </c:pt>
                <c:pt idx="14677">
                  <c:v>7.165</c:v>
                </c:pt>
                <c:pt idx="14678">
                  <c:v>7.1660000000000004</c:v>
                </c:pt>
                <c:pt idx="14679">
                  <c:v>7.165</c:v>
                </c:pt>
                <c:pt idx="14680">
                  <c:v>7.165</c:v>
                </c:pt>
                <c:pt idx="14681">
                  <c:v>7.165</c:v>
                </c:pt>
                <c:pt idx="14682">
                  <c:v>7.165</c:v>
                </c:pt>
                <c:pt idx="14683">
                  <c:v>7.165</c:v>
                </c:pt>
                <c:pt idx="14684">
                  <c:v>7.165</c:v>
                </c:pt>
                <c:pt idx="14685">
                  <c:v>7.165</c:v>
                </c:pt>
                <c:pt idx="14686">
                  <c:v>7.165</c:v>
                </c:pt>
                <c:pt idx="14687">
                  <c:v>7.1660000000000004</c:v>
                </c:pt>
                <c:pt idx="14688">
                  <c:v>7.165</c:v>
                </c:pt>
                <c:pt idx="14689">
                  <c:v>7.165</c:v>
                </c:pt>
                <c:pt idx="14690">
                  <c:v>7.165</c:v>
                </c:pt>
                <c:pt idx="14691">
                  <c:v>7.1660000000000004</c:v>
                </c:pt>
                <c:pt idx="14692">
                  <c:v>7.165</c:v>
                </c:pt>
                <c:pt idx="14693">
                  <c:v>7.165</c:v>
                </c:pt>
                <c:pt idx="14694">
                  <c:v>7.1660000000000004</c:v>
                </c:pt>
                <c:pt idx="14695">
                  <c:v>7.165</c:v>
                </c:pt>
                <c:pt idx="14696">
                  <c:v>7.165</c:v>
                </c:pt>
                <c:pt idx="14697">
                  <c:v>7.165</c:v>
                </c:pt>
                <c:pt idx="14698">
                  <c:v>7.165</c:v>
                </c:pt>
                <c:pt idx="14699">
                  <c:v>7.165</c:v>
                </c:pt>
                <c:pt idx="14700">
                  <c:v>7.165</c:v>
                </c:pt>
                <c:pt idx="14701">
                  <c:v>7.165</c:v>
                </c:pt>
                <c:pt idx="14702">
                  <c:v>7.165</c:v>
                </c:pt>
                <c:pt idx="14703">
                  <c:v>7.165</c:v>
                </c:pt>
                <c:pt idx="14704">
                  <c:v>7.165</c:v>
                </c:pt>
                <c:pt idx="14705">
                  <c:v>7.165</c:v>
                </c:pt>
                <c:pt idx="14706">
                  <c:v>7.165</c:v>
                </c:pt>
                <c:pt idx="14707">
                  <c:v>7.165</c:v>
                </c:pt>
                <c:pt idx="14708">
                  <c:v>7.165</c:v>
                </c:pt>
                <c:pt idx="14709">
                  <c:v>7.165</c:v>
                </c:pt>
                <c:pt idx="14710">
                  <c:v>7.165</c:v>
                </c:pt>
                <c:pt idx="14711">
                  <c:v>7.165</c:v>
                </c:pt>
                <c:pt idx="14712">
                  <c:v>7.165</c:v>
                </c:pt>
                <c:pt idx="14713">
                  <c:v>7.165</c:v>
                </c:pt>
                <c:pt idx="14714">
                  <c:v>7.165</c:v>
                </c:pt>
                <c:pt idx="14715">
                  <c:v>7.165</c:v>
                </c:pt>
                <c:pt idx="14716">
                  <c:v>7.165</c:v>
                </c:pt>
                <c:pt idx="14717">
                  <c:v>7.165</c:v>
                </c:pt>
                <c:pt idx="14718">
                  <c:v>7.165</c:v>
                </c:pt>
                <c:pt idx="14719">
                  <c:v>7.165</c:v>
                </c:pt>
                <c:pt idx="14720">
                  <c:v>7.165</c:v>
                </c:pt>
                <c:pt idx="14721">
                  <c:v>7.165</c:v>
                </c:pt>
                <c:pt idx="14722">
                  <c:v>7.165</c:v>
                </c:pt>
                <c:pt idx="14723">
                  <c:v>7.165</c:v>
                </c:pt>
                <c:pt idx="14724">
                  <c:v>7.165</c:v>
                </c:pt>
                <c:pt idx="14725">
                  <c:v>7.165</c:v>
                </c:pt>
                <c:pt idx="14726">
                  <c:v>7.165</c:v>
                </c:pt>
                <c:pt idx="14727">
                  <c:v>7.165</c:v>
                </c:pt>
                <c:pt idx="14728">
                  <c:v>7.165</c:v>
                </c:pt>
                <c:pt idx="14729">
                  <c:v>7.165</c:v>
                </c:pt>
                <c:pt idx="14730">
                  <c:v>7.1639999999999997</c:v>
                </c:pt>
                <c:pt idx="14731">
                  <c:v>7.165</c:v>
                </c:pt>
                <c:pt idx="14732">
                  <c:v>7.165</c:v>
                </c:pt>
                <c:pt idx="14733">
                  <c:v>7.165</c:v>
                </c:pt>
                <c:pt idx="14734">
                  <c:v>7.165</c:v>
                </c:pt>
                <c:pt idx="14735">
                  <c:v>7.1639999999999997</c:v>
                </c:pt>
                <c:pt idx="14736">
                  <c:v>7.165</c:v>
                </c:pt>
                <c:pt idx="14737">
                  <c:v>7.1639999999999997</c:v>
                </c:pt>
                <c:pt idx="14738">
                  <c:v>7.165</c:v>
                </c:pt>
                <c:pt idx="14739">
                  <c:v>7.165</c:v>
                </c:pt>
                <c:pt idx="14740">
                  <c:v>7.165</c:v>
                </c:pt>
                <c:pt idx="14741">
                  <c:v>7.165</c:v>
                </c:pt>
                <c:pt idx="14742">
                  <c:v>7.165</c:v>
                </c:pt>
                <c:pt idx="14743">
                  <c:v>7.1639999999999997</c:v>
                </c:pt>
                <c:pt idx="14744">
                  <c:v>7.165</c:v>
                </c:pt>
                <c:pt idx="14745">
                  <c:v>7.165</c:v>
                </c:pt>
                <c:pt idx="14746">
                  <c:v>7.165</c:v>
                </c:pt>
                <c:pt idx="14747">
                  <c:v>7.1639999999999997</c:v>
                </c:pt>
                <c:pt idx="14748">
                  <c:v>7.1639999999999997</c:v>
                </c:pt>
                <c:pt idx="14749">
                  <c:v>7.1639999999999997</c:v>
                </c:pt>
                <c:pt idx="14750">
                  <c:v>7.1639999999999997</c:v>
                </c:pt>
                <c:pt idx="14751">
                  <c:v>7.1639999999999997</c:v>
                </c:pt>
                <c:pt idx="14752">
                  <c:v>7.1639999999999997</c:v>
                </c:pt>
                <c:pt idx="14753">
                  <c:v>7.1639999999999997</c:v>
                </c:pt>
                <c:pt idx="14754">
                  <c:v>7.1639999999999997</c:v>
                </c:pt>
                <c:pt idx="14755">
                  <c:v>7.1639999999999997</c:v>
                </c:pt>
                <c:pt idx="14756">
                  <c:v>7.1639999999999997</c:v>
                </c:pt>
                <c:pt idx="14757">
                  <c:v>7.165</c:v>
                </c:pt>
                <c:pt idx="14758">
                  <c:v>7.1639999999999997</c:v>
                </c:pt>
                <c:pt idx="14759">
                  <c:v>7.165</c:v>
                </c:pt>
                <c:pt idx="14760">
                  <c:v>7.1639999999999997</c:v>
                </c:pt>
                <c:pt idx="14761">
                  <c:v>7.1639999999999997</c:v>
                </c:pt>
                <c:pt idx="14762">
                  <c:v>7.1639999999999997</c:v>
                </c:pt>
                <c:pt idx="14763">
                  <c:v>7.165</c:v>
                </c:pt>
                <c:pt idx="14764">
                  <c:v>7.165</c:v>
                </c:pt>
                <c:pt idx="14765">
                  <c:v>7.1639999999999997</c:v>
                </c:pt>
                <c:pt idx="14766">
                  <c:v>7.1639999999999997</c:v>
                </c:pt>
                <c:pt idx="14767">
                  <c:v>7.1639999999999997</c:v>
                </c:pt>
                <c:pt idx="14768">
                  <c:v>7.1639999999999997</c:v>
                </c:pt>
                <c:pt idx="14769">
                  <c:v>7.1639999999999997</c:v>
                </c:pt>
                <c:pt idx="14770">
                  <c:v>7.1639999999999997</c:v>
                </c:pt>
                <c:pt idx="14771">
                  <c:v>7.1639999999999997</c:v>
                </c:pt>
                <c:pt idx="14772">
                  <c:v>7.165</c:v>
                </c:pt>
                <c:pt idx="14773">
                  <c:v>7.165</c:v>
                </c:pt>
                <c:pt idx="14774">
                  <c:v>7.1639999999999997</c:v>
                </c:pt>
                <c:pt idx="14775">
                  <c:v>7.165</c:v>
                </c:pt>
                <c:pt idx="14776">
                  <c:v>7.165</c:v>
                </c:pt>
                <c:pt idx="14777">
                  <c:v>7.1639999999999997</c:v>
                </c:pt>
                <c:pt idx="14778">
                  <c:v>7.165</c:v>
                </c:pt>
                <c:pt idx="14779">
                  <c:v>7.165</c:v>
                </c:pt>
                <c:pt idx="14780">
                  <c:v>7.165</c:v>
                </c:pt>
                <c:pt idx="14781">
                  <c:v>7.165</c:v>
                </c:pt>
                <c:pt idx="14782">
                  <c:v>7.1639999999999997</c:v>
                </c:pt>
                <c:pt idx="14783">
                  <c:v>7.165</c:v>
                </c:pt>
                <c:pt idx="14784">
                  <c:v>7.165</c:v>
                </c:pt>
                <c:pt idx="14785">
                  <c:v>7.1639999999999997</c:v>
                </c:pt>
                <c:pt idx="14786">
                  <c:v>7.165</c:v>
                </c:pt>
                <c:pt idx="14787">
                  <c:v>7.165</c:v>
                </c:pt>
                <c:pt idx="14788">
                  <c:v>7.165</c:v>
                </c:pt>
                <c:pt idx="14789">
                  <c:v>7.165</c:v>
                </c:pt>
                <c:pt idx="14790">
                  <c:v>7.165</c:v>
                </c:pt>
                <c:pt idx="14791">
                  <c:v>7.1639999999999997</c:v>
                </c:pt>
                <c:pt idx="14792">
                  <c:v>7.1639999999999997</c:v>
                </c:pt>
                <c:pt idx="14793">
                  <c:v>7.1639999999999997</c:v>
                </c:pt>
                <c:pt idx="14794">
                  <c:v>7.165</c:v>
                </c:pt>
                <c:pt idx="14795">
                  <c:v>7.1639999999999997</c:v>
                </c:pt>
                <c:pt idx="14796">
                  <c:v>7.1639999999999997</c:v>
                </c:pt>
                <c:pt idx="14797">
                  <c:v>7.1639999999999997</c:v>
                </c:pt>
                <c:pt idx="14798">
                  <c:v>7.1639999999999997</c:v>
                </c:pt>
                <c:pt idx="14799">
                  <c:v>7.165</c:v>
                </c:pt>
                <c:pt idx="14800">
                  <c:v>7.1639999999999997</c:v>
                </c:pt>
                <c:pt idx="14801">
                  <c:v>7.1639999999999997</c:v>
                </c:pt>
                <c:pt idx="14802">
                  <c:v>7.1639999999999997</c:v>
                </c:pt>
                <c:pt idx="14803">
                  <c:v>7.1639999999999997</c:v>
                </c:pt>
                <c:pt idx="14804">
                  <c:v>7.1639999999999997</c:v>
                </c:pt>
                <c:pt idx="14805">
                  <c:v>7.1639999999999997</c:v>
                </c:pt>
                <c:pt idx="14806">
                  <c:v>7.1639999999999997</c:v>
                </c:pt>
                <c:pt idx="14807">
                  <c:v>7.1639999999999997</c:v>
                </c:pt>
                <c:pt idx="14808">
                  <c:v>7.1639999999999997</c:v>
                </c:pt>
                <c:pt idx="14809">
                  <c:v>7.1639999999999997</c:v>
                </c:pt>
                <c:pt idx="14810">
                  <c:v>7.1630000000000003</c:v>
                </c:pt>
                <c:pt idx="14811">
                  <c:v>7.1639999999999997</c:v>
                </c:pt>
                <c:pt idx="14812">
                  <c:v>7.1639999999999997</c:v>
                </c:pt>
                <c:pt idx="14813">
                  <c:v>7.1630000000000003</c:v>
                </c:pt>
                <c:pt idx="14814">
                  <c:v>7.1639999999999997</c:v>
                </c:pt>
                <c:pt idx="14815">
                  <c:v>7.1639999999999997</c:v>
                </c:pt>
                <c:pt idx="14816">
                  <c:v>7.1639999999999997</c:v>
                </c:pt>
                <c:pt idx="14817">
                  <c:v>7.1639999999999997</c:v>
                </c:pt>
                <c:pt idx="14818">
                  <c:v>7.1639999999999997</c:v>
                </c:pt>
                <c:pt idx="14819">
                  <c:v>7.1639999999999997</c:v>
                </c:pt>
                <c:pt idx="14820">
                  <c:v>7.1639999999999997</c:v>
                </c:pt>
                <c:pt idx="14821">
                  <c:v>7.1630000000000003</c:v>
                </c:pt>
                <c:pt idx="14822">
                  <c:v>7.1630000000000003</c:v>
                </c:pt>
                <c:pt idx="14823">
                  <c:v>7.1639999999999997</c:v>
                </c:pt>
                <c:pt idx="14824">
                  <c:v>7.1639999999999997</c:v>
                </c:pt>
                <c:pt idx="14825">
                  <c:v>7.1630000000000003</c:v>
                </c:pt>
                <c:pt idx="14826">
                  <c:v>7.1639999999999997</c:v>
                </c:pt>
                <c:pt idx="14827">
                  <c:v>7.1639999999999997</c:v>
                </c:pt>
                <c:pt idx="14828">
                  <c:v>7.1639999999999997</c:v>
                </c:pt>
                <c:pt idx="14829">
                  <c:v>7.1639999999999997</c:v>
                </c:pt>
                <c:pt idx="14830">
                  <c:v>7.1639999999999997</c:v>
                </c:pt>
                <c:pt idx="14831">
                  <c:v>7.1639999999999997</c:v>
                </c:pt>
                <c:pt idx="14832">
                  <c:v>7.1639999999999997</c:v>
                </c:pt>
                <c:pt idx="14833">
                  <c:v>7.1639999999999997</c:v>
                </c:pt>
                <c:pt idx="14834">
                  <c:v>7.1630000000000003</c:v>
                </c:pt>
                <c:pt idx="14835">
                  <c:v>7.1639999999999997</c:v>
                </c:pt>
                <c:pt idx="14836">
                  <c:v>7.1630000000000003</c:v>
                </c:pt>
                <c:pt idx="14837">
                  <c:v>7.1630000000000003</c:v>
                </c:pt>
                <c:pt idx="14838">
                  <c:v>7.1630000000000003</c:v>
                </c:pt>
                <c:pt idx="14839">
                  <c:v>7.1630000000000003</c:v>
                </c:pt>
                <c:pt idx="14840">
                  <c:v>7.1630000000000003</c:v>
                </c:pt>
                <c:pt idx="14841">
                  <c:v>7.1630000000000003</c:v>
                </c:pt>
                <c:pt idx="14842">
                  <c:v>7.1630000000000003</c:v>
                </c:pt>
                <c:pt idx="14843">
                  <c:v>7.1630000000000003</c:v>
                </c:pt>
                <c:pt idx="14844">
                  <c:v>7.1630000000000003</c:v>
                </c:pt>
                <c:pt idx="14845">
                  <c:v>7.1619999999999999</c:v>
                </c:pt>
                <c:pt idx="14846">
                  <c:v>7.1630000000000003</c:v>
                </c:pt>
                <c:pt idx="14847">
                  <c:v>7.1630000000000003</c:v>
                </c:pt>
                <c:pt idx="14848">
                  <c:v>7.1630000000000003</c:v>
                </c:pt>
                <c:pt idx="14849">
                  <c:v>7.1630000000000003</c:v>
                </c:pt>
                <c:pt idx="14850">
                  <c:v>7.1630000000000003</c:v>
                </c:pt>
                <c:pt idx="14851">
                  <c:v>7.1630000000000003</c:v>
                </c:pt>
                <c:pt idx="14852">
                  <c:v>7.1630000000000003</c:v>
                </c:pt>
                <c:pt idx="14853">
                  <c:v>7.1630000000000003</c:v>
                </c:pt>
                <c:pt idx="14854">
                  <c:v>7.1619999999999999</c:v>
                </c:pt>
                <c:pt idx="14855">
                  <c:v>7.1630000000000003</c:v>
                </c:pt>
                <c:pt idx="14856">
                  <c:v>7.1619999999999999</c:v>
                </c:pt>
                <c:pt idx="14857">
                  <c:v>7.1619999999999999</c:v>
                </c:pt>
                <c:pt idx="14858">
                  <c:v>7.1619999999999999</c:v>
                </c:pt>
                <c:pt idx="14859">
                  <c:v>7.1619999999999999</c:v>
                </c:pt>
                <c:pt idx="14860">
                  <c:v>7.1619999999999999</c:v>
                </c:pt>
                <c:pt idx="14861">
                  <c:v>7.1619999999999999</c:v>
                </c:pt>
                <c:pt idx="14862">
                  <c:v>7.1619999999999999</c:v>
                </c:pt>
                <c:pt idx="14863">
                  <c:v>7.1619999999999999</c:v>
                </c:pt>
                <c:pt idx="14864">
                  <c:v>7.1619999999999999</c:v>
                </c:pt>
                <c:pt idx="14865">
                  <c:v>7.1630000000000003</c:v>
                </c:pt>
                <c:pt idx="14866">
                  <c:v>7.1619999999999999</c:v>
                </c:pt>
                <c:pt idx="14867">
                  <c:v>7.1630000000000003</c:v>
                </c:pt>
                <c:pt idx="14868">
                  <c:v>7.1619999999999999</c:v>
                </c:pt>
                <c:pt idx="14869">
                  <c:v>7.1619999999999999</c:v>
                </c:pt>
                <c:pt idx="14870">
                  <c:v>7.1619999999999999</c:v>
                </c:pt>
                <c:pt idx="14871">
                  <c:v>7.1619999999999999</c:v>
                </c:pt>
                <c:pt idx="14872">
                  <c:v>7.1619999999999999</c:v>
                </c:pt>
                <c:pt idx="14873">
                  <c:v>7.1619999999999999</c:v>
                </c:pt>
                <c:pt idx="14874">
                  <c:v>7.1619999999999999</c:v>
                </c:pt>
                <c:pt idx="14875">
                  <c:v>7.1619999999999999</c:v>
                </c:pt>
                <c:pt idx="14876">
                  <c:v>7.1609999999999996</c:v>
                </c:pt>
                <c:pt idx="14877">
                  <c:v>7.1619999999999999</c:v>
                </c:pt>
                <c:pt idx="14878">
                  <c:v>7.1619999999999999</c:v>
                </c:pt>
                <c:pt idx="14879">
                  <c:v>7.1619999999999999</c:v>
                </c:pt>
                <c:pt idx="14880">
                  <c:v>7.1609999999999996</c:v>
                </c:pt>
                <c:pt idx="14881">
                  <c:v>7.1619999999999999</c:v>
                </c:pt>
                <c:pt idx="14882">
                  <c:v>7.1609999999999996</c:v>
                </c:pt>
                <c:pt idx="14883">
                  <c:v>7.1609999999999996</c:v>
                </c:pt>
                <c:pt idx="14884">
                  <c:v>7.1609999999999996</c:v>
                </c:pt>
                <c:pt idx="14885">
                  <c:v>7.1609999999999996</c:v>
                </c:pt>
                <c:pt idx="14886">
                  <c:v>7.1619999999999999</c:v>
                </c:pt>
                <c:pt idx="14887">
                  <c:v>7.1619999999999999</c:v>
                </c:pt>
                <c:pt idx="14888">
                  <c:v>7.1619999999999999</c:v>
                </c:pt>
                <c:pt idx="14889">
                  <c:v>7.1619999999999999</c:v>
                </c:pt>
                <c:pt idx="14890">
                  <c:v>7.1619999999999999</c:v>
                </c:pt>
                <c:pt idx="14891">
                  <c:v>7.1609999999999996</c:v>
                </c:pt>
                <c:pt idx="14892">
                  <c:v>7.1619999999999999</c:v>
                </c:pt>
                <c:pt idx="14893">
                  <c:v>7.1619999999999999</c:v>
                </c:pt>
                <c:pt idx="14894">
                  <c:v>7.1619999999999999</c:v>
                </c:pt>
                <c:pt idx="14895">
                  <c:v>7.1619999999999999</c:v>
                </c:pt>
                <c:pt idx="14896">
                  <c:v>7.1619999999999999</c:v>
                </c:pt>
                <c:pt idx="14897">
                  <c:v>7.1619999999999999</c:v>
                </c:pt>
                <c:pt idx="14898">
                  <c:v>7.1619999999999999</c:v>
                </c:pt>
                <c:pt idx="14899">
                  <c:v>7.1619999999999999</c:v>
                </c:pt>
                <c:pt idx="14900">
                  <c:v>7.1619999999999999</c:v>
                </c:pt>
                <c:pt idx="14901">
                  <c:v>7.1619999999999999</c:v>
                </c:pt>
                <c:pt idx="14902">
                  <c:v>7.1619999999999999</c:v>
                </c:pt>
                <c:pt idx="14903">
                  <c:v>7.1619999999999999</c:v>
                </c:pt>
                <c:pt idx="14904">
                  <c:v>7.1619999999999999</c:v>
                </c:pt>
                <c:pt idx="14905">
                  <c:v>7.1619999999999999</c:v>
                </c:pt>
                <c:pt idx="14906">
                  <c:v>7.1619999999999999</c:v>
                </c:pt>
                <c:pt idx="14907">
                  <c:v>7.1619999999999999</c:v>
                </c:pt>
                <c:pt idx="14908">
                  <c:v>7.1619999999999999</c:v>
                </c:pt>
                <c:pt idx="14909">
                  <c:v>7.1619999999999999</c:v>
                </c:pt>
                <c:pt idx="14910">
                  <c:v>7.1619999999999999</c:v>
                </c:pt>
                <c:pt idx="14911">
                  <c:v>7.1619999999999999</c:v>
                </c:pt>
                <c:pt idx="14912">
                  <c:v>7.1619999999999999</c:v>
                </c:pt>
                <c:pt idx="14913">
                  <c:v>7.1619999999999999</c:v>
                </c:pt>
                <c:pt idx="14914">
                  <c:v>7.1619999999999999</c:v>
                </c:pt>
                <c:pt idx="14915">
                  <c:v>7.1619999999999999</c:v>
                </c:pt>
                <c:pt idx="14916">
                  <c:v>7.1619999999999999</c:v>
                </c:pt>
                <c:pt idx="14917">
                  <c:v>7.1619999999999999</c:v>
                </c:pt>
                <c:pt idx="14918">
                  <c:v>7.1619999999999999</c:v>
                </c:pt>
                <c:pt idx="14919">
                  <c:v>7.1619999999999999</c:v>
                </c:pt>
                <c:pt idx="14920">
                  <c:v>7.1619999999999999</c:v>
                </c:pt>
                <c:pt idx="14921">
                  <c:v>7.1609999999999996</c:v>
                </c:pt>
                <c:pt idx="14922">
                  <c:v>7.1609999999999996</c:v>
                </c:pt>
                <c:pt idx="14923">
                  <c:v>7.1609999999999996</c:v>
                </c:pt>
                <c:pt idx="14924">
                  <c:v>7.1609999999999996</c:v>
                </c:pt>
                <c:pt idx="14925">
                  <c:v>7.1619999999999999</c:v>
                </c:pt>
                <c:pt idx="14926">
                  <c:v>7.1609999999999996</c:v>
                </c:pt>
                <c:pt idx="14927">
                  <c:v>7.1609999999999996</c:v>
                </c:pt>
                <c:pt idx="14928">
                  <c:v>7.1609999999999996</c:v>
                </c:pt>
                <c:pt idx="14929">
                  <c:v>7.1619999999999999</c:v>
                </c:pt>
                <c:pt idx="14930">
                  <c:v>7.1609999999999996</c:v>
                </c:pt>
                <c:pt idx="14931">
                  <c:v>7.1609999999999996</c:v>
                </c:pt>
                <c:pt idx="14932">
                  <c:v>7.1609999999999996</c:v>
                </c:pt>
                <c:pt idx="14933">
                  <c:v>7.1609999999999996</c:v>
                </c:pt>
                <c:pt idx="14934">
                  <c:v>7.1619999999999999</c:v>
                </c:pt>
                <c:pt idx="14935">
                  <c:v>7.1609999999999996</c:v>
                </c:pt>
                <c:pt idx="14936">
                  <c:v>7.1609999999999996</c:v>
                </c:pt>
                <c:pt idx="14937">
                  <c:v>7.1609999999999996</c:v>
                </c:pt>
                <c:pt idx="14938">
                  <c:v>7.1609999999999996</c:v>
                </c:pt>
                <c:pt idx="14939">
                  <c:v>7.1609999999999996</c:v>
                </c:pt>
                <c:pt idx="14940">
                  <c:v>7.1609999999999996</c:v>
                </c:pt>
                <c:pt idx="14941">
                  <c:v>7.16</c:v>
                </c:pt>
                <c:pt idx="14942">
                  <c:v>7.1609999999999996</c:v>
                </c:pt>
                <c:pt idx="14943">
                  <c:v>7.16</c:v>
                </c:pt>
                <c:pt idx="14944">
                  <c:v>7.1609999999999996</c:v>
                </c:pt>
                <c:pt idx="14945">
                  <c:v>7.1609999999999996</c:v>
                </c:pt>
                <c:pt idx="14946">
                  <c:v>7.1609999999999996</c:v>
                </c:pt>
                <c:pt idx="14947">
                  <c:v>7.1609999999999996</c:v>
                </c:pt>
                <c:pt idx="14948">
                  <c:v>7.1609999999999996</c:v>
                </c:pt>
                <c:pt idx="14949">
                  <c:v>7.1609999999999996</c:v>
                </c:pt>
                <c:pt idx="14950">
                  <c:v>7.1609999999999996</c:v>
                </c:pt>
                <c:pt idx="14951">
                  <c:v>7.1609999999999996</c:v>
                </c:pt>
                <c:pt idx="14952">
                  <c:v>7.1609999999999996</c:v>
                </c:pt>
                <c:pt idx="14953">
                  <c:v>7.1609999999999996</c:v>
                </c:pt>
                <c:pt idx="14954">
                  <c:v>7.1609999999999996</c:v>
                </c:pt>
                <c:pt idx="14955">
                  <c:v>7.1609999999999996</c:v>
                </c:pt>
                <c:pt idx="14956">
                  <c:v>7.1609999999999996</c:v>
                </c:pt>
                <c:pt idx="14957">
                  <c:v>7.1609999999999996</c:v>
                </c:pt>
                <c:pt idx="14958">
                  <c:v>7.1609999999999996</c:v>
                </c:pt>
                <c:pt idx="14959">
                  <c:v>7.1609999999999996</c:v>
                </c:pt>
                <c:pt idx="14960">
                  <c:v>7.16</c:v>
                </c:pt>
                <c:pt idx="14961">
                  <c:v>7.16</c:v>
                </c:pt>
                <c:pt idx="14962">
                  <c:v>7.1609999999999996</c:v>
                </c:pt>
                <c:pt idx="14963">
                  <c:v>7.1609999999999996</c:v>
                </c:pt>
                <c:pt idx="14964">
                  <c:v>7.1609999999999996</c:v>
                </c:pt>
                <c:pt idx="14965">
                  <c:v>7.1609999999999996</c:v>
                </c:pt>
                <c:pt idx="14966">
                  <c:v>7.1609999999999996</c:v>
                </c:pt>
                <c:pt idx="14967">
                  <c:v>7.16</c:v>
                </c:pt>
                <c:pt idx="14968">
                  <c:v>7.16</c:v>
                </c:pt>
                <c:pt idx="14969">
                  <c:v>7.16</c:v>
                </c:pt>
                <c:pt idx="14970">
                  <c:v>7.16</c:v>
                </c:pt>
                <c:pt idx="14971">
                  <c:v>7.16</c:v>
                </c:pt>
                <c:pt idx="14972">
                  <c:v>7.1589999999999998</c:v>
                </c:pt>
                <c:pt idx="14973">
                  <c:v>7.16</c:v>
                </c:pt>
                <c:pt idx="14974">
                  <c:v>7.1589999999999998</c:v>
                </c:pt>
                <c:pt idx="14975">
                  <c:v>7.16</c:v>
                </c:pt>
                <c:pt idx="14976">
                  <c:v>7.16</c:v>
                </c:pt>
                <c:pt idx="14977">
                  <c:v>7.16</c:v>
                </c:pt>
                <c:pt idx="14978">
                  <c:v>7.16</c:v>
                </c:pt>
                <c:pt idx="14979">
                  <c:v>7.16</c:v>
                </c:pt>
                <c:pt idx="14980">
                  <c:v>7.16</c:v>
                </c:pt>
                <c:pt idx="14981">
                  <c:v>7.16</c:v>
                </c:pt>
                <c:pt idx="14982">
                  <c:v>7.16</c:v>
                </c:pt>
                <c:pt idx="14983">
                  <c:v>7.16</c:v>
                </c:pt>
                <c:pt idx="14984">
                  <c:v>7.16</c:v>
                </c:pt>
                <c:pt idx="14985">
                  <c:v>7.16</c:v>
                </c:pt>
                <c:pt idx="14986">
                  <c:v>7.16</c:v>
                </c:pt>
                <c:pt idx="14987">
                  <c:v>7.16</c:v>
                </c:pt>
                <c:pt idx="14988">
                  <c:v>7.16</c:v>
                </c:pt>
                <c:pt idx="14989">
                  <c:v>7.16</c:v>
                </c:pt>
                <c:pt idx="14990">
                  <c:v>7.16</c:v>
                </c:pt>
                <c:pt idx="14991">
                  <c:v>7.16</c:v>
                </c:pt>
                <c:pt idx="14992">
                  <c:v>7.16</c:v>
                </c:pt>
                <c:pt idx="14993">
                  <c:v>7.16</c:v>
                </c:pt>
                <c:pt idx="14994">
                  <c:v>7.16</c:v>
                </c:pt>
                <c:pt idx="14995">
                  <c:v>7.1589999999999998</c:v>
                </c:pt>
                <c:pt idx="14996">
                  <c:v>7.16</c:v>
                </c:pt>
                <c:pt idx="14997">
                  <c:v>7.16</c:v>
                </c:pt>
                <c:pt idx="14998">
                  <c:v>7.16</c:v>
                </c:pt>
                <c:pt idx="14999">
                  <c:v>7.16</c:v>
                </c:pt>
                <c:pt idx="15000">
                  <c:v>7.16</c:v>
                </c:pt>
                <c:pt idx="15001">
                  <c:v>7.16</c:v>
                </c:pt>
                <c:pt idx="15002">
                  <c:v>7.16</c:v>
                </c:pt>
                <c:pt idx="15003">
                  <c:v>7.16</c:v>
                </c:pt>
                <c:pt idx="15004">
                  <c:v>7.16</c:v>
                </c:pt>
                <c:pt idx="15005">
                  <c:v>7.16</c:v>
                </c:pt>
                <c:pt idx="15006">
                  <c:v>7.16</c:v>
                </c:pt>
                <c:pt idx="15007">
                  <c:v>7.16</c:v>
                </c:pt>
                <c:pt idx="15008">
                  <c:v>7.16</c:v>
                </c:pt>
                <c:pt idx="15009">
                  <c:v>7.16</c:v>
                </c:pt>
                <c:pt idx="15010">
                  <c:v>7.16</c:v>
                </c:pt>
                <c:pt idx="15011">
                  <c:v>7.1589999999999998</c:v>
                </c:pt>
                <c:pt idx="15012">
                  <c:v>7.16</c:v>
                </c:pt>
                <c:pt idx="15013">
                  <c:v>7.16</c:v>
                </c:pt>
                <c:pt idx="15014">
                  <c:v>7.16</c:v>
                </c:pt>
                <c:pt idx="15015">
                  <c:v>7.16</c:v>
                </c:pt>
                <c:pt idx="15016">
                  <c:v>7.16</c:v>
                </c:pt>
                <c:pt idx="15017">
                  <c:v>7.1589999999999998</c:v>
                </c:pt>
                <c:pt idx="15018">
                  <c:v>7.1589999999999998</c:v>
                </c:pt>
                <c:pt idx="15019">
                  <c:v>7.16</c:v>
                </c:pt>
                <c:pt idx="15020">
                  <c:v>7.16</c:v>
                </c:pt>
                <c:pt idx="15021">
                  <c:v>7.16</c:v>
                </c:pt>
                <c:pt idx="15022">
                  <c:v>7.1589999999999998</c:v>
                </c:pt>
                <c:pt idx="15023">
                  <c:v>7.16</c:v>
                </c:pt>
                <c:pt idx="15024">
                  <c:v>7.16</c:v>
                </c:pt>
                <c:pt idx="15025">
                  <c:v>7.16</c:v>
                </c:pt>
                <c:pt idx="15026">
                  <c:v>7.1589999999999998</c:v>
                </c:pt>
                <c:pt idx="15027">
                  <c:v>7.16</c:v>
                </c:pt>
                <c:pt idx="15028">
                  <c:v>7.1589999999999998</c:v>
                </c:pt>
                <c:pt idx="15029">
                  <c:v>7.1589999999999998</c:v>
                </c:pt>
                <c:pt idx="15030">
                  <c:v>7.1589999999999998</c:v>
                </c:pt>
                <c:pt idx="15031">
                  <c:v>7.1589999999999998</c:v>
                </c:pt>
                <c:pt idx="15032">
                  <c:v>7.1589999999999998</c:v>
                </c:pt>
                <c:pt idx="15033">
                  <c:v>7.1589999999999998</c:v>
                </c:pt>
                <c:pt idx="15034">
                  <c:v>7.1589999999999998</c:v>
                </c:pt>
                <c:pt idx="15035">
                  <c:v>7.1589999999999998</c:v>
                </c:pt>
                <c:pt idx="15036">
                  <c:v>7.1589999999999998</c:v>
                </c:pt>
                <c:pt idx="15037">
                  <c:v>7.1589999999999998</c:v>
                </c:pt>
                <c:pt idx="15038">
                  <c:v>7.1589999999999998</c:v>
                </c:pt>
                <c:pt idx="15039">
                  <c:v>7.1589999999999998</c:v>
                </c:pt>
                <c:pt idx="15040">
                  <c:v>7.1589999999999998</c:v>
                </c:pt>
                <c:pt idx="15041">
                  <c:v>7.1589999999999998</c:v>
                </c:pt>
                <c:pt idx="15042">
                  <c:v>7.1589999999999998</c:v>
                </c:pt>
                <c:pt idx="15043">
                  <c:v>7.1589999999999998</c:v>
                </c:pt>
                <c:pt idx="15044">
                  <c:v>7.1589999999999998</c:v>
                </c:pt>
                <c:pt idx="15045">
                  <c:v>7.1589999999999998</c:v>
                </c:pt>
                <c:pt idx="15046">
                  <c:v>7.1589999999999998</c:v>
                </c:pt>
                <c:pt idx="15047">
                  <c:v>7.1589999999999998</c:v>
                </c:pt>
                <c:pt idx="15048">
                  <c:v>7.1589999999999998</c:v>
                </c:pt>
                <c:pt idx="15049">
                  <c:v>7.1589999999999998</c:v>
                </c:pt>
                <c:pt idx="15050">
                  <c:v>7.1589999999999998</c:v>
                </c:pt>
                <c:pt idx="15051">
                  <c:v>7.1589999999999998</c:v>
                </c:pt>
                <c:pt idx="15052">
                  <c:v>7.1589999999999998</c:v>
                </c:pt>
                <c:pt idx="15053">
                  <c:v>7.1589999999999998</c:v>
                </c:pt>
                <c:pt idx="15054">
                  <c:v>7.1589999999999998</c:v>
                </c:pt>
                <c:pt idx="15055">
                  <c:v>7.1589999999999998</c:v>
                </c:pt>
                <c:pt idx="15056">
                  <c:v>7.1580000000000004</c:v>
                </c:pt>
                <c:pt idx="15057">
                  <c:v>7.1589999999999998</c:v>
                </c:pt>
                <c:pt idx="15058">
                  <c:v>7.1589999999999998</c:v>
                </c:pt>
                <c:pt idx="15059">
                  <c:v>7.1589999999999998</c:v>
                </c:pt>
                <c:pt idx="15060">
                  <c:v>7.1589999999999998</c:v>
                </c:pt>
                <c:pt idx="15061">
                  <c:v>7.1589999999999998</c:v>
                </c:pt>
                <c:pt idx="15062">
                  <c:v>7.1589999999999998</c:v>
                </c:pt>
                <c:pt idx="15063">
                  <c:v>7.1589999999999998</c:v>
                </c:pt>
                <c:pt idx="15064">
                  <c:v>7.1589999999999998</c:v>
                </c:pt>
                <c:pt idx="15065">
                  <c:v>7.1589999999999998</c:v>
                </c:pt>
                <c:pt idx="15066">
                  <c:v>7.1589999999999998</c:v>
                </c:pt>
                <c:pt idx="15067">
                  <c:v>7.1580000000000004</c:v>
                </c:pt>
                <c:pt idx="15068">
                  <c:v>7.1589999999999998</c:v>
                </c:pt>
                <c:pt idx="15069">
                  <c:v>7.1589999999999998</c:v>
                </c:pt>
                <c:pt idx="15070">
                  <c:v>7.1589999999999998</c:v>
                </c:pt>
                <c:pt idx="15071">
                  <c:v>7.1589999999999998</c:v>
                </c:pt>
                <c:pt idx="15072">
                  <c:v>7.1589999999999998</c:v>
                </c:pt>
                <c:pt idx="15073">
                  <c:v>7.1589999999999998</c:v>
                </c:pt>
                <c:pt idx="15074">
                  <c:v>7.1589999999999998</c:v>
                </c:pt>
                <c:pt idx="15075">
                  <c:v>7.1589999999999998</c:v>
                </c:pt>
                <c:pt idx="15076">
                  <c:v>7.1589999999999998</c:v>
                </c:pt>
                <c:pt idx="15077">
                  <c:v>7.1580000000000004</c:v>
                </c:pt>
                <c:pt idx="15078">
                  <c:v>7.1580000000000004</c:v>
                </c:pt>
                <c:pt idx="15079">
                  <c:v>7.1580000000000004</c:v>
                </c:pt>
                <c:pt idx="15080">
                  <c:v>7.1589999999999998</c:v>
                </c:pt>
                <c:pt idx="15081">
                  <c:v>7.1580000000000004</c:v>
                </c:pt>
                <c:pt idx="15082">
                  <c:v>7.1580000000000004</c:v>
                </c:pt>
                <c:pt idx="15083">
                  <c:v>7.1580000000000004</c:v>
                </c:pt>
                <c:pt idx="15084">
                  <c:v>7.1580000000000004</c:v>
                </c:pt>
                <c:pt idx="15085">
                  <c:v>7.1580000000000004</c:v>
                </c:pt>
                <c:pt idx="15086">
                  <c:v>7.1580000000000004</c:v>
                </c:pt>
                <c:pt idx="15087">
                  <c:v>7.1580000000000004</c:v>
                </c:pt>
                <c:pt idx="15088">
                  <c:v>7.1580000000000004</c:v>
                </c:pt>
                <c:pt idx="15089">
                  <c:v>7.1580000000000004</c:v>
                </c:pt>
                <c:pt idx="15090">
                  <c:v>7.1580000000000004</c:v>
                </c:pt>
                <c:pt idx="15091">
                  <c:v>7.1580000000000004</c:v>
                </c:pt>
                <c:pt idx="15092">
                  <c:v>7.1580000000000004</c:v>
                </c:pt>
                <c:pt idx="15093">
                  <c:v>7.1589999999999998</c:v>
                </c:pt>
                <c:pt idx="15094">
                  <c:v>7.1580000000000004</c:v>
                </c:pt>
                <c:pt idx="15095">
                  <c:v>7.1580000000000004</c:v>
                </c:pt>
                <c:pt idx="15096">
                  <c:v>7.1580000000000004</c:v>
                </c:pt>
                <c:pt idx="15097">
                  <c:v>7.1580000000000004</c:v>
                </c:pt>
                <c:pt idx="15098">
                  <c:v>7.1580000000000004</c:v>
                </c:pt>
                <c:pt idx="15099">
                  <c:v>7.1580000000000004</c:v>
                </c:pt>
                <c:pt idx="15100">
                  <c:v>7.1580000000000004</c:v>
                </c:pt>
                <c:pt idx="15101">
                  <c:v>7.1580000000000004</c:v>
                </c:pt>
                <c:pt idx="15102">
                  <c:v>7.1580000000000004</c:v>
                </c:pt>
                <c:pt idx="15103">
                  <c:v>7.1580000000000004</c:v>
                </c:pt>
                <c:pt idx="15104">
                  <c:v>7.1580000000000004</c:v>
                </c:pt>
                <c:pt idx="15105">
                  <c:v>7.1580000000000004</c:v>
                </c:pt>
                <c:pt idx="15106">
                  <c:v>7.1580000000000004</c:v>
                </c:pt>
                <c:pt idx="15107">
                  <c:v>7.1580000000000004</c:v>
                </c:pt>
                <c:pt idx="15108">
                  <c:v>7.1580000000000004</c:v>
                </c:pt>
                <c:pt idx="15109">
                  <c:v>7.1580000000000004</c:v>
                </c:pt>
                <c:pt idx="15110">
                  <c:v>7.157</c:v>
                </c:pt>
                <c:pt idx="15111">
                  <c:v>7.157</c:v>
                </c:pt>
                <c:pt idx="15112">
                  <c:v>7.1580000000000004</c:v>
                </c:pt>
                <c:pt idx="15113">
                  <c:v>7.1580000000000004</c:v>
                </c:pt>
                <c:pt idx="15114">
                  <c:v>7.1580000000000004</c:v>
                </c:pt>
                <c:pt idx="15115">
                  <c:v>7.1580000000000004</c:v>
                </c:pt>
                <c:pt idx="15116">
                  <c:v>7.1580000000000004</c:v>
                </c:pt>
                <c:pt idx="15117">
                  <c:v>7.1580000000000004</c:v>
                </c:pt>
                <c:pt idx="15118">
                  <c:v>7.157</c:v>
                </c:pt>
                <c:pt idx="15119">
                  <c:v>7.1580000000000004</c:v>
                </c:pt>
                <c:pt idx="15120">
                  <c:v>7.157</c:v>
                </c:pt>
                <c:pt idx="15121">
                  <c:v>7.157</c:v>
                </c:pt>
                <c:pt idx="15122">
                  <c:v>7.157</c:v>
                </c:pt>
                <c:pt idx="15123">
                  <c:v>7.157</c:v>
                </c:pt>
                <c:pt idx="15124">
                  <c:v>7.157</c:v>
                </c:pt>
                <c:pt idx="15125">
                  <c:v>7.157</c:v>
                </c:pt>
                <c:pt idx="15126">
                  <c:v>7.157</c:v>
                </c:pt>
                <c:pt idx="15127">
                  <c:v>7.157</c:v>
                </c:pt>
                <c:pt idx="15128">
                  <c:v>7.157</c:v>
                </c:pt>
                <c:pt idx="15129">
                  <c:v>7.157</c:v>
                </c:pt>
                <c:pt idx="15130">
                  <c:v>7.157</c:v>
                </c:pt>
                <c:pt idx="15131">
                  <c:v>7.157</c:v>
                </c:pt>
                <c:pt idx="15132">
                  <c:v>7.157</c:v>
                </c:pt>
                <c:pt idx="15133">
                  <c:v>7.157</c:v>
                </c:pt>
                <c:pt idx="15134">
                  <c:v>7.157</c:v>
                </c:pt>
                <c:pt idx="15135">
                  <c:v>7.157</c:v>
                </c:pt>
                <c:pt idx="15136">
                  <c:v>7.157</c:v>
                </c:pt>
                <c:pt idx="15137">
                  <c:v>7.157</c:v>
                </c:pt>
                <c:pt idx="15138">
                  <c:v>7.157</c:v>
                </c:pt>
                <c:pt idx="15139">
                  <c:v>7.157</c:v>
                </c:pt>
                <c:pt idx="15140">
                  <c:v>7.157</c:v>
                </c:pt>
                <c:pt idx="15141">
                  <c:v>7.157</c:v>
                </c:pt>
                <c:pt idx="15142">
                  <c:v>7.157</c:v>
                </c:pt>
                <c:pt idx="15143">
                  <c:v>7.157</c:v>
                </c:pt>
                <c:pt idx="15144">
                  <c:v>7.157</c:v>
                </c:pt>
                <c:pt idx="15145">
                  <c:v>7.157</c:v>
                </c:pt>
                <c:pt idx="15146">
                  <c:v>7.157</c:v>
                </c:pt>
                <c:pt idx="15147">
                  <c:v>7.157</c:v>
                </c:pt>
                <c:pt idx="15148">
                  <c:v>7.157</c:v>
                </c:pt>
                <c:pt idx="15149">
                  <c:v>7.157</c:v>
                </c:pt>
                <c:pt idx="15150">
                  <c:v>7.1559999999999997</c:v>
                </c:pt>
                <c:pt idx="15151">
                  <c:v>7.157</c:v>
                </c:pt>
                <c:pt idx="15152">
                  <c:v>7.157</c:v>
                </c:pt>
                <c:pt idx="15153">
                  <c:v>7.157</c:v>
                </c:pt>
                <c:pt idx="15154">
                  <c:v>7.157</c:v>
                </c:pt>
                <c:pt idx="15155">
                  <c:v>7.157</c:v>
                </c:pt>
                <c:pt idx="15156">
                  <c:v>7.157</c:v>
                </c:pt>
                <c:pt idx="15157">
                  <c:v>7.157</c:v>
                </c:pt>
                <c:pt idx="15158">
                  <c:v>7.157</c:v>
                </c:pt>
                <c:pt idx="15159">
                  <c:v>7.157</c:v>
                </c:pt>
                <c:pt idx="15160">
                  <c:v>7.157</c:v>
                </c:pt>
                <c:pt idx="15161">
                  <c:v>7.1559999999999997</c:v>
                </c:pt>
                <c:pt idx="15162">
                  <c:v>7.1559999999999997</c:v>
                </c:pt>
                <c:pt idx="15163">
                  <c:v>7.157</c:v>
                </c:pt>
                <c:pt idx="15164">
                  <c:v>7.157</c:v>
                </c:pt>
                <c:pt idx="15165">
                  <c:v>7.157</c:v>
                </c:pt>
                <c:pt idx="15166">
                  <c:v>7.157</c:v>
                </c:pt>
                <c:pt idx="15167">
                  <c:v>7.157</c:v>
                </c:pt>
                <c:pt idx="15168">
                  <c:v>7.157</c:v>
                </c:pt>
                <c:pt idx="15169">
                  <c:v>7.157</c:v>
                </c:pt>
                <c:pt idx="15170">
                  <c:v>7.157</c:v>
                </c:pt>
                <c:pt idx="15171">
                  <c:v>7.157</c:v>
                </c:pt>
                <c:pt idx="15172">
                  <c:v>7.157</c:v>
                </c:pt>
                <c:pt idx="15173">
                  <c:v>7.157</c:v>
                </c:pt>
                <c:pt idx="15174">
                  <c:v>7.157</c:v>
                </c:pt>
                <c:pt idx="15175">
                  <c:v>7.157</c:v>
                </c:pt>
                <c:pt idx="15176">
                  <c:v>7.157</c:v>
                </c:pt>
                <c:pt idx="15177">
                  <c:v>7.1559999999999997</c:v>
                </c:pt>
                <c:pt idx="15178">
                  <c:v>7.157</c:v>
                </c:pt>
                <c:pt idx="15179">
                  <c:v>7.157</c:v>
                </c:pt>
                <c:pt idx="15180">
                  <c:v>7.157</c:v>
                </c:pt>
                <c:pt idx="15181">
                  <c:v>7.1559999999999997</c:v>
                </c:pt>
                <c:pt idx="15182">
                  <c:v>7.1559999999999997</c:v>
                </c:pt>
                <c:pt idx="15183">
                  <c:v>7.157</c:v>
                </c:pt>
                <c:pt idx="15184">
                  <c:v>7.1559999999999997</c:v>
                </c:pt>
                <c:pt idx="15185">
                  <c:v>7.1559999999999997</c:v>
                </c:pt>
                <c:pt idx="15186">
                  <c:v>7.1559999999999997</c:v>
                </c:pt>
                <c:pt idx="15187">
                  <c:v>7.1559999999999997</c:v>
                </c:pt>
                <c:pt idx="15188">
                  <c:v>7.1559999999999997</c:v>
                </c:pt>
                <c:pt idx="15189">
                  <c:v>7.1559999999999997</c:v>
                </c:pt>
                <c:pt idx="15190">
                  <c:v>7.1559999999999997</c:v>
                </c:pt>
                <c:pt idx="15191">
                  <c:v>7.1559999999999997</c:v>
                </c:pt>
                <c:pt idx="15192">
                  <c:v>7.1559999999999997</c:v>
                </c:pt>
                <c:pt idx="15193">
                  <c:v>7.1559999999999997</c:v>
                </c:pt>
                <c:pt idx="15194">
                  <c:v>7.1559999999999997</c:v>
                </c:pt>
                <c:pt idx="15195">
                  <c:v>7.1559999999999997</c:v>
                </c:pt>
                <c:pt idx="15196">
                  <c:v>7.1559999999999997</c:v>
                </c:pt>
                <c:pt idx="15197">
                  <c:v>7.1559999999999997</c:v>
                </c:pt>
                <c:pt idx="15198">
                  <c:v>7.1559999999999997</c:v>
                </c:pt>
                <c:pt idx="15199">
                  <c:v>7.1559999999999997</c:v>
                </c:pt>
                <c:pt idx="15200">
                  <c:v>7.1559999999999997</c:v>
                </c:pt>
                <c:pt idx="15201">
                  <c:v>7.1559999999999997</c:v>
                </c:pt>
                <c:pt idx="15202">
                  <c:v>7.1559999999999997</c:v>
                </c:pt>
                <c:pt idx="15203">
                  <c:v>7.1559999999999997</c:v>
                </c:pt>
                <c:pt idx="15204">
                  <c:v>7.1559999999999997</c:v>
                </c:pt>
                <c:pt idx="15205">
                  <c:v>7.1559999999999997</c:v>
                </c:pt>
                <c:pt idx="15206">
                  <c:v>7.1559999999999997</c:v>
                </c:pt>
                <c:pt idx="15207">
                  <c:v>7.1559999999999997</c:v>
                </c:pt>
                <c:pt idx="15208">
                  <c:v>7.1559999999999997</c:v>
                </c:pt>
                <c:pt idx="15209">
                  <c:v>7.1559999999999997</c:v>
                </c:pt>
                <c:pt idx="15210">
                  <c:v>7.1559999999999997</c:v>
                </c:pt>
                <c:pt idx="15211">
                  <c:v>7.1559999999999997</c:v>
                </c:pt>
                <c:pt idx="15212">
                  <c:v>7.1559999999999997</c:v>
                </c:pt>
                <c:pt idx="15213">
                  <c:v>7.1559999999999997</c:v>
                </c:pt>
                <c:pt idx="15214">
                  <c:v>7.1559999999999997</c:v>
                </c:pt>
                <c:pt idx="15215">
                  <c:v>7.1559999999999997</c:v>
                </c:pt>
                <c:pt idx="15216">
                  <c:v>7.1559999999999997</c:v>
                </c:pt>
                <c:pt idx="15217">
                  <c:v>7.1559999999999997</c:v>
                </c:pt>
                <c:pt idx="15218">
                  <c:v>7.1559999999999997</c:v>
                </c:pt>
                <c:pt idx="15219">
                  <c:v>7.1559999999999997</c:v>
                </c:pt>
                <c:pt idx="15220">
                  <c:v>7.1559999999999997</c:v>
                </c:pt>
                <c:pt idx="15221">
                  <c:v>7.1559999999999997</c:v>
                </c:pt>
                <c:pt idx="15222">
                  <c:v>7.1559999999999997</c:v>
                </c:pt>
                <c:pt idx="15223">
                  <c:v>7.1559999999999997</c:v>
                </c:pt>
                <c:pt idx="15224">
                  <c:v>7.1559999999999997</c:v>
                </c:pt>
                <c:pt idx="15225">
                  <c:v>7.1559999999999997</c:v>
                </c:pt>
                <c:pt idx="15226">
                  <c:v>7.1559999999999997</c:v>
                </c:pt>
                <c:pt idx="15227">
                  <c:v>7.1559999999999997</c:v>
                </c:pt>
                <c:pt idx="15228">
                  <c:v>7.1559999999999997</c:v>
                </c:pt>
                <c:pt idx="15229">
                  <c:v>7.1550000000000002</c:v>
                </c:pt>
                <c:pt idx="15230">
                  <c:v>7.1559999999999997</c:v>
                </c:pt>
                <c:pt idx="15231">
                  <c:v>7.1550000000000002</c:v>
                </c:pt>
                <c:pt idx="15232">
                  <c:v>7.1550000000000002</c:v>
                </c:pt>
                <c:pt idx="15233">
                  <c:v>7.1559999999999997</c:v>
                </c:pt>
                <c:pt idx="15234">
                  <c:v>7.1559999999999997</c:v>
                </c:pt>
                <c:pt idx="15235">
                  <c:v>7.1559999999999997</c:v>
                </c:pt>
                <c:pt idx="15236">
                  <c:v>7.1550000000000002</c:v>
                </c:pt>
                <c:pt idx="15237">
                  <c:v>7.1550000000000002</c:v>
                </c:pt>
                <c:pt idx="15238">
                  <c:v>7.1559999999999997</c:v>
                </c:pt>
                <c:pt idx="15239">
                  <c:v>7.1550000000000002</c:v>
                </c:pt>
                <c:pt idx="15240">
                  <c:v>7.1550000000000002</c:v>
                </c:pt>
                <c:pt idx="15241">
                  <c:v>7.1550000000000002</c:v>
                </c:pt>
                <c:pt idx="15242">
                  <c:v>7.1550000000000002</c:v>
                </c:pt>
                <c:pt idx="15243">
                  <c:v>7.1550000000000002</c:v>
                </c:pt>
                <c:pt idx="15244">
                  <c:v>7.1550000000000002</c:v>
                </c:pt>
                <c:pt idx="15245">
                  <c:v>7.1550000000000002</c:v>
                </c:pt>
                <c:pt idx="15246">
                  <c:v>7.1550000000000002</c:v>
                </c:pt>
                <c:pt idx="15247">
                  <c:v>7.1550000000000002</c:v>
                </c:pt>
                <c:pt idx="15248">
                  <c:v>7.1550000000000002</c:v>
                </c:pt>
                <c:pt idx="15249">
                  <c:v>7.1550000000000002</c:v>
                </c:pt>
                <c:pt idx="15250">
                  <c:v>7.1550000000000002</c:v>
                </c:pt>
                <c:pt idx="15251">
                  <c:v>7.1550000000000002</c:v>
                </c:pt>
                <c:pt idx="15252">
                  <c:v>7.1550000000000002</c:v>
                </c:pt>
                <c:pt idx="15253">
                  <c:v>7.1550000000000002</c:v>
                </c:pt>
                <c:pt idx="15254">
                  <c:v>7.1550000000000002</c:v>
                </c:pt>
                <c:pt idx="15255">
                  <c:v>7.1550000000000002</c:v>
                </c:pt>
                <c:pt idx="15256">
                  <c:v>7.1550000000000002</c:v>
                </c:pt>
                <c:pt idx="15257">
                  <c:v>7.1550000000000002</c:v>
                </c:pt>
                <c:pt idx="15258">
                  <c:v>7.1550000000000002</c:v>
                </c:pt>
                <c:pt idx="15259">
                  <c:v>7.1550000000000002</c:v>
                </c:pt>
                <c:pt idx="15260">
                  <c:v>7.1550000000000002</c:v>
                </c:pt>
                <c:pt idx="15261">
                  <c:v>7.1550000000000002</c:v>
                </c:pt>
                <c:pt idx="15262">
                  <c:v>7.1539999999999999</c:v>
                </c:pt>
                <c:pt idx="15263">
                  <c:v>7.1550000000000002</c:v>
                </c:pt>
                <c:pt idx="15264">
                  <c:v>7.1539999999999999</c:v>
                </c:pt>
                <c:pt idx="15265">
                  <c:v>7.1550000000000002</c:v>
                </c:pt>
                <c:pt idx="15266">
                  <c:v>7.1550000000000002</c:v>
                </c:pt>
                <c:pt idx="15267">
                  <c:v>7.1550000000000002</c:v>
                </c:pt>
                <c:pt idx="15268">
                  <c:v>7.1550000000000002</c:v>
                </c:pt>
                <c:pt idx="15269">
                  <c:v>7.1550000000000002</c:v>
                </c:pt>
                <c:pt idx="15270">
                  <c:v>7.1539999999999999</c:v>
                </c:pt>
                <c:pt idx="15271">
                  <c:v>7.1550000000000002</c:v>
                </c:pt>
                <c:pt idx="15272">
                  <c:v>7.1550000000000002</c:v>
                </c:pt>
                <c:pt idx="15273">
                  <c:v>7.1550000000000002</c:v>
                </c:pt>
                <c:pt idx="15274">
                  <c:v>7.1550000000000002</c:v>
                </c:pt>
                <c:pt idx="15275">
                  <c:v>7.1550000000000002</c:v>
                </c:pt>
                <c:pt idx="15276">
                  <c:v>7.1550000000000002</c:v>
                </c:pt>
                <c:pt idx="15277">
                  <c:v>7.1550000000000002</c:v>
                </c:pt>
                <c:pt idx="15278">
                  <c:v>7.1539999999999999</c:v>
                </c:pt>
                <c:pt idx="15279">
                  <c:v>7.1539999999999999</c:v>
                </c:pt>
                <c:pt idx="15280">
                  <c:v>7.1550000000000002</c:v>
                </c:pt>
                <c:pt idx="15281">
                  <c:v>7.1550000000000002</c:v>
                </c:pt>
                <c:pt idx="15282">
                  <c:v>7.1539999999999999</c:v>
                </c:pt>
                <c:pt idx="15283">
                  <c:v>7.1539999999999999</c:v>
                </c:pt>
                <c:pt idx="15284">
                  <c:v>7.1550000000000002</c:v>
                </c:pt>
                <c:pt idx="15285">
                  <c:v>7.1539999999999999</c:v>
                </c:pt>
                <c:pt idx="15286">
                  <c:v>7.1539999999999999</c:v>
                </c:pt>
                <c:pt idx="15287">
                  <c:v>7.1550000000000002</c:v>
                </c:pt>
                <c:pt idx="15288">
                  <c:v>7.1539999999999999</c:v>
                </c:pt>
                <c:pt idx="15289">
                  <c:v>7.1539999999999999</c:v>
                </c:pt>
                <c:pt idx="15290">
                  <c:v>7.1550000000000002</c:v>
                </c:pt>
                <c:pt idx="15291">
                  <c:v>7.1550000000000002</c:v>
                </c:pt>
                <c:pt idx="15292">
                  <c:v>7.1550000000000002</c:v>
                </c:pt>
                <c:pt idx="15293">
                  <c:v>7.1550000000000002</c:v>
                </c:pt>
                <c:pt idx="15294">
                  <c:v>7.1539999999999999</c:v>
                </c:pt>
                <c:pt idx="15295">
                  <c:v>7.1539999999999999</c:v>
                </c:pt>
                <c:pt idx="15296">
                  <c:v>7.1539999999999999</c:v>
                </c:pt>
                <c:pt idx="15297">
                  <c:v>7.1539999999999999</c:v>
                </c:pt>
                <c:pt idx="15298">
                  <c:v>7.1539999999999999</c:v>
                </c:pt>
                <c:pt idx="15299">
                  <c:v>7.1550000000000002</c:v>
                </c:pt>
                <c:pt idx="15300">
                  <c:v>7.1550000000000002</c:v>
                </c:pt>
                <c:pt idx="15301">
                  <c:v>7.1539999999999999</c:v>
                </c:pt>
                <c:pt idx="15302">
                  <c:v>7.1539999999999999</c:v>
                </c:pt>
                <c:pt idx="15303">
                  <c:v>7.1539999999999999</c:v>
                </c:pt>
                <c:pt idx="15304">
                  <c:v>7.1539999999999999</c:v>
                </c:pt>
                <c:pt idx="15305">
                  <c:v>7.1539999999999999</c:v>
                </c:pt>
                <c:pt idx="15306">
                  <c:v>7.1539999999999999</c:v>
                </c:pt>
                <c:pt idx="15307">
                  <c:v>7.1539999999999999</c:v>
                </c:pt>
                <c:pt idx="15308">
                  <c:v>7.1539999999999999</c:v>
                </c:pt>
                <c:pt idx="15309">
                  <c:v>7.1539999999999999</c:v>
                </c:pt>
                <c:pt idx="15310">
                  <c:v>7.1539999999999999</c:v>
                </c:pt>
                <c:pt idx="15311">
                  <c:v>7.1539999999999999</c:v>
                </c:pt>
                <c:pt idx="15312">
                  <c:v>7.1539999999999999</c:v>
                </c:pt>
                <c:pt idx="15313">
                  <c:v>7.1539999999999999</c:v>
                </c:pt>
                <c:pt idx="15314">
                  <c:v>7.1539999999999999</c:v>
                </c:pt>
                <c:pt idx="15315">
                  <c:v>7.1539999999999999</c:v>
                </c:pt>
                <c:pt idx="15316">
                  <c:v>7.1539999999999999</c:v>
                </c:pt>
                <c:pt idx="15317">
                  <c:v>7.1539999999999999</c:v>
                </c:pt>
                <c:pt idx="15318">
                  <c:v>7.1539999999999999</c:v>
                </c:pt>
                <c:pt idx="15319">
                  <c:v>7.1539999999999999</c:v>
                </c:pt>
                <c:pt idx="15320">
                  <c:v>7.1539999999999999</c:v>
                </c:pt>
                <c:pt idx="15321">
                  <c:v>7.1539999999999999</c:v>
                </c:pt>
                <c:pt idx="15322">
                  <c:v>7.1539999999999999</c:v>
                </c:pt>
                <c:pt idx="15323">
                  <c:v>7.1539999999999999</c:v>
                </c:pt>
                <c:pt idx="15324">
                  <c:v>7.1539999999999999</c:v>
                </c:pt>
                <c:pt idx="15325">
                  <c:v>7.1539999999999999</c:v>
                </c:pt>
                <c:pt idx="15326">
                  <c:v>7.1529999999999996</c:v>
                </c:pt>
                <c:pt idx="15327">
                  <c:v>7.1539999999999999</c:v>
                </c:pt>
                <c:pt idx="15328">
                  <c:v>7.1539999999999999</c:v>
                </c:pt>
                <c:pt idx="15329">
                  <c:v>7.1539999999999999</c:v>
                </c:pt>
                <c:pt idx="15330">
                  <c:v>7.1539999999999999</c:v>
                </c:pt>
                <c:pt idx="15331">
                  <c:v>7.1539999999999999</c:v>
                </c:pt>
                <c:pt idx="15332">
                  <c:v>7.1539999999999999</c:v>
                </c:pt>
                <c:pt idx="15333">
                  <c:v>7.1539999999999999</c:v>
                </c:pt>
                <c:pt idx="15334">
                  <c:v>7.1539999999999999</c:v>
                </c:pt>
                <c:pt idx="15335">
                  <c:v>7.1539999999999999</c:v>
                </c:pt>
                <c:pt idx="15336">
                  <c:v>7.1539999999999999</c:v>
                </c:pt>
                <c:pt idx="15337">
                  <c:v>7.1539999999999999</c:v>
                </c:pt>
                <c:pt idx="15338">
                  <c:v>7.1539999999999999</c:v>
                </c:pt>
                <c:pt idx="15339">
                  <c:v>7.1539999999999999</c:v>
                </c:pt>
                <c:pt idx="15340">
                  <c:v>7.1539999999999999</c:v>
                </c:pt>
                <c:pt idx="15341">
                  <c:v>7.1539999999999999</c:v>
                </c:pt>
                <c:pt idx="15342">
                  <c:v>7.1539999999999999</c:v>
                </c:pt>
                <c:pt idx="15343">
                  <c:v>7.1539999999999999</c:v>
                </c:pt>
                <c:pt idx="15344">
                  <c:v>7.1539999999999999</c:v>
                </c:pt>
                <c:pt idx="15345">
                  <c:v>7.1539999999999999</c:v>
                </c:pt>
                <c:pt idx="15346">
                  <c:v>7.1539999999999999</c:v>
                </c:pt>
                <c:pt idx="15347">
                  <c:v>7.1539999999999999</c:v>
                </c:pt>
                <c:pt idx="15348">
                  <c:v>7.1539999999999999</c:v>
                </c:pt>
                <c:pt idx="15349">
                  <c:v>7.1539999999999999</c:v>
                </c:pt>
                <c:pt idx="15350">
                  <c:v>7.1539999999999999</c:v>
                </c:pt>
                <c:pt idx="15351">
                  <c:v>7.1539999999999999</c:v>
                </c:pt>
                <c:pt idx="15352">
                  <c:v>7.1539999999999999</c:v>
                </c:pt>
                <c:pt idx="15353">
                  <c:v>7.1539999999999999</c:v>
                </c:pt>
                <c:pt idx="15354">
                  <c:v>7.1539999999999999</c:v>
                </c:pt>
                <c:pt idx="15355">
                  <c:v>7.1539999999999999</c:v>
                </c:pt>
                <c:pt idx="15356">
                  <c:v>7.1539999999999999</c:v>
                </c:pt>
                <c:pt idx="15357">
                  <c:v>7.1529999999999996</c:v>
                </c:pt>
                <c:pt idx="15358">
                  <c:v>7.1529999999999996</c:v>
                </c:pt>
                <c:pt idx="15359">
                  <c:v>7.1529999999999996</c:v>
                </c:pt>
                <c:pt idx="15360">
                  <c:v>7.1539999999999999</c:v>
                </c:pt>
                <c:pt idx="15361">
                  <c:v>7.1539999999999999</c:v>
                </c:pt>
                <c:pt idx="15362">
                  <c:v>7.1529999999999996</c:v>
                </c:pt>
                <c:pt idx="15363">
                  <c:v>7.1539999999999999</c:v>
                </c:pt>
                <c:pt idx="15364">
                  <c:v>7.1529999999999996</c:v>
                </c:pt>
                <c:pt idx="15365">
                  <c:v>7.1539999999999999</c:v>
                </c:pt>
                <c:pt idx="15366">
                  <c:v>7.1529999999999996</c:v>
                </c:pt>
                <c:pt idx="15367">
                  <c:v>7.1529999999999996</c:v>
                </c:pt>
                <c:pt idx="15368">
                  <c:v>7.1529999999999996</c:v>
                </c:pt>
                <c:pt idx="15369">
                  <c:v>7.1539999999999999</c:v>
                </c:pt>
                <c:pt idx="15370">
                  <c:v>7.1539999999999999</c:v>
                </c:pt>
                <c:pt idx="15371">
                  <c:v>7.1539999999999999</c:v>
                </c:pt>
                <c:pt idx="15372">
                  <c:v>7.1539999999999999</c:v>
                </c:pt>
                <c:pt idx="15373">
                  <c:v>7.1539999999999999</c:v>
                </c:pt>
                <c:pt idx="15374">
                  <c:v>7.1529999999999996</c:v>
                </c:pt>
                <c:pt idx="15375">
                  <c:v>7.1529999999999996</c:v>
                </c:pt>
                <c:pt idx="15376">
                  <c:v>7.1539999999999999</c:v>
                </c:pt>
                <c:pt idx="15377">
                  <c:v>7.1529999999999996</c:v>
                </c:pt>
                <c:pt idx="15378">
                  <c:v>7.1529999999999996</c:v>
                </c:pt>
                <c:pt idx="15379">
                  <c:v>7.1529999999999996</c:v>
                </c:pt>
                <c:pt idx="15380">
                  <c:v>7.1529999999999996</c:v>
                </c:pt>
                <c:pt idx="15381">
                  <c:v>7.1529999999999996</c:v>
                </c:pt>
                <c:pt idx="15382">
                  <c:v>7.1529999999999996</c:v>
                </c:pt>
                <c:pt idx="15383">
                  <c:v>7.1529999999999996</c:v>
                </c:pt>
                <c:pt idx="15384">
                  <c:v>7.1529999999999996</c:v>
                </c:pt>
                <c:pt idx="15385">
                  <c:v>7.1529999999999996</c:v>
                </c:pt>
                <c:pt idx="15386">
                  <c:v>7.1529999999999996</c:v>
                </c:pt>
                <c:pt idx="15387">
                  <c:v>7.1529999999999996</c:v>
                </c:pt>
                <c:pt idx="15388">
                  <c:v>7.1529999999999996</c:v>
                </c:pt>
                <c:pt idx="15389">
                  <c:v>7.1529999999999996</c:v>
                </c:pt>
                <c:pt idx="15390">
                  <c:v>7.1529999999999996</c:v>
                </c:pt>
                <c:pt idx="15391">
                  <c:v>7.1529999999999996</c:v>
                </c:pt>
                <c:pt idx="15392">
                  <c:v>7.1539999999999999</c:v>
                </c:pt>
                <c:pt idx="15393">
                  <c:v>7.1529999999999996</c:v>
                </c:pt>
                <c:pt idx="15394">
                  <c:v>7.1529999999999996</c:v>
                </c:pt>
                <c:pt idx="15395">
                  <c:v>7.1529999999999996</c:v>
                </c:pt>
                <c:pt idx="15396">
                  <c:v>7.1529999999999996</c:v>
                </c:pt>
                <c:pt idx="15397">
                  <c:v>7.1529999999999996</c:v>
                </c:pt>
                <c:pt idx="15398">
                  <c:v>7.1529999999999996</c:v>
                </c:pt>
                <c:pt idx="15399">
                  <c:v>7.1529999999999996</c:v>
                </c:pt>
                <c:pt idx="15400">
                  <c:v>7.1529999999999996</c:v>
                </c:pt>
                <c:pt idx="15401">
                  <c:v>7.1529999999999996</c:v>
                </c:pt>
                <c:pt idx="15402">
                  <c:v>7.1529999999999996</c:v>
                </c:pt>
                <c:pt idx="15403">
                  <c:v>7.1529999999999996</c:v>
                </c:pt>
                <c:pt idx="15404">
                  <c:v>7.1529999999999996</c:v>
                </c:pt>
                <c:pt idx="15405">
                  <c:v>7.1529999999999996</c:v>
                </c:pt>
                <c:pt idx="15406">
                  <c:v>7.1529999999999996</c:v>
                </c:pt>
                <c:pt idx="15407">
                  <c:v>7.1529999999999996</c:v>
                </c:pt>
                <c:pt idx="15408">
                  <c:v>7.1529999999999996</c:v>
                </c:pt>
                <c:pt idx="15409">
                  <c:v>7.1529999999999996</c:v>
                </c:pt>
                <c:pt idx="15410">
                  <c:v>7.1529999999999996</c:v>
                </c:pt>
                <c:pt idx="15411">
                  <c:v>7.1529999999999996</c:v>
                </c:pt>
                <c:pt idx="15412">
                  <c:v>7.1529999999999996</c:v>
                </c:pt>
                <c:pt idx="15413">
                  <c:v>7.1529999999999996</c:v>
                </c:pt>
                <c:pt idx="15414">
                  <c:v>7.1529999999999996</c:v>
                </c:pt>
                <c:pt idx="15415">
                  <c:v>7.1529999999999996</c:v>
                </c:pt>
                <c:pt idx="15416">
                  <c:v>7.1529999999999996</c:v>
                </c:pt>
                <c:pt idx="15417">
                  <c:v>7.1529999999999996</c:v>
                </c:pt>
                <c:pt idx="15418">
                  <c:v>7.1529999999999996</c:v>
                </c:pt>
                <c:pt idx="15419">
                  <c:v>7.1529999999999996</c:v>
                </c:pt>
                <c:pt idx="15420">
                  <c:v>7.1529999999999996</c:v>
                </c:pt>
                <c:pt idx="15421">
                  <c:v>7.1529999999999996</c:v>
                </c:pt>
                <c:pt idx="15422">
                  <c:v>7.1529999999999996</c:v>
                </c:pt>
                <c:pt idx="15423">
                  <c:v>7.1529999999999996</c:v>
                </c:pt>
                <c:pt idx="15424">
                  <c:v>7.1520000000000001</c:v>
                </c:pt>
                <c:pt idx="15425">
                  <c:v>7.1529999999999996</c:v>
                </c:pt>
                <c:pt idx="15426">
                  <c:v>7.1520000000000001</c:v>
                </c:pt>
                <c:pt idx="15427">
                  <c:v>7.1529999999999996</c:v>
                </c:pt>
                <c:pt idx="15428">
                  <c:v>7.1520000000000001</c:v>
                </c:pt>
                <c:pt idx="15429">
                  <c:v>7.1520000000000001</c:v>
                </c:pt>
                <c:pt idx="15430">
                  <c:v>7.1529999999999996</c:v>
                </c:pt>
                <c:pt idx="15431">
                  <c:v>7.1520000000000001</c:v>
                </c:pt>
                <c:pt idx="15432">
                  <c:v>7.1520000000000001</c:v>
                </c:pt>
                <c:pt idx="15433">
                  <c:v>7.1520000000000001</c:v>
                </c:pt>
                <c:pt idx="15434">
                  <c:v>7.1520000000000001</c:v>
                </c:pt>
                <c:pt idx="15435">
                  <c:v>7.1529999999999996</c:v>
                </c:pt>
                <c:pt idx="15436">
                  <c:v>7.1520000000000001</c:v>
                </c:pt>
                <c:pt idx="15437">
                  <c:v>7.1520000000000001</c:v>
                </c:pt>
                <c:pt idx="15438">
                  <c:v>7.1520000000000001</c:v>
                </c:pt>
                <c:pt idx="15439">
                  <c:v>7.1520000000000001</c:v>
                </c:pt>
                <c:pt idx="15440">
                  <c:v>7.1529999999999996</c:v>
                </c:pt>
                <c:pt idx="15441">
                  <c:v>7.1529999999999996</c:v>
                </c:pt>
                <c:pt idx="15442">
                  <c:v>7.1520000000000001</c:v>
                </c:pt>
                <c:pt idx="15443">
                  <c:v>7.1520000000000001</c:v>
                </c:pt>
                <c:pt idx="15444">
                  <c:v>7.1520000000000001</c:v>
                </c:pt>
                <c:pt idx="15445">
                  <c:v>7.1520000000000001</c:v>
                </c:pt>
                <c:pt idx="15446">
                  <c:v>7.1520000000000001</c:v>
                </c:pt>
                <c:pt idx="15447">
                  <c:v>7.1520000000000001</c:v>
                </c:pt>
                <c:pt idx="15448">
                  <c:v>7.1520000000000001</c:v>
                </c:pt>
                <c:pt idx="15449">
                  <c:v>7.1520000000000001</c:v>
                </c:pt>
                <c:pt idx="15450">
                  <c:v>7.1520000000000001</c:v>
                </c:pt>
                <c:pt idx="15451">
                  <c:v>7.1520000000000001</c:v>
                </c:pt>
                <c:pt idx="15452">
                  <c:v>7.1520000000000001</c:v>
                </c:pt>
                <c:pt idx="15453">
                  <c:v>7.1529999999999996</c:v>
                </c:pt>
                <c:pt idx="15454">
                  <c:v>7.1520000000000001</c:v>
                </c:pt>
                <c:pt idx="15455">
                  <c:v>7.1520000000000001</c:v>
                </c:pt>
                <c:pt idx="15456">
                  <c:v>7.1520000000000001</c:v>
                </c:pt>
                <c:pt idx="15457">
                  <c:v>7.1520000000000001</c:v>
                </c:pt>
                <c:pt idx="15458">
                  <c:v>7.1520000000000001</c:v>
                </c:pt>
                <c:pt idx="15459">
                  <c:v>7.1520000000000001</c:v>
                </c:pt>
                <c:pt idx="15460">
                  <c:v>7.1520000000000001</c:v>
                </c:pt>
                <c:pt idx="15461">
                  <c:v>7.1520000000000001</c:v>
                </c:pt>
                <c:pt idx="15462">
                  <c:v>7.1520000000000001</c:v>
                </c:pt>
                <c:pt idx="15463">
                  <c:v>7.1509999999999998</c:v>
                </c:pt>
                <c:pt idx="15464">
                  <c:v>7.1520000000000001</c:v>
                </c:pt>
                <c:pt idx="15465">
                  <c:v>7.1520000000000001</c:v>
                </c:pt>
                <c:pt idx="15466">
                  <c:v>7.1509999999999998</c:v>
                </c:pt>
                <c:pt idx="15467">
                  <c:v>7.1509999999999998</c:v>
                </c:pt>
                <c:pt idx="15468">
                  <c:v>7.1520000000000001</c:v>
                </c:pt>
                <c:pt idx="15469">
                  <c:v>7.1509999999999998</c:v>
                </c:pt>
                <c:pt idx="15470">
                  <c:v>7.1509999999999998</c:v>
                </c:pt>
                <c:pt idx="15471">
                  <c:v>7.1509999999999998</c:v>
                </c:pt>
                <c:pt idx="15472">
                  <c:v>7.1509999999999998</c:v>
                </c:pt>
                <c:pt idx="15473">
                  <c:v>7.1509999999999998</c:v>
                </c:pt>
                <c:pt idx="15474">
                  <c:v>7.1509999999999998</c:v>
                </c:pt>
                <c:pt idx="15475">
                  <c:v>7.1509999999999998</c:v>
                </c:pt>
                <c:pt idx="15476">
                  <c:v>7.1509999999999998</c:v>
                </c:pt>
                <c:pt idx="15477">
                  <c:v>7.1509999999999998</c:v>
                </c:pt>
                <c:pt idx="15478">
                  <c:v>7.1509999999999998</c:v>
                </c:pt>
                <c:pt idx="15479">
                  <c:v>7.1509999999999998</c:v>
                </c:pt>
                <c:pt idx="15480">
                  <c:v>7.1509999999999998</c:v>
                </c:pt>
                <c:pt idx="15481">
                  <c:v>7.1509999999999998</c:v>
                </c:pt>
                <c:pt idx="15482">
                  <c:v>7.1509999999999998</c:v>
                </c:pt>
                <c:pt idx="15483">
                  <c:v>7.1509999999999998</c:v>
                </c:pt>
                <c:pt idx="15484">
                  <c:v>7.1509999999999998</c:v>
                </c:pt>
                <c:pt idx="15485">
                  <c:v>7.15</c:v>
                </c:pt>
                <c:pt idx="15486">
                  <c:v>7.1509999999999998</c:v>
                </c:pt>
                <c:pt idx="15487">
                  <c:v>7.1509999999999998</c:v>
                </c:pt>
                <c:pt idx="15488">
                  <c:v>7.15</c:v>
                </c:pt>
                <c:pt idx="15489">
                  <c:v>7.1509999999999998</c:v>
                </c:pt>
                <c:pt idx="15490">
                  <c:v>7.1509999999999998</c:v>
                </c:pt>
                <c:pt idx="15491">
                  <c:v>7.1509999999999998</c:v>
                </c:pt>
                <c:pt idx="15492">
                  <c:v>7.1509999999999998</c:v>
                </c:pt>
                <c:pt idx="15493">
                  <c:v>7.1509999999999998</c:v>
                </c:pt>
                <c:pt idx="15494">
                  <c:v>7.1509999999999998</c:v>
                </c:pt>
                <c:pt idx="15495">
                  <c:v>7.1509999999999998</c:v>
                </c:pt>
                <c:pt idx="15496">
                  <c:v>7.1509999999999998</c:v>
                </c:pt>
                <c:pt idx="15497">
                  <c:v>7.1509999999999998</c:v>
                </c:pt>
                <c:pt idx="15498">
                  <c:v>7.1509999999999998</c:v>
                </c:pt>
                <c:pt idx="15499">
                  <c:v>7.1509999999999998</c:v>
                </c:pt>
                <c:pt idx="15500">
                  <c:v>7.15</c:v>
                </c:pt>
                <c:pt idx="15501">
                  <c:v>7.1509999999999998</c:v>
                </c:pt>
                <c:pt idx="15502">
                  <c:v>7.15</c:v>
                </c:pt>
                <c:pt idx="15503">
                  <c:v>7.15</c:v>
                </c:pt>
                <c:pt idx="15504">
                  <c:v>7.15</c:v>
                </c:pt>
                <c:pt idx="15505">
                  <c:v>7.15</c:v>
                </c:pt>
                <c:pt idx="15506">
                  <c:v>7.15</c:v>
                </c:pt>
                <c:pt idx="15507">
                  <c:v>7.15</c:v>
                </c:pt>
                <c:pt idx="15508">
                  <c:v>7.15</c:v>
                </c:pt>
                <c:pt idx="15509">
                  <c:v>7.15</c:v>
                </c:pt>
                <c:pt idx="15510">
                  <c:v>7.15</c:v>
                </c:pt>
                <c:pt idx="15511">
                  <c:v>7.15</c:v>
                </c:pt>
                <c:pt idx="15512">
                  <c:v>7.1509999999999998</c:v>
                </c:pt>
                <c:pt idx="15513">
                  <c:v>7.1509999999999998</c:v>
                </c:pt>
                <c:pt idx="15514">
                  <c:v>7.15</c:v>
                </c:pt>
                <c:pt idx="15515">
                  <c:v>7.15</c:v>
                </c:pt>
                <c:pt idx="15516">
                  <c:v>7.15</c:v>
                </c:pt>
                <c:pt idx="15517">
                  <c:v>7.15</c:v>
                </c:pt>
                <c:pt idx="15518">
                  <c:v>7.15</c:v>
                </c:pt>
                <c:pt idx="15519">
                  <c:v>7.15</c:v>
                </c:pt>
                <c:pt idx="15520">
                  <c:v>7.1509999999999998</c:v>
                </c:pt>
                <c:pt idx="15521">
                  <c:v>7.1509999999999998</c:v>
                </c:pt>
                <c:pt idx="15522">
                  <c:v>7.15</c:v>
                </c:pt>
                <c:pt idx="15523">
                  <c:v>7.1509999999999998</c:v>
                </c:pt>
                <c:pt idx="15524">
                  <c:v>7.1509999999999998</c:v>
                </c:pt>
                <c:pt idx="15525">
                  <c:v>7.15</c:v>
                </c:pt>
                <c:pt idx="15526">
                  <c:v>7.1509999999999998</c:v>
                </c:pt>
                <c:pt idx="15527">
                  <c:v>7.1509999999999998</c:v>
                </c:pt>
                <c:pt idx="15528">
                  <c:v>7.1509999999999998</c:v>
                </c:pt>
                <c:pt idx="15529">
                  <c:v>7.15</c:v>
                </c:pt>
                <c:pt idx="15530">
                  <c:v>7.15</c:v>
                </c:pt>
                <c:pt idx="15531">
                  <c:v>7.1509999999999998</c:v>
                </c:pt>
                <c:pt idx="15532">
                  <c:v>7.15</c:v>
                </c:pt>
                <c:pt idx="15533">
                  <c:v>7.1509999999999998</c:v>
                </c:pt>
                <c:pt idx="15534">
                  <c:v>7.1509999999999998</c:v>
                </c:pt>
                <c:pt idx="15535">
                  <c:v>7.15</c:v>
                </c:pt>
                <c:pt idx="15536">
                  <c:v>7.15</c:v>
                </c:pt>
                <c:pt idx="15537">
                  <c:v>7.1509999999999998</c:v>
                </c:pt>
                <c:pt idx="15538">
                  <c:v>7.15</c:v>
                </c:pt>
                <c:pt idx="15539">
                  <c:v>7.15</c:v>
                </c:pt>
                <c:pt idx="15540">
                  <c:v>7.15</c:v>
                </c:pt>
                <c:pt idx="15541">
                  <c:v>7.15</c:v>
                </c:pt>
                <c:pt idx="15542">
                  <c:v>7.15</c:v>
                </c:pt>
                <c:pt idx="15543">
                  <c:v>7.15</c:v>
                </c:pt>
                <c:pt idx="15544">
                  <c:v>7.15</c:v>
                </c:pt>
                <c:pt idx="15545">
                  <c:v>7.15</c:v>
                </c:pt>
                <c:pt idx="15546">
                  <c:v>7.15</c:v>
                </c:pt>
                <c:pt idx="15547">
                  <c:v>7.15</c:v>
                </c:pt>
                <c:pt idx="15548">
                  <c:v>7.15</c:v>
                </c:pt>
                <c:pt idx="15549">
                  <c:v>7.15</c:v>
                </c:pt>
                <c:pt idx="15550">
                  <c:v>7.15</c:v>
                </c:pt>
                <c:pt idx="15551">
                  <c:v>7.15</c:v>
                </c:pt>
                <c:pt idx="15552">
                  <c:v>7.15</c:v>
                </c:pt>
                <c:pt idx="15553">
                  <c:v>7.15</c:v>
                </c:pt>
                <c:pt idx="15554">
                  <c:v>7.15</c:v>
                </c:pt>
                <c:pt idx="15555">
                  <c:v>7.15</c:v>
                </c:pt>
                <c:pt idx="15556">
                  <c:v>7.15</c:v>
                </c:pt>
                <c:pt idx="15557">
                  <c:v>7.15</c:v>
                </c:pt>
                <c:pt idx="15558">
                  <c:v>7.15</c:v>
                </c:pt>
                <c:pt idx="15559">
                  <c:v>7.15</c:v>
                </c:pt>
                <c:pt idx="15560">
                  <c:v>7.15</c:v>
                </c:pt>
                <c:pt idx="15561">
                  <c:v>7.15</c:v>
                </c:pt>
                <c:pt idx="15562">
                  <c:v>7.15</c:v>
                </c:pt>
                <c:pt idx="15563">
                  <c:v>7.15</c:v>
                </c:pt>
                <c:pt idx="15564">
                  <c:v>7.15</c:v>
                </c:pt>
                <c:pt idx="15565">
                  <c:v>7.15</c:v>
                </c:pt>
                <c:pt idx="15566">
                  <c:v>7.15</c:v>
                </c:pt>
                <c:pt idx="15567">
                  <c:v>7.15</c:v>
                </c:pt>
                <c:pt idx="15568">
                  <c:v>7.15</c:v>
                </c:pt>
                <c:pt idx="15569">
                  <c:v>7.15</c:v>
                </c:pt>
                <c:pt idx="15570">
                  <c:v>7.15</c:v>
                </c:pt>
                <c:pt idx="15571">
                  <c:v>7.15</c:v>
                </c:pt>
                <c:pt idx="15572">
                  <c:v>7.15</c:v>
                </c:pt>
                <c:pt idx="15573">
                  <c:v>7.15</c:v>
                </c:pt>
                <c:pt idx="15574">
                  <c:v>7.15</c:v>
                </c:pt>
                <c:pt idx="15575">
                  <c:v>7.15</c:v>
                </c:pt>
                <c:pt idx="15576">
                  <c:v>7.15</c:v>
                </c:pt>
                <c:pt idx="15577">
                  <c:v>7.15</c:v>
                </c:pt>
                <c:pt idx="15578">
                  <c:v>7.15</c:v>
                </c:pt>
                <c:pt idx="15579">
                  <c:v>7.15</c:v>
                </c:pt>
                <c:pt idx="15580">
                  <c:v>7.15</c:v>
                </c:pt>
                <c:pt idx="15581">
                  <c:v>7.15</c:v>
                </c:pt>
                <c:pt idx="15582">
                  <c:v>7.15</c:v>
                </c:pt>
                <c:pt idx="15583">
                  <c:v>7.15</c:v>
                </c:pt>
                <c:pt idx="15584">
                  <c:v>7.15</c:v>
                </c:pt>
                <c:pt idx="15585">
                  <c:v>7.15</c:v>
                </c:pt>
                <c:pt idx="15586">
                  <c:v>7.149</c:v>
                </c:pt>
                <c:pt idx="15587">
                  <c:v>7.15</c:v>
                </c:pt>
                <c:pt idx="15588">
                  <c:v>7.15</c:v>
                </c:pt>
                <c:pt idx="15589">
                  <c:v>7.149</c:v>
                </c:pt>
                <c:pt idx="15590">
                  <c:v>7.149</c:v>
                </c:pt>
                <c:pt idx="15591">
                  <c:v>7.149</c:v>
                </c:pt>
                <c:pt idx="15592">
                  <c:v>7.149</c:v>
                </c:pt>
                <c:pt idx="15593">
                  <c:v>7.149</c:v>
                </c:pt>
                <c:pt idx="15594">
                  <c:v>7.149</c:v>
                </c:pt>
                <c:pt idx="15595">
                  <c:v>7.149</c:v>
                </c:pt>
                <c:pt idx="15596">
                  <c:v>7.149</c:v>
                </c:pt>
                <c:pt idx="15597">
                  <c:v>7.15</c:v>
                </c:pt>
                <c:pt idx="15598">
                  <c:v>7.15</c:v>
                </c:pt>
                <c:pt idx="15599">
                  <c:v>7.15</c:v>
                </c:pt>
                <c:pt idx="15600">
                  <c:v>7.15</c:v>
                </c:pt>
                <c:pt idx="15601">
                  <c:v>7.15</c:v>
                </c:pt>
                <c:pt idx="15602">
                  <c:v>7.15</c:v>
                </c:pt>
                <c:pt idx="15603">
                  <c:v>7.15</c:v>
                </c:pt>
                <c:pt idx="15604">
                  <c:v>7.15</c:v>
                </c:pt>
                <c:pt idx="15605">
                  <c:v>7.15</c:v>
                </c:pt>
                <c:pt idx="15606">
                  <c:v>7.15</c:v>
                </c:pt>
                <c:pt idx="15607">
                  <c:v>7.15</c:v>
                </c:pt>
                <c:pt idx="15608">
                  <c:v>7.15</c:v>
                </c:pt>
                <c:pt idx="15609">
                  <c:v>7.15</c:v>
                </c:pt>
                <c:pt idx="15610">
                  <c:v>7.149</c:v>
                </c:pt>
                <c:pt idx="15611">
                  <c:v>7.149</c:v>
                </c:pt>
                <c:pt idx="15612">
                  <c:v>7.149</c:v>
                </c:pt>
                <c:pt idx="15613">
                  <c:v>7.149</c:v>
                </c:pt>
                <c:pt idx="15614">
                  <c:v>7.149</c:v>
                </c:pt>
                <c:pt idx="15615">
                  <c:v>7.149</c:v>
                </c:pt>
                <c:pt idx="15616">
                  <c:v>7.149</c:v>
                </c:pt>
                <c:pt idx="15617">
                  <c:v>7.149</c:v>
                </c:pt>
                <c:pt idx="15618">
                  <c:v>7.149</c:v>
                </c:pt>
                <c:pt idx="15619">
                  <c:v>7.149</c:v>
                </c:pt>
                <c:pt idx="15620">
                  <c:v>7.149</c:v>
                </c:pt>
                <c:pt idx="15621">
                  <c:v>7.149</c:v>
                </c:pt>
                <c:pt idx="15622">
                  <c:v>7.149</c:v>
                </c:pt>
                <c:pt idx="15623">
                  <c:v>7.149</c:v>
                </c:pt>
                <c:pt idx="15624">
                  <c:v>7.149</c:v>
                </c:pt>
                <c:pt idx="15625">
                  <c:v>7.1479999999999997</c:v>
                </c:pt>
                <c:pt idx="15626">
                  <c:v>7.149</c:v>
                </c:pt>
                <c:pt idx="15627">
                  <c:v>7.149</c:v>
                </c:pt>
                <c:pt idx="15628">
                  <c:v>7.149</c:v>
                </c:pt>
                <c:pt idx="15629">
                  <c:v>7.149</c:v>
                </c:pt>
                <c:pt idx="15630">
                  <c:v>7.149</c:v>
                </c:pt>
                <c:pt idx="15631">
                  <c:v>7.149</c:v>
                </c:pt>
                <c:pt idx="15632">
                  <c:v>7.149</c:v>
                </c:pt>
                <c:pt idx="15633">
                  <c:v>7.149</c:v>
                </c:pt>
                <c:pt idx="15634">
                  <c:v>7.149</c:v>
                </c:pt>
                <c:pt idx="15635">
                  <c:v>7.149</c:v>
                </c:pt>
                <c:pt idx="15636">
                  <c:v>7.149</c:v>
                </c:pt>
                <c:pt idx="15637">
                  <c:v>7.149</c:v>
                </c:pt>
                <c:pt idx="15638">
                  <c:v>7.149</c:v>
                </c:pt>
                <c:pt idx="15639">
                  <c:v>7.149</c:v>
                </c:pt>
                <c:pt idx="15640">
                  <c:v>7.149</c:v>
                </c:pt>
                <c:pt idx="15641">
                  <c:v>7.149</c:v>
                </c:pt>
                <c:pt idx="15642">
                  <c:v>7.149</c:v>
                </c:pt>
                <c:pt idx="15643">
                  <c:v>7.149</c:v>
                </c:pt>
                <c:pt idx="15644">
                  <c:v>7.149</c:v>
                </c:pt>
                <c:pt idx="15645">
                  <c:v>7.149</c:v>
                </c:pt>
                <c:pt idx="15646">
                  <c:v>7.149</c:v>
                </c:pt>
                <c:pt idx="15647">
                  <c:v>7.149</c:v>
                </c:pt>
                <c:pt idx="15648">
                  <c:v>7.149</c:v>
                </c:pt>
                <c:pt idx="15649">
                  <c:v>7.149</c:v>
                </c:pt>
                <c:pt idx="15650">
                  <c:v>7.149</c:v>
                </c:pt>
                <c:pt idx="15651">
                  <c:v>7.149</c:v>
                </c:pt>
                <c:pt idx="15652">
                  <c:v>7.149</c:v>
                </c:pt>
                <c:pt idx="15653">
                  <c:v>7.149</c:v>
                </c:pt>
                <c:pt idx="15654">
                  <c:v>7.1479999999999997</c:v>
                </c:pt>
                <c:pt idx="15655">
                  <c:v>7.149</c:v>
                </c:pt>
                <c:pt idx="15656">
                  <c:v>7.149</c:v>
                </c:pt>
                <c:pt idx="15657">
                  <c:v>7.1479999999999997</c:v>
                </c:pt>
                <c:pt idx="15658">
                  <c:v>7.149</c:v>
                </c:pt>
                <c:pt idx="15659">
                  <c:v>7.149</c:v>
                </c:pt>
                <c:pt idx="15660">
                  <c:v>7.149</c:v>
                </c:pt>
                <c:pt idx="15661">
                  <c:v>7.149</c:v>
                </c:pt>
                <c:pt idx="15662">
                  <c:v>7.1479999999999997</c:v>
                </c:pt>
                <c:pt idx="15663">
                  <c:v>7.149</c:v>
                </c:pt>
                <c:pt idx="15664">
                  <c:v>7.149</c:v>
                </c:pt>
                <c:pt idx="15665">
                  <c:v>7.149</c:v>
                </c:pt>
                <c:pt idx="15666">
                  <c:v>7.1479999999999997</c:v>
                </c:pt>
                <c:pt idx="15667">
                  <c:v>7.149</c:v>
                </c:pt>
                <c:pt idx="15668">
                  <c:v>7.149</c:v>
                </c:pt>
                <c:pt idx="15669">
                  <c:v>7.1479999999999997</c:v>
                </c:pt>
                <c:pt idx="15670">
                  <c:v>7.149</c:v>
                </c:pt>
                <c:pt idx="15671">
                  <c:v>7.1479999999999997</c:v>
                </c:pt>
                <c:pt idx="15672">
                  <c:v>7.149</c:v>
                </c:pt>
                <c:pt idx="15673">
                  <c:v>7.1479999999999997</c:v>
                </c:pt>
                <c:pt idx="15674">
                  <c:v>7.149</c:v>
                </c:pt>
                <c:pt idx="15675">
                  <c:v>7.1479999999999997</c:v>
                </c:pt>
                <c:pt idx="15676">
                  <c:v>7.1479999999999997</c:v>
                </c:pt>
                <c:pt idx="15677">
                  <c:v>7.1479999999999997</c:v>
                </c:pt>
                <c:pt idx="15678">
                  <c:v>7.149</c:v>
                </c:pt>
                <c:pt idx="15679">
                  <c:v>7.1479999999999997</c:v>
                </c:pt>
                <c:pt idx="15680">
                  <c:v>7.1479999999999997</c:v>
                </c:pt>
                <c:pt idx="15681">
                  <c:v>7.1479999999999997</c:v>
                </c:pt>
                <c:pt idx="15682">
                  <c:v>7.1479999999999997</c:v>
                </c:pt>
                <c:pt idx="15683">
                  <c:v>7.1479999999999997</c:v>
                </c:pt>
                <c:pt idx="15684">
                  <c:v>7.1479999999999997</c:v>
                </c:pt>
                <c:pt idx="15685">
                  <c:v>7.1479999999999997</c:v>
                </c:pt>
                <c:pt idx="15686">
                  <c:v>7.1479999999999997</c:v>
                </c:pt>
                <c:pt idx="15687">
                  <c:v>7.1479999999999997</c:v>
                </c:pt>
                <c:pt idx="15688">
                  <c:v>7.1479999999999997</c:v>
                </c:pt>
                <c:pt idx="15689">
                  <c:v>7.1479999999999997</c:v>
                </c:pt>
                <c:pt idx="15690">
                  <c:v>7.1479999999999997</c:v>
                </c:pt>
                <c:pt idx="15691">
                  <c:v>7.1479999999999997</c:v>
                </c:pt>
                <c:pt idx="15692">
                  <c:v>7.1479999999999997</c:v>
                </c:pt>
                <c:pt idx="15693">
                  <c:v>7.1479999999999997</c:v>
                </c:pt>
                <c:pt idx="15694">
                  <c:v>7.1479999999999997</c:v>
                </c:pt>
                <c:pt idx="15695">
                  <c:v>7.1479999999999997</c:v>
                </c:pt>
                <c:pt idx="15696">
                  <c:v>7.1479999999999997</c:v>
                </c:pt>
                <c:pt idx="15697">
                  <c:v>7.1479999999999997</c:v>
                </c:pt>
                <c:pt idx="15698">
                  <c:v>7.1479999999999997</c:v>
                </c:pt>
                <c:pt idx="15699">
                  <c:v>7.1479999999999997</c:v>
                </c:pt>
                <c:pt idx="15700">
                  <c:v>7.1479999999999997</c:v>
                </c:pt>
                <c:pt idx="15701">
                  <c:v>7.1479999999999997</c:v>
                </c:pt>
                <c:pt idx="15702">
                  <c:v>7.1479999999999997</c:v>
                </c:pt>
                <c:pt idx="15703">
                  <c:v>7.1479999999999997</c:v>
                </c:pt>
                <c:pt idx="15704">
                  <c:v>7.1479999999999997</c:v>
                </c:pt>
                <c:pt idx="15705">
                  <c:v>7.1479999999999997</c:v>
                </c:pt>
                <c:pt idx="15706">
                  <c:v>7.1479999999999997</c:v>
                </c:pt>
                <c:pt idx="15707">
                  <c:v>7.1479999999999997</c:v>
                </c:pt>
                <c:pt idx="15708">
                  <c:v>7.1479999999999997</c:v>
                </c:pt>
                <c:pt idx="15709">
                  <c:v>7.149</c:v>
                </c:pt>
                <c:pt idx="15710">
                  <c:v>7.1479999999999997</c:v>
                </c:pt>
                <c:pt idx="15711">
                  <c:v>7.1479999999999997</c:v>
                </c:pt>
                <c:pt idx="15712">
                  <c:v>7.1479999999999997</c:v>
                </c:pt>
                <c:pt idx="15713">
                  <c:v>7.1479999999999997</c:v>
                </c:pt>
                <c:pt idx="15714">
                  <c:v>7.1479999999999997</c:v>
                </c:pt>
                <c:pt idx="15715">
                  <c:v>7.1479999999999997</c:v>
                </c:pt>
                <c:pt idx="15716">
                  <c:v>7.1470000000000002</c:v>
                </c:pt>
                <c:pt idx="15717">
                  <c:v>7.1470000000000002</c:v>
                </c:pt>
                <c:pt idx="15718">
                  <c:v>7.1479999999999997</c:v>
                </c:pt>
                <c:pt idx="15719">
                  <c:v>7.1479999999999997</c:v>
                </c:pt>
                <c:pt idx="15720">
                  <c:v>7.1479999999999997</c:v>
                </c:pt>
                <c:pt idx="15721">
                  <c:v>7.1479999999999997</c:v>
                </c:pt>
                <c:pt idx="15722">
                  <c:v>7.1479999999999997</c:v>
                </c:pt>
                <c:pt idx="15723">
                  <c:v>7.1479999999999997</c:v>
                </c:pt>
                <c:pt idx="15724">
                  <c:v>7.1479999999999997</c:v>
                </c:pt>
                <c:pt idx="15725">
                  <c:v>7.1479999999999997</c:v>
                </c:pt>
                <c:pt idx="15726">
                  <c:v>7.1479999999999997</c:v>
                </c:pt>
                <c:pt idx="15727">
                  <c:v>7.1479999999999997</c:v>
                </c:pt>
                <c:pt idx="15728">
                  <c:v>7.1479999999999997</c:v>
                </c:pt>
                <c:pt idx="15729">
                  <c:v>7.1479999999999997</c:v>
                </c:pt>
                <c:pt idx="15730">
                  <c:v>7.1479999999999997</c:v>
                </c:pt>
                <c:pt idx="15731">
                  <c:v>7.1479999999999997</c:v>
                </c:pt>
                <c:pt idx="15732">
                  <c:v>7.1479999999999997</c:v>
                </c:pt>
                <c:pt idx="15733">
                  <c:v>7.1479999999999997</c:v>
                </c:pt>
                <c:pt idx="15734">
                  <c:v>7.1479999999999997</c:v>
                </c:pt>
                <c:pt idx="15735">
                  <c:v>7.1479999999999997</c:v>
                </c:pt>
                <c:pt idx="15736">
                  <c:v>7.1479999999999997</c:v>
                </c:pt>
                <c:pt idx="15737">
                  <c:v>7.1479999999999997</c:v>
                </c:pt>
                <c:pt idx="15738">
                  <c:v>7.1479999999999997</c:v>
                </c:pt>
                <c:pt idx="15739">
                  <c:v>7.1479999999999997</c:v>
                </c:pt>
                <c:pt idx="15740">
                  <c:v>7.1479999999999997</c:v>
                </c:pt>
                <c:pt idx="15741">
                  <c:v>7.1479999999999997</c:v>
                </c:pt>
                <c:pt idx="15742">
                  <c:v>7.1479999999999997</c:v>
                </c:pt>
                <c:pt idx="15743">
                  <c:v>7.1479999999999997</c:v>
                </c:pt>
                <c:pt idx="15744">
                  <c:v>7.1479999999999997</c:v>
                </c:pt>
                <c:pt idx="15745">
                  <c:v>7.1479999999999997</c:v>
                </c:pt>
                <c:pt idx="15746">
                  <c:v>7.1470000000000002</c:v>
                </c:pt>
                <c:pt idx="15747">
                  <c:v>7.1479999999999997</c:v>
                </c:pt>
                <c:pt idx="15748">
                  <c:v>7.1479999999999997</c:v>
                </c:pt>
                <c:pt idx="15749">
                  <c:v>7.1479999999999997</c:v>
                </c:pt>
                <c:pt idx="15750">
                  <c:v>7.1479999999999997</c:v>
                </c:pt>
                <c:pt idx="15751">
                  <c:v>7.1470000000000002</c:v>
                </c:pt>
                <c:pt idx="15752">
                  <c:v>7.1470000000000002</c:v>
                </c:pt>
                <c:pt idx="15753">
                  <c:v>7.1479999999999997</c:v>
                </c:pt>
                <c:pt idx="15754">
                  <c:v>7.1479999999999997</c:v>
                </c:pt>
                <c:pt idx="15755">
                  <c:v>7.1470000000000002</c:v>
                </c:pt>
                <c:pt idx="15756">
                  <c:v>7.1479999999999997</c:v>
                </c:pt>
                <c:pt idx="15757">
                  <c:v>7.1479999999999997</c:v>
                </c:pt>
                <c:pt idx="15758">
                  <c:v>7.1470000000000002</c:v>
                </c:pt>
                <c:pt idx="15759">
                  <c:v>7.1470000000000002</c:v>
                </c:pt>
                <c:pt idx="15760">
                  <c:v>7.1479999999999997</c:v>
                </c:pt>
                <c:pt idx="15761">
                  <c:v>7.1479999999999997</c:v>
                </c:pt>
                <c:pt idx="15762">
                  <c:v>7.1479999999999997</c:v>
                </c:pt>
                <c:pt idx="15763">
                  <c:v>7.1479999999999997</c:v>
                </c:pt>
                <c:pt idx="15764">
                  <c:v>7.1479999999999997</c:v>
                </c:pt>
                <c:pt idx="15765">
                  <c:v>7.1470000000000002</c:v>
                </c:pt>
                <c:pt idx="15766">
                  <c:v>7.1470000000000002</c:v>
                </c:pt>
                <c:pt idx="15767">
                  <c:v>7.1479999999999997</c:v>
                </c:pt>
                <c:pt idx="15768">
                  <c:v>7.1479999999999997</c:v>
                </c:pt>
                <c:pt idx="15769">
                  <c:v>7.1479999999999997</c:v>
                </c:pt>
                <c:pt idx="15770">
                  <c:v>7.1470000000000002</c:v>
                </c:pt>
                <c:pt idx="15771">
                  <c:v>7.1479999999999997</c:v>
                </c:pt>
                <c:pt idx="15772">
                  <c:v>7.1479999999999997</c:v>
                </c:pt>
                <c:pt idx="15773">
                  <c:v>7.1479999999999997</c:v>
                </c:pt>
                <c:pt idx="15774">
                  <c:v>7.1479999999999997</c:v>
                </c:pt>
                <c:pt idx="15775">
                  <c:v>7.1479999999999997</c:v>
                </c:pt>
                <c:pt idx="15776">
                  <c:v>7.1479999999999997</c:v>
                </c:pt>
                <c:pt idx="15777">
                  <c:v>7.1479999999999997</c:v>
                </c:pt>
                <c:pt idx="15778">
                  <c:v>7.1479999999999997</c:v>
                </c:pt>
                <c:pt idx="15779">
                  <c:v>7.1479999999999997</c:v>
                </c:pt>
                <c:pt idx="15780">
                  <c:v>7.1479999999999997</c:v>
                </c:pt>
                <c:pt idx="15781">
                  <c:v>7.1479999999999997</c:v>
                </c:pt>
                <c:pt idx="15782">
                  <c:v>7.1479999999999997</c:v>
                </c:pt>
                <c:pt idx="15783">
                  <c:v>7.1479999999999997</c:v>
                </c:pt>
                <c:pt idx="15784">
                  <c:v>7.1479999999999997</c:v>
                </c:pt>
                <c:pt idx="15785">
                  <c:v>7.1479999999999997</c:v>
                </c:pt>
                <c:pt idx="15786">
                  <c:v>7.1479999999999997</c:v>
                </c:pt>
                <c:pt idx="15787">
                  <c:v>7.1479999999999997</c:v>
                </c:pt>
                <c:pt idx="15788">
                  <c:v>7.1479999999999997</c:v>
                </c:pt>
                <c:pt idx="15789">
                  <c:v>7.1479999999999997</c:v>
                </c:pt>
                <c:pt idx="15790">
                  <c:v>7.1479999999999997</c:v>
                </c:pt>
                <c:pt idx="15791">
                  <c:v>7.1479999999999997</c:v>
                </c:pt>
                <c:pt idx="15792">
                  <c:v>7.1479999999999997</c:v>
                </c:pt>
                <c:pt idx="15793">
                  <c:v>7.1479999999999997</c:v>
                </c:pt>
                <c:pt idx="15794">
                  <c:v>7.1479999999999997</c:v>
                </c:pt>
                <c:pt idx="15795">
                  <c:v>7.1479999999999997</c:v>
                </c:pt>
                <c:pt idx="15796">
                  <c:v>7.1479999999999997</c:v>
                </c:pt>
                <c:pt idx="15797">
                  <c:v>7.1479999999999997</c:v>
                </c:pt>
                <c:pt idx="15798">
                  <c:v>7.1479999999999997</c:v>
                </c:pt>
                <c:pt idx="15799">
                  <c:v>7.1479999999999997</c:v>
                </c:pt>
                <c:pt idx="15800">
                  <c:v>7.1470000000000002</c:v>
                </c:pt>
                <c:pt idx="15801">
                  <c:v>7.1479999999999997</c:v>
                </c:pt>
                <c:pt idx="15802">
                  <c:v>7.1479999999999997</c:v>
                </c:pt>
                <c:pt idx="15803">
                  <c:v>7.1479999999999997</c:v>
                </c:pt>
                <c:pt idx="15804">
                  <c:v>7.1479999999999997</c:v>
                </c:pt>
                <c:pt idx="15805">
                  <c:v>7.1479999999999997</c:v>
                </c:pt>
                <c:pt idx="15806">
                  <c:v>7.1470000000000002</c:v>
                </c:pt>
                <c:pt idx="15807">
                  <c:v>7.1479999999999997</c:v>
                </c:pt>
                <c:pt idx="15808">
                  <c:v>7.1470000000000002</c:v>
                </c:pt>
                <c:pt idx="15809">
                  <c:v>7.1470000000000002</c:v>
                </c:pt>
                <c:pt idx="15810">
                  <c:v>7.1470000000000002</c:v>
                </c:pt>
                <c:pt idx="15811">
                  <c:v>7.1470000000000002</c:v>
                </c:pt>
                <c:pt idx="15812">
                  <c:v>7.1470000000000002</c:v>
                </c:pt>
                <c:pt idx="15813">
                  <c:v>7.1479999999999997</c:v>
                </c:pt>
                <c:pt idx="15814">
                  <c:v>7.1470000000000002</c:v>
                </c:pt>
                <c:pt idx="15815">
                  <c:v>7.1470000000000002</c:v>
                </c:pt>
                <c:pt idx="15816">
                  <c:v>7.1470000000000002</c:v>
                </c:pt>
                <c:pt idx="15817">
                  <c:v>7.1470000000000002</c:v>
                </c:pt>
                <c:pt idx="15818">
                  <c:v>7.1470000000000002</c:v>
                </c:pt>
                <c:pt idx="15819">
                  <c:v>7.1470000000000002</c:v>
                </c:pt>
                <c:pt idx="15820">
                  <c:v>7.1470000000000002</c:v>
                </c:pt>
                <c:pt idx="15821">
                  <c:v>7.1470000000000002</c:v>
                </c:pt>
                <c:pt idx="15822">
                  <c:v>7.1470000000000002</c:v>
                </c:pt>
                <c:pt idx="15823">
                  <c:v>7.1470000000000002</c:v>
                </c:pt>
                <c:pt idx="15824">
                  <c:v>7.1479999999999997</c:v>
                </c:pt>
                <c:pt idx="15825">
                  <c:v>7.1470000000000002</c:v>
                </c:pt>
                <c:pt idx="15826">
                  <c:v>7.1470000000000002</c:v>
                </c:pt>
                <c:pt idx="15827">
                  <c:v>7.1470000000000002</c:v>
                </c:pt>
                <c:pt idx="15828">
                  <c:v>7.1470000000000002</c:v>
                </c:pt>
                <c:pt idx="15829">
                  <c:v>7.1470000000000002</c:v>
                </c:pt>
                <c:pt idx="15830">
                  <c:v>7.1470000000000002</c:v>
                </c:pt>
                <c:pt idx="15831">
                  <c:v>7.1470000000000002</c:v>
                </c:pt>
                <c:pt idx="15832">
                  <c:v>7.1470000000000002</c:v>
                </c:pt>
                <c:pt idx="15833">
                  <c:v>7.1479999999999997</c:v>
                </c:pt>
                <c:pt idx="15834">
                  <c:v>7.1470000000000002</c:v>
                </c:pt>
                <c:pt idx="15835">
                  <c:v>7.1470000000000002</c:v>
                </c:pt>
                <c:pt idx="15836">
                  <c:v>7.1470000000000002</c:v>
                </c:pt>
                <c:pt idx="15837">
                  <c:v>7.1470000000000002</c:v>
                </c:pt>
                <c:pt idx="15838">
                  <c:v>7.1470000000000002</c:v>
                </c:pt>
                <c:pt idx="15839">
                  <c:v>7.1470000000000002</c:v>
                </c:pt>
                <c:pt idx="15840">
                  <c:v>7.1470000000000002</c:v>
                </c:pt>
                <c:pt idx="15841">
                  <c:v>7.1470000000000002</c:v>
                </c:pt>
                <c:pt idx="15842">
                  <c:v>7.1470000000000002</c:v>
                </c:pt>
                <c:pt idx="15843">
                  <c:v>7.1470000000000002</c:v>
                </c:pt>
                <c:pt idx="15844">
                  <c:v>7.1470000000000002</c:v>
                </c:pt>
                <c:pt idx="15845">
                  <c:v>7.1470000000000002</c:v>
                </c:pt>
                <c:pt idx="15846">
                  <c:v>7.1470000000000002</c:v>
                </c:pt>
                <c:pt idx="15847">
                  <c:v>7.1470000000000002</c:v>
                </c:pt>
                <c:pt idx="15848">
                  <c:v>7.1470000000000002</c:v>
                </c:pt>
                <c:pt idx="15849">
                  <c:v>7.1470000000000002</c:v>
                </c:pt>
                <c:pt idx="15850">
                  <c:v>7.1459999999999999</c:v>
                </c:pt>
                <c:pt idx="15851">
                  <c:v>7.1470000000000002</c:v>
                </c:pt>
                <c:pt idx="15852">
                  <c:v>7.1459999999999999</c:v>
                </c:pt>
                <c:pt idx="15853">
                  <c:v>7.1459999999999999</c:v>
                </c:pt>
                <c:pt idx="15854">
                  <c:v>7.1470000000000002</c:v>
                </c:pt>
                <c:pt idx="15855">
                  <c:v>7.1470000000000002</c:v>
                </c:pt>
                <c:pt idx="15856">
                  <c:v>7.1470000000000002</c:v>
                </c:pt>
                <c:pt idx="15857">
                  <c:v>7.1470000000000002</c:v>
                </c:pt>
                <c:pt idx="15858">
                  <c:v>7.1470000000000002</c:v>
                </c:pt>
                <c:pt idx="15859">
                  <c:v>7.1470000000000002</c:v>
                </c:pt>
                <c:pt idx="15860">
                  <c:v>7.1470000000000002</c:v>
                </c:pt>
                <c:pt idx="15861">
                  <c:v>7.1470000000000002</c:v>
                </c:pt>
                <c:pt idx="15862">
                  <c:v>7.1470000000000002</c:v>
                </c:pt>
                <c:pt idx="15863">
                  <c:v>7.1459999999999999</c:v>
                </c:pt>
                <c:pt idx="15864">
                  <c:v>7.1459999999999999</c:v>
                </c:pt>
                <c:pt idx="15865">
                  <c:v>7.1470000000000002</c:v>
                </c:pt>
                <c:pt idx="15866">
                  <c:v>7.1470000000000002</c:v>
                </c:pt>
                <c:pt idx="15867">
                  <c:v>7.1459999999999999</c:v>
                </c:pt>
                <c:pt idx="15868">
                  <c:v>7.1459999999999999</c:v>
                </c:pt>
                <c:pt idx="15869">
                  <c:v>7.1459999999999999</c:v>
                </c:pt>
                <c:pt idx="15870">
                  <c:v>7.1459999999999999</c:v>
                </c:pt>
                <c:pt idx="15871">
                  <c:v>7.1459999999999999</c:v>
                </c:pt>
                <c:pt idx="15872">
                  <c:v>7.1459999999999999</c:v>
                </c:pt>
                <c:pt idx="15873">
                  <c:v>7.1459999999999999</c:v>
                </c:pt>
                <c:pt idx="15874">
                  <c:v>7.1459999999999999</c:v>
                </c:pt>
                <c:pt idx="15875">
                  <c:v>7.1459999999999999</c:v>
                </c:pt>
                <c:pt idx="15876">
                  <c:v>7.1459999999999999</c:v>
                </c:pt>
                <c:pt idx="15877">
                  <c:v>7.1459999999999999</c:v>
                </c:pt>
                <c:pt idx="15878">
                  <c:v>7.1459999999999999</c:v>
                </c:pt>
                <c:pt idx="15879">
                  <c:v>7.1459999999999999</c:v>
                </c:pt>
                <c:pt idx="15880">
                  <c:v>7.1459999999999999</c:v>
                </c:pt>
                <c:pt idx="15881">
                  <c:v>7.1459999999999999</c:v>
                </c:pt>
                <c:pt idx="15882">
                  <c:v>7.1459999999999999</c:v>
                </c:pt>
                <c:pt idx="15883">
                  <c:v>7.1459999999999999</c:v>
                </c:pt>
                <c:pt idx="15884">
                  <c:v>7.1459999999999999</c:v>
                </c:pt>
                <c:pt idx="15885">
                  <c:v>7.1459999999999999</c:v>
                </c:pt>
                <c:pt idx="15886">
                  <c:v>7.1459999999999999</c:v>
                </c:pt>
                <c:pt idx="15887">
                  <c:v>7.1459999999999999</c:v>
                </c:pt>
                <c:pt idx="15888">
                  <c:v>7.1459999999999999</c:v>
                </c:pt>
                <c:pt idx="15889">
                  <c:v>7.1459999999999999</c:v>
                </c:pt>
                <c:pt idx="15890">
                  <c:v>7.1459999999999999</c:v>
                </c:pt>
                <c:pt idx="15891">
                  <c:v>7.1459999999999999</c:v>
                </c:pt>
                <c:pt idx="15892">
                  <c:v>7.1459999999999999</c:v>
                </c:pt>
                <c:pt idx="15893">
                  <c:v>7.1459999999999999</c:v>
                </c:pt>
                <c:pt idx="15894">
                  <c:v>7.1459999999999999</c:v>
                </c:pt>
                <c:pt idx="15895">
                  <c:v>7.1459999999999999</c:v>
                </c:pt>
                <c:pt idx="15896">
                  <c:v>7.1459999999999999</c:v>
                </c:pt>
                <c:pt idx="15897">
                  <c:v>7.1459999999999999</c:v>
                </c:pt>
                <c:pt idx="15898">
                  <c:v>7.1459999999999999</c:v>
                </c:pt>
                <c:pt idx="15899">
                  <c:v>7.1459999999999999</c:v>
                </c:pt>
                <c:pt idx="15900">
                  <c:v>7.1459999999999999</c:v>
                </c:pt>
                <c:pt idx="15901">
                  <c:v>7.1459999999999999</c:v>
                </c:pt>
                <c:pt idx="15902">
                  <c:v>7.1459999999999999</c:v>
                </c:pt>
                <c:pt idx="15903">
                  <c:v>7.1459999999999999</c:v>
                </c:pt>
                <c:pt idx="15904">
                  <c:v>7.1459999999999999</c:v>
                </c:pt>
                <c:pt idx="15905">
                  <c:v>7.1459999999999999</c:v>
                </c:pt>
                <c:pt idx="15906">
                  <c:v>7.1459999999999999</c:v>
                </c:pt>
                <c:pt idx="15907">
                  <c:v>7.1459999999999999</c:v>
                </c:pt>
                <c:pt idx="15908">
                  <c:v>7.1459999999999999</c:v>
                </c:pt>
                <c:pt idx="15909">
                  <c:v>7.1449999999999996</c:v>
                </c:pt>
                <c:pt idx="15910">
                  <c:v>7.1459999999999999</c:v>
                </c:pt>
                <c:pt idx="15911">
                  <c:v>7.1459999999999999</c:v>
                </c:pt>
                <c:pt idx="15912">
                  <c:v>7.1459999999999999</c:v>
                </c:pt>
                <c:pt idx="15913">
                  <c:v>7.1459999999999999</c:v>
                </c:pt>
                <c:pt idx="15914">
                  <c:v>7.1449999999999996</c:v>
                </c:pt>
                <c:pt idx="15915">
                  <c:v>7.1449999999999996</c:v>
                </c:pt>
                <c:pt idx="15916">
                  <c:v>7.1449999999999996</c:v>
                </c:pt>
                <c:pt idx="15917">
                  <c:v>7.1449999999999996</c:v>
                </c:pt>
                <c:pt idx="15918">
                  <c:v>7.1449999999999996</c:v>
                </c:pt>
                <c:pt idx="15919">
                  <c:v>7.1449999999999996</c:v>
                </c:pt>
                <c:pt idx="15920">
                  <c:v>7.1449999999999996</c:v>
                </c:pt>
                <c:pt idx="15921">
                  <c:v>7.1449999999999996</c:v>
                </c:pt>
                <c:pt idx="15922">
                  <c:v>7.1449999999999996</c:v>
                </c:pt>
                <c:pt idx="15923">
                  <c:v>7.1449999999999996</c:v>
                </c:pt>
                <c:pt idx="15924">
                  <c:v>7.1449999999999996</c:v>
                </c:pt>
                <c:pt idx="15925">
                  <c:v>7.1459999999999999</c:v>
                </c:pt>
                <c:pt idx="15926">
                  <c:v>7.1449999999999996</c:v>
                </c:pt>
                <c:pt idx="15927">
                  <c:v>7.1449999999999996</c:v>
                </c:pt>
                <c:pt idx="15928">
                  <c:v>7.1449999999999996</c:v>
                </c:pt>
                <c:pt idx="15929">
                  <c:v>7.1449999999999996</c:v>
                </c:pt>
                <c:pt idx="15930">
                  <c:v>7.1449999999999996</c:v>
                </c:pt>
                <c:pt idx="15931">
                  <c:v>7.1449999999999996</c:v>
                </c:pt>
                <c:pt idx="15932">
                  <c:v>7.1449999999999996</c:v>
                </c:pt>
                <c:pt idx="15933">
                  <c:v>7.1449999999999996</c:v>
                </c:pt>
                <c:pt idx="15934">
                  <c:v>7.1449999999999996</c:v>
                </c:pt>
                <c:pt idx="15935">
                  <c:v>7.1449999999999996</c:v>
                </c:pt>
                <c:pt idx="15936">
                  <c:v>7.1449999999999996</c:v>
                </c:pt>
                <c:pt idx="15937">
                  <c:v>7.1449999999999996</c:v>
                </c:pt>
                <c:pt idx="15938">
                  <c:v>7.1449999999999996</c:v>
                </c:pt>
                <c:pt idx="15939">
                  <c:v>7.1449999999999996</c:v>
                </c:pt>
                <c:pt idx="15940">
                  <c:v>7.1449999999999996</c:v>
                </c:pt>
                <c:pt idx="15941">
                  <c:v>7.1449999999999996</c:v>
                </c:pt>
                <c:pt idx="15942">
                  <c:v>7.1449999999999996</c:v>
                </c:pt>
                <c:pt idx="15943">
                  <c:v>7.1449999999999996</c:v>
                </c:pt>
                <c:pt idx="15944">
                  <c:v>7.1449999999999996</c:v>
                </c:pt>
                <c:pt idx="15945">
                  <c:v>7.1459999999999999</c:v>
                </c:pt>
                <c:pt idx="15946">
                  <c:v>7.1449999999999996</c:v>
                </c:pt>
                <c:pt idx="15947">
                  <c:v>7.1449999999999996</c:v>
                </c:pt>
                <c:pt idx="15948">
                  <c:v>7.1449999999999996</c:v>
                </c:pt>
                <c:pt idx="15949">
                  <c:v>7.1449999999999996</c:v>
                </c:pt>
                <c:pt idx="15950">
                  <c:v>7.1449999999999996</c:v>
                </c:pt>
                <c:pt idx="15951">
                  <c:v>7.1449999999999996</c:v>
                </c:pt>
                <c:pt idx="15952">
                  <c:v>7.1449999999999996</c:v>
                </c:pt>
                <c:pt idx="15953">
                  <c:v>7.1449999999999996</c:v>
                </c:pt>
                <c:pt idx="15954">
                  <c:v>7.1449999999999996</c:v>
                </c:pt>
                <c:pt idx="15955">
                  <c:v>7.1449999999999996</c:v>
                </c:pt>
                <c:pt idx="15956">
                  <c:v>7.1449999999999996</c:v>
                </c:pt>
                <c:pt idx="15957">
                  <c:v>7.1440000000000001</c:v>
                </c:pt>
                <c:pt idx="15958">
                  <c:v>7.1449999999999996</c:v>
                </c:pt>
                <c:pt idx="15959">
                  <c:v>7.1440000000000001</c:v>
                </c:pt>
                <c:pt idx="15960">
                  <c:v>7.1440000000000001</c:v>
                </c:pt>
                <c:pt idx="15961">
                  <c:v>7.1449999999999996</c:v>
                </c:pt>
                <c:pt idx="15962">
                  <c:v>7.1449999999999996</c:v>
                </c:pt>
                <c:pt idx="15963">
                  <c:v>7.1449999999999996</c:v>
                </c:pt>
                <c:pt idx="15964">
                  <c:v>7.1440000000000001</c:v>
                </c:pt>
                <c:pt idx="15965">
                  <c:v>7.1449999999999996</c:v>
                </c:pt>
                <c:pt idx="15966">
                  <c:v>7.1440000000000001</c:v>
                </c:pt>
                <c:pt idx="15967">
                  <c:v>7.1449999999999996</c:v>
                </c:pt>
                <c:pt idx="15968">
                  <c:v>7.1449999999999996</c:v>
                </c:pt>
                <c:pt idx="15969">
                  <c:v>7.1449999999999996</c:v>
                </c:pt>
                <c:pt idx="15970">
                  <c:v>7.1449999999999996</c:v>
                </c:pt>
                <c:pt idx="15971">
                  <c:v>7.1440000000000001</c:v>
                </c:pt>
                <c:pt idx="15972">
                  <c:v>7.1449999999999996</c:v>
                </c:pt>
                <c:pt idx="15973">
                  <c:v>7.1449999999999996</c:v>
                </c:pt>
                <c:pt idx="15974">
                  <c:v>7.1440000000000001</c:v>
                </c:pt>
                <c:pt idx="15975">
                  <c:v>7.1440000000000001</c:v>
                </c:pt>
                <c:pt idx="15976">
                  <c:v>7.1440000000000001</c:v>
                </c:pt>
                <c:pt idx="15977">
                  <c:v>7.1440000000000001</c:v>
                </c:pt>
                <c:pt idx="15978">
                  <c:v>7.1440000000000001</c:v>
                </c:pt>
                <c:pt idx="15979">
                  <c:v>7.1440000000000001</c:v>
                </c:pt>
                <c:pt idx="15980">
                  <c:v>7.1440000000000001</c:v>
                </c:pt>
                <c:pt idx="15981">
                  <c:v>7.1440000000000001</c:v>
                </c:pt>
                <c:pt idx="15982">
                  <c:v>7.1440000000000001</c:v>
                </c:pt>
                <c:pt idx="15983">
                  <c:v>7.1440000000000001</c:v>
                </c:pt>
                <c:pt idx="15984">
                  <c:v>7.1440000000000001</c:v>
                </c:pt>
                <c:pt idx="15985">
                  <c:v>7.1440000000000001</c:v>
                </c:pt>
                <c:pt idx="15986">
                  <c:v>7.1440000000000001</c:v>
                </c:pt>
                <c:pt idx="15987">
                  <c:v>7.1440000000000001</c:v>
                </c:pt>
                <c:pt idx="15988">
                  <c:v>7.1440000000000001</c:v>
                </c:pt>
                <c:pt idx="15989">
                  <c:v>7.1440000000000001</c:v>
                </c:pt>
                <c:pt idx="15990">
                  <c:v>7.1440000000000001</c:v>
                </c:pt>
                <c:pt idx="15991">
                  <c:v>7.1440000000000001</c:v>
                </c:pt>
                <c:pt idx="15992">
                  <c:v>7.1440000000000001</c:v>
                </c:pt>
                <c:pt idx="15993">
                  <c:v>7.1440000000000001</c:v>
                </c:pt>
                <c:pt idx="15994">
                  <c:v>7.1440000000000001</c:v>
                </c:pt>
                <c:pt idx="15995">
                  <c:v>7.1440000000000001</c:v>
                </c:pt>
                <c:pt idx="15996">
                  <c:v>7.1440000000000001</c:v>
                </c:pt>
                <c:pt idx="15997">
                  <c:v>7.1449999999999996</c:v>
                </c:pt>
                <c:pt idx="15998">
                  <c:v>7.1440000000000001</c:v>
                </c:pt>
                <c:pt idx="15999">
                  <c:v>7.1440000000000001</c:v>
                </c:pt>
                <c:pt idx="16000">
                  <c:v>7.1440000000000001</c:v>
                </c:pt>
                <c:pt idx="16001">
                  <c:v>7.1440000000000001</c:v>
                </c:pt>
                <c:pt idx="16002">
                  <c:v>7.1440000000000001</c:v>
                </c:pt>
                <c:pt idx="16003">
                  <c:v>7.1440000000000001</c:v>
                </c:pt>
                <c:pt idx="16004">
                  <c:v>7.1440000000000001</c:v>
                </c:pt>
                <c:pt idx="16005">
                  <c:v>7.1429999999999998</c:v>
                </c:pt>
                <c:pt idx="16006">
                  <c:v>7.1429999999999998</c:v>
                </c:pt>
                <c:pt idx="16007">
                  <c:v>7.1440000000000001</c:v>
                </c:pt>
                <c:pt idx="16008">
                  <c:v>7.1440000000000001</c:v>
                </c:pt>
                <c:pt idx="16009">
                  <c:v>7.1440000000000001</c:v>
                </c:pt>
                <c:pt idx="16010">
                  <c:v>7.1440000000000001</c:v>
                </c:pt>
                <c:pt idx="16011">
                  <c:v>7.1429999999999998</c:v>
                </c:pt>
                <c:pt idx="16012">
                  <c:v>7.1429999999999998</c:v>
                </c:pt>
                <c:pt idx="16013">
                  <c:v>7.1440000000000001</c:v>
                </c:pt>
                <c:pt idx="16014">
                  <c:v>7.1429999999999998</c:v>
                </c:pt>
                <c:pt idx="16015">
                  <c:v>7.1440000000000001</c:v>
                </c:pt>
                <c:pt idx="16016">
                  <c:v>7.1429999999999998</c:v>
                </c:pt>
                <c:pt idx="16017">
                  <c:v>7.1429999999999998</c:v>
                </c:pt>
                <c:pt idx="16018">
                  <c:v>7.1429999999999998</c:v>
                </c:pt>
                <c:pt idx="16019">
                  <c:v>7.1429999999999998</c:v>
                </c:pt>
                <c:pt idx="16020">
                  <c:v>7.1429999999999998</c:v>
                </c:pt>
                <c:pt idx="16021">
                  <c:v>7.1440000000000001</c:v>
                </c:pt>
                <c:pt idx="16022">
                  <c:v>7.1429999999999998</c:v>
                </c:pt>
                <c:pt idx="16023">
                  <c:v>7.1429999999999998</c:v>
                </c:pt>
                <c:pt idx="16024">
                  <c:v>7.1429999999999998</c:v>
                </c:pt>
                <c:pt idx="16025">
                  <c:v>7.1429999999999998</c:v>
                </c:pt>
                <c:pt idx="16026">
                  <c:v>7.1429999999999998</c:v>
                </c:pt>
                <c:pt idx="16027">
                  <c:v>7.1429999999999998</c:v>
                </c:pt>
                <c:pt idx="16028">
                  <c:v>7.1429999999999998</c:v>
                </c:pt>
                <c:pt idx="16029">
                  <c:v>7.1429999999999998</c:v>
                </c:pt>
                <c:pt idx="16030">
                  <c:v>7.1429999999999998</c:v>
                </c:pt>
                <c:pt idx="16031">
                  <c:v>7.1429999999999998</c:v>
                </c:pt>
                <c:pt idx="16032">
                  <c:v>7.1440000000000001</c:v>
                </c:pt>
                <c:pt idx="16033">
                  <c:v>7.1440000000000001</c:v>
                </c:pt>
                <c:pt idx="16034">
                  <c:v>7.1429999999999998</c:v>
                </c:pt>
                <c:pt idx="16035">
                  <c:v>7.1440000000000001</c:v>
                </c:pt>
                <c:pt idx="16036">
                  <c:v>7.1429999999999998</c:v>
                </c:pt>
                <c:pt idx="16037">
                  <c:v>7.1429999999999998</c:v>
                </c:pt>
                <c:pt idx="16038">
                  <c:v>7.1429999999999998</c:v>
                </c:pt>
                <c:pt idx="16039">
                  <c:v>7.1429999999999998</c:v>
                </c:pt>
                <c:pt idx="16040">
                  <c:v>7.1429999999999998</c:v>
                </c:pt>
                <c:pt idx="16041">
                  <c:v>7.1440000000000001</c:v>
                </c:pt>
                <c:pt idx="16042">
                  <c:v>7.1440000000000001</c:v>
                </c:pt>
                <c:pt idx="16043">
                  <c:v>7.1429999999999998</c:v>
                </c:pt>
                <c:pt idx="16044">
                  <c:v>7.1429999999999998</c:v>
                </c:pt>
                <c:pt idx="16045">
                  <c:v>7.1429999999999998</c:v>
                </c:pt>
                <c:pt idx="16046">
                  <c:v>7.1429999999999998</c:v>
                </c:pt>
                <c:pt idx="16047">
                  <c:v>7.1429999999999998</c:v>
                </c:pt>
                <c:pt idx="16048">
                  <c:v>7.1440000000000001</c:v>
                </c:pt>
                <c:pt idx="16049">
                  <c:v>7.1440000000000001</c:v>
                </c:pt>
                <c:pt idx="16050">
                  <c:v>7.1440000000000001</c:v>
                </c:pt>
                <c:pt idx="16051">
                  <c:v>7.1429999999999998</c:v>
                </c:pt>
                <c:pt idx="16052">
                  <c:v>7.1429999999999998</c:v>
                </c:pt>
                <c:pt idx="16053">
                  <c:v>7.1429999999999998</c:v>
                </c:pt>
                <c:pt idx="16054">
                  <c:v>7.1429999999999998</c:v>
                </c:pt>
                <c:pt idx="16055">
                  <c:v>7.1429999999999998</c:v>
                </c:pt>
                <c:pt idx="16056">
                  <c:v>7.1429999999999998</c:v>
                </c:pt>
                <c:pt idx="16057">
                  <c:v>7.1429999999999998</c:v>
                </c:pt>
                <c:pt idx="16058">
                  <c:v>7.1429999999999998</c:v>
                </c:pt>
                <c:pt idx="16059">
                  <c:v>7.1429999999999998</c:v>
                </c:pt>
                <c:pt idx="16060">
                  <c:v>7.1440000000000001</c:v>
                </c:pt>
                <c:pt idx="16061">
                  <c:v>7.1440000000000001</c:v>
                </c:pt>
                <c:pt idx="16062">
                  <c:v>7.1429999999999998</c:v>
                </c:pt>
                <c:pt idx="16063">
                  <c:v>7.1429999999999998</c:v>
                </c:pt>
                <c:pt idx="16064">
                  <c:v>7.1429999999999998</c:v>
                </c:pt>
                <c:pt idx="16065">
                  <c:v>7.1429999999999998</c:v>
                </c:pt>
                <c:pt idx="16066">
                  <c:v>7.1429999999999998</c:v>
                </c:pt>
                <c:pt idx="16067">
                  <c:v>7.1429999999999998</c:v>
                </c:pt>
                <c:pt idx="16068">
                  <c:v>7.1429999999999998</c:v>
                </c:pt>
                <c:pt idx="16069">
                  <c:v>7.1429999999999998</c:v>
                </c:pt>
                <c:pt idx="16070">
                  <c:v>7.1429999999999998</c:v>
                </c:pt>
                <c:pt idx="16071">
                  <c:v>7.1429999999999998</c:v>
                </c:pt>
                <c:pt idx="16072">
                  <c:v>7.1429999999999998</c:v>
                </c:pt>
                <c:pt idx="16073">
                  <c:v>7.1429999999999998</c:v>
                </c:pt>
                <c:pt idx="16074">
                  <c:v>7.1429999999999998</c:v>
                </c:pt>
                <c:pt idx="16075">
                  <c:v>7.1429999999999998</c:v>
                </c:pt>
                <c:pt idx="16076">
                  <c:v>7.1429999999999998</c:v>
                </c:pt>
                <c:pt idx="16077">
                  <c:v>7.1429999999999998</c:v>
                </c:pt>
                <c:pt idx="16078">
                  <c:v>7.1429999999999998</c:v>
                </c:pt>
                <c:pt idx="16079">
                  <c:v>7.1429999999999998</c:v>
                </c:pt>
                <c:pt idx="16080">
                  <c:v>7.1429999999999998</c:v>
                </c:pt>
                <c:pt idx="16081">
                  <c:v>7.1429999999999998</c:v>
                </c:pt>
                <c:pt idx="16082">
                  <c:v>7.1429999999999998</c:v>
                </c:pt>
                <c:pt idx="16083">
                  <c:v>7.1429999999999998</c:v>
                </c:pt>
                <c:pt idx="16084">
                  <c:v>7.1429999999999998</c:v>
                </c:pt>
                <c:pt idx="16085">
                  <c:v>7.1429999999999998</c:v>
                </c:pt>
                <c:pt idx="16086">
                  <c:v>7.1429999999999998</c:v>
                </c:pt>
                <c:pt idx="16087">
                  <c:v>7.1429999999999998</c:v>
                </c:pt>
                <c:pt idx="16088">
                  <c:v>7.1429999999999998</c:v>
                </c:pt>
                <c:pt idx="16089">
                  <c:v>7.1429999999999998</c:v>
                </c:pt>
                <c:pt idx="16090">
                  <c:v>7.1429999999999998</c:v>
                </c:pt>
                <c:pt idx="16091">
                  <c:v>7.1429999999999998</c:v>
                </c:pt>
                <c:pt idx="16092">
                  <c:v>7.1429999999999998</c:v>
                </c:pt>
                <c:pt idx="16093">
                  <c:v>7.1429999999999998</c:v>
                </c:pt>
                <c:pt idx="16094">
                  <c:v>7.1429999999999998</c:v>
                </c:pt>
                <c:pt idx="16095">
                  <c:v>7.1429999999999998</c:v>
                </c:pt>
                <c:pt idx="16096">
                  <c:v>7.1420000000000003</c:v>
                </c:pt>
                <c:pt idx="16097">
                  <c:v>7.1420000000000003</c:v>
                </c:pt>
                <c:pt idx="16098">
                  <c:v>7.1420000000000003</c:v>
                </c:pt>
                <c:pt idx="16099">
                  <c:v>7.1420000000000003</c:v>
                </c:pt>
                <c:pt idx="16100">
                  <c:v>7.1429999999999998</c:v>
                </c:pt>
                <c:pt idx="16101">
                  <c:v>7.1429999999999998</c:v>
                </c:pt>
                <c:pt idx="16102">
                  <c:v>7.1420000000000003</c:v>
                </c:pt>
                <c:pt idx="16103">
                  <c:v>7.1429999999999998</c:v>
                </c:pt>
                <c:pt idx="16104">
                  <c:v>7.1429999999999998</c:v>
                </c:pt>
                <c:pt idx="16105">
                  <c:v>7.1429999999999998</c:v>
                </c:pt>
                <c:pt idx="16106">
                  <c:v>7.1429999999999998</c:v>
                </c:pt>
                <c:pt idx="16107">
                  <c:v>7.1429999999999998</c:v>
                </c:pt>
                <c:pt idx="16108">
                  <c:v>7.1429999999999998</c:v>
                </c:pt>
                <c:pt idx="16109">
                  <c:v>7.1429999999999998</c:v>
                </c:pt>
                <c:pt idx="16110">
                  <c:v>7.1429999999999998</c:v>
                </c:pt>
                <c:pt idx="16111">
                  <c:v>7.1429999999999998</c:v>
                </c:pt>
                <c:pt idx="16112">
                  <c:v>7.1429999999999998</c:v>
                </c:pt>
                <c:pt idx="16113">
                  <c:v>7.1420000000000003</c:v>
                </c:pt>
                <c:pt idx="16114">
                  <c:v>7.1420000000000003</c:v>
                </c:pt>
                <c:pt idx="16115">
                  <c:v>7.1429999999999998</c:v>
                </c:pt>
                <c:pt idx="16116">
                  <c:v>7.1429999999999998</c:v>
                </c:pt>
                <c:pt idx="16117">
                  <c:v>7.1429999999999998</c:v>
                </c:pt>
                <c:pt idx="16118">
                  <c:v>7.1429999999999998</c:v>
                </c:pt>
                <c:pt idx="16119">
                  <c:v>7.1420000000000003</c:v>
                </c:pt>
                <c:pt idx="16120">
                  <c:v>7.1420000000000003</c:v>
                </c:pt>
                <c:pt idx="16121">
                  <c:v>7.1420000000000003</c:v>
                </c:pt>
                <c:pt idx="16122">
                  <c:v>7.1420000000000003</c:v>
                </c:pt>
                <c:pt idx="16123">
                  <c:v>7.1420000000000003</c:v>
                </c:pt>
                <c:pt idx="16124">
                  <c:v>7.1429999999999998</c:v>
                </c:pt>
                <c:pt idx="16125">
                  <c:v>7.1420000000000003</c:v>
                </c:pt>
                <c:pt idx="16126">
                  <c:v>7.1420000000000003</c:v>
                </c:pt>
                <c:pt idx="16127">
                  <c:v>7.1420000000000003</c:v>
                </c:pt>
                <c:pt idx="16128">
                  <c:v>7.1420000000000003</c:v>
                </c:pt>
                <c:pt idx="16129">
                  <c:v>7.1420000000000003</c:v>
                </c:pt>
                <c:pt idx="16130">
                  <c:v>7.1420000000000003</c:v>
                </c:pt>
                <c:pt idx="16131">
                  <c:v>7.1420000000000003</c:v>
                </c:pt>
                <c:pt idx="16132">
                  <c:v>7.1420000000000003</c:v>
                </c:pt>
                <c:pt idx="16133">
                  <c:v>7.1420000000000003</c:v>
                </c:pt>
                <c:pt idx="16134">
                  <c:v>7.1420000000000003</c:v>
                </c:pt>
                <c:pt idx="16135">
                  <c:v>7.1420000000000003</c:v>
                </c:pt>
                <c:pt idx="16136">
                  <c:v>7.1420000000000003</c:v>
                </c:pt>
                <c:pt idx="16137">
                  <c:v>7.1420000000000003</c:v>
                </c:pt>
                <c:pt idx="16138">
                  <c:v>7.1420000000000003</c:v>
                </c:pt>
                <c:pt idx="16139">
                  <c:v>7.1420000000000003</c:v>
                </c:pt>
                <c:pt idx="16140">
                  <c:v>7.1420000000000003</c:v>
                </c:pt>
                <c:pt idx="16141">
                  <c:v>7.1420000000000003</c:v>
                </c:pt>
                <c:pt idx="16142">
                  <c:v>7.1420000000000003</c:v>
                </c:pt>
                <c:pt idx="16143">
                  <c:v>7.1420000000000003</c:v>
                </c:pt>
                <c:pt idx="16144">
                  <c:v>7.1420000000000003</c:v>
                </c:pt>
                <c:pt idx="16145">
                  <c:v>7.1420000000000003</c:v>
                </c:pt>
                <c:pt idx="16146">
                  <c:v>7.1420000000000003</c:v>
                </c:pt>
                <c:pt idx="16147">
                  <c:v>7.1420000000000003</c:v>
                </c:pt>
                <c:pt idx="16148">
                  <c:v>7.1420000000000003</c:v>
                </c:pt>
                <c:pt idx="16149">
                  <c:v>7.1420000000000003</c:v>
                </c:pt>
                <c:pt idx="16150">
                  <c:v>7.1420000000000003</c:v>
                </c:pt>
                <c:pt idx="16151">
                  <c:v>7.1420000000000003</c:v>
                </c:pt>
                <c:pt idx="16152">
                  <c:v>7.1420000000000003</c:v>
                </c:pt>
                <c:pt idx="16153">
                  <c:v>7.1420000000000003</c:v>
                </c:pt>
                <c:pt idx="16154">
                  <c:v>7.1420000000000003</c:v>
                </c:pt>
                <c:pt idx="16155">
                  <c:v>7.1420000000000003</c:v>
                </c:pt>
                <c:pt idx="16156">
                  <c:v>7.1420000000000003</c:v>
                </c:pt>
                <c:pt idx="16157">
                  <c:v>7.1420000000000003</c:v>
                </c:pt>
                <c:pt idx="16158">
                  <c:v>7.141</c:v>
                </c:pt>
                <c:pt idx="16159">
                  <c:v>7.1420000000000003</c:v>
                </c:pt>
                <c:pt idx="16160">
                  <c:v>7.1420000000000003</c:v>
                </c:pt>
                <c:pt idx="16161">
                  <c:v>7.1420000000000003</c:v>
                </c:pt>
                <c:pt idx="16162">
                  <c:v>7.1420000000000003</c:v>
                </c:pt>
                <c:pt idx="16163">
                  <c:v>7.141</c:v>
                </c:pt>
                <c:pt idx="16164">
                  <c:v>7.1420000000000003</c:v>
                </c:pt>
                <c:pt idx="16165">
                  <c:v>7.1420000000000003</c:v>
                </c:pt>
                <c:pt idx="16166">
                  <c:v>7.1420000000000003</c:v>
                </c:pt>
                <c:pt idx="16167">
                  <c:v>7.1420000000000003</c:v>
                </c:pt>
                <c:pt idx="16168">
                  <c:v>7.1420000000000003</c:v>
                </c:pt>
                <c:pt idx="16169">
                  <c:v>7.1420000000000003</c:v>
                </c:pt>
                <c:pt idx="16170">
                  <c:v>7.1420000000000003</c:v>
                </c:pt>
                <c:pt idx="16171">
                  <c:v>7.1420000000000003</c:v>
                </c:pt>
                <c:pt idx="16172">
                  <c:v>7.1420000000000003</c:v>
                </c:pt>
                <c:pt idx="16173">
                  <c:v>7.1420000000000003</c:v>
                </c:pt>
                <c:pt idx="16174">
                  <c:v>7.141</c:v>
                </c:pt>
                <c:pt idx="16175">
                  <c:v>7.1420000000000003</c:v>
                </c:pt>
                <c:pt idx="16176">
                  <c:v>7.1420000000000003</c:v>
                </c:pt>
                <c:pt idx="16177">
                  <c:v>7.1420000000000003</c:v>
                </c:pt>
                <c:pt idx="16178">
                  <c:v>7.1420000000000003</c:v>
                </c:pt>
                <c:pt idx="16179">
                  <c:v>7.1420000000000003</c:v>
                </c:pt>
                <c:pt idx="16180">
                  <c:v>7.1420000000000003</c:v>
                </c:pt>
                <c:pt idx="16181">
                  <c:v>7.1420000000000003</c:v>
                </c:pt>
                <c:pt idx="16182">
                  <c:v>7.1420000000000003</c:v>
                </c:pt>
                <c:pt idx="16183">
                  <c:v>7.1420000000000003</c:v>
                </c:pt>
                <c:pt idx="16184">
                  <c:v>7.1420000000000003</c:v>
                </c:pt>
                <c:pt idx="16185">
                  <c:v>7.141</c:v>
                </c:pt>
                <c:pt idx="16186">
                  <c:v>7.1420000000000003</c:v>
                </c:pt>
                <c:pt idx="16187">
                  <c:v>7.1420000000000003</c:v>
                </c:pt>
                <c:pt idx="16188">
                  <c:v>7.1420000000000003</c:v>
                </c:pt>
                <c:pt idx="16189">
                  <c:v>7.141</c:v>
                </c:pt>
                <c:pt idx="16190">
                  <c:v>7.1420000000000003</c:v>
                </c:pt>
                <c:pt idx="16191">
                  <c:v>7.1420000000000003</c:v>
                </c:pt>
                <c:pt idx="16192">
                  <c:v>7.1420000000000003</c:v>
                </c:pt>
                <c:pt idx="16193">
                  <c:v>7.1420000000000003</c:v>
                </c:pt>
                <c:pt idx="16194">
                  <c:v>7.1420000000000003</c:v>
                </c:pt>
                <c:pt idx="16195">
                  <c:v>7.1420000000000003</c:v>
                </c:pt>
                <c:pt idx="16196">
                  <c:v>7.1420000000000003</c:v>
                </c:pt>
                <c:pt idx="16197">
                  <c:v>7.141</c:v>
                </c:pt>
                <c:pt idx="16198">
                  <c:v>7.1420000000000003</c:v>
                </c:pt>
                <c:pt idx="16199">
                  <c:v>7.1420000000000003</c:v>
                </c:pt>
                <c:pt idx="16200">
                  <c:v>7.1420000000000003</c:v>
                </c:pt>
                <c:pt idx="16201">
                  <c:v>7.1420000000000003</c:v>
                </c:pt>
                <c:pt idx="16202">
                  <c:v>7.1420000000000003</c:v>
                </c:pt>
                <c:pt idx="16203">
                  <c:v>7.1420000000000003</c:v>
                </c:pt>
                <c:pt idx="16204">
                  <c:v>7.1420000000000003</c:v>
                </c:pt>
                <c:pt idx="16205">
                  <c:v>7.1420000000000003</c:v>
                </c:pt>
                <c:pt idx="16206">
                  <c:v>7.1420000000000003</c:v>
                </c:pt>
                <c:pt idx="16207">
                  <c:v>7.1420000000000003</c:v>
                </c:pt>
                <c:pt idx="16208">
                  <c:v>7.1420000000000003</c:v>
                </c:pt>
                <c:pt idx="16209">
                  <c:v>7.1420000000000003</c:v>
                </c:pt>
                <c:pt idx="16210">
                  <c:v>7.1420000000000003</c:v>
                </c:pt>
                <c:pt idx="16211">
                  <c:v>7.141</c:v>
                </c:pt>
                <c:pt idx="16212">
                  <c:v>7.1420000000000003</c:v>
                </c:pt>
                <c:pt idx="16213">
                  <c:v>7.141</c:v>
                </c:pt>
                <c:pt idx="16214">
                  <c:v>7.141</c:v>
                </c:pt>
                <c:pt idx="16215">
                  <c:v>7.141</c:v>
                </c:pt>
                <c:pt idx="16216">
                  <c:v>7.141</c:v>
                </c:pt>
                <c:pt idx="16217">
                  <c:v>7.141</c:v>
                </c:pt>
                <c:pt idx="16218">
                  <c:v>7.141</c:v>
                </c:pt>
                <c:pt idx="16219">
                  <c:v>7.141</c:v>
                </c:pt>
                <c:pt idx="16220">
                  <c:v>7.1420000000000003</c:v>
                </c:pt>
                <c:pt idx="16221">
                  <c:v>7.141</c:v>
                </c:pt>
                <c:pt idx="16222">
                  <c:v>7.141</c:v>
                </c:pt>
                <c:pt idx="16223">
                  <c:v>7.141</c:v>
                </c:pt>
                <c:pt idx="16224">
                  <c:v>7.141</c:v>
                </c:pt>
                <c:pt idx="16225">
                  <c:v>7.14</c:v>
                </c:pt>
                <c:pt idx="16226">
                  <c:v>7.141</c:v>
                </c:pt>
                <c:pt idx="16227">
                  <c:v>7.141</c:v>
                </c:pt>
                <c:pt idx="16228">
                  <c:v>7.141</c:v>
                </c:pt>
                <c:pt idx="16229">
                  <c:v>7.141</c:v>
                </c:pt>
                <c:pt idx="16230">
                  <c:v>7.141</c:v>
                </c:pt>
                <c:pt idx="16231">
                  <c:v>7.141</c:v>
                </c:pt>
                <c:pt idx="16232">
                  <c:v>7.141</c:v>
                </c:pt>
                <c:pt idx="16233">
                  <c:v>7.141</c:v>
                </c:pt>
                <c:pt idx="16234">
                  <c:v>7.141</c:v>
                </c:pt>
                <c:pt idx="16235">
                  <c:v>7.141</c:v>
                </c:pt>
                <c:pt idx="16236">
                  <c:v>7.141</c:v>
                </c:pt>
                <c:pt idx="16237">
                  <c:v>7.141</c:v>
                </c:pt>
                <c:pt idx="16238">
                  <c:v>7.141</c:v>
                </c:pt>
                <c:pt idx="16239">
                  <c:v>7.141</c:v>
                </c:pt>
                <c:pt idx="16240">
                  <c:v>7.141</c:v>
                </c:pt>
                <c:pt idx="16241">
                  <c:v>7.141</c:v>
                </c:pt>
                <c:pt idx="16242">
                  <c:v>7.141</c:v>
                </c:pt>
                <c:pt idx="16243">
                  <c:v>7.141</c:v>
                </c:pt>
                <c:pt idx="16244">
                  <c:v>7.141</c:v>
                </c:pt>
                <c:pt idx="16245">
                  <c:v>7.141</c:v>
                </c:pt>
                <c:pt idx="16246">
                  <c:v>7.141</c:v>
                </c:pt>
                <c:pt idx="16247">
                  <c:v>7.141</c:v>
                </c:pt>
                <c:pt idx="16248">
                  <c:v>7.141</c:v>
                </c:pt>
                <c:pt idx="16249">
                  <c:v>7.14</c:v>
                </c:pt>
                <c:pt idx="16250">
                  <c:v>7.141</c:v>
                </c:pt>
                <c:pt idx="16251">
                  <c:v>7.141</c:v>
                </c:pt>
                <c:pt idx="16252">
                  <c:v>7.14</c:v>
                </c:pt>
                <c:pt idx="16253">
                  <c:v>7.141</c:v>
                </c:pt>
                <c:pt idx="16254">
                  <c:v>7.141</c:v>
                </c:pt>
                <c:pt idx="16255">
                  <c:v>7.141</c:v>
                </c:pt>
                <c:pt idx="16256">
                  <c:v>7.141</c:v>
                </c:pt>
                <c:pt idx="16257">
                  <c:v>7.141</c:v>
                </c:pt>
                <c:pt idx="16258">
                  <c:v>7.141</c:v>
                </c:pt>
                <c:pt idx="16259">
                  <c:v>7.14</c:v>
                </c:pt>
                <c:pt idx="16260">
                  <c:v>7.141</c:v>
                </c:pt>
                <c:pt idx="16261">
                  <c:v>7.141</c:v>
                </c:pt>
                <c:pt idx="16262">
                  <c:v>7.141</c:v>
                </c:pt>
                <c:pt idx="16263">
                  <c:v>7.141</c:v>
                </c:pt>
                <c:pt idx="16264">
                  <c:v>7.141</c:v>
                </c:pt>
                <c:pt idx="16265">
                  <c:v>7.141</c:v>
                </c:pt>
                <c:pt idx="16266">
                  <c:v>7.141</c:v>
                </c:pt>
                <c:pt idx="16267">
                  <c:v>7.141</c:v>
                </c:pt>
                <c:pt idx="16268">
                  <c:v>7.141</c:v>
                </c:pt>
                <c:pt idx="16269">
                  <c:v>7.141</c:v>
                </c:pt>
                <c:pt idx="16270">
                  <c:v>7.141</c:v>
                </c:pt>
                <c:pt idx="16271">
                  <c:v>7.141</c:v>
                </c:pt>
                <c:pt idx="16272">
                  <c:v>7.141</c:v>
                </c:pt>
                <c:pt idx="16273">
                  <c:v>7.141</c:v>
                </c:pt>
                <c:pt idx="16274">
                  <c:v>7.141</c:v>
                </c:pt>
                <c:pt idx="16275">
                  <c:v>7.141</c:v>
                </c:pt>
                <c:pt idx="16276">
                  <c:v>7.141</c:v>
                </c:pt>
                <c:pt idx="16277">
                  <c:v>7.141</c:v>
                </c:pt>
                <c:pt idx="16278">
                  <c:v>7.141</c:v>
                </c:pt>
                <c:pt idx="16279">
                  <c:v>7.14</c:v>
                </c:pt>
                <c:pt idx="16280">
                  <c:v>7.14</c:v>
                </c:pt>
                <c:pt idx="16281">
                  <c:v>7.14</c:v>
                </c:pt>
                <c:pt idx="16282">
                  <c:v>7.14</c:v>
                </c:pt>
                <c:pt idx="16283">
                  <c:v>7.141</c:v>
                </c:pt>
                <c:pt idx="16284">
                  <c:v>7.14</c:v>
                </c:pt>
                <c:pt idx="16285">
                  <c:v>7.14</c:v>
                </c:pt>
                <c:pt idx="16286">
                  <c:v>7.141</c:v>
                </c:pt>
                <c:pt idx="16287">
                  <c:v>7.141</c:v>
                </c:pt>
                <c:pt idx="16288">
                  <c:v>7.141</c:v>
                </c:pt>
                <c:pt idx="16289">
                  <c:v>7.141</c:v>
                </c:pt>
                <c:pt idx="16290">
                  <c:v>7.14</c:v>
                </c:pt>
                <c:pt idx="16291">
                  <c:v>7.14</c:v>
                </c:pt>
                <c:pt idx="16292">
                  <c:v>7.14</c:v>
                </c:pt>
                <c:pt idx="16293">
                  <c:v>7.14</c:v>
                </c:pt>
                <c:pt idx="16294">
                  <c:v>7.14</c:v>
                </c:pt>
                <c:pt idx="16295">
                  <c:v>7.14</c:v>
                </c:pt>
                <c:pt idx="16296">
                  <c:v>7.14</c:v>
                </c:pt>
                <c:pt idx="16297">
                  <c:v>7.14</c:v>
                </c:pt>
                <c:pt idx="16298">
                  <c:v>7.14</c:v>
                </c:pt>
                <c:pt idx="16299">
                  <c:v>7.14</c:v>
                </c:pt>
                <c:pt idx="16300">
                  <c:v>7.141</c:v>
                </c:pt>
                <c:pt idx="16301">
                  <c:v>7.14</c:v>
                </c:pt>
                <c:pt idx="16302">
                  <c:v>7.14</c:v>
                </c:pt>
                <c:pt idx="16303">
                  <c:v>7.14</c:v>
                </c:pt>
                <c:pt idx="16304">
                  <c:v>7.14</c:v>
                </c:pt>
                <c:pt idx="16305">
                  <c:v>7.14</c:v>
                </c:pt>
                <c:pt idx="16306">
                  <c:v>7.141</c:v>
                </c:pt>
                <c:pt idx="16307">
                  <c:v>7.14</c:v>
                </c:pt>
                <c:pt idx="16308">
                  <c:v>7.14</c:v>
                </c:pt>
                <c:pt idx="16309">
                  <c:v>7.14</c:v>
                </c:pt>
                <c:pt idx="16310">
                  <c:v>7.14</c:v>
                </c:pt>
                <c:pt idx="16311">
                  <c:v>7.14</c:v>
                </c:pt>
                <c:pt idx="16312">
                  <c:v>7.14</c:v>
                </c:pt>
                <c:pt idx="16313">
                  <c:v>7.14</c:v>
                </c:pt>
                <c:pt idx="16314">
                  <c:v>7.14</c:v>
                </c:pt>
                <c:pt idx="16315">
                  <c:v>7.14</c:v>
                </c:pt>
                <c:pt idx="16316">
                  <c:v>7.14</c:v>
                </c:pt>
                <c:pt idx="16317">
                  <c:v>7.14</c:v>
                </c:pt>
                <c:pt idx="16318">
                  <c:v>7.14</c:v>
                </c:pt>
                <c:pt idx="16319">
                  <c:v>7.14</c:v>
                </c:pt>
                <c:pt idx="16320">
                  <c:v>7.14</c:v>
                </c:pt>
                <c:pt idx="16321">
                  <c:v>7.14</c:v>
                </c:pt>
                <c:pt idx="16322">
                  <c:v>7.14</c:v>
                </c:pt>
                <c:pt idx="16323">
                  <c:v>7.14</c:v>
                </c:pt>
                <c:pt idx="16324">
                  <c:v>7.14</c:v>
                </c:pt>
                <c:pt idx="16325">
                  <c:v>7.14</c:v>
                </c:pt>
                <c:pt idx="16326">
                  <c:v>7.1390000000000002</c:v>
                </c:pt>
                <c:pt idx="16327">
                  <c:v>7.14</c:v>
                </c:pt>
                <c:pt idx="16328">
                  <c:v>7.14</c:v>
                </c:pt>
                <c:pt idx="16329">
                  <c:v>7.14</c:v>
                </c:pt>
                <c:pt idx="16330">
                  <c:v>7.14</c:v>
                </c:pt>
                <c:pt idx="16331">
                  <c:v>7.1390000000000002</c:v>
                </c:pt>
                <c:pt idx="16332">
                  <c:v>7.1390000000000002</c:v>
                </c:pt>
                <c:pt idx="16333">
                  <c:v>7.1390000000000002</c:v>
                </c:pt>
                <c:pt idx="16334">
                  <c:v>7.1390000000000002</c:v>
                </c:pt>
                <c:pt idx="16335">
                  <c:v>7.14</c:v>
                </c:pt>
                <c:pt idx="16336">
                  <c:v>7.1390000000000002</c:v>
                </c:pt>
                <c:pt idx="16337">
                  <c:v>7.1390000000000002</c:v>
                </c:pt>
                <c:pt idx="16338">
                  <c:v>7.1390000000000002</c:v>
                </c:pt>
                <c:pt idx="16339">
                  <c:v>7.1390000000000002</c:v>
                </c:pt>
                <c:pt idx="16340">
                  <c:v>7.14</c:v>
                </c:pt>
                <c:pt idx="16341">
                  <c:v>7.14</c:v>
                </c:pt>
                <c:pt idx="16342">
                  <c:v>7.1390000000000002</c:v>
                </c:pt>
                <c:pt idx="16343">
                  <c:v>7.1390000000000002</c:v>
                </c:pt>
                <c:pt idx="16344">
                  <c:v>7.1390000000000002</c:v>
                </c:pt>
                <c:pt idx="16345">
                  <c:v>7.1390000000000002</c:v>
                </c:pt>
                <c:pt idx="16346">
                  <c:v>7.1390000000000002</c:v>
                </c:pt>
                <c:pt idx="16347">
                  <c:v>7.1390000000000002</c:v>
                </c:pt>
                <c:pt idx="16348">
                  <c:v>7.1390000000000002</c:v>
                </c:pt>
                <c:pt idx="16349">
                  <c:v>7.1390000000000002</c:v>
                </c:pt>
                <c:pt idx="16350">
                  <c:v>7.14</c:v>
                </c:pt>
                <c:pt idx="16351">
                  <c:v>7.1390000000000002</c:v>
                </c:pt>
                <c:pt idx="16352">
                  <c:v>7.14</c:v>
                </c:pt>
                <c:pt idx="16353">
                  <c:v>7.14</c:v>
                </c:pt>
                <c:pt idx="16354">
                  <c:v>7.1390000000000002</c:v>
                </c:pt>
                <c:pt idx="16355">
                  <c:v>7.14</c:v>
                </c:pt>
                <c:pt idx="16356">
                  <c:v>7.14</c:v>
                </c:pt>
                <c:pt idx="16357">
                  <c:v>7.1390000000000002</c:v>
                </c:pt>
                <c:pt idx="16358">
                  <c:v>7.1390000000000002</c:v>
                </c:pt>
                <c:pt idx="16359">
                  <c:v>7.1390000000000002</c:v>
                </c:pt>
                <c:pt idx="16360">
                  <c:v>7.14</c:v>
                </c:pt>
                <c:pt idx="16361">
                  <c:v>7.14</c:v>
                </c:pt>
                <c:pt idx="16362">
                  <c:v>7.1390000000000002</c:v>
                </c:pt>
                <c:pt idx="16363">
                  <c:v>7.1390000000000002</c:v>
                </c:pt>
                <c:pt idx="16364">
                  <c:v>7.14</c:v>
                </c:pt>
                <c:pt idx="16365">
                  <c:v>7.14</c:v>
                </c:pt>
                <c:pt idx="16366">
                  <c:v>7.14</c:v>
                </c:pt>
                <c:pt idx="16367">
                  <c:v>7.14</c:v>
                </c:pt>
                <c:pt idx="16368">
                  <c:v>7.1390000000000002</c:v>
                </c:pt>
                <c:pt idx="16369">
                  <c:v>7.14</c:v>
                </c:pt>
                <c:pt idx="16370">
                  <c:v>7.14</c:v>
                </c:pt>
                <c:pt idx="16371">
                  <c:v>7.1390000000000002</c:v>
                </c:pt>
                <c:pt idx="16372">
                  <c:v>7.1390000000000002</c:v>
                </c:pt>
                <c:pt idx="16373">
                  <c:v>7.1390000000000002</c:v>
                </c:pt>
                <c:pt idx="16374">
                  <c:v>7.1390000000000002</c:v>
                </c:pt>
                <c:pt idx="16375">
                  <c:v>7.1390000000000002</c:v>
                </c:pt>
                <c:pt idx="16376">
                  <c:v>7.1390000000000002</c:v>
                </c:pt>
                <c:pt idx="16377">
                  <c:v>7.1390000000000002</c:v>
                </c:pt>
                <c:pt idx="16378">
                  <c:v>7.1390000000000002</c:v>
                </c:pt>
                <c:pt idx="16379">
                  <c:v>7.1390000000000002</c:v>
                </c:pt>
                <c:pt idx="16380">
                  <c:v>7.1390000000000002</c:v>
                </c:pt>
                <c:pt idx="16381">
                  <c:v>7.1390000000000002</c:v>
                </c:pt>
                <c:pt idx="16382">
                  <c:v>7.1390000000000002</c:v>
                </c:pt>
                <c:pt idx="16383">
                  <c:v>7.1390000000000002</c:v>
                </c:pt>
                <c:pt idx="16384">
                  <c:v>7.1390000000000002</c:v>
                </c:pt>
                <c:pt idx="16385">
                  <c:v>7.1390000000000002</c:v>
                </c:pt>
                <c:pt idx="16386">
                  <c:v>7.1390000000000002</c:v>
                </c:pt>
                <c:pt idx="16387">
                  <c:v>7.1390000000000002</c:v>
                </c:pt>
                <c:pt idx="16388">
                  <c:v>7.1390000000000002</c:v>
                </c:pt>
                <c:pt idx="16389">
                  <c:v>7.1390000000000002</c:v>
                </c:pt>
                <c:pt idx="16390">
                  <c:v>7.1390000000000002</c:v>
                </c:pt>
                <c:pt idx="16391">
                  <c:v>7.1390000000000002</c:v>
                </c:pt>
                <c:pt idx="16392">
                  <c:v>7.1390000000000002</c:v>
                </c:pt>
                <c:pt idx="16393">
                  <c:v>7.1390000000000002</c:v>
                </c:pt>
                <c:pt idx="16394">
                  <c:v>7.1390000000000002</c:v>
                </c:pt>
                <c:pt idx="16395">
                  <c:v>7.1390000000000002</c:v>
                </c:pt>
                <c:pt idx="16396">
                  <c:v>7.1390000000000002</c:v>
                </c:pt>
                <c:pt idx="16397">
                  <c:v>7.1390000000000002</c:v>
                </c:pt>
                <c:pt idx="16398">
                  <c:v>7.1390000000000002</c:v>
                </c:pt>
                <c:pt idx="16399">
                  <c:v>7.1390000000000002</c:v>
                </c:pt>
                <c:pt idx="16400">
                  <c:v>7.1390000000000002</c:v>
                </c:pt>
                <c:pt idx="16401">
                  <c:v>7.1390000000000002</c:v>
                </c:pt>
                <c:pt idx="16402">
                  <c:v>7.14</c:v>
                </c:pt>
                <c:pt idx="16403">
                  <c:v>7.1390000000000002</c:v>
                </c:pt>
                <c:pt idx="16404">
                  <c:v>7.1390000000000002</c:v>
                </c:pt>
                <c:pt idx="16405">
                  <c:v>7.1390000000000002</c:v>
                </c:pt>
                <c:pt idx="16406">
                  <c:v>7.1390000000000002</c:v>
                </c:pt>
                <c:pt idx="16407">
                  <c:v>7.1390000000000002</c:v>
                </c:pt>
                <c:pt idx="16408">
                  <c:v>7.1390000000000002</c:v>
                </c:pt>
                <c:pt idx="16409">
                  <c:v>7.1390000000000002</c:v>
                </c:pt>
                <c:pt idx="16410">
                  <c:v>7.1390000000000002</c:v>
                </c:pt>
                <c:pt idx="16411">
                  <c:v>7.1390000000000002</c:v>
                </c:pt>
                <c:pt idx="16412">
                  <c:v>7.1390000000000002</c:v>
                </c:pt>
                <c:pt idx="16413">
                  <c:v>7.1390000000000002</c:v>
                </c:pt>
                <c:pt idx="16414">
                  <c:v>7.1390000000000002</c:v>
                </c:pt>
                <c:pt idx="16415">
                  <c:v>7.1390000000000002</c:v>
                </c:pt>
                <c:pt idx="16416">
                  <c:v>7.1390000000000002</c:v>
                </c:pt>
                <c:pt idx="16417">
                  <c:v>7.1390000000000002</c:v>
                </c:pt>
                <c:pt idx="16418">
                  <c:v>7.1390000000000002</c:v>
                </c:pt>
                <c:pt idx="16419">
                  <c:v>7.1390000000000002</c:v>
                </c:pt>
                <c:pt idx="16420">
                  <c:v>7.1390000000000002</c:v>
                </c:pt>
                <c:pt idx="16421">
                  <c:v>7.1390000000000002</c:v>
                </c:pt>
                <c:pt idx="16422">
                  <c:v>7.1390000000000002</c:v>
                </c:pt>
                <c:pt idx="16423">
                  <c:v>7.1390000000000002</c:v>
                </c:pt>
                <c:pt idx="16424">
                  <c:v>7.1390000000000002</c:v>
                </c:pt>
                <c:pt idx="16425">
                  <c:v>7.1390000000000002</c:v>
                </c:pt>
                <c:pt idx="16426">
                  <c:v>7.1379999999999999</c:v>
                </c:pt>
                <c:pt idx="16427">
                  <c:v>7.1390000000000002</c:v>
                </c:pt>
                <c:pt idx="16428">
                  <c:v>7.1390000000000002</c:v>
                </c:pt>
                <c:pt idx="16429">
                  <c:v>7.1390000000000002</c:v>
                </c:pt>
                <c:pt idx="16430">
                  <c:v>7.1379999999999999</c:v>
                </c:pt>
                <c:pt idx="16431">
                  <c:v>7.1390000000000002</c:v>
                </c:pt>
                <c:pt idx="16432">
                  <c:v>7.1379999999999999</c:v>
                </c:pt>
                <c:pt idx="16433">
                  <c:v>7.1379999999999999</c:v>
                </c:pt>
                <c:pt idx="16434">
                  <c:v>7.1390000000000002</c:v>
                </c:pt>
                <c:pt idx="16435">
                  <c:v>7.1390000000000002</c:v>
                </c:pt>
                <c:pt idx="16436">
                  <c:v>7.1390000000000002</c:v>
                </c:pt>
                <c:pt idx="16437">
                  <c:v>7.1379999999999999</c:v>
                </c:pt>
                <c:pt idx="16438">
                  <c:v>7.1390000000000002</c:v>
                </c:pt>
                <c:pt idx="16439">
                  <c:v>7.1379999999999999</c:v>
                </c:pt>
                <c:pt idx="16440">
                  <c:v>7.1390000000000002</c:v>
                </c:pt>
                <c:pt idx="16441">
                  <c:v>7.1379999999999999</c:v>
                </c:pt>
                <c:pt idx="16442">
                  <c:v>7.1390000000000002</c:v>
                </c:pt>
                <c:pt idx="16443">
                  <c:v>7.1379999999999999</c:v>
                </c:pt>
                <c:pt idx="16444">
                  <c:v>7.1390000000000002</c:v>
                </c:pt>
                <c:pt idx="16445">
                  <c:v>7.1390000000000002</c:v>
                </c:pt>
                <c:pt idx="16446">
                  <c:v>7.1379999999999999</c:v>
                </c:pt>
                <c:pt idx="16447">
                  <c:v>7.1379999999999999</c:v>
                </c:pt>
                <c:pt idx="16448">
                  <c:v>7.1379999999999999</c:v>
                </c:pt>
                <c:pt idx="16449">
                  <c:v>7.1379999999999999</c:v>
                </c:pt>
                <c:pt idx="16450">
                  <c:v>7.1379999999999999</c:v>
                </c:pt>
                <c:pt idx="16451">
                  <c:v>7.1379999999999999</c:v>
                </c:pt>
                <c:pt idx="16452">
                  <c:v>7.1379999999999999</c:v>
                </c:pt>
                <c:pt idx="16453">
                  <c:v>7.1379999999999999</c:v>
                </c:pt>
                <c:pt idx="16454">
                  <c:v>7.1379999999999999</c:v>
                </c:pt>
                <c:pt idx="16455">
                  <c:v>7.1379999999999999</c:v>
                </c:pt>
                <c:pt idx="16456">
                  <c:v>7.1379999999999999</c:v>
                </c:pt>
                <c:pt idx="16457">
                  <c:v>7.1379999999999999</c:v>
                </c:pt>
                <c:pt idx="16458">
                  <c:v>7.1379999999999999</c:v>
                </c:pt>
                <c:pt idx="16459">
                  <c:v>7.1379999999999999</c:v>
                </c:pt>
                <c:pt idx="16460">
                  <c:v>7.1379999999999999</c:v>
                </c:pt>
                <c:pt idx="16461">
                  <c:v>7.1379999999999999</c:v>
                </c:pt>
                <c:pt idx="16462">
                  <c:v>7.1390000000000002</c:v>
                </c:pt>
                <c:pt idx="16463">
                  <c:v>7.1379999999999999</c:v>
                </c:pt>
                <c:pt idx="16464">
                  <c:v>7.1379999999999999</c:v>
                </c:pt>
                <c:pt idx="16465">
                  <c:v>7.1379999999999999</c:v>
                </c:pt>
                <c:pt idx="16466">
                  <c:v>7.1379999999999999</c:v>
                </c:pt>
                <c:pt idx="16467">
                  <c:v>7.1379999999999999</c:v>
                </c:pt>
                <c:pt idx="16468">
                  <c:v>7.1369999999999996</c:v>
                </c:pt>
                <c:pt idx="16469">
                  <c:v>7.1369999999999996</c:v>
                </c:pt>
                <c:pt idx="16470">
                  <c:v>7.1379999999999999</c:v>
                </c:pt>
                <c:pt idx="16471">
                  <c:v>7.1379999999999999</c:v>
                </c:pt>
                <c:pt idx="16472">
                  <c:v>7.1379999999999999</c:v>
                </c:pt>
                <c:pt idx="16473">
                  <c:v>7.1379999999999999</c:v>
                </c:pt>
                <c:pt idx="16474">
                  <c:v>7.1379999999999999</c:v>
                </c:pt>
                <c:pt idx="16475">
                  <c:v>7.1379999999999999</c:v>
                </c:pt>
                <c:pt idx="16476">
                  <c:v>7.1379999999999999</c:v>
                </c:pt>
                <c:pt idx="16477">
                  <c:v>7.1379999999999999</c:v>
                </c:pt>
                <c:pt idx="16478">
                  <c:v>7.1379999999999999</c:v>
                </c:pt>
                <c:pt idx="16479">
                  <c:v>7.1379999999999999</c:v>
                </c:pt>
                <c:pt idx="16480">
                  <c:v>7.1379999999999999</c:v>
                </c:pt>
                <c:pt idx="16481">
                  <c:v>7.1379999999999999</c:v>
                </c:pt>
                <c:pt idx="16482">
                  <c:v>7.1379999999999999</c:v>
                </c:pt>
                <c:pt idx="16483">
                  <c:v>7.1379999999999999</c:v>
                </c:pt>
                <c:pt idx="16484">
                  <c:v>7.1379999999999999</c:v>
                </c:pt>
                <c:pt idx="16485">
                  <c:v>7.1379999999999999</c:v>
                </c:pt>
                <c:pt idx="16486">
                  <c:v>7.1369999999999996</c:v>
                </c:pt>
                <c:pt idx="16487">
                  <c:v>7.1379999999999999</c:v>
                </c:pt>
                <c:pt idx="16488">
                  <c:v>7.1379999999999999</c:v>
                </c:pt>
                <c:pt idx="16489">
                  <c:v>7.1379999999999999</c:v>
                </c:pt>
                <c:pt idx="16490">
                  <c:v>7.1379999999999999</c:v>
                </c:pt>
                <c:pt idx="16491">
                  <c:v>7.1379999999999999</c:v>
                </c:pt>
                <c:pt idx="16492">
                  <c:v>7.1379999999999999</c:v>
                </c:pt>
                <c:pt idx="16493">
                  <c:v>7.1379999999999999</c:v>
                </c:pt>
                <c:pt idx="16494">
                  <c:v>7.1379999999999999</c:v>
                </c:pt>
                <c:pt idx="16495">
                  <c:v>7.1379999999999999</c:v>
                </c:pt>
                <c:pt idx="16496">
                  <c:v>7.1379999999999999</c:v>
                </c:pt>
                <c:pt idx="16497">
                  <c:v>7.1379999999999999</c:v>
                </c:pt>
                <c:pt idx="16498">
                  <c:v>7.1379999999999999</c:v>
                </c:pt>
                <c:pt idx="16499">
                  <c:v>7.1379999999999999</c:v>
                </c:pt>
                <c:pt idx="16500">
                  <c:v>7.1369999999999996</c:v>
                </c:pt>
                <c:pt idx="16501">
                  <c:v>7.1369999999999996</c:v>
                </c:pt>
                <c:pt idx="16502">
                  <c:v>7.1379999999999999</c:v>
                </c:pt>
                <c:pt idx="16503">
                  <c:v>7.1379999999999999</c:v>
                </c:pt>
                <c:pt idx="16504">
                  <c:v>7.1369999999999996</c:v>
                </c:pt>
                <c:pt idx="16505">
                  <c:v>7.1379999999999999</c:v>
                </c:pt>
                <c:pt idx="16506">
                  <c:v>7.1369999999999996</c:v>
                </c:pt>
                <c:pt idx="16507">
                  <c:v>7.1379999999999999</c:v>
                </c:pt>
                <c:pt idx="16508">
                  <c:v>7.1379999999999999</c:v>
                </c:pt>
                <c:pt idx="16509">
                  <c:v>7.1369999999999996</c:v>
                </c:pt>
                <c:pt idx="16510">
                  <c:v>7.1369999999999996</c:v>
                </c:pt>
                <c:pt idx="16511">
                  <c:v>7.1369999999999996</c:v>
                </c:pt>
                <c:pt idx="16512">
                  <c:v>7.1379999999999999</c:v>
                </c:pt>
                <c:pt idx="16513">
                  <c:v>7.1369999999999996</c:v>
                </c:pt>
                <c:pt idx="16514">
                  <c:v>7.1369999999999996</c:v>
                </c:pt>
                <c:pt idx="16515">
                  <c:v>7.1369999999999996</c:v>
                </c:pt>
                <c:pt idx="16516">
                  <c:v>7.1369999999999996</c:v>
                </c:pt>
                <c:pt idx="16517">
                  <c:v>7.1369999999999996</c:v>
                </c:pt>
                <c:pt idx="16518">
                  <c:v>7.1369999999999996</c:v>
                </c:pt>
                <c:pt idx="16519">
                  <c:v>7.1369999999999996</c:v>
                </c:pt>
                <c:pt idx="16520">
                  <c:v>7.1369999999999996</c:v>
                </c:pt>
                <c:pt idx="16521">
                  <c:v>7.1379999999999999</c:v>
                </c:pt>
                <c:pt idx="16522">
                  <c:v>7.1369999999999996</c:v>
                </c:pt>
                <c:pt idx="16523">
                  <c:v>7.1369999999999996</c:v>
                </c:pt>
                <c:pt idx="16524">
                  <c:v>7.1379999999999999</c:v>
                </c:pt>
                <c:pt idx="16525">
                  <c:v>7.1369999999999996</c:v>
                </c:pt>
                <c:pt idx="16526">
                  <c:v>7.1369999999999996</c:v>
                </c:pt>
                <c:pt idx="16527">
                  <c:v>7.1369999999999996</c:v>
                </c:pt>
                <c:pt idx="16528">
                  <c:v>7.1369999999999996</c:v>
                </c:pt>
                <c:pt idx="16529">
                  <c:v>7.1369999999999996</c:v>
                </c:pt>
                <c:pt idx="16530">
                  <c:v>7.1369999999999996</c:v>
                </c:pt>
                <c:pt idx="16531">
                  <c:v>7.1379999999999999</c:v>
                </c:pt>
                <c:pt idx="16532">
                  <c:v>7.1369999999999996</c:v>
                </c:pt>
                <c:pt idx="16533">
                  <c:v>7.1369999999999996</c:v>
                </c:pt>
                <c:pt idx="16534">
                  <c:v>7.1379999999999999</c:v>
                </c:pt>
                <c:pt idx="16535">
                  <c:v>7.1369999999999996</c:v>
                </c:pt>
                <c:pt idx="16536">
                  <c:v>7.1379999999999999</c:v>
                </c:pt>
                <c:pt idx="16537">
                  <c:v>7.1379999999999999</c:v>
                </c:pt>
                <c:pt idx="16538">
                  <c:v>7.1379999999999999</c:v>
                </c:pt>
                <c:pt idx="16539">
                  <c:v>7.1379999999999999</c:v>
                </c:pt>
                <c:pt idx="16540">
                  <c:v>7.1369999999999996</c:v>
                </c:pt>
                <c:pt idx="16541">
                  <c:v>7.1369999999999996</c:v>
                </c:pt>
                <c:pt idx="16542">
                  <c:v>7.1369999999999996</c:v>
                </c:pt>
                <c:pt idx="16543">
                  <c:v>7.1369999999999996</c:v>
                </c:pt>
                <c:pt idx="16544">
                  <c:v>7.1369999999999996</c:v>
                </c:pt>
                <c:pt idx="16545">
                  <c:v>7.1369999999999996</c:v>
                </c:pt>
                <c:pt idx="16546">
                  <c:v>7.1369999999999996</c:v>
                </c:pt>
                <c:pt idx="16547">
                  <c:v>7.1369999999999996</c:v>
                </c:pt>
                <c:pt idx="16548">
                  <c:v>7.1369999999999996</c:v>
                </c:pt>
                <c:pt idx="16549">
                  <c:v>7.1369999999999996</c:v>
                </c:pt>
                <c:pt idx="16550">
                  <c:v>7.1369999999999996</c:v>
                </c:pt>
                <c:pt idx="16551">
                  <c:v>7.1369999999999996</c:v>
                </c:pt>
                <c:pt idx="16552">
                  <c:v>7.1369999999999996</c:v>
                </c:pt>
                <c:pt idx="16553">
                  <c:v>7.1369999999999996</c:v>
                </c:pt>
                <c:pt idx="16554">
                  <c:v>7.1369999999999996</c:v>
                </c:pt>
                <c:pt idx="16555">
                  <c:v>7.1369999999999996</c:v>
                </c:pt>
                <c:pt idx="16556">
                  <c:v>7.1369999999999996</c:v>
                </c:pt>
                <c:pt idx="16557">
                  <c:v>7.1369999999999996</c:v>
                </c:pt>
                <c:pt idx="16558">
                  <c:v>7.1360000000000001</c:v>
                </c:pt>
                <c:pt idx="16559">
                  <c:v>7.1369999999999996</c:v>
                </c:pt>
                <c:pt idx="16560">
                  <c:v>7.1369999999999996</c:v>
                </c:pt>
                <c:pt idx="16561">
                  <c:v>7.1360000000000001</c:v>
                </c:pt>
                <c:pt idx="16562">
                  <c:v>7.1360000000000001</c:v>
                </c:pt>
                <c:pt idx="16563">
                  <c:v>7.1369999999999996</c:v>
                </c:pt>
                <c:pt idx="16564">
                  <c:v>7.1369999999999996</c:v>
                </c:pt>
                <c:pt idx="16565">
                  <c:v>7.1360000000000001</c:v>
                </c:pt>
                <c:pt idx="16566">
                  <c:v>7.1360000000000001</c:v>
                </c:pt>
                <c:pt idx="16567">
                  <c:v>7.1360000000000001</c:v>
                </c:pt>
                <c:pt idx="16568">
                  <c:v>7.1369999999999996</c:v>
                </c:pt>
                <c:pt idx="16569">
                  <c:v>7.1360000000000001</c:v>
                </c:pt>
                <c:pt idx="16570">
                  <c:v>7.1360000000000001</c:v>
                </c:pt>
                <c:pt idx="16571">
                  <c:v>7.1360000000000001</c:v>
                </c:pt>
                <c:pt idx="16572">
                  <c:v>7.1360000000000001</c:v>
                </c:pt>
                <c:pt idx="16573">
                  <c:v>7.1360000000000001</c:v>
                </c:pt>
                <c:pt idx="16574">
                  <c:v>7.1360000000000001</c:v>
                </c:pt>
                <c:pt idx="16575">
                  <c:v>7.1360000000000001</c:v>
                </c:pt>
                <c:pt idx="16576">
                  <c:v>7.1360000000000001</c:v>
                </c:pt>
                <c:pt idx="16577">
                  <c:v>7.1360000000000001</c:v>
                </c:pt>
                <c:pt idx="16578">
                  <c:v>7.1360000000000001</c:v>
                </c:pt>
                <c:pt idx="16579">
                  <c:v>7.1360000000000001</c:v>
                </c:pt>
                <c:pt idx="16580">
                  <c:v>7.1360000000000001</c:v>
                </c:pt>
                <c:pt idx="16581">
                  <c:v>7.1360000000000001</c:v>
                </c:pt>
                <c:pt idx="16582">
                  <c:v>7.1360000000000001</c:v>
                </c:pt>
                <c:pt idx="16583">
                  <c:v>7.1360000000000001</c:v>
                </c:pt>
                <c:pt idx="16584">
                  <c:v>7.1360000000000001</c:v>
                </c:pt>
                <c:pt idx="16585">
                  <c:v>7.1360000000000001</c:v>
                </c:pt>
                <c:pt idx="16586">
                  <c:v>7.1360000000000001</c:v>
                </c:pt>
                <c:pt idx="16587">
                  <c:v>7.1360000000000001</c:v>
                </c:pt>
                <c:pt idx="16588">
                  <c:v>7.1360000000000001</c:v>
                </c:pt>
                <c:pt idx="16589">
                  <c:v>7.1360000000000001</c:v>
                </c:pt>
                <c:pt idx="16590">
                  <c:v>7.1360000000000001</c:v>
                </c:pt>
                <c:pt idx="16591">
                  <c:v>7.1360000000000001</c:v>
                </c:pt>
                <c:pt idx="16592">
                  <c:v>7.1360000000000001</c:v>
                </c:pt>
                <c:pt idx="16593">
                  <c:v>7.1360000000000001</c:v>
                </c:pt>
                <c:pt idx="16594">
                  <c:v>7.1360000000000001</c:v>
                </c:pt>
                <c:pt idx="16595">
                  <c:v>7.1349999999999998</c:v>
                </c:pt>
                <c:pt idx="16596">
                  <c:v>7.1349999999999998</c:v>
                </c:pt>
                <c:pt idx="16597">
                  <c:v>7.1349999999999998</c:v>
                </c:pt>
                <c:pt idx="16598">
                  <c:v>7.1349999999999998</c:v>
                </c:pt>
                <c:pt idx="16599">
                  <c:v>7.1349999999999998</c:v>
                </c:pt>
                <c:pt idx="16600">
                  <c:v>7.1349999999999998</c:v>
                </c:pt>
                <c:pt idx="16601">
                  <c:v>7.1349999999999998</c:v>
                </c:pt>
                <c:pt idx="16602">
                  <c:v>7.1349999999999998</c:v>
                </c:pt>
                <c:pt idx="16603">
                  <c:v>7.1349999999999998</c:v>
                </c:pt>
                <c:pt idx="16604">
                  <c:v>7.1349999999999998</c:v>
                </c:pt>
                <c:pt idx="16605">
                  <c:v>7.1349999999999998</c:v>
                </c:pt>
                <c:pt idx="16606">
                  <c:v>7.1349999999999998</c:v>
                </c:pt>
                <c:pt idx="16607">
                  <c:v>7.1349999999999998</c:v>
                </c:pt>
                <c:pt idx="16608">
                  <c:v>7.1349999999999998</c:v>
                </c:pt>
                <c:pt idx="16609">
                  <c:v>7.1349999999999998</c:v>
                </c:pt>
                <c:pt idx="16610">
                  <c:v>7.1349999999999998</c:v>
                </c:pt>
                <c:pt idx="16611">
                  <c:v>7.1349999999999998</c:v>
                </c:pt>
                <c:pt idx="16612">
                  <c:v>7.1349999999999998</c:v>
                </c:pt>
                <c:pt idx="16613">
                  <c:v>7.1349999999999998</c:v>
                </c:pt>
                <c:pt idx="16614">
                  <c:v>7.1349999999999998</c:v>
                </c:pt>
                <c:pt idx="16615">
                  <c:v>7.1349999999999998</c:v>
                </c:pt>
                <c:pt idx="16616">
                  <c:v>7.1340000000000003</c:v>
                </c:pt>
                <c:pt idx="16617">
                  <c:v>7.1349999999999998</c:v>
                </c:pt>
                <c:pt idx="16618">
                  <c:v>7.1349999999999998</c:v>
                </c:pt>
                <c:pt idx="16619">
                  <c:v>7.1349999999999998</c:v>
                </c:pt>
                <c:pt idx="16620">
                  <c:v>7.1340000000000003</c:v>
                </c:pt>
                <c:pt idx="16621">
                  <c:v>7.1349999999999998</c:v>
                </c:pt>
                <c:pt idx="16622">
                  <c:v>7.1349999999999998</c:v>
                </c:pt>
                <c:pt idx="16623">
                  <c:v>7.1349999999999998</c:v>
                </c:pt>
                <c:pt idx="16624">
                  <c:v>7.1349999999999998</c:v>
                </c:pt>
                <c:pt idx="16625">
                  <c:v>7.1349999999999998</c:v>
                </c:pt>
                <c:pt idx="16626">
                  <c:v>7.1349999999999998</c:v>
                </c:pt>
                <c:pt idx="16627">
                  <c:v>7.1349999999999998</c:v>
                </c:pt>
                <c:pt idx="16628">
                  <c:v>7.1349999999999998</c:v>
                </c:pt>
                <c:pt idx="16629">
                  <c:v>7.1349999999999998</c:v>
                </c:pt>
                <c:pt idx="16630">
                  <c:v>7.1349999999999998</c:v>
                </c:pt>
                <c:pt idx="16631">
                  <c:v>7.1349999999999998</c:v>
                </c:pt>
                <c:pt idx="16632">
                  <c:v>7.1349999999999998</c:v>
                </c:pt>
                <c:pt idx="16633">
                  <c:v>7.1349999999999998</c:v>
                </c:pt>
                <c:pt idx="16634">
                  <c:v>7.1349999999999998</c:v>
                </c:pt>
                <c:pt idx="16635">
                  <c:v>7.1349999999999998</c:v>
                </c:pt>
                <c:pt idx="16636">
                  <c:v>7.1349999999999998</c:v>
                </c:pt>
                <c:pt idx="16637">
                  <c:v>7.1349999999999998</c:v>
                </c:pt>
                <c:pt idx="16638">
                  <c:v>7.1349999999999998</c:v>
                </c:pt>
                <c:pt idx="16639">
                  <c:v>7.1349999999999998</c:v>
                </c:pt>
                <c:pt idx="16640">
                  <c:v>7.1349999999999998</c:v>
                </c:pt>
                <c:pt idx="16641">
                  <c:v>7.1349999999999998</c:v>
                </c:pt>
                <c:pt idx="16642">
                  <c:v>7.1349999999999998</c:v>
                </c:pt>
                <c:pt idx="16643">
                  <c:v>7.1349999999999998</c:v>
                </c:pt>
                <c:pt idx="16644">
                  <c:v>7.1349999999999998</c:v>
                </c:pt>
                <c:pt idx="16645">
                  <c:v>7.1349999999999998</c:v>
                </c:pt>
                <c:pt idx="16646">
                  <c:v>7.1349999999999998</c:v>
                </c:pt>
                <c:pt idx="16647">
                  <c:v>7.1349999999999998</c:v>
                </c:pt>
                <c:pt idx="16648">
                  <c:v>7.1349999999999998</c:v>
                </c:pt>
                <c:pt idx="16649">
                  <c:v>7.1349999999999998</c:v>
                </c:pt>
                <c:pt idx="16650">
                  <c:v>7.1349999999999998</c:v>
                </c:pt>
                <c:pt idx="16651">
                  <c:v>7.1349999999999998</c:v>
                </c:pt>
                <c:pt idx="16652">
                  <c:v>7.1349999999999998</c:v>
                </c:pt>
                <c:pt idx="16653">
                  <c:v>7.1349999999999998</c:v>
                </c:pt>
                <c:pt idx="16654">
                  <c:v>7.1349999999999998</c:v>
                </c:pt>
                <c:pt idx="16655">
                  <c:v>7.1349999999999998</c:v>
                </c:pt>
                <c:pt idx="16656">
                  <c:v>7.1349999999999998</c:v>
                </c:pt>
                <c:pt idx="16657">
                  <c:v>7.1349999999999998</c:v>
                </c:pt>
                <c:pt idx="16658">
                  <c:v>7.1349999999999998</c:v>
                </c:pt>
                <c:pt idx="16659">
                  <c:v>7.1349999999999998</c:v>
                </c:pt>
                <c:pt idx="16660">
                  <c:v>7.1349999999999998</c:v>
                </c:pt>
                <c:pt idx="16661">
                  <c:v>7.1349999999999998</c:v>
                </c:pt>
                <c:pt idx="16662">
                  <c:v>7.1340000000000003</c:v>
                </c:pt>
                <c:pt idx="16663">
                  <c:v>7.1349999999999998</c:v>
                </c:pt>
                <c:pt idx="16664">
                  <c:v>7.1349999999999998</c:v>
                </c:pt>
                <c:pt idx="16665">
                  <c:v>7.1340000000000003</c:v>
                </c:pt>
                <c:pt idx="16666">
                  <c:v>7.1349999999999998</c:v>
                </c:pt>
                <c:pt idx="16667">
                  <c:v>7.1349999999999998</c:v>
                </c:pt>
                <c:pt idx="16668">
                  <c:v>7.1349999999999998</c:v>
                </c:pt>
                <c:pt idx="16669">
                  <c:v>7.1340000000000003</c:v>
                </c:pt>
                <c:pt idx="16670">
                  <c:v>7.1340000000000003</c:v>
                </c:pt>
                <c:pt idx="16671">
                  <c:v>7.1349999999999998</c:v>
                </c:pt>
                <c:pt idx="16672">
                  <c:v>7.1349999999999998</c:v>
                </c:pt>
                <c:pt idx="16673">
                  <c:v>7.1340000000000003</c:v>
                </c:pt>
                <c:pt idx="16674">
                  <c:v>7.1340000000000003</c:v>
                </c:pt>
                <c:pt idx="16675">
                  <c:v>7.1340000000000003</c:v>
                </c:pt>
                <c:pt idx="16676">
                  <c:v>7.1340000000000003</c:v>
                </c:pt>
                <c:pt idx="16677">
                  <c:v>7.1349999999999998</c:v>
                </c:pt>
                <c:pt idx="16678">
                  <c:v>7.1340000000000003</c:v>
                </c:pt>
                <c:pt idx="16679">
                  <c:v>7.1340000000000003</c:v>
                </c:pt>
                <c:pt idx="16680">
                  <c:v>7.1349999999999998</c:v>
                </c:pt>
                <c:pt idx="16681">
                  <c:v>7.1340000000000003</c:v>
                </c:pt>
                <c:pt idx="16682">
                  <c:v>7.1340000000000003</c:v>
                </c:pt>
                <c:pt idx="16683">
                  <c:v>7.1340000000000003</c:v>
                </c:pt>
                <c:pt idx="16684">
                  <c:v>7.1340000000000003</c:v>
                </c:pt>
                <c:pt idx="16685">
                  <c:v>7.1340000000000003</c:v>
                </c:pt>
                <c:pt idx="16686">
                  <c:v>7.1340000000000003</c:v>
                </c:pt>
                <c:pt idx="16687">
                  <c:v>7.1340000000000003</c:v>
                </c:pt>
                <c:pt idx="16688">
                  <c:v>7.1340000000000003</c:v>
                </c:pt>
                <c:pt idx="16689">
                  <c:v>7.1340000000000003</c:v>
                </c:pt>
                <c:pt idx="16690">
                  <c:v>7.1340000000000003</c:v>
                </c:pt>
                <c:pt idx="16691">
                  <c:v>7.1340000000000003</c:v>
                </c:pt>
                <c:pt idx="16692">
                  <c:v>7.1340000000000003</c:v>
                </c:pt>
                <c:pt idx="16693">
                  <c:v>7.1340000000000003</c:v>
                </c:pt>
                <c:pt idx="16694">
                  <c:v>7.1340000000000003</c:v>
                </c:pt>
                <c:pt idx="16695">
                  <c:v>7.1340000000000003</c:v>
                </c:pt>
                <c:pt idx="16696">
                  <c:v>7.1349999999999998</c:v>
                </c:pt>
                <c:pt idx="16697">
                  <c:v>7.1340000000000003</c:v>
                </c:pt>
                <c:pt idx="16698">
                  <c:v>7.1349999999999998</c:v>
                </c:pt>
                <c:pt idx="16699">
                  <c:v>7.1349999999999998</c:v>
                </c:pt>
                <c:pt idx="16700">
                  <c:v>7.1349999999999998</c:v>
                </c:pt>
                <c:pt idx="16701">
                  <c:v>7.1349999999999998</c:v>
                </c:pt>
                <c:pt idx="16702">
                  <c:v>7.1349999999999998</c:v>
                </c:pt>
                <c:pt idx="16703">
                  <c:v>7.1349999999999998</c:v>
                </c:pt>
                <c:pt idx="16704">
                  <c:v>7.1340000000000003</c:v>
                </c:pt>
                <c:pt idx="16705">
                  <c:v>7.1349999999999998</c:v>
                </c:pt>
                <c:pt idx="16706">
                  <c:v>7.1340000000000003</c:v>
                </c:pt>
                <c:pt idx="16707">
                  <c:v>7.1340000000000003</c:v>
                </c:pt>
                <c:pt idx="16708">
                  <c:v>7.1349999999999998</c:v>
                </c:pt>
                <c:pt idx="16709">
                  <c:v>7.1340000000000003</c:v>
                </c:pt>
                <c:pt idx="16710">
                  <c:v>7.1340000000000003</c:v>
                </c:pt>
                <c:pt idx="16711">
                  <c:v>7.1349999999999998</c:v>
                </c:pt>
                <c:pt idx="16712">
                  <c:v>7.1340000000000003</c:v>
                </c:pt>
                <c:pt idx="16713">
                  <c:v>7.1340000000000003</c:v>
                </c:pt>
                <c:pt idx="16714">
                  <c:v>7.1340000000000003</c:v>
                </c:pt>
                <c:pt idx="16715">
                  <c:v>7.1340000000000003</c:v>
                </c:pt>
                <c:pt idx="16716">
                  <c:v>7.1340000000000003</c:v>
                </c:pt>
                <c:pt idx="16717">
                  <c:v>7.1340000000000003</c:v>
                </c:pt>
                <c:pt idx="16718">
                  <c:v>7.1340000000000003</c:v>
                </c:pt>
                <c:pt idx="16719">
                  <c:v>7.1340000000000003</c:v>
                </c:pt>
                <c:pt idx="16720">
                  <c:v>7.1340000000000003</c:v>
                </c:pt>
                <c:pt idx="16721">
                  <c:v>7.1340000000000003</c:v>
                </c:pt>
                <c:pt idx="16722">
                  <c:v>7.1340000000000003</c:v>
                </c:pt>
                <c:pt idx="16723">
                  <c:v>7.1340000000000003</c:v>
                </c:pt>
                <c:pt idx="16724">
                  <c:v>7.1340000000000003</c:v>
                </c:pt>
                <c:pt idx="16725">
                  <c:v>7.1340000000000003</c:v>
                </c:pt>
                <c:pt idx="16726">
                  <c:v>7.1349999999999998</c:v>
                </c:pt>
                <c:pt idx="16727">
                  <c:v>7.1349999999999998</c:v>
                </c:pt>
                <c:pt idx="16728">
                  <c:v>7.1349999999999998</c:v>
                </c:pt>
                <c:pt idx="16729">
                  <c:v>7.1349999999999998</c:v>
                </c:pt>
                <c:pt idx="16730">
                  <c:v>7.1340000000000003</c:v>
                </c:pt>
                <c:pt idx="16731">
                  <c:v>7.1340000000000003</c:v>
                </c:pt>
                <c:pt idx="16732">
                  <c:v>7.1340000000000003</c:v>
                </c:pt>
                <c:pt idx="16733">
                  <c:v>7.1340000000000003</c:v>
                </c:pt>
                <c:pt idx="16734">
                  <c:v>7.1340000000000003</c:v>
                </c:pt>
                <c:pt idx="16735">
                  <c:v>7.1340000000000003</c:v>
                </c:pt>
                <c:pt idx="16736">
                  <c:v>7.1340000000000003</c:v>
                </c:pt>
                <c:pt idx="16737">
                  <c:v>7.1340000000000003</c:v>
                </c:pt>
                <c:pt idx="16738">
                  <c:v>7.1340000000000003</c:v>
                </c:pt>
                <c:pt idx="16739">
                  <c:v>7.1340000000000003</c:v>
                </c:pt>
                <c:pt idx="16740">
                  <c:v>7.1340000000000003</c:v>
                </c:pt>
                <c:pt idx="16741">
                  <c:v>7.1340000000000003</c:v>
                </c:pt>
                <c:pt idx="16742">
                  <c:v>7.133</c:v>
                </c:pt>
                <c:pt idx="16743">
                  <c:v>7.1340000000000003</c:v>
                </c:pt>
                <c:pt idx="16744">
                  <c:v>7.1340000000000003</c:v>
                </c:pt>
                <c:pt idx="16745">
                  <c:v>7.133</c:v>
                </c:pt>
                <c:pt idx="16746">
                  <c:v>7.1340000000000003</c:v>
                </c:pt>
                <c:pt idx="16747">
                  <c:v>7.1340000000000003</c:v>
                </c:pt>
                <c:pt idx="16748">
                  <c:v>7.1340000000000003</c:v>
                </c:pt>
                <c:pt idx="16749">
                  <c:v>7.1340000000000003</c:v>
                </c:pt>
                <c:pt idx="16750">
                  <c:v>7.1340000000000003</c:v>
                </c:pt>
                <c:pt idx="16751">
                  <c:v>7.133</c:v>
                </c:pt>
                <c:pt idx="16752">
                  <c:v>7.133</c:v>
                </c:pt>
                <c:pt idx="16753">
                  <c:v>7.133</c:v>
                </c:pt>
                <c:pt idx="16754">
                  <c:v>7.133</c:v>
                </c:pt>
                <c:pt idx="16755">
                  <c:v>7.133</c:v>
                </c:pt>
                <c:pt idx="16756">
                  <c:v>7.133</c:v>
                </c:pt>
                <c:pt idx="16757">
                  <c:v>7.133</c:v>
                </c:pt>
                <c:pt idx="16758">
                  <c:v>7.133</c:v>
                </c:pt>
                <c:pt idx="16759">
                  <c:v>7.1340000000000003</c:v>
                </c:pt>
                <c:pt idx="16760">
                  <c:v>7.1340000000000003</c:v>
                </c:pt>
                <c:pt idx="16761">
                  <c:v>7.133</c:v>
                </c:pt>
                <c:pt idx="16762">
                  <c:v>7.133</c:v>
                </c:pt>
                <c:pt idx="16763">
                  <c:v>7.1340000000000003</c:v>
                </c:pt>
                <c:pt idx="16764">
                  <c:v>7.133</c:v>
                </c:pt>
                <c:pt idx="16765">
                  <c:v>7.133</c:v>
                </c:pt>
                <c:pt idx="16766">
                  <c:v>7.133</c:v>
                </c:pt>
                <c:pt idx="16767">
                  <c:v>7.1340000000000003</c:v>
                </c:pt>
                <c:pt idx="16768">
                  <c:v>7.133</c:v>
                </c:pt>
                <c:pt idx="16769">
                  <c:v>7.1340000000000003</c:v>
                </c:pt>
                <c:pt idx="16770">
                  <c:v>7.1340000000000003</c:v>
                </c:pt>
                <c:pt idx="16771">
                  <c:v>7.1340000000000003</c:v>
                </c:pt>
                <c:pt idx="16772">
                  <c:v>7.1340000000000003</c:v>
                </c:pt>
                <c:pt idx="16773">
                  <c:v>7.1340000000000003</c:v>
                </c:pt>
                <c:pt idx="16774">
                  <c:v>7.1340000000000003</c:v>
                </c:pt>
                <c:pt idx="16775">
                  <c:v>7.133</c:v>
                </c:pt>
                <c:pt idx="16776">
                  <c:v>7.1340000000000003</c:v>
                </c:pt>
                <c:pt idx="16777">
                  <c:v>7.133</c:v>
                </c:pt>
                <c:pt idx="16778">
                  <c:v>7.133</c:v>
                </c:pt>
                <c:pt idx="16779">
                  <c:v>7.1340000000000003</c:v>
                </c:pt>
                <c:pt idx="16780">
                  <c:v>7.1340000000000003</c:v>
                </c:pt>
                <c:pt idx="16781">
                  <c:v>7.1340000000000003</c:v>
                </c:pt>
                <c:pt idx="16782">
                  <c:v>7.1340000000000003</c:v>
                </c:pt>
                <c:pt idx="16783">
                  <c:v>7.133</c:v>
                </c:pt>
                <c:pt idx="16784">
                  <c:v>7.133</c:v>
                </c:pt>
                <c:pt idx="16785">
                  <c:v>7.133</c:v>
                </c:pt>
                <c:pt idx="16786">
                  <c:v>7.133</c:v>
                </c:pt>
                <c:pt idx="16787">
                  <c:v>7.133</c:v>
                </c:pt>
                <c:pt idx="16788">
                  <c:v>7.133</c:v>
                </c:pt>
                <c:pt idx="16789">
                  <c:v>7.133</c:v>
                </c:pt>
                <c:pt idx="16790">
                  <c:v>7.133</c:v>
                </c:pt>
                <c:pt idx="16791">
                  <c:v>7.133</c:v>
                </c:pt>
                <c:pt idx="16792">
                  <c:v>7.133</c:v>
                </c:pt>
                <c:pt idx="16793">
                  <c:v>7.133</c:v>
                </c:pt>
                <c:pt idx="16794">
                  <c:v>7.133</c:v>
                </c:pt>
                <c:pt idx="16795">
                  <c:v>7.133</c:v>
                </c:pt>
                <c:pt idx="16796">
                  <c:v>7.133</c:v>
                </c:pt>
                <c:pt idx="16797">
                  <c:v>7.133</c:v>
                </c:pt>
                <c:pt idx="16798">
                  <c:v>7.133</c:v>
                </c:pt>
                <c:pt idx="16799">
                  <c:v>7.133</c:v>
                </c:pt>
                <c:pt idx="16800">
                  <c:v>7.133</c:v>
                </c:pt>
                <c:pt idx="16801">
                  <c:v>7.1319999999999997</c:v>
                </c:pt>
                <c:pt idx="16802">
                  <c:v>7.133</c:v>
                </c:pt>
                <c:pt idx="16803">
                  <c:v>7.133</c:v>
                </c:pt>
                <c:pt idx="16804">
                  <c:v>7.1319999999999997</c:v>
                </c:pt>
                <c:pt idx="16805">
                  <c:v>7.1319999999999997</c:v>
                </c:pt>
                <c:pt idx="16806">
                  <c:v>7.1319999999999997</c:v>
                </c:pt>
                <c:pt idx="16807">
                  <c:v>7.133</c:v>
                </c:pt>
                <c:pt idx="16808">
                  <c:v>7.1319999999999997</c:v>
                </c:pt>
                <c:pt idx="16809">
                  <c:v>7.133</c:v>
                </c:pt>
                <c:pt idx="16810">
                  <c:v>7.1319999999999997</c:v>
                </c:pt>
                <c:pt idx="16811">
                  <c:v>7.1319999999999997</c:v>
                </c:pt>
                <c:pt idx="16812">
                  <c:v>7.1319999999999997</c:v>
                </c:pt>
                <c:pt idx="16813">
                  <c:v>7.1319999999999997</c:v>
                </c:pt>
                <c:pt idx="16814">
                  <c:v>7.1319999999999997</c:v>
                </c:pt>
                <c:pt idx="16815">
                  <c:v>7.1319999999999997</c:v>
                </c:pt>
                <c:pt idx="16816">
                  <c:v>7.1319999999999997</c:v>
                </c:pt>
                <c:pt idx="16817">
                  <c:v>7.1319999999999997</c:v>
                </c:pt>
                <c:pt idx="16818">
                  <c:v>7.1319999999999997</c:v>
                </c:pt>
                <c:pt idx="16819">
                  <c:v>7.1319999999999997</c:v>
                </c:pt>
                <c:pt idx="16820">
                  <c:v>7.1319999999999997</c:v>
                </c:pt>
                <c:pt idx="16821">
                  <c:v>7.1319999999999997</c:v>
                </c:pt>
                <c:pt idx="16822">
                  <c:v>7.1319999999999997</c:v>
                </c:pt>
                <c:pt idx="16823">
                  <c:v>7.1319999999999997</c:v>
                </c:pt>
                <c:pt idx="16824">
                  <c:v>7.1319999999999997</c:v>
                </c:pt>
                <c:pt idx="16825">
                  <c:v>7.1319999999999997</c:v>
                </c:pt>
                <c:pt idx="16826">
                  <c:v>7.1319999999999997</c:v>
                </c:pt>
                <c:pt idx="16827">
                  <c:v>7.1319999999999997</c:v>
                </c:pt>
                <c:pt idx="16828">
                  <c:v>7.1319999999999997</c:v>
                </c:pt>
                <c:pt idx="16829">
                  <c:v>7.1310000000000002</c:v>
                </c:pt>
                <c:pt idx="16830">
                  <c:v>7.1310000000000002</c:v>
                </c:pt>
                <c:pt idx="16831">
                  <c:v>7.1310000000000002</c:v>
                </c:pt>
                <c:pt idx="16832">
                  <c:v>7.1310000000000002</c:v>
                </c:pt>
                <c:pt idx="16833">
                  <c:v>7.1310000000000002</c:v>
                </c:pt>
                <c:pt idx="16834">
                  <c:v>7.1310000000000002</c:v>
                </c:pt>
                <c:pt idx="16835">
                  <c:v>7.1310000000000002</c:v>
                </c:pt>
                <c:pt idx="16836">
                  <c:v>7.1310000000000002</c:v>
                </c:pt>
                <c:pt idx="16837">
                  <c:v>7.1310000000000002</c:v>
                </c:pt>
                <c:pt idx="16838">
                  <c:v>7.1310000000000002</c:v>
                </c:pt>
                <c:pt idx="16839">
                  <c:v>7.1310000000000002</c:v>
                </c:pt>
                <c:pt idx="16840">
                  <c:v>7.1310000000000002</c:v>
                </c:pt>
                <c:pt idx="16841">
                  <c:v>7.1310000000000002</c:v>
                </c:pt>
                <c:pt idx="16842">
                  <c:v>7.1310000000000002</c:v>
                </c:pt>
                <c:pt idx="16843">
                  <c:v>7.1310000000000002</c:v>
                </c:pt>
                <c:pt idx="16844">
                  <c:v>7.1310000000000002</c:v>
                </c:pt>
                <c:pt idx="16845">
                  <c:v>7.13</c:v>
                </c:pt>
                <c:pt idx="16846">
                  <c:v>7.1310000000000002</c:v>
                </c:pt>
                <c:pt idx="16847">
                  <c:v>7.13</c:v>
                </c:pt>
                <c:pt idx="16848">
                  <c:v>7.1310000000000002</c:v>
                </c:pt>
                <c:pt idx="16849">
                  <c:v>7.13</c:v>
                </c:pt>
                <c:pt idx="16850">
                  <c:v>7.13</c:v>
                </c:pt>
                <c:pt idx="16851">
                  <c:v>7.13</c:v>
                </c:pt>
                <c:pt idx="16852">
                  <c:v>7.13</c:v>
                </c:pt>
                <c:pt idx="16853">
                  <c:v>7.13</c:v>
                </c:pt>
                <c:pt idx="16854">
                  <c:v>7.13</c:v>
                </c:pt>
                <c:pt idx="16855">
                  <c:v>7.13</c:v>
                </c:pt>
                <c:pt idx="16856">
                  <c:v>7.13</c:v>
                </c:pt>
                <c:pt idx="16857">
                  <c:v>7.13</c:v>
                </c:pt>
                <c:pt idx="16858">
                  <c:v>7.13</c:v>
                </c:pt>
                <c:pt idx="16859">
                  <c:v>7.13</c:v>
                </c:pt>
                <c:pt idx="16860">
                  <c:v>7.13</c:v>
                </c:pt>
                <c:pt idx="16861">
                  <c:v>7.13</c:v>
                </c:pt>
                <c:pt idx="16862">
                  <c:v>7.1289999999999996</c:v>
                </c:pt>
                <c:pt idx="16863">
                  <c:v>7.13</c:v>
                </c:pt>
                <c:pt idx="16864">
                  <c:v>7.1289999999999996</c:v>
                </c:pt>
                <c:pt idx="16865">
                  <c:v>7.13</c:v>
                </c:pt>
                <c:pt idx="16866">
                  <c:v>7.1289999999999996</c:v>
                </c:pt>
                <c:pt idx="16867">
                  <c:v>7.1289999999999996</c:v>
                </c:pt>
                <c:pt idx="16868">
                  <c:v>7.1289999999999996</c:v>
                </c:pt>
                <c:pt idx="16869">
                  <c:v>7.1289999999999996</c:v>
                </c:pt>
                <c:pt idx="16870">
                  <c:v>7.13</c:v>
                </c:pt>
                <c:pt idx="16871">
                  <c:v>7.13</c:v>
                </c:pt>
                <c:pt idx="16872">
                  <c:v>7.1289999999999996</c:v>
                </c:pt>
                <c:pt idx="16873">
                  <c:v>7.1289999999999996</c:v>
                </c:pt>
                <c:pt idx="16874">
                  <c:v>7.13</c:v>
                </c:pt>
                <c:pt idx="16875">
                  <c:v>7.1289999999999996</c:v>
                </c:pt>
                <c:pt idx="16876">
                  <c:v>7.1289999999999996</c:v>
                </c:pt>
                <c:pt idx="16877">
                  <c:v>7.1289999999999996</c:v>
                </c:pt>
                <c:pt idx="16878">
                  <c:v>7.1289999999999996</c:v>
                </c:pt>
                <c:pt idx="16879">
                  <c:v>7.1289999999999996</c:v>
                </c:pt>
                <c:pt idx="16880">
                  <c:v>7.1289999999999996</c:v>
                </c:pt>
                <c:pt idx="16881">
                  <c:v>7.1289999999999996</c:v>
                </c:pt>
                <c:pt idx="16882">
                  <c:v>7.1289999999999996</c:v>
                </c:pt>
                <c:pt idx="16883">
                  <c:v>7.1289999999999996</c:v>
                </c:pt>
                <c:pt idx="16884">
                  <c:v>7.1289999999999996</c:v>
                </c:pt>
                <c:pt idx="16885">
                  <c:v>7.1289999999999996</c:v>
                </c:pt>
                <c:pt idx="16886">
                  <c:v>7.1289999999999996</c:v>
                </c:pt>
                <c:pt idx="16887">
                  <c:v>7.1289999999999996</c:v>
                </c:pt>
                <c:pt idx="16888">
                  <c:v>7.1289999999999996</c:v>
                </c:pt>
                <c:pt idx="16889">
                  <c:v>7.1289999999999996</c:v>
                </c:pt>
                <c:pt idx="16890">
                  <c:v>7.1289999999999996</c:v>
                </c:pt>
                <c:pt idx="16891">
                  <c:v>7.1289999999999996</c:v>
                </c:pt>
                <c:pt idx="16892">
                  <c:v>7.1280000000000001</c:v>
                </c:pt>
                <c:pt idx="16893">
                  <c:v>7.1289999999999996</c:v>
                </c:pt>
                <c:pt idx="16894">
                  <c:v>7.1289999999999996</c:v>
                </c:pt>
                <c:pt idx="16895">
                  <c:v>7.1289999999999996</c:v>
                </c:pt>
                <c:pt idx="16896">
                  <c:v>7.1289999999999996</c:v>
                </c:pt>
                <c:pt idx="16897">
                  <c:v>7.1280000000000001</c:v>
                </c:pt>
                <c:pt idx="16898">
                  <c:v>7.1280000000000001</c:v>
                </c:pt>
                <c:pt idx="16899">
                  <c:v>7.1280000000000001</c:v>
                </c:pt>
                <c:pt idx="16900">
                  <c:v>7.1289999999999996</c:v>
                </c:pt>
                <c:pt idx="16901">
                  <c:v>7.1280000000000001</c:v>
                </c:pt>
                <c:pt idx="16902">
                  <c:v>7.1280000000000001</c:v>
                </c:pt>
                <c:pt idx="16903">
                  <c:v>7.1289999999999996</c:v>
                </c:pt>
                <c:pt idx="16904">
                  <c:v>7.1280000000000001</c:v>
                </c:pt>
                <c:pt idx="16905">
                  <c:v>7.1280000000000001</c:v>
                </c:pt>
                <c:pt idx="16906">
                  <c:v>7.1280000000000001</c:v>
                </c:pt>
                <c:pt idx="16907">
                  <c:v>7.1280000000000001</c:v>
                </c:pt>
                <c:pt idx="16908">
                  <c:v>7.1280000000000001</c:v>
                </c:pt>
                <c:pt idx="16909">
                  <c:v>7.1280000000000001</c:v>
                </c:pt>
                <c:pt idx="16910">
                  <c:v>7.1280000000000001</c:v>
                </c:pt>
                <c:pt idx="16911">
                  <c:v>7.1280000000000001</c:v>
                </c:pt>
                <c:pt idx="16912">
                  <c:v>7.1280000000000001</c:v>
                </c:pt>
                <c:pt idx="16913">
                  <c:v>7.1280000000000001</c:v>
                </c:pt>
                <c:pt idx="16914">
                  <c:v>7.1280000000000001</c:v>
                </c:pt>
                <c:pt idx="16915">
                  <c:v>7.1280000000000001</c:v>
                </c:pt>
                <c:pt idx="16916">
                  <c:v>7.1280000000000001</c:v>
                </c:pt>
                <c:pt idx="16917">
                  <c:v>7.1280000000000001</c:v>
                </c:pt>
                <c:pt idx="16918">
                  <c:v>7.1280000000000001</c:v>
                </c:pt>
                <c:pt idx="16919">
                  <c:v>7.1280000000000001</c:v>
                </c:pt>
                <c:pt idx="16920">
                  <c:v>7.1280000000000001</c:v>
                </c:pt>
                <c:pt idx="16921">
                  <c:v>7.1280000000000001</c:v>
                </c:pt>
                <c:pt idx="16922">
                  <c:v>7.1280000000000001</c:v>
                </c:pt>
                <c:pt idx="16923">
                  <c:v>7.1280000000000001</c:v>
                </c:pt>
                <c:pt idx="16924">
                  <c:v>7.1280000000000001</c:v>
                </c:pt>
                <c:pt idx="16925">
                  <c:v>7.1280000000000001</c:v>
                </c:pt>
                <c:pt idx="16926">
                  <c:v>7.1280000000000001</c:v>
                </c:pt>
                <c:pt idx="16927">
                  <c:v>7.1280000000000001</c:v>
                </c:pt>
                <c:pt idx="16928">
                  <c:v>7.1280000000000001</c:v>
                </c:pt>
                <c:pt idx="16929">
                  <c:v>7.1269999999999998</c:v>
                </c:pt>
                <c:pt idx="16930">
                  <c:v>7.1269999999999998</c:v>
                </c:pt>
                <c:pt idx="16931">
                  <c:v>7.1280000000000001</c:v>
                </c:pt>
                <c:pt idx="16932">
                  <c:v>7.1280000000000001</c:v>
                </c:pt>
                <c:pt idx="16933">
                  <c:v>7.1280000000000001</c:v>
                </c:pt>
                <c:pt idx="16934">
                  <c:v>7.1280000000000001</c:v>
                </c:pt>
                <c:pt idx="16935">
                  <c:v>7.1280000000000001</c:v>
                </c:pt>
                <c:pt idx="16936">
                  <c:v>7.1269999999999998</c:v>
                </c:pt>
                <c:pt idx="16937">
                  <c:v>7.1280000000000001</c:v>
                </c:pt>
                <c:pt idx="16938">
                  <c:v>7.1280000000000001</c:v>
                </c:pt>
                <c:pt idx="16939">
                  <c:v>7.1280000000000001</c:v>
                </c:pt>
                <c:pt idx="16940">
                  <c:v>7.1280000000000001</c:v>
                </c:pt>
                <c:pt idx="16941">
                  <c:v>7.1280000000000001</c:v>
                </c:pt>
                <c:pt idx="16942">
                  <c:v>7.1280000000000001</c:v>
                </c:pt>
                <c:pt idx="16943">
                  <c:v>7.1269999999999998</c:v>
                </c:pt>
                <c:pt idx="16944">
                  <c:v>7.1280000000000001</c:v>
                </c:pt>
                <c:pt idx="16945">
                  <c:v>7.1280000000000001</c:v>
                </c:pt>
                <c:pt idx="16946">
                  <c:v>7.1269999999999998</c:v>
                </c:pt>
                <c:pt idx="16947">
                  <c:v>7.1280000000000001</c:v>
                </c:pt>
                <c:pt idx="16948">
                  <c:v>7.1280000000000001</c:v>
                </c:pt>
                <c:pt idx="16949">
                  <c:v>7.1269999999999998</c:v>
                </c:pt>
                <c:pt idx="16950">
                  <c:v>7.1269999999999998</c:v>
                </c:pt>
                <c:pt idx="16951">
                  <c:v>7.1269999999999998</c:v>
                </c:pt>
                <c:pt idx="16952">
                  <c:v>7.1269999999999998</c:v>
                </c:pt>
                <c:pt idx="16953">
                  <c:v>7.1269999999999998</c:v>
                </c:pt>
                <c:pt idx="16954">
                  <c:v>7.1269999999999998</c:v>
                </c:pt>
                <c:pt idx="16955">
                  <c:v>7.1269999999999998</c:v>
                </c:pt>
                <c:pt idx="16956">
                  <c:v>7.1269999999999998</c:v>
                </c:pt>
                <c:pt idx="16957">
                  <c:v>7.1269999999999998</c:v>
                </c:pt>
                <c:pt idx="16958">
                  <c:v>7.1269999999999998</c:v>
                </c:pt>
                <c:pt idx="16959">
                  <c:v>7.1269999999999998</c:v>
                </c:pt>
                <c:pt idx="16960">
                  <c:v>7.1269999999999998</c:v>
                </c:pt>
                <c:pt idx="16961">
                  <c:v>7.1269999999999998</c:v>
                </c:pt>
                <c:pt idx="16962">
                  <c:v>7.1269999999999998</c:v>
                </c:pt>
                <c:pt idx="16963">
                  <c:v>7.1269999999999998</c:v>
                </c:pt>
                <c:pt idx="16964">
                  <c:v>7.1269999999999998</c:v>
                </c:pt>
                <c:pt idx="16965">
                  <c:v>7.1269999999999998</c:v>
                </c:pt>
                <c:pt idx="16966">
                  <c:v>7.1269999999999998</c:v>
                </c:pt>
                <c:pt idx="16967">
                  <c:v>7.1269999999999998</c:v>
                </c:pt>
                <c:pt idx="16968">
                  <c:v>7.1269999999999998</c:v>
                </c:pt>
                <c:pt idx="16969">
                  <c:v>7.1269999999999998</c:v>
                </c:pt>
                <c:pt idx="16970">
                  <c:v>7.1269999999999998</c:v>
                </c:pt>
                <c:pt idx="16971">
                  <c:v>7.1269999999999998</c:v>
                </c:pt>
                <c:pt idx="16972">
                  <c:v>7.1269999999999998</c:v>
                </c:pt>
                <c:pt idx="16973">
                  <c:v>7.1269999999999998</c:v>
                </c:pt>
                <c:pt idx="16974">
                  <c:v>7.1269999999999998</c:v>
                </c:pt>
                <c:pt idx="16975">
                  <c:v>7.1269999999999998</c:v>
                </c:pt>
                <c:pt idx="16976">
                  <c:v>7.1269999999999998</c:v>
                </c:pt>
                <c:pt idx="16977">
                  <c:v>7.1269999999999998</c:v>
                </c:pt>
                <c:pt idx="16978">
                  <c:v>7.1269999999999998</c:v>
                </c:pt>
                <c:pt idx="16979">
                  <c:v>7.1269999999999998</c:v>
                </c:pt>
                <c:pt idx="16980">
                  <c:v>7.1269999999999998</c:v>
                </c:pt>
                <c:pt idx="16981">
                  <c:v>7.1269999999999998</c:v>
                </c:pt>
                <c:pt idx="16982">
                  <c:v>7.1269999999999998</c:v>
                </c:pt>
                <c:pt idx="16983">
                  <c:v>7.1269999999999998</c:v>
                </c:pt>
                <c:pt idx="16984">
                  <c:v>7.1269999999999998</c:v>
                </c:pt>
                <c:pt idx="16985">
                  <c:v>7.1269999999999998</c:v>
                </c:pt>
                <c:pt idx="16986">
                  <c:v>7.1269999999999998</c:v>
                </c:pt>
                <c:pt idx="16987">
                  <c:v>7.1269999999999998</c:v>
                </c:pt>
                <c:pt idx="16988">
                  <c:v>7.1269999999999998</c:v>
                </c:pt>
                <c:pt idx="16989">
                  <c:v>7.1269999999999998</c:v>
                </c:pt>
                <c:pt idx="16990">
                  <c:v>7.1269999999999998</c:v>
                </c:pt>
                <c:pt idx="16991">
                  <c:v>7.1269999999999998</c:v>
                </c:pt>
                <c:pt idx="16992">
                  <c:v>7.1269999999999998</c:v>
                </c:pt>
                <c:pt idx="16993">
                  <c:v>7.1269999999999998</c:v>
                </c:pt>
                <c:pt idx="16994">
                  <c:v>7.1269999999999998</c:v>
                </c:pt>
                <c:pt idx="16995">
                  <c:v>7.1269999999999998</c:v>
                </c:pt>
                <c:pt idx="16996">
                  <c:v>7.1269999999999998</c:v>
                </c:pt>
                <c:pt idx="16997">
                  <c:v>7.1269999999999998</c:v>
                </c:pt>
                <c:pt idx="16998">
                  <c:v>7.1269999999999998</c:v>
                </c:pt>
                <c:pt idx="16999">
                  <c:v>7.1269999999999998</c:v>
                </c:pt>
                <c:pt idx="17000">
                  <c:v>7.1269999999999998</c:v>
                </c:pt>
                <c:pt idx="17001">
                  <c:v>7.1269999999999998</c:v>
                </c:pt>
                <c:pt idx="17002">
                  <c:v>7.1269999999999998</c:v>
                </c:pt>
                <c:pt idx="17003">
                  <c:v>7.1269999999999998</c:v>
                </c:pt>
                <c:pt idx="17004">
                  <c:v>7.1269999999999998</c:v>
                </c:pt>
                <c:pt idx="17005">
                  <c:v>7.1269999999999998</c:v>
                </c:pt>
                <c:pt idx="17006">
                  <c:v>7.1269999999999998</c:v>
                </c:pt>
                <c:pt idx="17007">
                  <c:v>7.1269999999999998</c:v>
                </c:pt>
                <c:pt idx="17008">
                  <c:v>7.1269999999999998</c:v>
                </c:pt>
                <c:pt idx="17009">
                  <c:v>7.1269999999999998</c:v>
                </c:pt>
                <c:pt idx="17010">
                  <c:v>7.1269999999999998</c:v>
                </c:pt>
                <c:pt idx="17011">
                  <c:v>7.1269999999999998</c:v>
                </c:pt>
                <c:pt idx="17012">
                  <c:v>7.1269999999999998</c:v>
                </c:pt>
                <c:pt idx="17013">
                  <c:v>7.1269999999999998</c:v>
                </c:pt>
                <c:pt idx="17014">
                  <c:v>7.1269999999999998</c:v>
                </c:pt>
                <c:pt idx="17015">
                  <c:v>7.1269999999999998</c:v>
                </c:pt>
                <c:pt idx="17016">
                  <c:v>7.1269999999999998</c:v>
                </c:pt>
                <c:pt idx="17017">
                  <c:v>7.1269999999999998</c:v>
                </c:pt>
                <c:pt idx="17018">
                  <c:v>7.1269999999999998</c:v>
                </c:pt>
                <c:pt idx="17019">
                  <c:v>7.1269999999999998</c:v>
                </c:pt>
                <c:pt idx="17020">
                  <c:v>7.1269999999999998</c:v>
                </c:pt>
                <c:pt idx="17021">
                  <c:v>7.1269999999999998</c:v>
                </c:pt>
                <c:pt idx="17022">
                  <c:v>7.1260000000000003</c:v>
                </c:pt>
                <c:pt idx="17023">
                  <c:v>7.1260000000000003</c:v>
                </c:pt>
                <c:pt idx="17024">
                  <c:v>7.1269999999999998</c:v>
                </c:pt>
                <c:pt idx="17025">
                  <c:v>7.1260000000000003</c:v>
                </c:pt>
                <c:pt idx="17026">
                  <c:v>7.1260000000000003</c:v>
                </c:pt>
                <c:pt idx="17027">
                  <c:v>7.1260000000000003</c:v>
                </c:pt>
                <c:pt idx="17028">
                  <c:v>7.1260000000000003</c:v>
                </c:pt>
                <c:pt idx="17029">
                  <c:v>7.1269999999999998</c:v>
                </c:pt>
                <c:pt idx="17030">
                  <c:v>7.1260000000000003</c:v>
                </c:pt>
                <c:pt idx="17031">
                  <c:v>7.1269999999999998</c:v>
                </c:pt>
                <c:pt idx="17032">
                  <c:v>7.1260000000000003</c:v>
                </c:pt>
                <c:pt idx="17033">
                  <c:v>7.1269999999999998</c:v>
                </c:pt>
                <c:pt idx="17034">
                  <c:v>7.1269999999999998</c:v>
                </c:pt>
                <c:pt idx="17035">
                  <c:v>7.1260000000000003</c:v>
                </c:pt>
                <c:pt idx="17036">
                  <c:v>7.1269999999999998</c:v>
                </c:pt>
                <c:pt idx="17037">
                  <c:v>7.1260000000000003</c:v>
                </c:pt>
                <c:pt idx="17038">
                  <c:v>7.1269999999999998</c:v>
                </c:pt>
                <c:pt idx="17039">
                  <c:v>7.1269999999999998</c:v>
                </c:pt>
                <c:pt idx="17040">
                  <c:v>7.1269999999999998</c:v>
                </c:pt>
                <c:pt idx="17041">
                  <c:v>7.1269999999999998</c:v>
                </c:pt>
                <c:pt idx="17042">
                  <c:v>7.1269999999999998</c:v>
                </c:pt>
                <c:pt idx="17043">
                  <c:v>7.1260000000000003</c:v>
                </c:pt>
                <c:pt idx="17044">
                  <c:v>7.1269999999999998</c:v>
                </c:pt>
                <c:pt idx="17045">
                  <c:v>7.1269999999999998</c:v>
                </c:pt>
                <c:pt idx="17046">
                  <c:v>7.1269999999999998</c:v>
                </c:pt>
                <c:pt idx="17047">
                  <c:v>7.1269999999999998</c:v>
                </c:pt>
                <c:pt idx="17048">
                  <c:v>7.1260000000000003</c:v>
                </c:pt>
                <c:pt idx="17049">
                  <c:v>7.1269999999999998</c:v>
                </c:pt>
                <c:pt idx="17050">
                  <c:v>7.1260000000000003</c:v>
                </c:pt>
                <c:pt idx="17051">
                  <c:v>7.1269999999999998</c:v>
                </c:pt>
                <c:pt idx="17052">
                  <c:v>7.1260000000000003</c:v>
                </c:pt>
                <c:pt idx="17053">
                  <c:v>7.1260000000000003</c:v>
                </c:pt>
                <c:pt idx="17054">
                  <c:v>7.1260000000000003</c:v>
                </c:pt>
                <c:pt idx="17055">
                  <c:v>7.1269999999999998</c:v>
                </c:pt>
                <c:pt idx="17056">
                  <c:v>7.1260000000000003</c:v>
                </c:pt>
                <c:pt idx="17057">
                  <c:v>7.1260000000000003</c:v>
                </c:pt>
                <c:pt idx="17058">
                  <c:v>7.1260000000000003</c:v>
                </c:pt>
                <c:pt idx="17059">
                  <c:v>7.1260000000000003</c:v>
                </c:pt>
                <c:pt idx="17060">
                  <c:v>7.1260000000000003</c:v>
                </c:pt>
                <c:pt idx="17061">
                  <c:v>7.1260000000000003</c:v>
                </c:pt>
                <c:pt idx="17062">
                  <c:v>7.1260000000000003</c:v>
                </c:pt>
                <c:pt idx="17063">
                  <c:v>7.1260000000000003</c:v>
                </c:pt>
                <c:pt idx="17064">
                  <c:v>7.1260000000000003</c:v>
                </c:pt>
                <c:pt idx="17065">
                  <c:v>7.1260000000000003</c:v>
                </c:pt>
                <c:pt idx="17066">
                  <c:v>7.1260000000000003</c:v>
                </c:pt>
                <c:pt idx="17067">
                  <c:v>7.1260000000000003</c:v>
                </c:pt>
                <c:pt idx="17068">
                  <c:v>7.1260000000000003</c:v>
                </c:pt>
                <c:pt idx="17069">
                  <c:v>7.1260000000000003</c:v>
                </c:pt>
                <c:pt idx="17070">
                  <c:v>7.1260000000000003</c:v>
                </c:pt>
                <c:pt idx="17071">
                  <c:v>7.1260000000000003</c:v>
                </c:pt>
                <c:pt idx="17072">
                  <c:v>7.1260000000000003</c:v>
                </c:pt>
                <c:pt idx="17073">
                  <c:v>7.1260000000000003</c:v>
                </c:pt>
                <c:pt idx="17074">
                  <c:v>7.1260000000000003</c:v>
                </c:pt>
                <c:pt idx="17075">
                  <c:v>7.1260000000000003</c:v>
                </c:pt>
                <c:pt idx="17076">
                  <c:v>7.1260000000000003</c:v>
                </c:pt>
                <c:pt idx="17077">
                  <c:v>7.1260000000000003</c:v>
                </c:pt>
                <c:pt idx="17078">
                  <c:v>7.1260000000000003</c:v>
                </c:pt>
                <c:pt idx="17079">
                  <c:v>7.1260000000000003</c:v>
                </c:pt>
                <c:pt idx="17080">
                  <c:v>7.1260000000000003</c:v>
                </c:pt>
                <c:pt idx="17081">
                  <c:v>7.1260000000000003</c:v>
                </c:pt>
                <c:pt idx="17082">
                  <c:v>7.1260000000000003</c:v>
                </c:pt>
                <c:pt idx="17083">
                  <c:v>7.1260000000000003</c:v>
                </c:pt>
                <c:pt idx="17084">
                  <c:v>7.1260000000000003</c:v>
                </c:pt>
                <c:pt idx="17085">
                  <c:v>7.1260000000000003</c:v>
                </c:pt>
                <c:pt idx="17086">
                  <c:v>7.1260000000000003</c:v>
                </c:pt>
                <c:pt idx="17087">
                  <c:v>7.1260000000000003</c:v>
                </c:pt>
                <c:pt idx="17088">
                  <c:v>7.1260000000000003</c:v>
                </c:pt>
                <c:pt idx="17089">
                  <c:v>7.1260000000000003</c:v>
                </c:pt>
                <c:pt idx="17090">
                  <c:v>7.1260000000000003</c:v>
                </c:pt>
                <c:pt idx="17091">
                  <c:v>7.1260000000000003</c:v>
                </c:pt>
                <c:pt idx="17092">
                  <c:v>7.1260000000000003</c:v>
                </c:pt>
                <c:pt idx="17093">
                  <c:v>7.1260000000000003</c:v>
                </c:pt>
                <c:pt idx="17094">
                  <c:v>7.1260000000000003</c:v>
                </c:pt>
                <c:pt idx="17095">
                  <c:v>7.1260000000000003</c:v>
                </c:pt>
                <c:pt idx="17096">
                  <c:v>7.1260000000000003</c:v>
                </c:pt>
                <c:pt idx="17097">
                  <c:v>7.1260000000000003</c:v>
                </c:pt>
                <c:pt idx="17098">
                  <c:v>7.1260000000000003</c:v>
                </c:pt>
                <c:pt idx="17099">
                  <c:v>7.1260000000000003</c:v>
                </c:pt>
                <c:pt idx="17100">
                  <c:v>7.1260000000000003</c:v>
                </c:pt>
                <c:pt idx="17101">
                  <c:v>7.1260000000000003</c:v>
                </c:pt>
                <c:pt idx="17102">
                  <c:v>7.1260000000000003</c:v>
                </c:pt>
                <c:pt idx="17103">
                  <c:v>7.1260000000000003</c:v>
                </c:pt>
                <c:pt idx="17104">
                  <c:v>7.1260000000000003</c:v>
                </c:pt>
                <c:pt idx="17105">
                  <c:v>7.1260000000000003</c:v>
                </c:pt>
                <c:pt idx="17106">
                  <c:v>7.1260000000000003</c:v>
                </c:pt>
                <c:pt idx="17107">
                  <c:v>7.1260000000000003</c:v>
                </c:pt>
                <c:pt idx="17108">
                  <c:v>7.1260000000000003</c:v>
                </c:pt>
                <c:pt idx="17109">
                  <c:v>7.1260000000000003</c:v>
                </c:pt>
                <c:pt idx="17110">
                  <c:v>7.1260000000000003</c:v>
                </c:pt>
                <c:pt idx="17111">
                  <c:v>7.1260000000000003</c:v>
                </c:pt>
                <c:pt idx="17112">
                  <c:v>7.1260000000000003</c:v>
                </c:pt>
                <c:pt idx="17113">
                  <c:v>7.125</c:v>
                </c:pt>
                <c:pt idx="17114">
                  <c:v>7.125</c:v>
                </c:pt>
                <c:pt idx="17115">
                  <c:v>7.1260000000000003</c:v>
                </c:pt>
                <c:pt idx="17116">
                  <c:v>7.125</c:v>
                </c:pt>
                <c:pt idx="17117">
                  <c:v>7.1260000000000003</c:v>
                </c:pt>
                <c:pt idx="17118">
                  <c:v>7.1260000000000003</c:v>
                </c:pt>
                <c:pt idx="17119">
                  <c:v>7.1260000000000003</c:v>
                </c:pt>
                <c:pt idx="17120">
                  <c:v>7.125</c:v>
                </c:pt>
                <c:pt idx="17121">
                  <c:v>7.1260000000000003</c:v>
                </c:pt>
                <c:pt idx="17122">
                  <c:v>7.125</c:v>
                </c:pt>
                <c:pt idx="17123">
                  <c:v>7.1260000000000003</c:v>
                </c:pt>
                <c:pt idx="17124">
                  <c:v>7.1260000000000003</c:v>
                </c:pt>
                <c:pt idx="17125">
                  <c:v>7.125</c:v>
                </c:pt>
                <c:pt idx="17126">
                  <c:v>7.1260000000000003</c:v>
                </c:pt>
                <c:pt idx="17127">
                  <c:v>7.1260000000000003</c:v>
                </c:pt>
                <c:pt idx="17128">
                  <c:v>7.1260000000000003</c:v>
                </c:pt>
                <c:pt idx="17129">
                  <c:v>7.1260000000000003</c:v>
                </c:pt>
                <c:pt idx="17130">
                  <c:v>7.125</c:v>
                </c:pt>
                <c:pt idx="17131">
                  <c:v>7.125</c:v>
                </c:pt>
                <c:pt idx="17132">
                  <c:v>7.125</c:v>
                </c:pt>
                <c:pt idx="17133">
                  <c:v>7.125</c:v>
                </c:pt>
                <c:pt idx="17134">
                  <c:v>7.125</c:v>
                </c:pt>
                <c:pt idx="17135">
                  <c:v>7.125</c:v>
                </c:pt>
                <c:pt idx="17136">
                  <c:v>7.125</c:v>
                </c:pt>
                <c:pt idx="17137">
                  <c:v>7.125</c:v>
                </c:pt>
                <c:pt idx="17138">
                  <c:v>7.125</c:v>
                </c:pt>
                <c:pt idx="17139">
                  <c:v>7.125</c:v>
                </c:pt>
                <c:pt idx="17140">
                  <c:v>7.125</c:v>
                </c:pt>
                <c:pt idx="17141">
                  <c:v>7.125</c:v>
                </c:pt>
                <c:pt idx="17142">
                  <c:v>7.125</c:v>
                </c:pt>
                <c:pt idx="17143">
                  <c:v>7.125</c:v>
                </c:pt>
                <c:pt idx="17144">
                  <c:v>7.125</c:v>
                </c:pt>
                <c:pt idx="17145">
                  <c:v>7.125</c:v>
                </c:pt>
                <c:pt idx="17146">
                  <c:v>7.125</c:v>
                </c:pt>
                <c:pt idx="17147">
                  <c:v>7.125</c:v>
                </c:pt>
                <c:pt idx="17148">
                  <c:v>7.125</c:v>
                </c:pt>
                <c:pt idx="17149">
                  <c:v>7.125</c:v>
                </c:pt>
                <c:pt idx="17150">
                  <c:v>7.125</c:v>
                </c:pt>
                <c:pt idx="17151">
                  <c:v>7.125</c:v>
                </c:pt>
                <c:pt idx="17152">
                  <c:v>7.125</c:v>
                </c:pt>
                <c:pt idx="17153">
                  <c:v>7.125</c:v>
                </c:pt>
                <c:pt idx="17154">
                  <c:v>7.125</c:v>
                </c:pt>
                <c:pt idx="17155">
                  <c:v>7.125</c:v>
                </c:pt>
                <c:pt idx="17156">
                  <c:v>7.125</c:v>
                </c:pt>
                <c:pt idx="17157">
                  <c:v>7.125</c:v>
                </c:pt>
                <c:pt idx="17158">
                  <c:v>7.125</c:v>
                </c:pt>
                <c:pt idx="17159">
                  <c:v>7.125</c:v>
                </c:pt>
                <c:pt idx="17160">
                  <c:v>7.125</c:v>
                </c:pt>
                <c:pt idx="17161">
                  <c:v>7.125</c:v>
                </c:pt>
                <c:pt idx="17162">
                  <c:v>7.125</c:v>
                </c:pt>
                <c:pt idx="17163">
                  <c:v>7.125</c:v>
                </c:pt>
                <c:pt idx="17164">
                  <c:v>7.125</c:v>
                </c:pt>
                <c:pt idx="17165">
                  <c:v>7.125</c:v>
                </c:pt>
                <c:pt idx="17166">
                  <c:v>7.125</c:v>
                </c:pt>
                <c:pt idx="17167">
                  <c:v>7.125</c:v>
                </c:pt>
                <c:pt idx="17168">
                  <c:v>7.125</c:v>
                </c:pt>
                <c:pt idx="17169">
                  <c:v>7.125</c:v>
                </c:pt>
                <c:pt idx="17170">
                  <c:v>7.125</c:v>
                </c:pt>
                <c:pt idx="17171">
                  <c:v>7.125</c:v>
                </c:pt>
                <c:pt idx="17172">
                  <c:v>7.1239999999999997</c:v>
                </c:pt>
                <c:pt idx="17173">
                  <c:v>7.125</c:v>
                </c:pt>
                <c:pt idx="17174">
                  <c:v>7.1239999999999997</c:v>
                </c:pt>
                <c:pt idx="17175">
                  <c:v>7.125</c:v>
                </c:pt>
                <c:pt idx="17176">
                  <c:v>7.1239999999999997</c:v>
                </c:pt>
                <c:pt idx="17177">
                  <c:v>7.1239999999999997</c:v>
                </c:pt>
                <c:pt idx="17178">
                  <c:v>7.1239999999999997</c:v>
                </c:pt>
                <c:pt idx="17179">
                  <c:v>7.1239999999999997</c:v>
                </c:pt>
                <c:pt idx="17180">
                  <c:v>7.1239999999999997</c:v>
                </c:pt>
                <c:pt idx="17181">
                  <c:v>7.1239999999999997</c:v>
                </c:pt>
                <c:pt idx="17182">
                  <c:v>7.1239999999999997</c:v>
                </c:pt>
                <c:pt idx="17183">
                  <c:v>7.1239999999999997</c:v>
                </c:pt>
                <c:pt idx="17184">
                  <c:v>7.1239999999999997</c:v>
                </c:pt>
                <c:pt idx="17185">
                  <c:v>7.1239999999999997</c:v>
                </c:pt>
                <c:pt idx="17186">
                  <c:v>7.1239999999999997</c:v>
                </c:pt>
                <c:pt idx="17187">
                  <c:v>7.1239999999999997</c:v>
                </c:pt>
                <c:pt idx="17188">
                  <c:v>7.1239999999999997</c:v>
                </c:pt>
                <c:pt idx="17189">
                  <c:v>7.1239999999999997</c:v>
                </c:pt>
                <c:pt idx="17190">
                  <c:v>7.1239999999999997</c:v>
                </c:pt>
                <c:pt idx="17191">
                  <c:v>7.1239999999999997</c:v>
                </c:pt>
                <c:pt idx="17192">
                  <c:v>7.1239999999999997</c:v>
                </c:pt>
                <c:pt idx="17193">
                  <c:v>7.1239999999999997</c:v>
                </c:pt>
                <c:pt idx="17194">
                  <c:v>7.1239999999999997</c:v>
                </c:pt>
                <c:pt idx="17195">
                  <c:v>7.1239999999999997</c:v>
                </c:pt>
                <c:pt idx="17196">
                  <c:v>7.1239999999999997</c:v>
                </c:pt>
                <c:pt idx="17197">
                  <c:v>7.1239999999999997</c:v>
                </c:pt>
                <c:pt idx="17198">
                  <c:v>7.1239999999999997</c:v>
                </c:pt>
                <c:pt idx="17199">
                  <c:v>7.1239999999999997</c:v>
                </c:pt>
                <c:pt idx="17200">
                  <c:v>7.1239999999999997</c:v>
                </c:pt>
                <c:pt idx="17201">
                  <c:v>7.1239999999999997</c:v>
                </c:pt>
                <c:pt idx="17202">
                  <c:v>7.1239999999999997</c:v>
                </c:pt>
                <c:pt idx="17203">
                  <c:v>7.1239999999999997</c:v>
                </c:pt>
                <c:pt idx="17204">
                  <c:v>7.1239999999999997</c:v>
                </c:pt>
                <c:pt idx="17205">
                  <c:v>7.1239999999999997</c:v>
                </c:pt>
                <c:pt idx="17206">
                  <c:v>7.1239999999999997</c:v>
                </c:pt>
                <c:pt idx="17207">
                  <c:v>7.1239999999999997</c:v>
                </c:pt>
                <c:pt idx="17208">
                  <c:v>7.1239999999999997</c:v>
                </c:pt>
                <c:pt idx="17209">
                  <c:v>7.1239999999999997</c:v>
                </c:pt>
                <c:pt idx="17210">
                  <c:v>7.1239999999999997</c:v>
                </c:pt>
                <c:pt idx="17211">
                  <c:v>7.1239999999999997</c:v>
                </c:pt>
                <c:pt idx="17212">
                  <c:v>7.1239999999999997</c:v>
                </c:pt>
                <c:pt idx="17213">
                  <c:v>7.1239999999999997</c:v>
                </c:pt>
                <c:pt idx="17214">
                  <c:v>7.1239999999999997</c:v>
                </c:pt>
                <c:pt idx="17215">
                  <c:v>7.1239999999999997</c:v>
                </c:pt>
                <c:pt idx="17216">
                  <c:v>7.1239999999999997</c:v>
                </c:pt>
                <c:pt idx="17217">
                  <c:v>7.1239999999999997</c:v>
                </c:pt>
                <c:pt idx="17218">
                  <c:v>7.1239999999999997</c:v>
                </c:pt>
                <c:pt idx="17219">
                  <c:v>7.1239999999999997</c:v>
                </c:pt>
                <c:pt idx="17220">
                  <c:v>7.1239999999999997</c:v>
                </c:pt>
                <c:pt idx="17221">
                  <c:v>7.1239999999999997</c:v>
                </c:pt>
                <c:pt idx="17222">
                  <c:v>7.1239999999999997</c:v>
                </c:pt>
                <c:pt idx="17223">
                  <c:v>7.1239999999999997</c:v>
                </c:pt>
                <c:pt idx="17224">
                  <c:v>7.1239999999999997</c:v>
                </c:pt>
                <c:pt idx="17225">
                  <c:v>7.1239999999999997</c:v>
                </c:pt>
                <c:pt idx="17226">
                  <c:v>7.1239999999999997</c:v>
                </c:pt>
                <c:pt idx="17227">
                  <c:v>7.1239999999999997</c:v>
                </c:pt>
                <c:pt idx="17228">
                  <c:v>7.1239999999999997</c:v>
                </c:pt>
                <c:pt idx="17229">
                  <c:v>7.1239999999999997</c:v>
                </c:pt>
                <c:pt idx="17230">
                  <c:v>7.1230000000000002</c:v>
                </c:pt>
                <c:pt idx="17231">
                  <c:v>7.1230000000000002</c:v>
                </c:pt>
                <c:pt idx="17232">
                  <c:v>7.1239999999999997</c:v>
                </c:pt>
                <c:pt idx="17233">
                  <c:v>7.1239999999999997</c:v>
                </c:pt>
                <c:pt idx="17234">
                  <c:v>7.1239999999999997</c:v>
                </c:pt>
                <c:pt idx="17235">
                  <c:v>7.1239999999999997</c:v>
                </c:pt>
                <c:pt idx="17236">
                  <c:v>7.1239999999999997</c:v>
                </c:pt>
                <c:pt idx="17237">
                  <c:v>7.1239999999999997</c:v>
                </c:pt>
                <c:pt idx="17238">
                  <c:v>7.1239999999999997</c:v>
                </c:pt>
                <c:pt idx="17239">
                  <c:v>7.1230000000000002</c:v>
                </c:pt>
                <c:pt idx="17240">
                  <c:v>7.1239999999999997</c:v>
                </c:pt>
                <c:pt idx="17241">
                  <c:v>7.1230000000000002</c:v>
                </c:pt>
                <c:pt idx="17242">
                  <c:v>7.1230000000000002</c:v>
                </c:pt>
                <c:pt idx="17243">
                  <c:v>7.1230000000000002</c:v>
                </c:pt>
                <c:pt idx="17244">
                  <c:v>7.1230000000000002</c:v>
                </c:pt>
                <c:pt idx="17245">
                  <c:v>7.1230000000000002</c:v>
                </c:pt>
                <c:pt idx="17246">
                  <c:v>7.1230000000000002</c:v>
                </c:pt>
                <c:pt idx="17247">
                  <c:v>7.1230000000000002</c:v>
                </c:pt>
                <c:pt idx="17248">
                  <c:v>7.1230000000000002</c:v>
                </c:pt>
                <c:pt idx="17249">
                  <c:v>7.1230000000000002</c:v>
                </c:pt>
                <c:pt idx="17250">
                  <c:v>7.1230000000000002</c:v>
                </c:pt>
                <c:pt idx="17251">
                  <c:v>7.1230000000000002</c:v>
                </c:pt>
                <c:pt idx="17252">
                  <c:v>7.1230000000000002</c:v>
                </c:pt>
                <c:pt idx="17253">
                  <c:v>7.1230000000000002</c:v>
                </c:pt>
                <c:pt idx="17254">
                  <c:v>7.1230000000000002</c:v>
                </c:pt>
                <c:pt idx="17255">
                  <c:v>7.1230000000000002</c:v>
                </c:pt>
                <c:pt idx="17256">
                  <c:v>7.1230000000000002</c:v>
                </c:pt>
                <c:pt idx="17257">
                  <c:v>7.1230000000000002</c:v>
                </c:pt>
                <c:pt idx="17258">
                  <c:v>7.1230000000000002</c:v>
                </c:pt>
                <c:pt idx="17259">
                  <c:v>7.1230000000000002</c:v>
                </c:pt>
                <c:pt idx="17260">
                  <c:v>7.1230000000000002</c:v>
                </c:pt>
                <c:pt idx="17261">
                  <c:v>7.1230000000000002</c:v>
                </c:pt>
                <c:pt idx="17262">
                  <c:v>7.1230000000000002</c:v>
                </c:pt>
                <c:pt idx="17263">
                  <c:v>7.1230000000000002</c:v>
                </c:pt>
                <c:pt idx="17264">
                  <c:v>7.1230000000000002</c:v>
                </c:pt>
                <c:pt idx="17265">
                  <c:v>7.1230000000000002</c:v>
                </c:pt>
                <c:pt idx="17266">
                  <c:v>7.1219999999999999</c:v>
                </c:pt>
                <c:pt idx="17267">
                  <c:v>7.1230000000000002</c:v>
                </c:pt>
                <c:pt idx="17268">
                  <c:v>7.1230000000000002</c:v>
                </c:pt>
                <c:pt idx="17269">
                  <c:v>7.1230000000000002</c:v>
                </c:pt>
                <c:pt idx="17270">
                  <c:v>7.1230000000000002</c:v>
                </c:pt>
                <c:pt idx="17271">
                  <c:v>7.1219999999999999</c:v>
                </c:pt>
                <c:pt idx="17272">
                  <c:v>7.1230000000000002</c:v>
                </c:pt>
                <c:pt idx="17273">
                  <c:v>7.1230000000000002</c:v>
                </c:pt>
                <c:pt idx="17274">
                  <c:v>7.1230000000000002</c:v>
                </c:pt>
                <c:pt idx="17275">
                  <c:v>7.1230000000000002</c:v>
                </c:pt>
                <c:pt idx="17276">
                  <c:v>7.1230000000000002</c:v>
                </c:pt>
                <c:pt idx="17277">
                  <c:v>7.1230000000000002</c:v>
                </c:pt>
                <c:pt idx="17278">
                  <c:v>7.1230000000000002</c:v>
                </c:pt>
                <c:pt idx="17279">
                  <c:v>7.1230000000000002</c:v>
                </c:pt>
                <c:pt idx="17280">
                  <c:v>7.1230000000000002</c:v>
                </c:pt>
              </c:numCache>
            </c:numRef>
          </c:yVal>
          <c:smooth val="0"/>
          <c:extLst>
            <c:ext xmlns:c16="http://schemas.microsoft.com/office/drawing/2014/chart" uri="{C3380CC4-5D6E-409C-BE32-E72D297353CC}">
              <c16:uniqueId val="{00000000-6268-48F6-B0F7-0778BFCED511}"/>
            </c:ext>
          </c:extLst>
        </c:ser>
        <c:ser>
          <c:idx val="0"/>
          <c:order val="1"/>
          <c:tx>
            <c:v>TEC</c:v>
          </c:tx>
          <c:spPr>
            <a:ln w="28575">
              <a:noFill/>
            </a:ln>
          </c:spPr>
          <c:marker>
            <c:symbol val="circle"/>
            <c:size val="4"/>
            <c:spPr>
              <a:solidFill>
                <a:srgbClr val="F4A134"/>
              </a:solidFill>
              <a:ln>
                <a:noFill/>
              </a:ln>
            </c:spPr>
          </c:marker>
          <c:xVal>
            <c:numRef>
              <c:f>'5a_SR + TEC'!$G$2:$G$17282</c:f>
              <c:numCache>
                <c:formatCode>General</c:formatCode>
                <c:ptCount val="17281"/>
                <c:pt idx="0">
                  <c:v>0</c:v>
                </c:pt>
                <c:pt idx="1">
                  <c:v>2.7777777777777779E-3</c:v>
                </c:pt>
                <c:pt idx="2">
                  <c:v>5.5555555555555558E-3</c:v>
                </c:pt>
                <c:pt idx="3">
                  <c:v>8.3333333333333332E-3</c:v>
                </c:pt>
                <c:pt idx="4">
                  <c:v>1.1111111111111112E-2</c:v>
                </c:pt>
                <c:pt idx="5">
                  <c:v>1.3888888888888888E-2</c:v>
                </c:pt>
                <c:pt idx="6">
                  <c:v>1.6666666666666666E-2</c:v>
                </c:pt>
                <c:pt idx="7">
                  <c:v>1.9444444444444445E-2</c:v>
                </c:pt>
                <c:pt idx="8">
                  <c:v>2.2222222222222223E-2</c:v>
                </c:pt>
                <c:pt idx="9">
                  <c:v>2.5000000000000001E-2</c:v>
                </c:pt>
                <c:pt idx="10">
                  <c:v>2.7777777777777776E-2</c:v>
                </c:pt>
                <c:pt idx="11">
                  <c:v>3.0555555555555555E-2</c:v>
                </c:pt>
                <c:pt idx="12">
                  <c:v>3.3333333333333333E-2</c:v>
                </c:pt>
                <c:pt idx="13">
                  <c:v>3.6111111111111108E-2</c:v>
                </c:pt>
                <c:pt idx="14">
                  <c:v>3.888888888888889E-2</c:v>
                </c:pt>
                <c:pt idx="15">
                  <c:v>4.1666666666666664E-2</c:v>
                </c:pt>
                <c:pt idx="16">
                  <c:v>4.4444444444444446E-2</c:v>
                </c:pt>
                <c:pt idx="17">
                  <c:v>4.7222222222222221E-2</c:v>
                </c:pt>
                <c:pt idx="18">
                  <c:v>0.05</c:v>
                </c:pt>
                <c:pt idx="19">
                  <c:v>5.2777777777777778E-2</c:v>
                </c:pt>
                <c:pt idx="20">
                  <c:v>5.5555555555555552E-2</c:v>
                </c:pt>
                <c:pt idx="21">
                  <c:v>5.8333333333333334E-2</c:v>
                </c:pt>
                <c:pt idx="22">
                  <c:v>6.1111111111111109E-2</c:v>
                </c:pt>
                <c:pt idx="23">
                  <c:v>6.3888888888888884E-2</c:v>
                </c:pt>
                <c:pt idx="24">
                  <c:v>6.6666666666666666E-2</c:v>
                </c:pt>
                <c:pt idx="25">
                  <c:v>6.9444444444444448E-2</c:v>
                </c:pt>
                <c:pt idx="26">
                  <c:v>7.2222222222222215E-2</c:v>
                </c:pt>
                <c:pt idx="27">
                  <c:v>7.4999999999999997E-2</c:v>
                </c:pt>
                <c:pt idx="28">
                  <c:v>7.7777777777777779E-2</c:v>
                </c:pt>
                <c:pt idx="29">
                  <c:v>8.0555555555555561E-2</c:v>
                </c:pt>
                <c:pt idx="30">
                  <c:v>8.3333333333333329E-2</c:v>
                </c:pt>
                <c:pt idx="31">
                  <c:v>8.611111111111111E-2</c:v>
                </c:pt>
                <c:pt idx="32">
                  <c:v>8.8888888888888892E-2</c:v>
                </c:pt>
                <c:pt idx="33">
                  <c:v>9.166666666666666E-2</c:v>
                </c:pt>
                <c:pt idx="34">
                  <c:v>9.4444444444444442E-2</c:v>
                </c:pt>
                <c:pt idx="35">
                  <c:v>9.7222222222222224E-2</c:v>
                </c:pt>
                <c:pt idx="36">
                  <c:v>0.1</c:v>
                </c:pt>
                <c:pt idx="37">
                  <c:v>0.10277777777777777</c:v>
                </c:pt>
                <c:pt idx="38">
                  <c:v>0.10555555555555556</c:v>
                </c:pt>
                <c:pt idx="39">
                  <c:v>0.10833333333333334</c:v>
                </c:pt>
                <c:pt idx="40">
                  <c:v>0.1111111111111111</c:v>
                </c:pt>
                <c:pt idx="41">
                  <c:v>0.11388888888888889</c:v>
                </c:pt>
                <c:pt idx="42">
                  <c:v>0.11666666666666667</c:v>
                </c:pt>
                <c:pt idx="43">
                  <c:v>0.11944444444444445</c:v>
                </c:pt>
                <c:pt idx="44">
                  <c:v>0.12222222222222222</c:v>
                </c:pt>
                <c:pt idx="45">
                  <c:v>0.125</c:v>
                </c:pt>
                <c:pt idx="46">
                  <c:v>0.12777777777777777</c:v>
                </c:pt>
                <c:pt idx="47">
                  <c:v>0.13055555555555556</c:v>
                </c:pt>
                <c:pt idx="48">
                  <c:v>0.13333333333333333</c:v>
                </c:pt>
                <c:pt idx="49">
                  <c:v>0.1361111111111111</c:v>
                </c:pt>
                <c:pt idx="50">
                  <c:v>0.1388888888888889</c:v>
                </c:pt>
                <c:pt idx="51">
                  <c:v>0.14166666666666666</c:v>
                </c:pt>
                <c:pt idx="52">
                  <c:v>0.14444444444444443</c:v>
                </c:pt>
                <c:pt idx="53">
                  <c:v>0.14722222222222223</c:v>
                </c:pt>
                <c:pt idx="54">
                  <c:v>0.15</c:v>
                </c:pt>
                <c:pt idx="55">
                  <c:v>0.15277777777777779</c:v>
                </c:pt>
                <c:pt idx="56">
                  <c:v>0.15555555555555556</c:v>
                </c:pt>
                <c:pt idx="57">
                  <c:v>0.15833333333333333</c:v>
                </c:pt>
                <c:pt idx="58">
                  <c:v>0.16111111111111112</c:v>
                </c:pt>
                <c:pt idx="59">
                  <c:v>0.16388888888888889</c:v>
                </c:pt>
                <c:pt idx="60">
                  <c:v>0.16666666666666666</c:v>
                </c:pt>
                <c:pt idx="61">
                  <c:v>0.16944444444444445</c:v>
                </c:pt>
                <c:pt idx="62">
                  <c:v>0.17222222222222222</c:v>
                </c:pt>
                <c:pt idx="63">
                  <c:v>0.17499999999999999</c:v>
                </c:pt>
                <c:pt idx="64">
                  <c:v>0.17777777777777778</c:v>
                </c:pt>
                <c:pt idx="65">
                  <c:v>0.18055555555555555</c:v>
                </c:pt>
                <c:pt idx="66">
                  <c:v>0.18333333333333332</c:v>
                </c:pt>
                <c:pt idx="67">
                  <c:v>0.18611111111111112</c:v>
                </c:pt>
                <c:pt idx="68">
                  <c:v>0.18888888888888888</c:v>
                </c:pt>
                <c:pt idx="69">
                  <c:v>0.19166666666666668</c:v>
                </c:pt>
                <c:pt idx="70">
                  <c:v>0.19444444444444445</c:v>
                </c:pt>
                <c:pt idx="71">
                  <c:v>0.19722222222222222</c:v>
                </c:pt>
                <c:pt idx="72">
                  <c:v>0.2</c:v>
                </c:pt>
                <c:pt idx="73">
                  <c:v>0.20277777777777778</c:v>
                </c:pt>
                <c:pt idx="74">
                  <c:v>0.20555555555555555</c:v>
                </c:pt>
                <c:pt idx="75">
                  <c:v>0.20833333333333334</c:v>
                </c:pt>
                <c:pt idx="76">
                  <c:v>0.21111111111111111</c:v>
                </c:pt>
                <c:pt idx="77">
                  <c:v>0.21388888888888888</c:v>
                </c:pt>
                <c:pt idx="78">
                  <c:v>0.21666666666666667</c:v>
                </c:pt>
                <c:pt idx="79">
                  <c:v>0.21944444444444444</c:v>
                </c:pt>
                <c:pt idx="80">
                  <c:v>0.22222222222222221</c:v>
                </c:pt>
                <c:pt idx="81">
                  <c:v>0.22500000000000001</c:v>
                </c:pt>
                <c:pt idx="82">
                  <c:v>0.22777777777777777</c:v>
                </c:pt>
                <c:pt idx="83">
                  <c:v>0.23055555555555557</c:v>
                </c:pt>
                <c:pt idx="84">
                  <c:v>0.23333333333333334</c:v>
                </c:pt>
                <c:pt idx="85">
                  <c:v>0.2361111111111111</c:v>
                </c:pt>
                <c:pt idx="86">
                  <c:v>0.2388888888888889</c:v>
                </c:pt>
                <c:pt idx="87">
                  <c:v>0.24166666666666667</c:v>
                </c:pt>
                <c:pt idx="88">
                  <c:v>0.24444444444444444</c:v>
                </c:pt>
                <c:pt idx="89">
                  <c:v>0.24722222222222223</c:v>
                </c:pt>
                <c:pt idx="90">
                  <c:v>0.25</c:v>
                </c:pt>
                <c:pt idx="91">
                  <c:v>0.25277777777777777</c:v>
                </c:pt>
                <c:pt idx="92">
                  <c:v>0.25555555555555554</c:v>
                </c:pt>
                <c:pt idx="93">
                  <c:v>0.25833333333333336</c:v>
                </c:pt>
                <c:pt idx="94">
                  <c:v>0.26111111111111113</c:v>
                </c:pt>
                <c:pt idx="95">
                  <c:v>0.2638888888888889</c:v>
                </c:pt>
                <c:pt idx="96">
                  <c:v>0.26666666666666666</c:v>
                </c:pt>
                <c:pt idx="97">
                  <c:v>0.26944444444444443</c:v>
                </c:pt>
                <c:pt idx="98">
                  <c:v>0.2722222222222222</c:v>
                </c:pt>
                <c:pt idx="99">
                  <c:v>0.27500000000000002</c:v>
                </c:pt>
                <c:pt idx="100">
                  <c:v>0.27777777777777779</c:v>
                </c:pt>
                <c:pt idx="101">
                  <c:v>0.28055555555555556</c:v>
                </c:pt>
                <c:pt idx="102">
                  <c:v>0.28333333333333333</c:v>
                </c:pt>
                <c:pt idx="103">
                  <c:v>0.28611111111111109</c:v>
                </c:pt>
                <c:pt idx="104">
                  <c:v>0.28888888888888886</c:v>
                </c:pt>
                <c:pt idx="105">
                  <c:v>0.29166666666666669</c:v>
                </c:pt>
                <c:pt idx="106">
                  <c:v>0.29444444444444445</c:v>
                </c:pt>
                <c:pt idx="107">
                  <c:v>0.29722222222222222</c:v>
                </c:pt>
                <c:pt idx="108">
                  <c:v>0.3</c:v>
                </c:pt>
                <c:pt idx="109">
                  <c:v>0.30277777777777776</c:v>
                </c:pt>
                <c:pt idx="110">
                  <c:v>0.30555555555555558</c:v>
                </c:pt>
                <c:pt idx="111">
                  <c:v>0.30833333333333335</c:v>
                </c:pt>
                <c:pt idx="112">
                  <c:v>0.31111111111111112</c:v>
                </c:pt>
                <c:pt idx="113">
                  <c:v>0.31388888888888888</c:v>
                </c:pt>
                <c:pt idx="114">
                  <c:v>0.31666666666666665</c:v>
                </c:pt>
                <c:pt idx="115">
                  <c:v>0.31944444444444442</c:v>
                </c:pt>
                <c:pt idx="116">
                  <c:v>0.32222222222222224</c:v>
                </c:pt>
                <c:pt idx="117">
                  <c:v>0.32500000000000001</c:v>
                </c:pt>
                <c:pt idx="118">
                  <c:v>0.32777777777777778</c:v>
                </c:pt>
                <c:pt idx="119">
                  <c:v>0.33055555555555555</c:v>
                </c:pt>
                <c:pt idx="120">
                  <c:v>0.33333333333333331</c:v>
                </c:pt>
                <c:pt idx="121">
                  <c:v>0.33611111111111114</c:v>
                </c:pt>
                <c:pt idx="122">
                  <c:v>0.33888888888888891</c:v>
                </c:pt>
                <c:pt idx="123">
                  <c:v>0.34166666666666667</c:v>
                </c:pt>
                <c:pt idx="124">
                  <c:v>0.34444444444444444</c:v>
                </c:pt>
                <c:pt idx="125">
                  <c:v>0.34722222222222221</c:v>
                </c:pt>
                <c:pt idx="126">
                  <c:v>0.35</c:v>
                </c:pt>
                <c:pt idx="127">
                  <c:v>0.3527777777777778</c:v>
                </c:pt>
                <c:pt idx="128">
                  <c:v>0.35555555555555557</c:v>
                </c:pt>
                <c:pt idx="129">
                  <c:v>0.35833333333333334</c:v>
                </c:pt>
                <c:pt idx="130">
                  <c:v>0.3611111111111111</c:v>
                </c:pt>
                <c:pt idx="131">
                  <c:v>0.36388888888888887</c:v>
                </c:pt>
                <c:pt idx="132">
                  <c:v>0.36666666666666664</c:v>
                </c:pt>
                <c:pt idx="133">
                  <c:v>0.36944444444444446</c:v>
                </c:pt>
                <c:pt idx="134">
                  <c:v>0.37222222222222223</c:v>
                </c:pt>
                <c:pt idx="135">
                  <c:v>0.375</c:v>
                </c:pt>
                <c:pt idx="136">
                  <c:v>0.37777777777777777</c:v>
                </c:pt>
                <c:pt idx="137">
                  <c:v>0.38055555555555554</c:v>
                </c:pt>
                <c:pt idx="138">
                  <c:v>0.38333333333333336</c:v>
                </c:pt>
                <c:pt idx="139">
                  <c:v>0.38611111111111113</c:v>
                </c:pt>
                <c:pt idx="140">
                  <c:v>0.3888888888888889</c:v>
                </c:pt>
                <c:pt idx="141">
                  <c:v>0.39166666666666666</c:v>
                </c:pt>
                <c:pt idx="142">
                  <c:v>0.39444444444444443</c:v>
                </c:pt>
                <c:pt idx="143">
                  <c:v>0.3972222222222222</c:v>
                </c:pt>
                <c:pt idx="144">
                  <c:v>0.4</c:v>
                </c:pt>
                <c:pt idx="145">
                  <c:v>0.40277777777777779</c:v>
                </c:pt>
                <c:pt idx="146">
                  <c:v>0.40555555555555556</c:v>
                </c:pt>
                <c:pt idx="147">
                  <c:v>0.40833333333333333</c:v>
                </c:pt>
                <c:pt idx="148">
                  <c:v>0.41111111111111109</c:v>
                </c:pt>
                <c:pt idx="149">
                  <c:v>0.41388888888888886</c:v>
                </c:pt>
                <c:pt idx="150">
                  <c:v>0.41666666666666669</c:v>
                </c:pt>
                <c:pt idx="151">
                  <c:v>0.41944444444444445</c:v>
                </c:pt>
                <c:pt idx="152">
                  <c:v>0.42222222222222222</c:v>
                </c:pt>
                <c:pt idx="153">
                  <c:v>0.42499999999999999</c:v>
                </c:pt>
                <c:pt idx="154">
                  <c:v>0.42777777777777776</c:v>
                </c:pt>
                <c:pt idx="155">
                  <c:v>0.43055555555555558</c:v>
                </c:pt>
                <c:pt idx="156">
                  <c:v>0.43333333333333335</c:v>
                </c:pt>
                <c:pt idx="157">
                  <c:v>0.43611111111111112</c:v>
                </c:pt>
                <c:pt idx="158">
                  <c:v>0.43888888888888888</c:v>
                </c:pt>
                <c:pt idx="159">
                  <c:v>0.44166666666666665</c:v>
                </c:pt>
                <c:pt idx="160">
                  <c:v>0.44444444444444442</c:v>
                </c:pt>
                <c:pt idx="161">
                  <c:v>0.44722222222222224</c:v>
                </c:pt>
                <c:pt idx="162">
                  <c:v>0.45</c:v>
                </c:pt>
                <c:pt idx="163">
                  <c:v>0.45277777777777778</c:v>
                </c:pt>
                <c:pt idx="164">
                  <c:v>0.45555555555555555</c:v>
                </c:pt>
                <c:pt idx="165">
                  <c:v>0.45833333333333331</c:v>
                </c:pt>
                <c:pt idx="166">
                  <c:v>0.46111111111111114</c:v>
                </c:pt>
                <c:pt idx="167">
                  <c:v>0.46388888888888891</c:v>
                </c:pt>
                <c:pt idx="168">
                  <c:v>0.46666666666666667</c:v>
                </c:pt>
                <c:pt idx="169">
                  <c:v>0.46944444444444444</c:v>
                </c:pt>
                <c:pt idx="170">
                  <c:v>0.47222222222222221</c:v>
                </c:pt>
                <c:pt idx="171">
                  <c:v>0.47499999999999998</c:v>
                </c:pt>
                <c:pt idx="172">
                  <c:v>0.4777777777777778</c:v>
                </c:pt>
                <c:pt idx="173">
                  <c:v>0.48055555555555557</c:v>
                </c:pt>
                <c:pt idx="174">
                  <c:v>0.48333333333333334</c:v>
                </c:pt>
                <c:pt idx="175">
                  <c:v>0.4861111111111111</c:v>
                </c:pt>
                <c:pt idx="176">
                  <c:v>0.48888888888888887</c:v>
                </c:pt>
                <c:pt idx="177">
                  <c:v>0.49166666666666664</c:v>
                </c:pt>
                <c:pt idx="178">
                  <c:v>0.49444444444444446</c:v>
                </c:pt>
                <c:pt idx="179">
                  <c:v>0.49722222222222223</c:v>
                </c:pt>
                <c:pt idx="180">
                  <c:v>0.5</c:v>
                </c:pt>
                <c:pt idx="181">
                  <c:v>0.50277777777777777</c:v>
                </c:pt>
                <c:pt idx="182">
                  <c:v>0.50555555555555554</c:v>
                </c:pt>
                <c:pt idx="183">
                  <c:v>0.5083333333333333</c:v>
                </c:pt>
                <c:pt idx="184">
                  <c:v>0.51111111111111107</c:v>
                </c:pt>
                <c:pt idx="185">
                  <c:v>0.51388888888888884</c:v>
                </c:pt>
                <c:pt idx="186">
                  <c:v>0.51666666666666672</c:v>
                </c:pt>
                <c:pt idx="187">
                  <c:v>0.51944444444444449</c:v>
                </c:pt>
                <c:pt idx="188">
                  <c:v>0.52222222222222225</c:v>
                </c:pt>
                <c:pt idx="189">
                  <c:v>0.52500000000000002</c:v>
                </c:pt>
                <c:pt idx="190">
                  <c:v>0.52777777777777779</c:v>
                </c:pt>
                <c:pt idx="191">
                  <c:v>0.53055555555555556</c:v>
                </c:pt>
                <c:pt idx="192">
                  <c:v>0.53333333333333333</c:v>
                </c:pt>
                <c:pt idx="193">
                  <c:v>0.53611111111111109</c:v>
                </c:pt>
                <c:pt idx="194">
                  <c:v>0.53888888888888886</c:v>
                </c:pt>
                <c:pt idx="195">
                  <c:v>0.54166666666666663</c:v>
                </c:pt>
                <c:pt idx="196">
                  <c:v>0.5444444444444444</c:v>
                </c:pt>
                <c:pt idx="197">
                  <c:v>0.54722222222222228</c:v>
                </c:pt>
                <c:pt idx="198">
                  <c:v>0.55000000000000004</c:v>
                </c:pt>
                <c:pt idx="199">
                  <c:v>0.55277777777777781</c:v>
                </c:pt>
                <c:pt idx="200">
                  <c:v>0.55555555555555558</c:v>
                </c:pt>
                <c:pt idx="201">
                  <c:v>0.55833333333333335</c:v>
                </c:pt>
                <c:pt idx="202">
                  <c:v>0.56111111111111112</c:v>
                </c:pt>
                <c:pt idx="203">
                  <c:v>0.56388888888888888</c:v>
                </c:pt>
                <c:pt idx="204">
                  <c:v>0.56666666666666665</c:v>
                </c:pt>
                <c:pt idx="205">
                  <c:v>0.56944444444444442</c:v>
                </c:pt>
                <c:pt idx="206">
                  <c:v>0.57222222222222219</c:v>
                </c:pt>
                <c:pt idx="207">
                  <c:v>0.57499999999999996</c:v>
                </c:pt>
                <c:pt idx="208">
                  <c:v>0.57777777777777772</c:v>
                </c:pt>
                <c:pt idx="209">
                  <c:v>0.5805555555555556</c:v>
                </c:pt>
                <c:pt idx="210">
                  <c:v>0.58333333333333337</c:v>
                </c:pt>
                <c:pt idx="211">
                  <c:v>0.58611111111111114</c:v>
                </c:pt>
                <c:pt idx="212">
                  <c:v>0.58888888888888891</c:v>
                </c:pt>
                <c:pt idx="213">
                  <c:v>0.59166666666666667</c:v>
                </c:pt>
                <c:pt idx="214">
                  <c:v>0.59444444444444444</c:v>
                </c:pt>
                <c:pt idx="215">
                  <c:v>0.59722222222222221</c:v>
                </c:pt>
                <c:pt idx="216">
                  <c:v>0.6</c:v>
                </c:pt>
                <c:pt idx="217">
                  <c:v>0.60277777777777775</c:v>
                </c:pt>
                <c:pt idx="218">
                  <c:v>0.60555555555555551</c:v>
                </c:pt>
                <c:pt idx="219">
                  <c:v>0.60833333333333328</c:v>
                </c:pt>
                <c:pt idx="220">
                  <c:v>0.61111111111111116</c:v>
                </c:pt>
                <c:pt idx="221">
                  <c:v>0.61388888888888893</c:v>
                </c:pt>
                <c:pt idx="222">
                  <c:v>0.6166666666666667</c:v>
                </c:pt>
                <c:pt idx="223">
                  <c:v>0.61944444444444446</c:v>
                </c:pt>
                <c:pt idx="224">
                  <c:v>0.62222222222222223</c:v>
                </c:pt>
                <c:pt idx="225">
                  <c:v>0.625</c:v>
                </c:pt>
                <c:pt idx="226">
                  <c:v>0.62777777777777777</c:v>
                </c:pt>
                <c:pt idx="227">
                  <c:v>0.63055555555555554</c:v>
                </c:pt>
                <c:pt idx="228">
                  <c:v>0.6333333333333333</c:v>
                </c:pt>
                <c:pt idx="229">
                  <c:v>0.63611111111111107</c:v>
                </c:pt>
                <c:pt idx="230">
                  <c:v>0.63888888888888884</c:v>
                </c:pt>
                <c:pt idx="231">
                  <c:v>0.64166666666666672</c:v>
                </c:pt>
                <c:pt idx="232">
                  <c:v>0.64444444444444449</c:v>
                </c:pt>
                <c:pt idx="233">
                  <c:v>0.64722222222222225</c:v>
                </c:pt>
                <c:pt idx="234">
                  <c:v>0.65</c:v>
                </c:pt>
                <c:pt idx="235">
                  <c:v>0.65277777777777779</c:v>
                </c:pt>
                <c:pt idx="236">
                  <c:v>0.65555555555555556</c:v>
                </c:pt>
                <c:pt idx="237">
                  <c:v>0.65833333333333333</c:v>
                </c:pt>
                <c:pt idx="238">
                  <c:v>0.66111111111111109</c:v>
                </c:pt>
                <c:pt idx="239">
                  <c:v>0.66388888888888886</c:v>
                </c:pt>
                <c:pt idx="240">
                  <c:v>0.66666666666666663</c:v>
                </c:pt>
                <c:pt idx="241">
                  <c:v>0.6694444444444444</c:v>
                </c:pt>
                <c:pt idx="242">
                  <c:v>0.67222222222222228</c:v>
                </c:pt>
                <c:pt idx="243">
                  <c:v>0.67500000000000004</c:v>
                </c:pt>
                <c:pt idx="244">
                  <c:v>0.67777777777777781</c:v>
                </c:pt>
                <c:pt idx="245">
                  <c:v>0.68055555555555558</c:v>
                </c:pt>
                <c:pt idx="246">
                  <c:v>0.68333333333333335</c:v>
                </c:pt>
                <c:pt idx="247">
                  <c:v>0.68611111111111112</c:v>
                </c:pt>
                <c:pt idx="248">
                  <c:v>0.68888888888888888</c:v>
                </c:pt>
                <c:pt idx="249">
                  <c:v>0.69166666666666665</c:v>
                </c:pt>
                <c:pt idx="250">
                  <c:v>0.69444444444444442</c:v>
                </c:pt>
                <c:pt idx="251">
                  <c:v>0.69722222222222219</c:v>
                </c:pt>
                <c:pt idx="252">
                  <c:v>0.7</c:v>
                </c:pt>
                <c:pt idx="253">
                  <c:v>0.70277777777777772</c:v>
                </c:pt>
                <c:pt idx="254">
                  <c:v>0.7055555555555556</c:v>
                </c:pt>
                <c:pt idx="255">
                  <c:v>0.70833333333333337</c:v>
                </c:pt>
                <c:pt idx="256">
                  <c:v>0.71111111111111114</c:v>
                </c:pt>
                <c:pt idx="257">
                  <c:v>0.71388888888888891</c:v>
                </c:pt>
                <c:pt idx="258">
                  <c:v>0.71666666666666667</c:v>
                </c:pt>
                <c:pt idx="259">
                  <c:v>0.71944444444444444</c:v>
                </c:pt>
                <c:pt idx="260">
                  <c:v>0.72222222222222221</c:v>
                </c:pt>
                <c:pt idx="261">
                  <c:v>0.72499999999999998</c:v>
                </c:pt>
                <c:pt idx="262">
                  <c:v>0.72777777777777775</c:v>
                </c:pt>
                <c:pt idx="263">
                  <c:v>0.73055555555555551</c:v>
                </c:pt>
                <c:pt idx="264">
                  <c:v>0.73333333333333328</c:v>
                </c:pt>
                <c:pt idx="265">
                  <c:v>0.73611111111111116</c:v>
                </c:pt>
                <c:pt idx="266">
                  <c:v>0.73888888888888893</c:v>
                </c:pt>
                <c:pt idx="267">
                  <c:v>0.7416666666666667</c:v>
                </c:pt>
                <c:pt idx="268">
                  <c:v>0.74444444444444446</c:v>
                </c:pt>
                <c:pt idx="269">
                  <c:v>0.74722222222222223</c:v>
                </c:pt>
                <c:pt idx="270">
                  <c:v>0.75</c:v>
                </c:pt>
                <c:pt idx="271">
                  <c:v>0.75277777777777777</c:v>
                </c:pt>
                <c:pt idx="272">
                  <c:v>0.75555555555555554</c:v>
                </c:pt>
                <c:pt idx="273">
                  <c:v>0.7583333333333333</c:v>
                </c:pt>
                <c:pt idx="274">
                  <c:v>0.76111111111111107</c:v>
                </c:pt>
                <c:pt idx="275">
                  <c:v>0.76388888888888884</c:v>
                </c:pt>
                <c:pt idx="276">
                  <c:v>0.76666666666666672</c:v>
                </c:pt>
                <c:pt idx="277">
                  <c:v>0.76944444444444449</c:v>
                </c:pt>
                <c:pt idx="278">
                  <c:v>0.77222222222222225</c:v>
                </c:pt>
                <c:pt idx="279">
                  <c:v>0.77500000000000002</c:v>
                </c:pt>
                <c:pt idx="280">
                  <c:v>0.77777777777777779</c:v>
                </c:pt>
                <c:pt idx="281">
                  <c:v>0.78055555555555556</c:v>
                </c:pt>
                <c:pt idx="282">
                  <c:v>0.78333333333333333</c:v>
                </c:pt>
                <c:pt idx="283">
                  <c:v>0.78611111111111109</c:v>
                </c:pt>
                <c:pt idx="284">
                  <c:v>0.78888888888888886</c:v>
                </c:pt>
                <c:pt idx="285">
                  <c:v>0.79166666666666663</c:v>
                </c:pt>
                <c:pt idx="286">
                  <c:v>0.7944444444444444</c:v>
                </c:pt>
                <c:pt idx="287">
                  <c:v>0.79722222222222228</c:v>
                </c:pt>
                <c:pt idx="288">
                  <c:v>0.8</c:v>
                </c:pt>
                <c:pt idx="289">
                  <c:v>0.80277777777777781</c:v>
                </c:pt>
                <c:pt idx="290">
                  <c:v>0.80555555555555558</c:v>
                </c:pt>
                <c:pt idx="291">
                  <c:v>0.80833333333333335</c:v>
                </c:pt>
                <c:pt idx="292">
                  <c:v>0.81111111111111112</c:v>
                </c:pt>
                <c:pt idx="293">
                  <c:v>0.81388888888888888</c:v>
                </c:pt>
                <c:pt idx="294">
                  <c:v>0.81666666666666665</c:v>
                </c:pt>
                <c:pt idx="295">
                  <c:v>0.81944444444444442</c:v>
                </c:pt>
                <c:pt idx="296">
                  <c:v>0.82222222222222219</c:v>
                </c:pt>
                <c:pt idx="297">
                  <c:v>0.82499999999999996</c:v>
                </c:pt>
                <c:pt idx="298">
                  <c:v>0.82777777777777772</c:v>
                </c:pt>
                <c:pt idx="299">
                  <c:v>0.8305555555555556</c:v>
                </c:pt>
                <c:pt idx="300">
                  <c:v>0.83333333333333337</c:v>
                </c:pt>
                <c:pt idx="301">
                  <c:v>0.83611111111111114</c:v>
                </c:pt>
                <c:pt idx="302">
                  <c:v>0.83888888888888891</c:v>
                </c:pt>
                <c:pt idx="303">
                  <c:v>0.84166666666666667</c:v>
                </c:pt>
                <c:pt idx="304">
                  <c:v>0.84444444444444444</c:v>
                </c:pt>
                <c:pt idx="305">
                  <c:v>0.84722222222222221</c:v>
                </c:pt>
                <c:pt idx="306">
                  <c:v>0.85</c:v>
                </c:pt>
                <c:pt idx="307">
                  <c:v>0.85277777777777775</c:v>
                </c:pt>
                <c:pt idx="308">
                  <c:v>0.85555555555555551</c:v>
                </c:pt>
                <c:pt idx="309">
                  <c:v>0.85833333333333328</c:v>
                </c:pt>
                <c:pt idx="310">
                  <c:v>0.86111111111111116</c:v>
                </c:pt>
                <c:pt idx="311">
                  <c:v>0.86388888888888893</c:v>
                </c:pt>
                <c:pt idx="312">
                  <c:v>0.8666666666666667</c:v>
                </c:pt>
                <c:pt idx="313">
                  <c:v>0.86944444444444446</c:v>
                </c:pt>
                <c:pt idx="314">
                  <c:v>0.87222222222222223</c:v>
                </c:pt>
                <c:pt idx="315">
                  <c:v>0.875</c:v>
                </c:pt>
                <c:pt idx="316">
                  <c:v>0.87777777777777777</c:v>
                </c:pt>
                <c:pt idx="317">
                  <c:v>0.88055555555555554</c:v>
                </c:pt>
                <c:pt idx="318">
                  <c:v>0.8833333333333333</c:v>
                </c:pt>
                <c:pt idx="319">
                  <c:v>0.88611111111111107</c:v>
                </c:pt>
                <c:pt idx="320">
                  <c:v>0.88888888888888884</c:v>
                </c:pt>
                <c:pt idx="321">
                  <c:v>0.89166666666666672</c:v>
                </c:pt>
                <c:pt idx="322">
                  <c:v>0.89444444444444449</c:v>
                </c:pt>
                <c:pt idx="323">
                  <c:v>0.89722222222222225</c:v>
                </c:pt>
                <c:pt idx="324">
                  <c:v>0.9</c:v>
                </c:pt>
                <c:pt idx="325">
                  <c:v>0.90277777777777779</c:v>
                </c:pt>
                <c:pt idx="326">
                  <c:v>0.90555555555555556</c:v>
                </c:pt>
                <c:pt idx="327">
                  <c:v>0.90833333333333333</c:v>
                </c:pt>
                <c:pt idx="328">
                  <c:v>0.91111111111111109</c:v>
                </c:pt>
                <c:pt idx="329">
                  <c:v>0.91388888888888886</c:v>
                </c:pt>
                <c:pt idx="330">
                  <c:v>0.91666666666666663</c:v>
                </c:pt>
                <c:pt idx="331">
                  <c:v>0.9194444444444444</c:v>
                </c:pt>
                <c:pt idx="332">
                  <c:v>0.92222222222222228</c:v>
                </c:pt>
                <c:pt idx="333">
                  <c:v>0.92500000000000004</c:v>
                </c:pt>
                <c:pt idx="334">
                  <c:v>0.92777777777777781</c:v>
                </c:pt>
                <c:pt idx="335">
                  <c:v>0.93055555555555558</c:v>
                </c:pt>
                <c:pt idx="336">
                  <c:v>0.93333333333333335</c:v>
                </c:pt>
                <c:pt idx="337">
                  <c:v>0.93611111111111112</c:v>
                </c:pt>
                <c:pt idx="338">
                  <c:v>0.93888888888888888</c:v>
                </c:pt>
                <c:pt idx="339">
                  <c:v>0.94166666666666665</c:v>
                </c:pt>
                <c:pt idx="340">
                  <c:v>0.94444444444444442</c:v>
                </c:pt>
                <c:pt idx="341">
                  <c:v>0.94722222222222219</c:v>
                </c:pt>
                <c:pt idx="342">
                  <c:v>0.95</c:v>
                </c:pt>
                <c:pt idx="343">
                  <c:v>0.95277777777777772</c:v>
                </c:pt>
                <c:pt idx="344">
                  <c:v>0.9555555555555556</c:v>
                </c:pt>
                <c:pt idx="345">
                  <c:v>0.95833333333333337</c:v>
                </c:pt>
                <c:pt idx="346">
                  <c:v>0.96111111111111114</c:v>
                </c:pt>
                <c:pt idx="347">
                  <c:v>0.96388888888888891</c:v>
                </c:pt>
                <c:pt idx="348">
                  <c:v>0.96666666666666667</c:v>
                </c:pt>
                <c:pt idx="349">
                  <c:v>0.96944444444444444</c:v>
                </c:pt>
                <c:pt idx="350">
                  <c:v>0.97222222222222221</c:v>
                </c:pt>
                <c:pt idx="351">
                  <c:v>0.97499999999999998</c:v>
                </c:pt>
                <c:pt idx="352">
                  <c:v>0.97777777777777775</c:v>
                </c:pt>
                <c:pt idx="353">
                  <c:v>0.98055555555555551</c:v>
                </c:pt>
                <c:pt idx="354">
                  <c:v>0.98333333333333328</c:v>
                </c:pt>
                <c:pt idx="355">
                  <c:v>0.98611111111111116</c:v>
                </c:pt>
                <c:pt idx="356">
                  <c:v>0.98888888888888893</c:v>
                </c:pt>
                <c:pt idx="357">
                  <c:v>0.9916666666666667</c:v>
                </c:pt>
                <c:pt idx="358">
                  <c:v>0.99444444444444446</c:v>
                </c:pt>
                <c:pt idx="359">
                  <c:v>0.99722222222222223</c:v>
                </c:pt>
                <c:pt idx="360">
                  <c:v>1</c:v>
                </c:pt>
                <c:pt idx="361">
                  <c:v>1.0027777777777778</c:v>
                </c:pt>
                <c:pt idx="362">
                  <c:v>1.0055555555555555</c:v>
                </c:pt>
                <c:pt idx="363">
                  <c:v>1.0083333333333333</c:v>
                </c:pt>
                <c:pt idx="364">
                  <c:v>1.0111111111111111</c:v>
                </c:pt>
                <c:pt idx="365">
                  <c:v>1.0138888888888888</c:v>
                </c:pt>
                <c:pt idx="366">
                  <c:v>1.0166666666666666</c:v>
                </c:pt>
                <c:pt idx="367">
                  <c:v>1.0194444444444444</c:v>
                </c:pt>
                <c:pt idx="368">
                  <c:v>1.0222222222222221</c:v>
                </c:pt>
                <c:pt idx="369">
                  <c:v>1.0249999999999999</c:v>
                </c:pt>
                <c:pt idx="370">
                  <c:v>1.0277777777777777</c:v>
                </c:pt>
                <c:pt idx="371">
                  <c:v>1.0305555555555554</c:v>
                </c:pt>
                <c:pt idx="372">
                  <c:v>1.0333333333333334</c:v>
                </c:pt>
                <c:pt idx="373">
                  <c:v>1.0361111111111112</c:v>
                </c:pt>
                <c:pt idx="374">
                  <c:v>1.038888888888889</c:v>
                </c:pt>
                <c:pt idx="375">
                  <c:v>1.0416666666666667</c:v>
                </c:pt>
                <c:pt idx="376">
                  <c:v>1.0444444444444445</c:v>
                </c:pt>
                <c:pt idx="377">
                  <c:v>1.0472222222222223</c:v>
                </c:pt>
                <c:pt idx="378">
                  <c:v>1.05</c:v>
                </c:pt>
                <c:pt idx="379">
                  <c:v>1.0527777777777778</c:v>
                </c:pt>
                <c:pt idx="380">
                  <c:v>1.0555555555555556</c:v>
                </c:pt>
                <c:pt idx="381">
                  <c:v>1.0583333333333333</c:v>
                </c:pt>
                <c:pt idx="382">
                  <c:v>1.0611111111111111</c:v>
                </c:pt>
                <c:pt idx="383">
                  <c:v>1.0638888888888889</c:v>
                </c:pt>
                <c:pt idx="384">
                  <c:v>1.0666666666666667</c:v>
                </c:pt>
                <c:pt idx="385">
                  <c:v>1.0694444444444444</c:v>
                </c:pt>
                <c:pt idx="386">
                  <c:v>1.0722222222222222</c:v>
                </c:pt>
                <c:pt idx="387">
                  <c:v>1.075</c:v>
                </c:pt>
                <c:pt idx="388">
                  <c:v>1.0777777777777777</c:v>
                </c:pt>
                <c:pt idx="389">
                  <c:v>1.0805555555555555</c:v>
                </c:pt>
                <c:pt idx="390">
                  <c:v>1.0833333333333333</c:v>
                </c:pt>
                <c:pt idx="391">
                  <c:v>1.086111111111111</c:v>
                </c:pt>
                <c:pt idx="392">
                  <c:v>1.0888888888888888</c:v>
                </c:pt>
                <c:pt idx="393">
                  <c:v>1.0916666666666666</c:v>
                </c:pt>
                <c:pt idx="394">
                  <c:v>1.0944444444444446</c:v>
                </c:pt>
                <c:pt idx="395">
                  <c:v>1.0972222222222223</c:v>
                </c:pt>
                <c:pt idx="396">
                  <c:v>1.1000000000000001</c:v>
                </c:pt>
                <c:pt idx="397">
                  <c:v>1.1027777777777779</c:v>
                </c:pt>
                <c:pt idx="398">
                  <c:v>1.1055555555555556</c:v>
                </c:pt>
                <c:pt idx="399">
                  <c:v>1.1083333333333334</c:v>
                </c:pt>
                <c:pt idx="400">
                  <c:v>1.1111111111111112</c:v>
                </c:pt>
                <c:pt idx="401">
                  <c:v>1.1138888888888889</c:v>
                </c:pt>
                <c:pt idx="402">
                  <c:v>1.1166666666666667</c:v>
                </c:pt>
                <c:pt idx="403">
                  <c:v>1.1194444444444445</c:v>
                </c:pt>
                <c:pt idx="404">
                  <c:v>1.1222222222222222</c:v>
                </c:pt>
                <c:pt idx="405">
                  <c:v>1.125</c:v>
                </c:pt>
                <c:pt idx="406">
                  <c:v>1.1277777777777778</c:v>
                </c:pt>
                <c:pt idx="407">
                  <c:v>1.1305555555555555</c:v>
                </c:pt>
                <c:pt idx="408">
                  <c:v>1.1333333333333333</c:v>
                </c:pt>
                <c:pt idx="409">
                  <c:v>1.1361111111111111</c:v>
                </c:pt>
                <c:pt idx="410">
                  <c:v>1.1388888888888888</c:v>
                </c:pt>
                <c:pt idx="411">
                  <c:v>1.1416666666666666</c:v>
                </c:pt>
                <c:pt idx="412">
                  <c:v>1.1444444444444444</c:v>
                </c:pt>
                <c:pt idx="413">
                  <c:v>1.1472222222222221</c:v>
                </c:pt>
                <c:pt idx="414">
                  <c:v>1.1499999999999999</c:v>
                </c:pt>
                <c:pt idx="415">
                  <c:v>1.1527777777777777</c:v>
                </c:pt>
                <c:pt idx="416">
                  <c:v>1.1555555555555554</c:v>
                </c:pt>
                <c:pt idx="417">
                  <c:v>1.1583333333333334</c:v>
                </c:pt>
                <c:pt idx="418">
                  <c:v>1.1611111111111112</c:v>
                </c:pt>
                <c:pt idx="419">
                  <c:v>1.163888888888889</c:v>
                </c:pt>
                <c:pt idx="420">
                  <c:v>1.1666666666666667</c:v>
                </c:pt>
                <c:pt idx="421">
                  <c:v>1.1694444444444445</c:v>
                </c:pt>
                <c:pt idx="422">
                  <c:v>1.1722222222222223</c:v>
                </c:pt>
                <c:pt idx="423">
                  <c:v>1.175</c:v>
                </c:pt>
                <c:pt idx="424">
                  <c:v>1.1777777777777778</c:v>
                </c:pt>
                <c:pt idx="425">
                  <c:v>1.1805555555555556</c:v>
                </c:pt>
                <c:pt idx="426">
                  <c:v>1.1833333333333333</c:v>
                </c:pt>
                <c:pt idx="427">
                  <c:v>1.1861111111111111</c:v>
                </c:pt>
                <c:pt idx="428">
                  <c:v>1.1888888888888889</c:v>
                </c:pt>
                <c:pt idx="429">
                  <c:v>1.1916666666666667</c:v>
                </c:pt>
                <c:pt idx="430">
                  <c:v>1.1944444444444444</c:v>
                </c:pt>
                <c:pt idx="431">
                  <c:v>1.1972222222222222</c:v>
                </c:pt>
                <c:pt idx="432">
                  <c:v>1.2</c:v>
                </c:pt>
                <c:pt idx="433">
                  <c:v>1.2027777777777777</c:v>
                </c:pt>
                <c:pt idx="434">
                  <c:v>1.2055555555555555</c:v>
                </c:pt>
                <c:pt idx="435">
                  <c:v>1.2083333333333333</c:v>
                </c:pt>
                <c:pt idx="436">
                  <c:v>1.211111111111111</c:v>
                </c:pt>
                <c:pt idx="437">
                  <c:v>1.2138888888888888</c:v>
                </c:pt>
                <c:pt idx="438">
                  <c:v>1.2166666666666666</c:v>
                </c:pt>
                <c:pt idx="439">
                  <c:v>1.2194444444444446</c:v>
                </c:pt>
                <c:pt idx="440">
                  <c:v>1.2222222222222223</c:v>
                </c:pt>
                <c:pt idx="441">
                  <c:v>1.2250000000000001</c:v>
                </c:pt>
                <c:pt idx="442">
                  <c:v>1.2277777777777779</c:v>
                </c:pt>
                <c:pt idx="443">
                  <c:v>1.2305555555555556</c:v>
                </c:pt>
                <c:pt idx="444">
                  <c:v>1.2333333333333334</c:v>
                </c:pt>
                <c:pt idx="445">
                  <c:v>1.2361111111111112</c:v>
                </c:pt>
                <c:pt idx="446">
                  <c:v>1.2388888888888889</c:v>
                </c:pt>
                <c:pt idx="447">
                  <c:v>1.2416666666666667</c:v>
                </c:pt>
                <c:pt idx="448">
                  <c:v>1.2444444444444445</c:v>
                </c:pt>
                <c:pt idx="449">
                  <c:v>1.2472222222222222</c:v>
                </c:pt>
                <c:pt idx="450">
                  <c:v>1.25</c:v>
                </c:pt>
                <c:pt idx="451">
                  <c:v>1.2527777777777778</c:v>
                </c:pt>
                <c:pt idx="452">
                  <c:v>1.2555555555555555</c:v>
                </c:pt>
                <c:pt idx="453">
                  <c:v>1.2583333333333333</c:v>
                </c:pt>
                <c:pt idx="454">
                  <c:v>1.2611111111111111</c:v>
                </c:pt>
                <c:pt idx="455">
                  <c:v>1.2638888888888888</c:v>
                </c:pt>
                <c:pt idx="456">
                  <c:v>1.2666666666666666</c:v>
                </c:pt>
                <c:pt idx="457">
                  <c:v>1.2694444444444444</c:v>
                </c:pt>
                <c:pt idx="458">
                  <c:v>1.2722222222222221</c:v>
                </c:pt>
                <c:pt idx="459">
                  <c:v>1.2749999999999999</c:v>
                </c:pt>
                <c:pt idx="460">
                  <c:v>1.2777777777777777</c:v>
                </c:pt>
                <c:pt idx="461">
                  <c:v>1.2805555555555554</c:v>
                </c:pt>
                <c:pt idx="462">
                  <c:v>1.2833333333333334</c:v>
                </c:pt>
                <c:pt idx="463">
                  <c:v>1.2861111111111112</c:v>
                </c:pt>
                <c:pt idx="464">
                  <c:v>1.288888888888889</c:v>
                </c:pt>
                <c:pt idx="465">
                  <c:v>1.2916666666666667</c:v>
                </c:pt>
                <c:pt idx="466">
                  <c:v>1.2944444444444445</c:v>
                </c:pt>
                <c:pt idx="467">
                  <c:v>1.2972222222222223</c:v>
                </c:pt>
                <c:pt idx="468">
                  <c:v>1.3</c:v>
                </c:pt>
                <c:pt idx="469">
                  <c:v>1.3027777777777778</c:v>
                </c:pt>
                <c:pt idx="470">
                  <c:v>1.3055555555555556</c:v>
                </c:pt>
                <c:pt idx="471">
                  <c:v>1.3083333333333333</c:v>
                </c:pt>
                <c:pt idx="472">
                  <c:v>1.3111111111111111</c:v>
                </c:pt>
                <c:pt idx="473">
                  <c:v>1.3138888888888889</c:v>
                </c:pt>
                <c:pt idx="474">
                  <c:v>1.3166666666666667</c:v>
                </c:pt>
                <c:pt idx="475">
                  <c:v>1.3194444444444444</c:v>
                </c:pt>
                <c:pt idx="476">
                  <c:v>1.3222222222222222</c:v>
                </c:pt>
                <c:pt idx="477">
                  <c:v>1.325</c:v>
                </c:pt>
                <c:pt idx="478">
                  <c:v>1.3277777777777777</c:v>
                </c:pt>
                <c:pt idx="479">
                  <c:v>1.3305555555555555</c:v>
                </c:pt>
                <c:pt idx="480">
                  <c:v>1.3333333333333333</c:v>
                </c:pt>
                <c:pt idx="481">
                  <c:v>1.336111111111111</c:v>
                </c:pt>
                <c:pt idx="482">
                  <c:v>1.3388888888888888</c:v>
                </c:pt>
                <c:pt idx="483">
                  <c:v>1.3416666666666666</c:v>
                </c:pt>
                <c:pt idx="484">
                  <c:v>1.3444444444444446</c:v>
                </c:pt>
                <c:pt idx="485">
                  <c:v>1.3472222222222223</c:v>
                </c:pt>
                <c:pt idx="486">
                  <c:v>1.35</c:v>
                </c:pt>
                <c:pt idx="487">
                  <c:v>1.3527777777777779</c:v>
                </c:pt>
                <c:pt idx="488">
                  <c:v>1.3555555555555556</c:v>
                </c:pt>
                <c:pt idx="489">
                  <c:v>1.3583333333333334</c:v>
                </c:pt>
                <c:pt idx="490">
                  <c:v>1.3611111111111112</c:v>
                </c:pt>
                <c:pt idx="491">
                  <c:v>1.3638888888888889</c:v>
                </c:pt>
                <c:pt idx="492">
                  <c:v>1.3666666666666667</c:v>
                </c:pt>
                <c:pt idx="493">
                  <c:v>1.3694444444444445</c:v>
                </c:pt>
                <c:pt idx="494">
                  <c:v>1.3722222222222222</c:v>
                </c:pt>
                <c:pt idx="495">
                  <c:v>1.375</c:v>
                </c:pt>
                <c:pt idx="496">
                  <c:v>1.3777777777777778</c:v>
                </c:pt>
                <c:pt idx="497">
                  <c:v>1.3805555555555555</c:v>
                </c:pt>
                <c:pt idx="498">
                  <c:v>1.3833333333333333</c:v>
                </c:pt>
                <c:pt idx="499">
                  <c:v>1.3861111111111111</c:v>
                </c:pt>
                <c:pt idx="500">
                  <c:v>1.3888888888888888</c:v>
                </c:pt>
                <c:pt idx="501">
                  <c:v>1.3916666666666666</c:v>
                </c:pt>
                <c:pt idx="502">
                  <c:v>1.3944444444444444</c:v>
                </c:pt>
                <c:pt idx="503">
                  <c:v>1.3972222222222221</c:v>
                </c:pt>
                <c:pt idx="504">
                  <c:v>1.4</c:v>
                </c:pt>
                <c:pt idx="505">
                  <c:v>1.4027777777777777</c:v>
                </c:pt>
                <c:pt idx="506">
                  <c:v>1.4055555555555554</c:v>
                </c:pt>
                <c:pt idx="507">
                  <c:v>1.4083333333333334</c:v>
                </c:pt>
                <c:pt idx="508">
                  <c:v>1.4111111111111112</c:v>
                </c:pt>
                <c:pt idx="509">
                  <c:v>1.413888888888889</c:v>
                </c:pt>
                <c:pt idx="510">
                  <c:v>1.4166666666666667</c:v>
                </c:pt>
                <c:pt idx="511">
                  <c:v>1.4194444444444445</c:v>
                </c:pt>
                <c:pt idx="512">
                  <c:v>1.4222222222222223</c:v>
                </c:pt>
                <c:pt idx="513">
                  <c:v>1.425</c:v>
                </c:pt>
                <c:pt idx="514">
                  <c:v>1.4277777777777778</c:v>
                </c:pt>
                <c:pt idx="515">
                  <c:v>1.4305555555555556</c:v>
                </c:pt>
                <c:pt idx="516">
                  <c:v>1.4333333333333333</c:v>
                </c:pt>
                <c:pt idx="517">
                  <c:v>1.4361111111111111</c:v>
                </c:pt>
                <c:pt idx="518">
                  <c:v>1.4388888888888889</c:v>
                </c:pt>
                <c:pt idx="519">
                  <c:v>1.4416666666666667</c:v>
                </c:pt>
                <c:pt idx="520">
                  <c:v>1.4444444444444444</c:v>
                </c:pt>
                <c:pt idx="521">
                  <c:v>1.4472222222222222</c:v>
                </c:pt>
                <c:pt idx="522">
                  <c:v>1.45</c:v>
                </c:pt>
                <c:pt idx="523">
                  <c:v>1.4527777777777777</c:v>
                </c:pt>
                <c:pt idx="524">
                  <c:v>1.4555555555555555</c:v>
                </c:pt>
                <c:pt idx="525">
                  <c:v>1.4583333333333333</c:v>
                </c:pt>
                <c:pt idx="526">
                  <c:v>1.461111111111111</c:v>
                </c:pt>
                <c:pt idx="527">
                  <c:v>1.4638888888888888</c:v>
                </c:pt>
                <c:pt idx="528">
                  <c:v>1.4666666666666666</c:v>
                </c:pt>
                <c:pt idx="529">
                  <c:v>1.4694444444444446</c:v>
                </c:pt>
                <c:pt idx="530">
                  <c:v>1.4722222222222223</c:v>
                </c:pt>
                <c:pt idx="531">
                  <c:v>1.4750000000000001</c:v>
                </c:pt>
                <c:pt idx="532">
                  <c:v>1.4777777777777779</c:v>
                </c:pt>
                <c:pt idx="533">
                  <c:v>1.4805555555555556</c:v>
                </c:pt>
                <c:pt idx="534">
                  <c:v>1.4833333333333334</c:v>
                </c:pt>
                <c:pt idx="535">
                  <c:v>1.4861111111111112</c:v>
                </c:pt>
                <c:pt idx="536">
                  <c:v>1.4888888888888889</c:v>
                </c:pt>
                <c:pt idx="537">
                  <c:v>1.4916666666666667</c:v>
                </c:pt>
                <c:pt idx="538">
                  <c:v>1.4944444444444445</c:v>
                </c:pt>
                <c:pt idx="539">
                  <c:v>1.4972222222222222</c:v>
                </c:pt>
                <c:pt idx="540">
                  <c:v>1.5</c:v>
                </c:pt>
                <c:pt idx="541">
                  <c:v>1.5027777777777778</c:v>
                </c:pt>
                <c:pt idx="542">
                  <c:v>1.5055555555555555</c:v>
                </c:pt>
                <c:pt idx="543">
                  <c:v>1.5083333333333333</c:v>
                </c:pt>
                <c:pt idx="544">
                  <c:v>1.5111111111111111</c:v>
                </c:pt>
                <c:pt idx="545">
                  <c:v>1.5138888888888888</c:v>
                </c:pt>
                <c:pt idx="546">
                  <c:v>1.5166666666666666</c:v>
                </c:pt>
                <c:pt idx="547">
                  <c:v>1.5194444444444444</c:v>
                </c:pt>
                <c:pt idx="548">
                  <c:v>1.5222222222222221</c:v>
                </c:pt>
                <c:pt idx="549">
                  <c:v>1.5249999999999999</c:v>
                </c:pt>
                <c:pt idx="550">
                  <c:v>1.5277777777777777</c:v>
                </c:pt>
                <c:pt idx="551">
                  <c:v>1.5305555555555554</c:v>
                </c:pt>
                <c:pt idx="552">
                  <c:v>1.5333333333333334</c:v>
                </c:pt>
                <c:pt idx="553">
                  <c:v>1.5361111111111112</c:v>
                </c:pt>
                <c:pt idx="554">
                  <c:v>1.538888888888889</c:v>
                </c:pt>
                <c:pt idx="555">
                  <c:v>1.5416666666666667</c:v>
                </c:pt>
                <c:pt idx="556">
                  <c:v>1.5444444444444445</c:v>
                </c:pt>
                <c:pt idx="557">
                  <c:v>1.5472222222222223</c:v>
                </c:pt>
                <c:pt idx="558">
                  <c:v>1.55</c:v>
                </c:pt>
                <c:pt idx="559">
                  <c:v>1.5527777777777778</c:v>
                </c:pt>
                <c:pt idx="560">
                  <c:v>1.5555555555555556</c:v>
                </c:pt>
                <c:pt idx="561">
                  <c:v>1.5583333333333333</c:v>
                </c:pt>
                <c:pt idx="562">
                  <c:v>1.5611111111111111</c:v>
                </c:pt>
                <c:pt idx="563">
                  <c:v>1.5638888888888889</c:v>
                </c:pt>
                <c:pt idx="564">
                  <c:v>1.5666666666666667</c:v>
                </c:pt>
                <c:pt idx="565">
                  <c:v>1.5694444444444444</c:v>
                </c:pt>
                <c:pt idx="566">
                  <c:v>1.5722222222222222</c:v>
                </c:pt>
                <c:pt idx="567">
                  <c:v>1.575</c:v>
                </c:pt>
                <c:pt idx="568">
                  <c:v>1.5777777777777777</c:v>
                </c:pt>
                <c:pt idx="569">
                  <c:v>1.5805555555555555</c:v>
                </c:pt>
                <c:pt idx="570">
                  <c:v>1.5833333333333333</c:v>
                </c:pt>
                <c:pt idx="571">
                  <c:v>1.586111111111111</c:v>
                </c:pt>
                <c:pt idx="572">
                  <c:v>1.5888888888888888</c:v>
                </c:pt>
                <c:pt idx="573">
                  <c:v>1.5916666666666666</c:v>
                </c:pt>
                <c:pt idx="574">
                  <c:v>1.5944444444444446</c:v>
                </c:pt>
                <c:pt idx="575">
                  <c:v>1.5972222222222223</c:v>
                </c:pt>
                <c:pt idx="576">
                  <c:v>1.6</c:v>
                </c:pt>
                <c:pt idx="577">
                  <c:v>1.6027777777777779</c:v>
                </c:pt>
                <c:pt idx="578">
                  <c:v>1.6055555555555556</c:v>
                </c:pt>
                <c:pt idx="579">
                  <c:v>1.6083333333333334</c:v>
                </c:pt>
                <c:pt idx="580">
                  <c:v>1.6111111111111112</c:v>
                </c:pt>
                <c:pt idx="581">
                  <c:v>1.6138888888888889</c:v>
                </c:pt>
                <c:pt idx="582">
                  <c:v>1.6166666666666667</c:v>
                </c:pt>
                <c:pt idx="583">
                  <c:v>1.6194444444444445</c:v>
                </c:pt>
                <c:pt idx="584">
                  <c:v>1.6222222222222222</c:v>
                </c:pt>
                <c:pt idx="585">
                  <c:v>1.625</c:v>
                </c:pt>
                <c:pt idx="586">
                  <c:v>1.6277777777777778</c:v>
                </c:pt>
                <c:pt idx="587">
                  <c:v>1.6305555555555555</c:v>
                </c:pt>
                <c:pt idx="588">
                  <c:v>1.6333333333333333</c:v>
                </c:pt>
                <c:pt idx="589">
                  <c:v>1.6361111111111111</c:v>
                </c:pt>
                <c:pt idx="590">
                  <c:v>1.6388888888888888</c:v>
                </c:pt>
                <c:pt idx="591">
                  <c:v>1.6416666666666666</c:v>
                </c:pt>
                <c:pt idx="592">
                  <c:v>1.6444444444444444</c:v>
                </c:pt>
                <c:pt idx="593">
                  <c:v>1.6472222222222221</c:v>
                </c:pt>
                <c:pt idx="594">
                  <c:v>1.65</c:v>
                </c:pt>
                <c:pt idx="595">
                  <c:v>1.6527777777777777</c:v>
                </c:pt>
                <c:pt idx="596">
                  <c:v>1.6555555555555554</c:v>
                </c:pt>
                <c:pt idx="597">
                  <c:v>1.6583333333333334</c:v>
                </c:pt>
                <c:pt idx="598">
                  <c:v>1.6611111111111112</c:v>
                </c:pt>
                <c:pt idx="599">
                  <c:v>1.663888888888889</c:v>
                </c:pt>
                <c:pt idx="600">
                  <c:v>1.6666666666666667</c:v>
                </c:pt>
                <c:pt idx="601">
                  <c:v>1.6694444444444445</c:v>
                </c:pt>
                <c:pt idx="602">
                  <c:v>1.6722222222222223</c:v>
                </c:pt>
                <c:pt idx="603">
                  <c:v>1.675</c:v>
                </c:pt>
                <c:pt idx="604">
                  <c:v>1.6777777777777778</c:v>
                </c:pt>
                <c:pt idx="605">
                  <c:v>1.6805555555555556</c:v>
                </c:pt>
                <c:pt idx="606">
                  <c:v>1.6833333333333333</c:v>
                </c:pt>
                <c:pt idx="607">
                  <c:v>1.6861111111111111</c:v>
                </c:pt>
                <c:pt idx="608">
                  <c:v>1.6888888888888889</c:v>
                </c:pt>
                <c:pt idx="609">
                  <c:v>1.6916666666666667</c:v>
                </c:pt>
                <c:pt idx="610">
                  <c:v>1.6944444444444444</c:v>
                </c:pt>
                <c:pt idx="611">
                  <c:v>1.6972222222222222</c:v>
                </c:pt>
                <c:pt idx="612">
                  <c:v>1.7</c:v>
                </c:pt>
                <c:pt idx="613">
                  <c:v>1.7027777777777777</c:v>
                </c:pt>
                <c:pt idx="614">
                  <c:v>1.7055555555555555</c:v>
                </c:pt>
                <c:pt idx="615">
                  <c:v>1.7083333333333333</c:v>
                </c:pt>
                <c:pt idx="616">
                  <c:v>1.711111111111111</c:v>
                </c:pt>
                <c:pt idx="617">
                  <c:v>1.7138888888888888</c:v>
                </c:pt>
                <c:pt idx="618">
                  <c:v>1.7166666666666666</c:v>
                </c:pt>
                <c:pt idx="619">
                  <c:v>1.7194444444444446</c:v>
                </c:pt>
                <c:pt idx="620">
                  <c:v>1.7222222222222223</c:v>
                </c:pt>
                <c:pt idx="621">
                  <c:v>1.7250000000000001</c:v>
                </c:pt>
                <c:pt idx="622">
                  <c:v>1.7277777777777779</c:v>
                </c:pt>
                <c:pt idx="623">
                  <c:v>1.7305555555555556</c:v>
                </c:pt>
                <c:pt idx="624">
                  <c:v>1.7333333333333334</c:v>
                </c:pt>
                <c:pt idx="625">
                  <c:v>1.7361111111111112</c:v>
                </c:pt>
                <c:pt idx="626">
                  <c:v>1.7388888888888889</c:v>
                </c:pt>
                <c:pt idx="627">
                  <c:v>1.7416666666666667</c:v>
                </c:pt>
                <c:pt idx="628">
                  <c:v>1.7444444444444445</c:v>
                </c:pt>
                <c:pt idx="629">
                  <c:v>1.7472222222222222</c:v>
                </c:pt>
                <c:pt idx="630">
                  <c:v>1.75</c:v>
                </c:pt>
                <c:pt idx="631">
                  <c:v>1.7527777777777778</c:v>
                </c:pt>
                <c:pt idx="632">
                  <c:v>1.7555555555555555</c:v>
                </c:pt>
                <c:pt idx="633">
                  <c:v>1.7583333333333333</c:v>
                </c:pt>
                <c:pt idx="634">
                  <c:v>1.7611111111111111</c:v>
                </c:pt>
                <c:pt idx="635">
                  <c:v>1.7638888888888888</c:v>
                </c:pt>
                <c:pt idx="636">
                  <c:v>1.7666666666666666</c:v>
                </c:pt>
                <c:pt idx="637">
                  <c:v>1.7694444444444444</c:v>
                </c:pt>
                <c:pt idx="638">
                  <c:v>1.7722222222222221</c:v>
                </c:pt>
                <c:pt idx="639">
                  <c:v>1.7749999999999999</c:v>
                </c:pt>
                <c:pt idx="640">
                  <c:v>1.7777777777777777</c:v>
                </c:pt>
                <c:pt idx="641">
                  <c:v>1.7805555555555554</c:v>
                </c:pt>
                <c:pt idx="642">
                  <c:v>1.7833333333333334</c:v>
                </c:pt>
                <c:pt idx="643">
                  <c:v>1.7861111111111112</c:v>
                </c:pt>
                <c:pt idx="644">
                  <c:v>1.788888888888889</c:v>
                </c:pt>
                <c:pt idx="645">
                  <c:v>1.7916666666666667</c:v>
                </c:pt>
                <c:pt idx="646">
                  <c:v>1.7944444444444445</c:v>
                </c:pt>
                <c:pt idx="647">
                  <c:v>1.7972222222222223</c:v>
                </c:pt>
                <c:pt idx="648">
                  <c:v>1.8</c:v>
                </c:pt>
                <c:pt idx="649">
                  <c:v>1.8027777777777778</c:v>
                </c:pt>
                <c:pt idx="650">
                  <c:v>1.8055555555555556</c:v>
                </c:pt>
                <c:pt idx="651">
                  <c:v>1.8083333333333333</c:v>
                </c:pt>
                <c:pt idx="652">
                  <c:v>1.8111111111111111</c:v>
                </c:pt>
                <c:pt idx="653">
                  <c:v>1.8138888888888889</c:v>
                </c:pt>
                <c:pt idx="654">
                  <c:v>1.8166666666666667</c:v>
                </c:pt>
                <c:pt idx="655">
                  <c:v>1.8194444444444444</c:v>
                </c:pt>
                <c:pt idx="656">
                  <c:v>1.8222222222222222</c:v>
                </c:pt>
                <c:pt idx="657">
                  <c:v>1.825</c:v>
                </c:pt>
                <c:pt idx="658">
                  <c:v>1.8277777777777777</c:v>
                </c:pt>
                <c:pt idx="659">
                  <c:v>1.8305555555555555</c:v>
                </c:pt>
                <c:pt idx="660">
                  <c:v>1.8333333333333333</c:v>
                </c:pt>
                <c:pt idx="661">
                  <c:v>1.836111111111111</c:v>
                </c:pt>
                <c:pt idx="662">
                  <c:v>1.8388888888888888</c:v>
                </c:pt>
                <c:pt idx="663">
                  <c:v>1.8416666666666666</c:v>
                </c:pt>
                <c:pt idx="664">
                  <c:v>1.8444444444444446</c:v>
                </c:pt>
                <c:pt idx="665">
                  <c:v>1.8472222222222223</c:v>
                </c:pt>
                <c:pt idx="666">
                  <c:v>1.85</c:v>
                </c:pt>
                <c:pt idx="667">
                  <c:v>1.8527777777777779</c:v>
                </c:pt>
                <c:pt idx="668">
                  <c:v>1.8555555555555556</c:v>
                </c:pt>
                <c:pt idx="669">
                  <c:v>1.8583333333333334</c:v>
                </c:pt>
                <c:pt idx="670">
                  <c:v>1.8611111111111112</c:v>
                </c:pt>
                <c:pt idx="671">
                  <c:v>1.8638888888888889</c:v>
                </c:pt>
                <c:pt idx="672">
                  <c:v>1.8666666666666667</c:v>
                </c:pt>
                <c:pt idx="673">
                  <c:v>1.8694444444444445</c:v>
                </c:pt>
                <c:pt idx="674">
                  <c:v>1.8722222222222222</c:v>
                </c:pt>
                <c:pt idx="675">
                  <c:v>1.875</c:v>
                </c:pt>
                <c:pt idx="676">
                  <c:v>1.8777777777777778</c:v>
                </c:pt>
                <c:pt idx="677">
                  <c:v>1.8805555555555555</c:v>
                </c:pt>
                <c:pt idx="678">
                  <c:v>1.8833333333333333</c:v>
                </c:pt>
                <c:pt idx="679">
                  <c:v>1.8861111111111111</c:v>
                </c:pt>
                <c:pt idx="680">
                  <c:v>1.8888888888888888</c:v>
                </c:pt>
                <c:pt idx="681">
                  <c:v>1.8916666666666666</c:v>
                </c:pt>
                <c:pt idx="682">
                  <c:v>1.8944444444444444</c:v>
                </c:pt>
                <c:pt idx="683">
                  <c:v>1.8972222222222221</c:v>
                </c:pt>
                <c:pt idx="684">
                  <c:v>1.9</c:v>
                </c:pt>
                <c:pt idx="685">
                  <c:v>1.9027777777777777</c:v>
                </c:pt>
                <c:pt idx="686">
                  <c:v>1.9055555555555554</c:v>
                </c:pt>
                <c:pt idx="687">
                  <c:v>1.9083333333333334</c:v>
                </c:pt>
                <c:pt idx="688">
                  <c:v>1.9111111111111112</c:v>
                </c:pt>
                <c:pt idx="689">
                  <c:v>1.913888888888889</c:v>
                </c:pt>
                <c:pt idx="690">
                  <c:v>1.9166666666666667</c:v>
                </c:pt>
                <c:pt idx="691">
                  <c:v>1.9194444444444445</c:v>
                </c:pt>
                <c:pt idx="692">
                  <c:v>1.9222222222222223</c:v>
                </c:pt>
                <c:pt idx="693">
                  <c:v>1.925</c:v>
                </c:pt>
                <c:pt idx="694">
                  <c:v>1.9277777777777778</c:v>
                </c:pt>
                <c:pt idx="695">
                  <c:v>1.9305555555555556</c:v>
                </c:pt>
                <c:pt idx="696">
                  <c:v>1.9333333333333333</c:v>
                </c:pt>
                <c:pt idx="697">
                  <c:v>1.9361111111111111</c:v>
                </c:pt>
                <c:pt idx="698">
                  <c:v>1.9388888888888889</c:v>
                </c:pt>
                <c:pt idx="699">
                  <c:v>1.9416666666666667</c:v>
                </c:pt>
                <c:pt idx="700">
                  <c:v>1.9444444444444444</c:v>
                </c:pt>
                <c:pt idx="701">
                  <c:v>1.9472222222222222</c:v>
                </c:pt>
                <c:pt idx="702">
                  <c:v>1.95</c:v>
                </c:pt>
                <c:pt idx="703">
                  <c:v>1.9527777777777777</c:v>
                </c:pt>
                <c:pt idx="704">
                  <c:v>1.9555555555555555</c:v>
                </c:pt>
                <c:pt idx="705">
                  <c:v>1.9583333333333333</c:v>
                </c:pt>
                <c:pt idx="706">
                  <c:v>1.961111111111111</c:v>
                </c:pt>
                <c:pt idx="707">
                  <c:v>1.9638888888888888</c:v>
                </c:pt>
                <c:pt idx="708">
                  <c:v>1.9666666666666666</c:v>
                </c:pt>
                <c:pt idx="709">
                  <c:v>1.9694444444444446</c:v>
                </c:pt>
                <c:pt idx="710">
                  <c:v>1.9722222222222223</c:v>
                </c:pt>
                <c:pt idx="711">
                  <c:v>1.9750000000000001</c:v>
                </c:pt>
                <c:pt idx="712">
                  <c:v>1.9777777777777779</c:v>
                </c:pt>
                <c:pt idx="713">
                  <c:v>1.9805555555555556</c:v>
                </c:pt>
                <c:pt idx="714">
                  <c:v>1.9833333333333334</c:v>
                </c:pt>
                <c:pt idx="715">
                  <c:v>1.9861111111111112</c:v>
                </c:pt>
                <c:pt idx="716">
                  <c:v>1.9888888888888889</c:v>
                </c:pt>
                <c:pt idx="717">
                  <c:v>1.9916666666666667</c:v>
                </c:pt>
                <c:pt idx="718">
                  <c:v>1.9944444444444445</c:v>
                </c:pt>
                <c:pt idx="719">
                  <c:v>1.9972222222222222</c:v>
                </c:pt>
                <c:pt idx="720">
                  <c:v>2</c:v>
                </c:pt>
                <c:pt idx="721">
                  <c:v>2.0027777777777778</c:v>
                </c:pt>
                <c:pt idx="722">
                  <c:v>2.0055555555555555</c:v>
                </c:pt>
                <c:pt idx="723">
                  <c:v>2.0083333333333333</c:v>
                </c:pt>
                <c:pt idx="724">
                  <c:v>2.0111111111111111</c:v>
                </c:pt>
                <c:pt idx="725">
                  <c:v>2.0138888888888888</c:v>
                </c:pt>
                <c:pt idx="726">
                  <c:v>2.0166666666666666</c:v>
                </c:pt>
                <c:pt idx="727">
                  <c:v>2.0194444444444444</c:v>
                </c:pt>
                <c:pt idx="728">
                  <c:v>2.0222222222222221</c:v>
                </c:pt>
                <c:pt idx="729">
                  <c:v>2.0249999999999999</c:v>
                </c:pt>
                <c:pt idx="730">
                  <c:v>2.0277777777777777</c:v>
                </c:pt>
                <c:pt idx="731">
                  <c:v>2.0305555555555554</c:v>
                </c:pt>
                <c:pt idx="732">
                  <c:v>2.0333333333333332</c:v>
                </c:pt>
                <c:pt idx="733">
                  <c:v>2.036111111111111</c:v>
                </c:pt>
                <c:pt idx="734">
                  <c:v>2.0388888888888888</c:v>
                </c:pt>
                <c:pt idx="735">
                  <c:v>2.0416666666666665</c:v>
                </c:pt>
                <c:pt idx="736">
                  <c:v>2.0444444444444443</c:v>
                </c:pt>
                <c:pt idx="737">
                  <c:v>2.0472222222222221</c:v>
                </c:pt>
                <c:pt idx="738">
                  <c:v>2.0499999999999998</c:v>
                </c:pt>
                <c:pt idx="739">
                  <c:v>2.0527777777777776</c:v>
                </c:pt>
                <c:pt idx="740">
                  <c:v>2.0555555555555554</c:v>
                </c:pt>
                <c:pt idx="741">
                  <c:v>2.0583333333333331</c:v>
                </c:pt>
                <c:pt idx="742">
                  <c:v>2.0611111111111109</c:v>
                </c:pt>
                <c:pt idx="743">
                  <c:v>2.0638888888888891</c:v>
                </c:pt>
                <c:pt idx="744">
                  <c:v>2.0666666666666669</c:v>
                </c:pt>
                <c:pt idx="745">
                  <c:v>2.0694444444444446</c:v>
                </c:pt>
                <c:pt idx="746">
                  <c:v>2.0722222222222224</c:v>
                </c:pt>
                <c:pt idx="747">
                  <c:v>2.0750000000000002</c:v>
                </c:pt>
                <c:pt idx="748">
                  <c:v>2.0777777777777779</c:v>
                </c:pt>
                <c:pt idx="749">
                  <c:v>2.0805555555555557</c:v>
                </c:pt>
                <c:pt idx="750">
                  <c:v>2.0833333333333335</c:v>
                </c:pt>
                <c:pt idx="751">
                  <c:v>2.0861111111111112</c:v>
                </c:pt>
                <c:pt idx="752">
                  <c:v>2.088888888888889</c:v>
                </c:pt>
                <c:pt idx="753">
                  <c:v>2.0916666666666668</c:v>
                </c:pt>
                <c:pt idx="754">
                  <c:v>2.0944444444444446</c:v>
                </c:pt>
                <c:pt idx="755">
                  <c:v>2.0972222222222223</c:v>
                </c:pt>
                <c:pt idx="756">
                  <c:v>2.1</c:v>
                </c:pt>
                <c:pt idx="757">
                  <c:v>2.1027777777777779</c:v>
                </c:pt>
                <c:pt idx="758">
                  <c:v>2.1055555555555556</c:v>
                </c:pt>
                <c:pt idx="759">
                  <c:v>2.1083333333333334</c:v>
                </c:pt>
                <c:pt idx="760">
                  <c:v>2.1111111111111112</c:v>
                </c:pt>
                <c:pt idx="761">
                  <c:v>2.1138888888888889</c:v>
                </c:pt>
                <c:pt idx="762">
                  <c:v>2.1166666666666667</c:v>
                </c:pt>
                <c:pt idx="763">
                  <c:v>2.1194444444444445</c:v>
                </c:pt>
                <c:pt idx="764">
                  <c:v>2.1222222222222222</c:v>
                </c:pt>
                <c:pt idx="765">
                  <c:v>2.125</c:v>
                </c:pt>
                <c:pt idx="766">
                  <c:v>2.1277777777777778</c:v>
                </c:pt>
                <c:pt idx="767">
                  <c:v>2.1305555555555555</c:v>
                </c:pt>
                <c:pt idx="768">
                  <c:v>2.1333333333333333</c:v>
                </c:pt>
                <c:pt idx="769">
                  <c:v>2.1361111111111111</c:v>
                </c:pt>
                <c:pt idx="770">
                  <c:v>2.1388888888888888</c:v>
                </c:pt>
                <c:pt idx="771">
                  <c:v>2.1416666666666666</c:v>
                </c:pt>
                <c:pt idx="772">
                  <c:v>2.1444444444444444</c:v>
                </c:pt>
                <c:pt idx="773">
                  <c:v>2.1472222222222221</c:v>
                </c:pt>
                <c:pt idx="774">
                  <c:v>2.15</c:v>
                </c:pt>
                <c:pt idx="775">
                  <c:v>2.1527777777777777</c:v>
                </c:pt>
                <c:pt idx="776">
                  <c:v>2.1555555555555554</c:v>
                </c:pt>
                <c:pt idx="777">
                  <c:v>2.1583333333333332</c:v>
                </c:pt>
                <c:pt idx="778">
                  <c:v>2.161111111111111</c:v>
                </c:pt>
                <c:pt idx="779">
                  <c:v>2.1638888888888888</c:v>
                </c:pt>
                <c:pt idx="780">
                  <c:v>2.1666666666666665</c:v>
                </c:pt>
                <c:pt idx="781">
                  <c:v>2.1694444444444443</c:v>
                </c:pt>
                <c:pt idx="782">
                  <c:v>2.1722222222222221</c:v>
                </c:pt>
                <c:pt idx="783">
                  <c:v>2.1749999999999998</c:v>
                </c:pt>
                <c:pt idx="784">
                  <c:v>2.1777777777777776</c:v>
                </c:pt>
                <c:pt idx="785">
                  <c:v>2.1805555555555554</c:v>
                </c:pt>
                <c:pt idx="786">
                  <c:v>2.1833333333333331</c:v>
                </c:pt>
                <c:pt idx="787">
                  <c:v>2.1861111111111109</c:v>
                </c:pt>
                <c:pt idx="788">
                  <c:v>2.1888888888888891</c:v>
                </c:pt>
                <c:pt idx="789">
                  <c:v>2.1916666666666669</c:v>
                </c:pt>
                <c:pt idx="790">
                  <c:v>2.1944444444444446</c:v>
                </c:pt>
                <c:pt idx="791">
                  <c:v>2.1972222222222224</c:v>
                </c:pt>
                <c:pt idx="792">
                  <c:v>2.2000000000000002</c:v>
                </c:pt>
                <c:pt idx="793">
                  <c:v>2.2027777777777779</c:v>
                </c:pt>
                <c:pt idx="794">
                  <c:v>2.2055555555555557</c:v>
                </c:pt>
                <c:pt idx="795">
                  <c:v>2.2083333333333335</c:v>
                </c:pt>
                <c:pt idx="796">
                  <c:v>2.2111111111111112</c:v>
                </c:pt>
                <c:pt idx="797">
                  <c:v>2.213888888888889</c:v>
                </c:pt>
                <c:pt idx="798">
                  <c:v>2.2166666666666668</c:v>
                </c:pt>
                <c:pt idx="799">
                  <c:v>2.2194444444444446</c:v>
                </c:pt>
                <c:pt idx="800">
                  <c:v>2.2222222222222223</c:v>
                </c:pt>
                <c:pt idx="801">
                  <c:v>2.2250000000000001</c:v>
                </c:pt>
                <c:pt idx="802">
                  <c:v>2.2277777777777779</c:v>
                </c:pt>
                <c:pt idx="803">
                  <c:v>2.2305555555555556</c:v>
                </c:pt>
                <c:pt idx="804">
                  <c:v>2.2333333333333334</c:v>
                </c:pt>
                <c:pt idx="805">
                  <c:v>2.2361111111111112</c:v>
                </c:pt>
                <c:pt idx="806">
                  <c:v>2.2388888888888889</c:v>
                </c:pt>
                <c:pt idx="807">
                  <c:v>2.2416666666666667</c:v>
                </c:pt>
                <c:pt idx="808">
                  <c:v>2.2444444444444445</c:v>
                </c:pt>
                <c:pt idx="809">
                  <c:v>2.2472222222222222</c:v>
                </c:pt>
                <c:pt idx="810">
                  <c:v>2.25</c:v>
                </c:pt>
                <c:pt idx="811">
                  <c:v>2.2527777777777778</c:v>
                </c:pt>
                <c:pt idx="812">
                  <c:v>2.2555555555555555</c:v>
                </c:pt>
                <c:pt idx="813">
                  <c:v>2.2583333333333333</c:v>
                </c:pt>
                <c:pt idx="814">
                  <c:v>2.2611111111111111</c:v>
                </c:pt>
                <c:pt idx="815">
                  <c:v>2.2638888888888888</c:v>
                </c:pt>
                <c:pt idx="816">
                  <c:v>2.2666666666666666</c:v>
                </c:pt>
                <c:pt idx="817">
                  <c:v>2.2694444444444444</c:v>
                </c:pt>
                <c:pt idx="818">
                  <c:v>2.2722222222222221</c:v>
                </c:pt>
                <c:pt idx="819">
                  <c:v>2.2749999999999999</c:v>
                </c:pt>
                <c:pt idx="820">
                  <c:v>2.2777777777777777</c:v>
                </c:pt>
                <c:pt idx="821">
                  <c:v>2.2805555555555554</c:v>
                </c:pt>
                <c:pt idx="822">
                  <c:v>2.2833333333333332</c:v>
                </c:pt>
                <c:pt idx="823">
                  <c:v>2.286111111111111</c:v>
                </c:pt>
                <c:pt idx="824">
                  <c:v>2.2888888888888888</c:v>
                </c:pt>
                <c:pt idx="825">
                  <c:v>2.2916666666666665</c:v>
                </c:pt>
                <c:pt idx="826">
                  <c:v>2.2944444444444443</c:v>
                </c:pt>
                <c:pt idx="827">
                  <c:v>2.2972222222222221</c:v>
                </c:pt>
                <c:pt idx="828">
                  <c:v>2.2999999999999998</c:v>
                </c:pt>
                <c:pt idx="829">
                  <c:v>2.3027777777777776</c:v>
                </c:pt>
                <c:pt idx="830">
                  <c:v>2.3055555555555554</c:v>
                </c:pt>
                <c:pt idx="831">
                  <c:v>2.3083333333333331</c:v>
                </c:pt>
                <c:pt idx="832">
                  <c:v>2.3111111111111109</c:v>
                </c:pt>
                <c:pt idx="833">
                  <c:v>2.3138888888888891</c:v>
                </c:pt>
                <c:pt idx="834">
                  <c:v>2.3166666666666669</c:v>
                </c:pt>
                <c:pt idx="835">
                  <c:v>2.3194444444444446</c:v>
                </c:pt>
                <c:pt idx="836">
                  <c:v>2.3222222222222224</c:v>
                </c:pt>
                <c:pt idx="837">
                  <c:v>2.3250000000000002</c:v>
                </c:pt>
                <c:pt idx="838">
                  <c:v>2.3277777777777779</c:v>
                </c:pt>
                <c:pt idx="839">
                  <c:v>2.3305555555555557</c:v>
                </c:pt>
                <c:pt idx="840">
                  <c:v>2.3333333333333335</c:v>
                </c:pt>
                <c:pt idx="841">
                  <c:v>2.3361111111111112</c:v>
                </c:pt>
                <c:pt idx="842">
                  <c:v>2.338888888888889</c:v>
                </c:pt>
                <c:pt idx="843">
                  <c:v>2.3416666666666668</c:v>
                </c:pt>
                <c:pt idx="844">
                  <c:v>2.3444444444444446</c:v>
                </c:pt>
                <c:pt idx="845">
                  <c:v>2.3472222222222223</c:v>
                </c:pt>
                <c:pt idx="846">
                  <c:v>2.35</c:v>
                </c:pt>
                <c:pt idx="847">
                  <c:v>2.3527777777777779</c:v>
                </c:pt>
                <c:pt idx="848">
                  <c:v>2.3555555555555556</c:v>
                </c:pt>
                <c:pt idx="849">
                  <c:v>2.3583333333333334</c:v>
                </c:pt>
                <c:pt idx="850">
                  <c:v>2.3611111111111112</c:v>
                </c:pt>
                <c:pt idx="851">
                  <c:v>2.3638888888888889</c:v>
                </c:pt>
                <c:pt idx="852">
                  <c:v>2.3666666666666667</c:v>
                </c:pt>
                <c:pt idx="853">
                  <c:v>2.3694444444444445</c:v>
                </c:pt>
                <c:pt idx="854">
                  <c:v>2.3722222222222222</c:v>
                </c:pt>
                <c:pt idx="855">
                  <c:v>2.375</c:v>
                </c:pt>
                <c:pt idx="856">
                  <c:v>2.3777777777777778</c:v>
                </c:pt>
                <c:pt idx="857">
                  <c:v>2.3805555555555555</c:v>
                </c:pt>
                <c:pt idx="858">
                  <c:v>2.3833333333333333</c:v>
                </c:pt>
                <c:pt idx="859">
                  <c:v>2.3861111111111111</c:v>
                </c:pt>
                <c:pt idx="860">
                  <c:v>2.3888888888888888</c:v>
                </c:pt>
                <c:pt idx="861">
                  <c:v>2.3916666666666666</c:v>
                </c:pt>
                <c:pt idx="862">
                  <c:v>2.3944444444444444</c:v>
                </c:pt>
                <c:pt idx="863">
                  <c:v>2.3972222222222221</c:v>
                </c:pt>
                <c:pt idx="864">
                  <c:v>2.4</c:v>
                </c:pt>
                <c:pt idx="865">
                  <c:v>2.4027777777777777</c:v>
                </c:pt>
                <c:pt idx="866">
                  <c:v>2.4055555555555554</c:v>
                </c:pt>
                <c:pt idx="867">
                  <c:v>2.4083333333333332</c:v>
                </c:pt>
                <c:pt idx="868">
                  <c:v>2.411111111111111</c:v>
                </c:pt>
                <c:pt idx="869">
                  <c:v>2.4138888888888888</c:v>
                </c:pt>
                <c:pt idx="870">
                  <c:v>2.4166666666666665</c:v>
                </c:pt>
                <c:pt idx="871">
                  <c:v>2.4194444444444443</c:v>
                </c:pt>
                <c:pt idx="872">
                  <c:v>2.4222222222222221</c:v>
                </c:pt>
                <c:pt idx="873">
                  <c:v>2.4249999999999998</c:v>
                </c:pt>
                <c:pt idx="874">
                  <c:v>2.4277777777777776</c:v>
                </c:pt>
                <c:pt idx="875">
                  <c:v>2.4305555555555554</c:v>
                </c:pt>
                <c:pt idx="876">
                  <c:v>2.4333333333333331</c:v>
                </c:pt>
                <c:pt idx="877">
                  <c:v>2.4361111111111109</c:v>
                </c:pt>
                <c:pt idx="878">
                  <c:v>2.4388888888888891</c:v>
                </c:pt>
                <c:pt idx="879">
                  <c:v>2.4416666666666669</c:v>
                </c:pt>
                <c:pt idx="880">
                  <c:v>2.4444444444444446</c:v>
                </c:pt>
                <c:pt idx="881">
                  <c:v>2.4472222222222224</c:v>
                </c:pt>
                <c:pt idx="882">
                  <c:v>2.4500000000000002</c:v>
                </c:pt>
                <c:pt idx="883">
                  <c:v>2.4527777777777779</c:v>
                </c:pt>
                <c:pt idx="884">
                  <c:v>2.4555555555555557</c:v>
                </c:pt>
                <c:pt idx="885">
                  <c:v>2.4583333333333335</c:v>
                </c:pt>
                <c:pt idx="886">
                  <c:v>2.4611111111111112</c:v>
                </c:pt>
                <c:pt idx="887">
                  <c:v>2.463888888888889</c:v>
                </c:pt>
                <c:pt idx="888">
                  <c:v>2.4666666666666668</c:v>
                </c:pt>
                <c:pt idx="889">
                  <c:v>2.4694444444444446</c:v>
                </c:pt>
                <c:pt idx="890">
                  <c:v>2.4722222222222223</c:v>
                </c:pt>
                <c:pt idx="891">
                  <c:v>2.4750000000000001</c:v>
                </c:pt>
                <c:pt idx="892">
                  <c:v>2.4777777777777779</c:v>
                </c:pt>
                <c:pt idx="893">
                  <c:v>2.4805555555555556</c:v>
                </c:pt>
                <c:pt idx="894">
                  <c:v>2.4833333333333334</c:v>
                </c:pt>
                <c:pt idx="895">
                  <c:v>2.4861111111111112</c:v>
                </c:pt>
                <c:pt idx="896">
                  <c:v>2.4888888888888889</c:v>
                </c:pt>
                <c:pt idx="897">
                  <c:v>2.4916666666666667</c:v>
                </c:pt>
                <c:pt idx="898">
                  <c:v>2.4944444444444445</c:v>
                </c:pt>
                <c:pt idx="899">
                  <c:v>2.4972222222222222</c:v>
                </c:pt>
                <c:pt idx="900">
                  <c:v>2.5</c:v>
                </c:pt>
                <c:pt idx="901">
                  <c:v>2.5027777777777778</c:v>
                </c:pt>
                <c:pt idx="902">
                  <c:v>2.5055555555555555</c:v>
                </c:pt>
                <c:pt idx="903">
                  <c:v>2.5083333333333333</c:v>
                </c:pt>
                <c:pt idx="904">
                  <c:v>2.5111111111111111</c:v>
                </c:pt>
                <c:pt idx="905">
                  <c:v>2.5138888888888888</c:v>
                </c:pt>
                <c:pt idx="906">
                  <c:v>2.5166666666666666</c:v>
                </c:pt>
                <c:pt idx="907">
                  <c:v>2.5194444444444444</c:v>
                </c:pt>
                <c:pt idx="908">
                  <c:v>2.5222222222222221</c:v>
                </c:pt>
                <c:pt idx="909">
                  <c:v>2.5249999999999999</c:v>
                </c:pt>
                <c:pt idx="910">
                  <c:v>2.5277777777777777</c:v>
                </c:pt>
                <c:pt idx="911">
                  <c:v>2.5305555555555554</c:v>
                </c:pt>
                <c:pt idx="912">
                  <c:v>2.5333333333333332</c:v>
                </c:pt>
                <c:pt idx="913">
                  <c:v>2.536111111111111</c:v>
                </c:pt>
                <c:pt idx="914">
                  <c:v>2.5388888888888888</c:v>
                </c:pt>
                <c:pt idx="915">
                  <c:v>2.5416666666666665</c:v>
                </c:pt>
                <c:pt idx="916">
                  <c:v>2.5444444444444443</c:v>
                </c:pt>
                <c:pt idx="917">
                  <c:v>2.5472222222222221</c:v>
                </c:pt>
                <c:pt idx="918">
                  <c:v>2.5499999999999998</c:v>
                </c:pt>
                <c:pt idx="919">
                  <c:v>2.5527777777777776</c:v>
                </c:pt>
                <c:pt idx="920">
                  <c:v>2.5555555555555554</c:v>
                </c:pt>
                <c:pt idx="921">
                  <c:v>2.5583333333333331</c:v>
                </c:pt>
                <c:pt idx="922">
                  <c:v>2.5611111111111109</c:v>
                </c:pt>
                <c:pt idx="923">
                  <c:v>2.5638888888888891</c:v>
                </c:pt>
                <c:pt idx="924">
                  <c:v>2.5666666666666669</c:v>
                </c:pt>
                <c:pt idx="925">
                  <c:v>2.5694444444444446</c:v>
                </c:pt>
                <c:pt idx="926">
                  <c:v>2.5722222222222224</c:v>
                </c:pt>
                <c:pt idx="927">
                  <c:v>2.5750000000000002</c:v>
                </c:pt>
                <c:pt idx="928">
                  <c:v>2.5777777777777779</c:v>
                </c:pt>
                <c:pt idx="929">
                  <c:v>2.5805555555555557</c:v>
                </c:pt>
                <c:pt idx="930">
                  <c:v>2.5833333333333335</c:v>
                </c:pt>
                <c:pt idx="931">
                  <c:v>2.5861111111111112</c:v>
                </c:pt>
                <c:pt idx="932">
                  <c:v>2.588888888888889</c:v>
                </c:pt>
                <c:pt idx="933">
                  <c:v>2.5916666666666668</c:v>
                </c:pt>
                <c:pt idx="934">
                  <c:v>2.5944444444444446</c:v>
                </c:pt>
                <c:pt idx="935">
                  <c:v>2.5972222222222223</c:v>
                </c:pt>
                <c:pt idx="936">
                  <c:v>2.6</c:v>
                </c:pt>
                <c:pt idx="937">
                  <c:v>2.6027777777777779</c:v>
                </c:pt>
                <c:pt idx="938">
                  <c:v>2.6055555555555556</c:v>
                </c:pt>
                <c:pt idx="939">
                  <c:v>2.6083333333333334</c:v>
                </c:pt>
                <c:pt idx="940">
                  <c:v>2.6111111111111112</c:v>
                </c:pt>
                <c:pt idx="941">
                  <c:v>2.6138888888888889</c:v>
                </c:pt>
                <c:pt idx="942">
                  <c:v>2.6166666666666667</c:v>
                </c:pt>
                <c:pt idx="943">
                  <c:v>2.6194444444444445</c:v>
                </c:pt>
                <c:pt idx="944">
                  <c:v>2.6222222222222222</c:v>
                </c:pt>
                <c:pt idx="945">
                  <c:v>2.625</c:v>
                </c:pt>
                <c:pt idx="946">
                  <c:v>2.6277777777777778</c:v>
                </c:pt>
                <c:pt idx="947">
                  <c:v>2.6305555555555555</c:v>
                </c:pt>
                <c:pt idx="948">
                  <c:v>2.6333333333333333</c:v>
                </c:pt>
                <c:pt idx="949">
                  <c:v>2.6361111111111111</c:v>
                </c:pt>
                <c:pt idx="950">
                  <c:v>2.6388888888888888</c:v>
                </c:pt>
                <c:pt idx="951">
                  <c:v>2.6416666666666666</c:v>
                </c:pt>
                <c:pt idx="952">
                  <c:v>2.6444444444444444</c:v>
                </c:pt>
                <c:pt idx="953">
                  <c:v>2.6472222222222221</c:v>
                </c:pt>
                <c:pt idx="954">
                  <c:v>2.65</c:v>
                </c:pt>
                <c:pt idx="955">
                  <c:v>2.6527777777777777</c:v>
                </c:pt>
                <c:pt idx="956">
                  <c:v>2.6555555555555554</c:v>
                </c:pt>
                <c:pt idx="957">
                  <c:v>2.6583333333333332</c:v>
                </c:pt>
                <c:pt idx="958">
                  <c:v>2.661111111111111</c:v>
                </c:pt>
                <c:pt idx="959">
                  <c:v>2.6638888888888888</c:v>
                </c:pt>
                <c:pt idx="960">
                  <c:v>2.6666666666666665</c:v>
                </c:pt>
                <c:pt idx="961">
                  <c:v>2.6694444444444443</c:v>
                </c:pt>
                <c:pt idx="962">
                  <c:v>2.6722222222222221</c:v>
                </c:pt>
                <c:pt idx="963">
                  <c:v>2.6749999999999998</c:v>
                </c:pt>
                <c:pt idx="964">
                  <c:v>2.6777777777777776</c:v>
                </c:pt>
                <c:pt idx="965">
                  <c:v>2.6805555555555554</c:v>
                </c:pt>
                <c:pt idx="966">
                  <c:v>2.6833333333333331</c:v>
                </c:pt>
                <c:pt idx="967">
                  <c:v>2.6861111111111109</c:v>
                </c:pt>
                <c:pt idx="968">
                  <c:v>2.6888888888888891</c:v>
                </c:pt>
                <c:pt idx="969">
                  <c:v>2.6916666666666669</c:v>
                </c:pt>
                <c:pt idx="970">
                  <c:v>2.6944444444444446</c:v>
                </c:pt>
                <c:pt idx="971">
                  <c:v>2.6972222222222224</c:v>
                </c:pt>
                <c:pt idx="972">
                  <c:v>2.7</c:v>
                </c:pt>
                <c:pt idx="973">
                  <c:v>2.7027777777777779</c:v>
                </c:pt>
                <c:pt idx="974">
                  <c:v>2.7055555555555557</c:v>
                </c:pt>
                <c:pt idx="975">
                  <c:v>2.7083333333333335</c:v>
                </c:pt>
                <c:pt idx="976">
                  <c:v>2.7111111111111112</c:v>
                </c:pt>
                <c:pt idx="977">
                  <c:v>2.713888888888889</c:v>
                </c:pt>
                <c:pt idx="978">
                  <c:v>2.7166666666666668</c:v>
                </c:pt>
                <c:pt idx="979">
                  <c:v>2.7194444444444446</c:v>
                </c:pt>
                <c:pt idx="980">
                  <c:v>2.7222222222222223</c:v>
                </c:pt>
                <c:pt idx="981">
                  <c:v>2.7250000000000001</c:v>
                </c:pt>
                <c:pt idx="982">
                  <c:v>2.7277777777777779</c:v>
                </c:pt>
                <c:pt idx="983">
                  <c:v>2.7305555555555556</c:v>
                </c:pt>
                <c:pt idx="984">
                  <c:v>2.7333333333333334</c:v>
                </c:pt>
                <c:pt idx="985">
                  <c:v>2.7361111111111112</c:v>
                </c:pt>
                <c:pt idx="986">
                  <c:v>2.7388888888888889</c:v>
                </c:pt>
                <c:pt idx="987">
                  <c:v>2.7416666666666667</c:v>
                </c:pt>
                <c:pt idx="988">
                  <c:v>2.7444444444444445</c:v>
                </c:pt>
                <c:pt idx="989">
                  <c:v>2.7472222222222222</c:v>
                </c:pt>
                <c:pt idx="990">
                  <c:v>2.75</c:v>
                </c:pt>
                <c:pt idx="991">
                  <c:v>2.7527777777777778</c:v>
                </c:pt>
                <c:pt idx="992">
                  <c:v>2.7555555555555555</c:v>
                </c:pt>
                <c:pt idx="993">
                  <c:v>2.7583333333333333</c:v>
                </c:pt>
                <c:pt idx="994">
                  <c:v>2.7611111111111111</c:v>
                </c:pt>
                <c:pt idx="995">
                  <c:v>2.7638888888888888</c:v>
                </c:pt>
                <c:pt idx="996">
                  <c:v>2.7666666666666666</c:v>
                </c:pt>
                <c:pt idx="997">
                  <c:v>2.7694444444444444</c:v>
                </c:pt>
                <c:pt idx="998">
                  <c:v>2.7722222222222221</c:v>
                </c:pt>
                <c:pt idx="999">
                  <c:v>2.7749999999999999</c:v>
                </c:pt>
                <c:pt idx="1000">
                  <c:v>2.7777777777777777</c:v>
                </c:pt>
                <c:pt idx="1001">
                  <c:v>2.7805555555555554</c:v>
                </c:pt>
                <c:pt idx="1002">
                  <c:v>2.7833333333333332</c:v>
                </c:pt>
                <c:pt idx="1003">
                  <c:v>2.786111111111111</c:v>
                </c:pt>
                <c:pt idx="1004">
                  <c:v>2.7888888888888888</c:v>
                </c:pt>
                <c:pt idx="1005">
                  <c:v>2.7916666666666665</c:v>
                </c:pt>
                <c:pt idx="1006">
                  <c:v>2.7944444444444443</c:v>
                </c:pt>
                <c:pt idx="1007">
                  <c:v>2.7972222222222221</c:v>
                </c:pt>
                <c:pt idx="1008">
                  <c:v>2.8</c:v>
                </c:pt>
                <c:pt idx="1009">
                  <c:v>2.8027777777777776</c:v>
                </c:pt>
                <c:pt idx="1010">
                  <c:v>2.8055555555555554</c:v>
                </c:pt>
                <c:pt idx="1011">
                  <c:v>2.8083333333333331</c:v>
                </c:pt>
                <c:pt idx="1012">
                  <c:v>2.8111111111111109</c:v>
                </c:pt>
                <c:pt idx="1013">
                  <c:v>2.8138888888888891</c:v>
                </c:pt>
                <c:pt idx="1014">
                  <c:v>2.8166666666666669</c:v>
                </c:pt>
                <c:pt idx="1015">
                  <c:v>2.8194444444444446</c:v>
                </c:pt>
                <c:pt idx="1016">
                  <c:v>2.8222222222222224</c:v>
                </c:pt>
                <c:pt idx="1017">
                  <c:v>2.8250000000000002</c:v>
                </c:pt>
                <c:pt idx="1018">
                  <c:v>2.8277777777777779</c:v>
                </c:pt>
                <c:pt idx="1019">
                  <c:v>2.8305555555555557</c:v>
                </c:pt>
                <c:pt idx="1020">
                  <c:v>2.8333333333333335</c:v>
                </c:pt>
                <c:pt idx="1021">
                  <c:v>2.8361111111111112</c:v>
                </c:pt>
                <c:pt idx="1022">
                  <c:v>2.838888888888889</c:v>
                </c:pt>
                <c:pt idx="1023">
                  <c:v>2.8416666666666668</c:v>
                </c:pt>
                <c:pt idx="1024">
                  <c:v>2.8444444444444446</c:v>
                </c:pt>
                <c:pt idx="1025">
                  <c:v>2.8472222222222223</c:v>
                </c:pt>
                <c:pt idx="1026">
                  <c:v>2.85</c:v>
                </c:pt>
                <c:pt idx="1027">
                  <c:v>2.8527777777777779</c:v>
                </c:pt>
                <c:pt idx="1028">
                  <c:v>2.8555555555555556</c:v>
                </c:pt>
                <c:pt idx="1029">
                  <c:v>2.8583333333333334</c:v>
                </c:pt>
                <c:pt idx="1030">
                  <c:v>2.8611111111111112</c:v>
                </c:pt>
                <c:pt idx="1031">
                  <c:v>2.8638888888888889</c:v>
                </c:pt>
                <c:pt idx="1032">
                  <c:v>2.8666666666666667</c:v>
                </c:pt>
                <c:pt idx="1033">
                  <c:v>2.8694444444444445</c:v>
                </c:pt>
                <c:pt idx="1034">
                  <c:v>2.8722222222222222</c:v>
                </c:pt>
                <c:pt idx="1035">
                  <c:v>2.875</c:v>
                </c:pt>
                <c:pt idx="1036">
                  <c:v>2.8777777777777778</c:v>
                </c:pt>
                <c:pt idx="1037">
                  <c:v>2.8805555555555555</c:v>
                </c:pt>
                <c:pt idx="1038">
                  <c:v>2.8833333333333333</c:v>
                </c:pt>
                <c:pt idx="1039">
                  <c:v>2.8861111111111111</c:v>
                </c:pt>
                <c:pt idx="1040">
                  <c:v>2.8888888888888888</c:v>
                </c:pt>
                <c:pt idx="1041">
                  <c:v>2.8916666666666666</c:v>
                </c:pt>
                <c:pt idx="1042">
                  <c:v>2.8944444444444444</c:v>
                </c:pt>
                <c:pt idx="1043">
                  <c:v>2.8972222222222221</c:v>
                </c:pt>
                <c:pt idx="1044">
                  <c:v>2.9</c:v>
                </c:pt>
                <c:pt idx="1045">
                  <c:v>2.9027777777777777</c:v>
                </c:pt>
                <c:pt idx="1046">
                  <c:v>2.9055555555555554</c:v>
                </c:pt>
                <c:pt idx="1047">
                  <c:v>2.9083333333333332</c:v>
                </c:pt>
                <c:pt idx="1048">
                  <c:v>2.911111111111111</c:v>
                </c:pt>
                <c:pt idx="1049">
                  <c:v>2.9138888888888888</c:v>
                </c:pt>
                <c:pt idx="1050">
                  <c:v>2.9166666666666665</c:v>
                </c:pt>
                <c:pt idx="1051">
                  <c:v>2.9194444444444443</c:v>
                </c:pt>
                <c:pt idx="1052">
                  <c:v>2.9222222222222221</c:v>
                </c:pt>
                <c:pt idx="1053">
                  <c:v>2.9249999999999998</c:v>
                </c:pt>
                <c:pt idx="1054">
                  <c:v>2.9277777777777776</c:v>
                </c:pt>
                <c:pt idx="1055">
                  <c:v>2.9305555555555554</c:v>
                </c:pt>
                <c:pt idx="1056">
                  <c:v>2.9333333333333331</c:v>
                </c:pt>
                <c:pt idx="1057">
                  <c:v>2.9361111111111109</c:v>
                </c:pt>
                <c:pt idx="1058">
                  <c:v>2.9388888888888891</c:v>
                </c:pt>
                <c:pt idx="1059">
                  <c:v>2.9416666666666669</c:v>
                </c:pt>
                <c:pt idx="1060">
                  <c:v>2.9444444444444446</c:v>
                </c:pt>
                <c:pt idx="1061">
                  <c:v>2.9472222222222224</c:v>
                </c:pt>
                <c:pt idx="1062">
                  <c:v>2.95</c:v>
                </c:pt>
                <c:pt idx="1063">
                  <c:v>2.9527777777777779</c:v>
                </c:pt>
                <c:pt idx="1064">
                  <c:v>2.9555555555555557</c:v>
                </c:pt>
                <c:pt idx="1065">
                  <c:v>2.9583333333333335</c:v>
                </c:pt>
                <c:pt idx="1066">
                  <c:v>2.9611111111111112</c:v>
                </c:pt>
                <c:pt idx="1067">
                  <c:v>2.963888888888889</c:v>
                </c:pt>
                <c:pt idx="1068">
                  <c:v>2.9666666666666668</c:v>
                </c:pt>
                <c:pt idx="1069">
                  <c:v>2.9694444444444446</c:v>
                </c:pt>
                <c:pt idx="1070">
                  <c:v>2.9722222222222223</c:v>
                </c:pt>
                <c:pt idx="1071">
                  <c:v>2.9750000000000001</c:v>
                </c:pt>
                <c:pt idx="1072">
                  <c:v>2.9777777777777779</c:v>
                </c:pt>
                <c:pt idx="1073">
                  <c:v>2.9805555555555556</c:v>
                </c:pt>
                <c:pt idx="1074">
                  <c:v>2.9833333333333334</c:v>
                </c:pt>
                <c:pt idx="1075">
                  <c:v>2.9861111111111112</c:v>
                </c:pt>
                <c:pt idx="1076">
                  <c:v>2.9888888888888889</c:v>
                </c:pt>
                <c:pt idx="1077">
                  <c:v>2.9916666666666667</c:v>
                </c:pt>
                <c:pt idx="1078">
                  <c:v>2.9944444444444445</c:v>
                </c:pt>
                <c:pt idx="1079">
                  <c:v>2.9972222222222222</c:v>
                </c:pt>
                <c:pt idx="1080">
                  <c:v>3</c:v>
                </c:pt>
                <c:pt idx="1081">
                  <c:v>3.0027777777777778</c:v>
                </c:pt>
                <c:pt idx="1082">
                  <c:v>3.0055555555555555</c:v>
                </c:pt>
                <c:pt idx="1083">
                  <c:v>3.0083333333333333</c:v>
                </c:pt>
                <c:pt idx="1084">
                  <c:v>3.0111111111111111</c:v>
                </c:pt>
                <c:pt idx="1085">
                  <c:v>3.0138888888888888</c:v>
                </c:pt>
                <c:pt idx="1086">
                  <c:v>3.0166666666666666</c:v>
                </c:pt>
                <c:pt idx="1087">
                  <c:v>3.0194444444444444</c:v>
                </c:pt>
                <c:pt idx="1088">
                  <c:v>3.0222222222222221</c:v>
                </c:pt>
                <c:pt idx="1089">
                  <c:v>3.0249999999999999</c:v>
                </c:pt>
                <c:pt idx="1090">
                  <c:v>3.0277777777777777</c:v>
                </c:pt>
                <c:pt idx="1091">
                  <c:v>3.0305555555555554</c:v>
                </c:pt>
                <c:pt idx="1092">
                  <c:v>3.0333333333333332</c:v>
                </c:pt>
                <c:pt idx="1093">
                  <c:v>3.036111111111111</c:v>
                </c:pt>
                <c:pt idx="1094">
                  <c:v>3.0388888888888888</c:v>
                </c:pt>
                <c:pt idx="1095">
                  <c:v>3.0416666666666665</c:v>
                </c:pt>
                <c:pt idx="1096">
                  <c:v>3.0444444444444443</c:v>
                </c:pt>
                <c:pt idx="1097">
                  <c:v>3.0472222222222221</c:v>
                </c:pt>
                <c:pt idx="1098">
                  <c:v>3.05</c:v>
                </c:pt>
                <c:pt idx="1099">
                  <c:v>3.0527777777777776</c:v>
                </c:pt>
                <c:pt idx="1100">
                  <c:v>3.0555555555555554</c:v>
                </c:pt>
                <c:pt idx="1101">
                  <c:v>3.0583333333333331</c:v>
                </c:pt>
                <c:pt idx="1102">
                  <c:v>3.0611111111111109</c:v>
                </c:pt>
                <c:pt idx="1103">
                  <c:v>3.0638888888888891</c:v>
                </c:pt>
                <c:pt idx="1104">
                  <c:v>3.0666666666666669</c:v>
                </c:pt>
                <c:pt idx="1105">
                  <c:v>3.0694444444444446</c:v>
                </c:pt>
                <c:pt idx="1106">
                  <c:v>3.0722222222222224</c:v>
                </c:pt>
                <c:pt idx="1107">
                  <c:v>3.0750000000000002</c:v>
                </c:pt>
                <c:pt idx="1108">
                  <c:v>3.0777777777777779</c:v>
                </c:pt>
                <c:pt idx="1109">
                  <c:v>3.0805555555555557</c:v>
                </c:pt>
                <c:pt idx="1110">
                  <c:v>3.0833333333333335</c:v>
                </c:pt>
                <c:pt idx="1111">
                  <c:v>3.0861111111111112</c:v>
                </c:pt>
                <c:pt idx="1112">
                  <c:v>3.088888888888889</c:v>
                </c:pt>
                <c:pt idx="1113">
                  <c:v>3.0916666666666668</c:v>
                </c:pt>
                <c:pt idx="1114">
                  <c:v>3.0944444444444446</c:v>
                </c:pt>
                <c:pt idx="1115">
                  <c:v>3.0972222222222223</c:v>
                </c:pt>
                <c:pt idx="1116">
                  <c:v>3.1</c:v>
                </c:pt>
                <c:pt idx="1117">
                  <c:v>3.1027777777777779</c:v>
                </c:pt>
                <c:pt idx="1118">
                  <c:v>3.1055555555555556</c:v>
                </c:pt>
                <c:pt idx="1119">
                  <c:v>3.1083333333333334</c:v>
                </c:pt>
                <c:pt idx="1120">
                  <c:v>3.1111111111111112</c:v>
                </c:pt>
                <c:pt idx="1121">
                  <c:v>3.1138888888888889</c:v>
                </c:pt>
                <c:pt idx="1122">
                  <c:v>3.1166666666666667</c:v>
                </c:pt>
                <c:pt idx="1123">
                  <c:v>3.1194444444444445</c:v>
                </c:pt>
                <c:pt idx="1124">
                  <c:v>3.1222222222222222</c:v>
                </c:pt>
                <c:pt idx="1125">
                  <c:v>3.125</c:v>
                </c:pt>
                <c:pt idx="1126">
                  <c:v>3.1277777777777778</c:v>
                </c:pt>
                <c:pt idx="1127">
                  <c:v>3.1305555555555555</c:v>
                </c:pt>
                <c:pt idx="1128">
                  <c:v>3.1333333333333333</c:v>
                </c:pt>
                <c:pt idx="1129">
                  <c:v>3.1361111111111111</c:v>
                </c:pt>
                <c:pt idx="1130">
                  <c:v>3.1388888888888888</c:v>
                </c:pt>
                <c:pt idx="1131">
                  <c:v>3.1416666666666666</c:v>
                </c:pt>
                <c:pt idx="1132">
                  <c:v>3.1444444444444444</c:v>
                </c:pt>
                <c:pt idx="1133">
                  <c:v>3.1472222222222221</c:v>
                </c:pt>
                <c:pt idx="1134">
                  <c:v>3.15</c:v>
                </c:pt>
                <c:pt idx="1135">
                  <c:v>3.1527777777777777</c:v>
                </c:pt>
                <c:pt idx="1136">
                  <c:v>3.1555555555555554</c:v>
                </c:pt>
                <c:pt idx="1137">
                  <c:v>3.1583333333333332</c:v>
                </c:pt>
                <c:pt idx="1138">
                  <c:v>3.161111111111111</c:v>
                </c:pt>
                <c:pt idx="1139">
                  <c:v>3.1638888888888888</c:v>
                </c:pt>
                <c:pt idx="1140">
                  <c:v>3.1666666666666665</c:v>
                </c:pt>
                <c:pt idx="1141">
                  <c:v>3.1694444444444443</c:v>
                </c:pt>
                <c:pt idx="1142">
                  <c:v>3.1722222222222221</c:v>
                </c:pt>
                <c:pt idx="1143">
                  <c:v>3.1749999999999998</c:v>
                </c:pt>
                <c:pt idx="1144">
                  <c:v>3.1777777777777776</c:v>
                </c:pt>
                <c:pt idx="1145">
                  <c:v>3.1805555555555554</c:v>
                </c:pt>
                <c:pt idx="1146">
                  <c:v>3.1833333333333331</c:v>
                </c:pt>
                <c:pt idx="1147">
                  <c:v>3.1861111111111109</c:v>
                </c:pt>
                <c:pt idx="1148">
                  <c:v>3.1888888888888891</c:v>
                </c:pt>
                <c:pt idx="1149">
                  <c:v>3.1916666666666669</c:v>
                </c:pt>
                <c:pt idx="1150">
                  <c:v>3.1944444444444446</c:v>
                </c:pt>
                <c:pt idx="1151">
                  <c:v>3.1972222222222224</c:v>
                </c:pt>
                <c:pt idx="1152">
                  <c:v>3.2</c:v>
                </c:pt>
                <c:pt idx="1153">
                  <c:v>3.2027777777777779</c:v>
                </c:pt>
                <c:pt idx="1154">
                  <c:v>3.2055555555555557</c:v>
                </c:pt>
                <c:pt idx="1155">
                  <c:v>3.2083333333333335</c:v>
                </c:pt>
                <c:pt idx="1156">
                  <c:v>3.2111111111111112</c:v>
                </c:pt>
                <c:pt idx="1157">
                  <c:v>3.213888888888889</c:v>
                </c:pt>
                <c:pt idx="1158">
                  <c:v>3.2166666666666668</c:v>
                </c:pt>
                <c:pt idx="1159">
                  <c:v>3.2194444444444446</c:v>
                </c:pt>
                <c:pt idx="1160">
                  <c:v>3.2222222222222223</c:v>
                </c:pt>
                <c:pt idx="1161">
                  <c:v>3.2250000000000001</c:v>
                </c:pt>
                <c:pt idx="1162">
                  <c:v>3.2277777777777779</c:v>
                </c:pt>
                <c:pt idx="1163">
                  <c:v>3.2305555555555556</c:v>
                </c:pt>
                <c:pt idx="1164">
                  <c:v>3.2333333333333334</c:v>
                </c:pt>
                <c:pt idx="1165">
                  <c:v>3.2361111111111112</c:v>
                </c:pt>
                <c:pt idx="1166">
                  <c:v>3.2388888888888889</c:v>
                </c:pt>
                <c:pt idx="1167">
                  <c:v>3.2416666666666667</c:v>
                </c:pt>
                <c:pt idx="1168">
                  <c:v>3.2444444444444445</c:v>
                </c:pt>
                <c:pt idx="1169">
                  <c:v>3.2472222222222222</c:v>
                </c:pt>
                <c:pt idx="1170">
                  <c:v>3.25</c:v>
                </c:pt>
                <c:pt idx="1171">
                  <c:v>3.2527777777777778</c:v>
                </c:pt>
                <c:pt idx="1172">
                  <c:v>3.2555555555555555</c:v>
                </c:pt>
                <c:pt idx="1173">
                  <c:v>3.2583333333333333</c:v>
                </c:pt>
                <c:pt idx="1174">
                  <c:v>3.2611111111111111</c:v>
                </c:pt>
                <c:pt idx="1175">
                  <c:v>3.2638888888888888</c:v>
                </c:pt>
                <c:pt idx="1176">
                  <c:v>3.2666666666666666</c:v>
                </c:pt>
                <c:pt idx="1177">
                  <c:v>3.2694444444444444</c:v>
                </c:pt>
                <c:pt idx="1178">
                  <c:v>3.2722222222222221</c:v>
                </c:pt>
                <c:pt idx="1179">
                  <c:v>3.2749999999999999</c:v>
                </c:pt>
                <c:pt idx="1180">
                  <c:v>3.2777777777777777</c:v>
                </c:pt>
                <c:pt idx="1181">
                  <c:v>3.2805555555555554</c:v>
                </c:pt>
                <c:pt idx="1182">
                  <c:v>3.2833333333333332</c:v>
                </c:pt>
                <c:pt idx="1183">
                  <c:v>3.286111111111111</c:v>
                </c:pt>
                <c:pt idx="1184">
                  <c:v>3.2888888888888888</c:v>
                </c:pt>
                <c:pt idx="1185">
                  <c:v>3.2916666666666665</c:v>
                </c:pt>
                <c:pt idx="1186">
                  <c:v>3.2944444444444443</c:v>
                </c:pt>
                <c:pt idx="1187">
                  <c:v>3.2972222222222221</c:v>
                </c:pt>
                <c:pt idx="1188">
                  <c:v>3.3</c:v>
                </c:pt>
                <c:pt idx="1189">
                  <c:v>3.3027777777777776</c:v>
                </c:pt>
                <c:pt idx="1190">
                  <c:v>3.3055555555555554</c:v>
                </c:pt>
                <c:pt idx="1191">
                  <c:v>3.3083333333333331</c:v>
                </c:pt>
                <c:pt idx="1192">
                  <c:v>3.3111111111111109</c:v>
                </c:pt>
                <c:pt idx="1193">
                  <c:v>3.3138888888888891</c:v>
                </c:pt>
                <c:pt idx="1194">
                  <c:v>3.3166666666666669</c:v>
                </c:pt>
                <c:pt idx="1195">
                  <c:v>3.3194444444444446</c:v>
                </c:pt>
                <c:pt idx="1196">
                  <c:v>3.3222222222222224</c:v>
                </c:pt>
                <c:pt idx="1197">
                  <c:v>3.3250000000000002</c:v>
                </c:pt>
                <c:pt idx="1198">
                  <c:v>3.3277777777777779</c:v>
                </c:pt>
                <c:pt idx="1199">
                  <c:v>3.3305555555555557</c:v>
                </c:pt>
                <c:pt idx="1200">
                  <c:v>3.3333333333333335</c:v>
                </c:pt>
                <c:pt idx="1201">
                  <c:v>3.3361111111111112</c:v>
                </c:pt>
                <c:pt idx="1202">
                  <c:v>3.338888888888889</c:v>
                </c:pt>
                <c:pt idx="1203">
                  <c:v>3.3416666666666668</c:v>
                </c:pt>
                <c:pt idx="1204">
                  <c:v>3.3444444444444446</c:v>
                </c:pt>
                <c:pt idx="1205">
                  <c:v>3.3472222222222223</c:v>
                </c:pt>
                <c:pt idx="1206">
                  <c:v>3.35</c:v>
                </c:pt>
                <c:pt idx="1207">
                  <c:v>3.3527777777777779</c:v>
                </c:pt>
                <c:pt idx="1208">
                  <c:v>3.3555555555555556</c:v>
                </c:pt>
                <c:pt idx="1209">
                  <c:v>3.3583333333333334</c:v>
                </c:pt>
                <c:pt idx="1210">
                  <c:v>3.3611111111111112</c:v>
                </c:pt>
                <c:pt idx="1211">
                  <c:v>3.3638888888888889</c:v>
                </c:pt>
                <c:pt idx="1212">
                  <c:v>3.3666666666666667</c:v>
                </c:pt>
                <c:pt idx="1213">
                  <c:v>3.3694444444444445</c:v>
                </c:pt>
                <c:pt idx="1214">
                  <c:v>3.3722222222222222</c:v>
                </c:pt>
                <c:pt idx="1215">
                  <c:v>3.375</c:v>
                </c:pt>
                <c:pt idx="1216">
                  <c:v>3.3777777777777778</c:v>
                </c:pt>
                <c:pt idx="1217">
                  <c:v>3.3805555555555555</c:v>
                </c:pt>
                <c:pt idx="1218">
                  <c:v>3.3833333333333333</c:v>
                </c:pt>
                <c:pt idx="1219">
                  <c:v>3.3861111111111111</c:v>
                </c:pt>
                <c:pt idx="1220">
                  <c:v>3.3888888888888888</c:v>
                </c:pt>
                <c:pt idx="1221">
                  <c:v>3.3916666666666666</c:v>
                </c:pt>
                <c:pt idx="1222">
                  <c:v>3.3944444444444444</c:v>
                </c:pt>
                <c:pt idx="1223">
                  <c:v>3.3972222222222221</c:v>
                </c:pt>
                <c:pt idx="1224">
                  <c:v>3.4</c:v>
                </c:pt>
                <c:pt idx="1225">
                  <c:v>3.4027777777777777</c:v>
                </c:pt>
                <c:pt idx="1226">
                  <c:v>3.4055555555555554</c:v>
                </c:pt>
                <c:pt idx="1227">
                  <c:v>3.4083333333333332</c:v>
                </c:pt>
                <c:pt idx="1228">
                  <c:v>3.411111111111111</c:v>
                </c:pt>
                <c:pt idx="1229">
                  <c:v>3.4138888888888888</c:v>
                </c:pt>
                <c:pt idx="1230">
                  <c:v>3.4166666666666665</c:v>
                </c:pt>
                <c:pt idx="1231">
                  <c:v>3.4194444444444443</c:v>
                </c:pt>
                <c:pt idx="1232">
                  <c:v>3.4222222222222221</c:v>
                </c:pt>
                <c:pt idx="1233">
                  <c:v>3.4249999999999998</c:v>
                </c:pt>
                <c:pt idx="1234">
                  <c:v>3.4277777777777776</c:v>
                </c:pt>
                <c:pt idx="1235">
                  <c:v>3.4305555555555554</c:v>
                </c:pt>
                <c:pt idx="1236">
                  <c:v>3.4333333333333331</c:v>
                </c:pt>
                <c:pt idx="1237">
                  <c:v>3.4361111111111109</c:v>
                </c:pt>
                <c:pt idx="1238">
                  <c:v>3.4388888888888891</c:v>
                </c:pt>
                <c:pt idx="1239">
                  <c:v>3.4416666666666669</c:v>
                </c:pt>
                <c:pt idx="1240">
                  <c:v>3.4444444444444446</c:v>
                </c:pt>
                <c:pt idx="1241">
                  <c:v>3.4472222222222224</c:v>
                </c:pt>
                <c:pt idx="1242">
                  <c:v>3.45</c:v>
                </c:pt>
                <c:pt idx="1243">
                  <c:v>3.4527777777777779</c:v>
                </c:pt>
                <c:pt idx="1244">
                  <c:v>3.4555555555555557</c:v>
                </c:pt>
                <c:pt idx="1245">
                  <c:v>3.4583333333333335</c:v>
                </c:pt>
                <c:pt idx="1246">
                  <c:v>3.4611111111111112</c:v>
                </c:pt>
                <c:pt idx="1247">
                  <c:v>3.463888888888889</c:v>
                </c:pt>
                <c:pt idx="1248">
                  <c:v>3.4666666666666668</c:v>
                </c:pt>
                <c:pt idx="1249">
                  <c:v>3.4694444444444446</c:v>
                </c:pt>
                <c:pt idx="1250">
                  <c:v>3.4722222222222223</c:v>
                </c:pt>
                <c:pt idx="1251">
                  <c:v>3.4750000000000001</c:v>
                </c:pt>
                <c:pt idx="1252">
                  <c:v>3.4777777777777779</c:v>
                </c:pt>
                <c:pt idx="1253">
                  <c:v>3.4805555555555556</c:v>
                </c:pt>
                <c:pt idx="1254">
                  <c:v>3.4833333333333334</c:v>
                </c:pt>
                <c:pt idx="1255">
                  <c:v>3.4861111111111112</c:v>
                </c:pt>
                <c:pt idx="1256">
                  <c:v>3.4888888888888889</c:v>
                </c:pt>
                <c:pt idx="1257">
                  <c:v>3.4916666666666667</c:v>
                </c:pt>
                <c:pt idx="1258">
                  <c:v>3.4944444444444445</c:v>
                </c:pt>
                <c:pt idx="1259">
                  <c:v>3.4972222222222222</c:v>
                </c:pt>
                <c:pt idx="1260">
                  <c:v>3.5</c:v>
                </c:pt>
                <c:pt idx="1261">
                  <c:v>3.5027777777777778</c:v>
                </c:pt>
                <c:pt idx="1262">
                  <c:v>3.5055555555555555</c:v>
                </c:pt>
                <c:pt idx="1263">
                  <c:v>3.5083333333333333</c:v>
                </c:pt>
                <c:pt idx="1264">
                  <c:v>3.5111111111111111</c:v>
                </c:pt>
                <c:pt idx="1265">
                  <c:v>3.5138888888888888</c:v>
                </c:pt>
                <c:pt idx="1266">
                  <c:v>3.5166666666666666</c:v>
                </c:pt>
                <c:pt idx="1267">
                  <c:v>3.5194444444444444</c:v>
                </c:pt>
                <c:pt idx="1268">
                  <c:v>3.5222222222222221</c:v>
                </c:pt>
                <c:pt idx="1269">
                  <c:v>3.5249999999999999</c:v>
                </c:pt>
                <c:pt idx="1270">
                  <c:v>3.5277777777777777</c:v>
                </c:pt>
                <c:pt idx="1271">
                  <c:v>3.5305555555555554</c:v>
                </c:pt>
                <c:pt idx="1272">
                  <c:v>3.5333333333333332</c:v>
                </c:pt>
                <c:pt idx="1273">
                  <c:v>3.536111111111111</c:v>
                </c:pt>
                <c:pt idx="1274">
                  <c:v>3.5388888888888888</c:v>
                </c:pt>
                <c:pt idx="1275">
                  <c:v>3.5416666666666665</c:v>
                </c:pt>
                <c:pt idx="1276">
                  <c:v>3.5444444444444443</c:v>
                </c:pt>
                <c:pt idx="1277">
                  <c:v>3.5472222222222221</c:v>
                </c:pt>
                <c:pt idx="1278">
                  <c:v>3.55</c:v>
                </c:pt>
                <c:pt idx="1279">
                  <c:v>3.5527777777777776</c:v>
                </c:pt>
                <c:pt idx="1280">
                  <c:v>3.5555555555555554</c:v>
                </c:pt>
                <c:pt idx="1281">
                  <c:v>3.5583333333333331</c:v>
                </c:pt>
                <c:pt idx="1282">
                  <c:v>3.5611111111111109</c:v>
                </c:pt>
                <c:pt idx="1283">
                  <c:v>3.5638888888888891</c:v>
                </c:pt>
                <c:pt idx="1284">
                  <c:v>3.5666666666666669</c:v>
                </c:pt>
                <c:pt idx="1285">
                  <c:v>3.5694444444444446</c:v>
                </c:pt>
                <c:pt idx="1286">
                  <c:v>3.5722222222222224</c:v>
                </c:pt>
                <c:pt idx="1287">
                  <c:v>3.5750000000000002</c:v>
                </c:pt>
                <c:pt idx="1288">
                  <c:v>3.5777777777777779</c:v>
                </c:pt>
                <c:pt idx="1289">
                  <c:v>3.5805555555555557</c:v>
                </c:pt>
                <c:pt idx="1290">
                  <c:v>3.5833333333333335</c:v>
                </c:pt>
                <c:pt idx="1291">
                  <c:v>3.5861111111111112</c:v>
                </c:pt>
                <c:pt idx="1292">
                  <c:v>3.588888888888889</c:v>
                </c:pt>
                <c:pt idx="1293">
                  <c:v>3.5916666666666668</c:v>
                </c:pt>
                <c:pt idx="1294">
                  <c:v>3.5944444444444446</c:v>
                </c:pt>
                <c:pt idx="1295">
                  <c:v>3.5972222222222223</c:v>
                </c:pt>
                <c:pt idx="1296">
                  <c:v>3.6</c:v>
                </c:pt>
                <c:pt idx="1297">
                  <c:v>3.6027777777777779</c:v>
                </c:pt>
                <c:pt idx="1298">
                  <c:v>3.6055555555555556</c:v>
                </c:pt>
                <c:pt idx="1299">
                  <c:v>3.6083333333333334</c:v>
                </c:pt>
                <c:pt idx="1300">
                  <c:v>3.6111111111111112</c:v>
                </c:pt>
                <c:pt idx="1301">
                  <c:v>3.6138888888888889</c:v>
                </c:pt>
                <c:pt idx="1302">
                  <c:v>3.6166666666666667</c:v>
                </c:pt>
                <c:pt idx="1303">
                  <c:v>3.6194444444444445</c:v>
                </c:pt>
                <c:pt idx="1304">
                  <c:v>3.6222222222222222</c:v>
                </c:pt>
                <c:pt idx="1305">
                  <c:v>3.625</c:v>
                </c:pt>
                <c:pt idx="1306">
                  <c:v>3.6277777777777778</c:v>
                </c:pt>
                <c:pt idx="1307">
                  <c:v>3.6305555555555555</c:v>
                </c:pt>
                <c:pt idx="1308">
                  <c:v>3.6333333333333333</c:v>
                </c:pt>
                <c:pt idx="1309">
                  <c:v>3.6361111111111111</c:v>
                </c:pt>
                <c:pt idx="1310">
                  <c:v>3.6388888888888888</c:v>
                </c:pt>
                <c:pt idx="1311">
                  <c:v>3.6416666666666666</c:v>
                </c:pt>
                <c:pt idx="1312">
                  <c:v>3.6444444444444444</c:v>
                </c:pt>
                <c:pt idx="1313">
                  <c:v>3.6472222222222221</c:v>
                </c:pt>
                <c:pt idx="1314">
                  <c:v>3.65</c:v>
                </c:pt>
                <c:pt idx="1315">
                  <c:v>3.6527777777777777</c:v>
                </c:pt>
                <c:pt idx="1316">
                  <c:v>3.6555555555555554</c:v>
                </c:pt>
                <c:pt idx="1317">
                  <c:v>3.6583333333333332</c:v>
                </c:pt>
                <c:pt idx="1318">
                  <c:v>3.661111111111111</c:v>
                </c:pt>
                <c:pt idx="1319">
                  <c:v>3.6638888888888888</c:v>
                </c:pt>
                <c:pt idx="1320">
                  <c:v>3.6666666666666665</c:v>
                </c:pt>
                <c:pt idx="1321">
                  <c:v>3.6694444444444443</c:v>
                </c:pt>
                <c:pt idx="1322">
                  <c:v>3.6722222222222221</c:v>
                </c:pt>
                <c:pt idx="1323">
                  <c:v>3.6749999999999998</c:v>
                </c:pt>
                <c:pt idx="1324">
                  <c:v>3.6777777777777776</c:v>
                </c:pt>
                <c:pt idx="1325">
                  <c:v>3.6805555555555554</c:v>
                </c:pt>
                <c:pt idx="1326">
                  <c:v>3.6833333333333331</c:v>
                </c:pt>
                <c:pt idx="1327">
                  <c:v>3.6861111111111109</c:v>
                </c:pt>
                <c:pt idx="1328">
                  <c:v>3.6888888888888891</c:v>
                </c:pt>
                <c:pt idx="1329">
                  <c:v>3.6916666666666669</c:v>
                </c:pt>
                <c:pt idx="1330">
                  <c:v>3.6944444444444446</c:v>
                </c:pt>
                <c:pt idx="1331">
                  <c:v>3.6972222222222224</c:v>
                </c:pt>
                <c:pt idx="1332">
                  <c:v>3.7</c:v>
                </c:pt>
                <c:pt idx="1333">
                  <c:v>3.7027777777777779</c:v>
                </c:pt>
                <c:pt idx="1334">
                  <c:v>3.7055555555555557</c:v>
                </c:pt>
                <c:pt idx="1335">
                  <c:v>3.7083333333333335</c:v>
                </c:pt>
                <c:pt idx="1336">
                  <c:v>3.7111111111111112</c:v>
                </c:pt>
                <c:pt idx="1337">
                  <c:v>3.713888888888889</c:v>
                </c:pt>
                <c:pt idx="1338">
                  <c:v>3.7166666666666668</c:v>
                </c:pt>
                <c:pt idx="1339">
                  <c:v>3.7194444444444446</c:v>
                </c:pt>
                <c:pt idx="1340">
                  <c:v>3.7222222222222223</c:v>
                </c:pt>
                <c:pt idx="1341">
                  <c:v>3.7250000000000001</c:v>
                </c:pt>
                <c:pt idx="1342">
                  <c:v>3.7277777777777779</c:v>
                </c:pt>
                <c:pt idx="1343">
                  <c:v>3.7305555555555556</c:v>
                </c:pt>
                <c:pt idx="1344">
                  <c:v>3.7333333333333334</c:v>
                </c:pt>
                <c:pt idx="1345">
                  <c:v>3.7361111111111112</c:v>
                </c:pt>
                <c:pt idx="1346">
                  <c:v>3.7388888888888889</c:v>
                </c:pt>
                <c:pt idx="1347">
                  <c:v>3.7416666666666667</c:v>
                </c:pt>
                <c:pt idx="1348">
                  <c:v>3.7444444444444445</c:v>
                </c:pt>
                <c:pt idx="1349">
                  <c:v>3.7472222222222222</c:v>
                </c:pt>
                <c:pt idx="1350">
                  <c:v>3.75</c:v>
                </c:pt>
                <c:pt idx="1351">
                  <c:v>3.7527777777777778</c:v>
                </c:pt>
                <c:pt idx="1352">
                  <c:v>3.7555555555555555</c:v>
                </c:pt>
                <c:pt idx="1353">
                  <c:v>3.7583333333333333</c:v>
                </c:pt>
                <c:pt idx="1354">
                  <c:v>3.7611111111111111</c:v>
                </c:pt>
                <c:pt idx="1355">
                  <c:v>3.7638888888888888</c:v>
                </c:pt>
                <c:pt idx="1356">
                  <c:v>3.7666666666666666</c:v>
                </c:pt>
                <c:pt idx="1357">
                  <c:v>3.7694444444444444</c:v>
                </c:pt>
                <c:pt idx="1358">
                  <c:v>3.7722222222222221</c:v>
                </c:pt>
                <c:pt idx="1359">
                  <c:v>3.7749999999999999</c:v>
                </c:pt>
                <c:pt idx="1360">
                  <c:v>3.7777777777777777</c:v>
                </c:pt>
                <c:pt idx="1361">
                  <c:v>3.7805555555555554</c:v>
                </c:pt>
                <c:pt idx="1362">
                  <c:v>3.7833333333333332</c:v>
                </c:pt>
                <c:pt idx="1363">
                  <c:v>3.786111111111111</c:v>
                </c:pt>
                <c:pt idx="1364">
                  <c:v>3.7888888888888888</c:v>
                </c:pt>
                <c:pt idx="1365">
                  <c:v>3.7916666666666665</c:v>
                </c:pt>
                <c:pt idx="1366">
                  <c:v>3.7944444444444443</c:v>
                </c:pt>
                <c:pt idx="1367">
                  <c:v>3.7972222222222221</c:v>
                </c:pt>
                <c:pt idx="1368">
                  <c:v>3.8</c:v>
                </c:pt>
                <c:pt idx="1369">
                  <c:v>3.8027777777777776</c:v>
                </c:pt>
                <c:pt idx="1370">
                  <c:v>3.8055555555555554</c:v>
                </c:pt>
                <c:pt idx="1371">
                  <c:v>3.8083333333333331</c:v>
                </c:pt>
                <c:pt idx="1372">
                  <c:v>3.8111111111111109</c:v>
                </c:pt>
                <c:pt idx="1373">
                  <c:v>3.8138888888888891</c:v>
                </c:pt>
                <c:pt idx="1374">
                  <c:v>3.8166666666666669</c:v>
                </c:pt>
                <c:pt idx="1375">
                  <c:v>3.8194444444444446</c:v>
                </c:pt>
                <c:pt idx="1376">
                  <c:v>3.8222222222222224</c:v>
                </c:pt>
                <c:pt idx="1377">
                  <c:v>3.8250000000000002</c:v>
                </c:pt>
                <c:pt idx="1378">
                  <c:v>3.8277777777777779</c:v>
                </c:pt>
                <c:pt idx="1379">
                  <c:v>3.8305555555555557</c:v>
                </c:pt>
                <c:pt idx="1380">
                  <c:v>3.8333333333333335</c:v>
                </c:pt>
                <c:pt idx="1381">
                  <c:v>3.8361111111111112</c:v>
                </c:pt>
                <c:pt idx="1382">
                  <c:v>3.838888888888889</c:v>
                </c:pt>
                <c:pt idx="1383">
                  <c:v>3.8416666666666668</c:v>
                </c:pt>
                <c:pt idx="1384">
                  <c:v>3.8444444444444446</c:v>
                </c:pt>
                <c:pt idx="1385">
                  <c:v>3.8472222222222223</c:v>
                </c:pt>
                <c:pt idx="1386">
                  <c:v>3.85</c:v>
                </c:pt>
                <c:pt idx="1387">
                  <c:v>3.8527777777777779</c:v>
                </c:pt>
                <c:pt idx="1388">
                  <c:v>3.8555555555555556</c:v>
                </c:pt>
                <c:pt idx="1389">
                  <c:v>3.8583333333333334</c:v>
                </c:pt>
                <c:pt idx="1390">
                  <c:v>3.8611111111111112</c:v>
                </c:pt>
                <c:pt idx="1391">
                  <c:v>3.8638888888888889</c:v>
                </c:pt>
                <c:pt idx="1392">
                  <c:v>3.8666666666666667</c:v>
                </c:pt>
                <c:pt idx="1393">
                  <c:v>3.8694444444444445</c:v>
                </c:pt>
                <c:pt idx="1394">
                  <c:v>3.8722222222222222</c:v>
                </c:pt>
                <c:pt idx="1395">
                  <c:v>3.875</c:v>
                </c:pt>
                <c:pt idx="1396">
                  <c:v>3.8777777777777778</c:v>
                </c:pt>
                <c:pt idx="1397">
                  <c:v>3.8805555555555555</c:v>
                </c:pt>
                <c:pt idx="1398">
                  <c:v>3.8833333333333333</c:v>
                </c:pt>
                <c:pt idx="1399">
                  <c:v>3.8861111111111111</c:v>
                </c:pt>
                <c:pt idx="1400">
                  <c:v>3.8888888888888888</c:v>
                </c:pt>
                <c:pt idx="1401">
                  <c:v>3.8916666666666666</c:v>
                </c:pt>
                <c:pt idx="1402">
                  <c:v>3.8944444444444444</c:v>
                </c:pt>
                <c:pt idx="1403">
                  <c:v>3.8972222222222221</c:v>
                </c:pt>
                <c:pt idx="1404">
                  <c:v>3.9</c:v>
                </c:pt>
                <c:pt idx="1405">
                  <c:v>3.9027777777777777</c:v>
                </c:pt>
                <c:pt idx="1406">
                  <c:v>3.9055555555555554</c:v>
                </c:pt>
                <c:pt idx="1407">
                  <c:v>3.9083333333333332</c:v>
                </c:pt>
                <c:pt idx="1408">
                  <c:v>3.911111111111111</c:v>
                </c:pt>
                <c:pt idx="1409">
                  <c:v>3.9138888888888888</c:v>
                </c:pt>
                <c:pt idx="1410">
                  <c:v>3.9166666666666665</c:v>
                </c:pt>
                <c:pt idx="1411">
                  <c:v>3.9194444444444443</c:v>
                </c:pt>
                <c:pt idx="1412">
                  <c:v>3.9222222222222221</c:v>
                </c:pt>
                <c:pt idx="1413">
                  <c:v>3.9249999999999998</c:v>
                </c:pt>
                <c:pt idx="1414">
                  <c:v>3.9277777777777776</c:v>
                </c:pt>
                <c:pt idx="1415">
                  <c:v>3.9305555555555554</c:v>
                </c:pt>
                <c:pt idx="1416">
                  <c:v>3.9333333333333331</c:v>
                </c:pt>
                <c:pt idx="1417">
                  <c:v>3.9361111111111109</c:v>
                </c:pt>
                <c:pt idx="1418">
                  <c:v>3.9388888888888891</c:v>
                </c:pt>
                <c:pt idx="1419">
                  <c:v>3.9416666666666669</c:v>
                </c:pt>
                <c:pt idx="1420">
                  <c:v>3.9444444444444446</c:v>
                </c:pt>
                <c:pt idx="1421">
                  <c:v>3.9472222222222224</c:v>
                </c:pt>
                <c:pt idx="1422">
                  <c:v>3.95</c:v>
                </c:pt>
                <c:pt idx="1423">
                  <c:v>3.9527777777777779</c:v>
                </c:pt>
                <c:pt idx="1424">
                  <c:v>3.9555555555555557</c:v>
                </c:pt>
                <c:pt idx="1425">
                  <c:v>3.9583333333333335</c:v>
                </c:pt>
                <c:pt idx="1426">
                  <c:v>3.9611111111111112</c:v>
                </c:pt>
                <c:pt idx="1427">
                  <c:v>3.963888888888889</c:v>
                </c:pt>
                <c:pt idx="1428">
                  <c:v>3.9666666666666668</c:v>
                </c:pt>
                <c:pt idx="1429">
                  <c:v>3.9694444444444446</c:v>
                </c:pt>
                <c:pt idx="1430">
                  <c:v>3.9722222222222223</c:v>
                </c:pt>
                <c:pt idx="1431">
                  <c:v>3.9750000000000001</c:v>
                </c:pt>
                <c:pt idx="1432">
                  <c:v>3.9777777777777779</c:v>
                </c:pt>
                <c:pt idx="1433">
                  <c:v>3.9805555555555556</c:v>
                </c:pt>
                <c:pt idx="1434">
                  <c:v>3.9833333333333334</c:v>
                </c:pt>
                <c:pt idx="1435">
                  <c:v>3.9861111111111112</c:v>
                </c:pt>
                <c:pt idx="1436">
                  <c:v>3.9888888888888889</c:v>
                </c:pt>
                <c:pt idx="1437">
                  <c:v>3.9916666666666667</c:v>
                </c:pt>
                <c:pt idx="1438">
                  <c:v>3.9944444444444445</c:v>
                </c:pt>
                <c:pt idx="1439">
                  <c:v>3.9972222222222222</c:v>
                </c:pt>
                <c:pt idx="1440">
                  <c:v>4</c:v>
                </c:pt>
                <c:pt idx="1441">
                  <c:v>4.0027777777777782</c:v>
                </c:pt>
                <c:pt idx="1442">
                  <c:v>4.0055555555555555</c:v>
                </c:pt>
                <c:pt idx="1443">
                  <c:v>4.0083333333333337</c:v>
                </c:pt>
                <c:pt idx="1444">
                  <c:v>4.0111111111111111</c:v>
                </c:pt>
                <c:pt idx="1445">
                  <c:v>4.0138888888888893</c:v>
                </c:pt>
                <c:pt idx="1446">
                  <c:v>4.0166666666666666</c:v>
                </c:pt>
                <c:pt idx="1447">
                  <c:v>4.0194444444444448</c:v>
                </c:pt>
                <c:pt idx="1448">
                  <c:v>4.0222222222222221</c:v>
                </c:pt>
                <c:pt idx="1449">
                  <c:v>4.0250000000000004</c:v>
                </c:pt>
                <c:pt idx="1450">
                  <c:v>4.0277777777777777</c:v>
                </c:pt>
                <c:pt idx="1451">
                  <c:v>4.0305555555555559</c:v>
                </c:pt>
                <c:pt idx="1452">
                  <c:v>4.0333333333333332</c:v>
                </c:pt>
                <c:pt idx="1453">
                  <c:v>4.0361111111111114</c:v>
                </c:pt>
                <c:pt idx="1454">
                  <c:v>4.0388888888888888</c:v>
                </c:pt>
                <c:pt idx="1455">
                  <c:v>4.041666666666667</c:v>
                </c:pt>
                <c:pt idx="1456">
                  <c:v>4.0444444444444443</c:v>
                </c:pt>
                <c:pt idx="1457">
                  <c:v>4.0472222222222225</c:v>
                </c:pt>
                <c:pt idx="1458">
                  <c:v>4.05</c:v>
                </c:pt>
                <c:pt idx="1459">
                  <c:v>4.052777777777778</c:v>
                </c:pt>
                <c:pt idx="1460">
                  <c:v>4.0555555555555554</c:v>
                </c:pt>
                <c:pt idx="1461">
                  <c:v>4.0583333333333336</c:v>
                </c:pt>
                <c:pt idx="1462">
                  <c:v>4.0611111111111109</c:v>
                </c:pt>
                <c:pt idx="1463">
                  <c:v>4.0638888888888891</c:v>
                </c:pt>
                <c:pt idx="1464">
                  <c:v>4.0666666666666664</c:v>
                </c:pt>
                <c:pt idx="1465">
                  <c:v>4.0694444444444446</c:v>
                </c:pt>
                <c:pt idx="1466">
                  <c:v>4.072222222222222</c:v>
                </c:pt>
                <c:pt idx="1467">
                  <c:v>4.0750000000000002</c:v>
                </c:pt>
                <c:pt idx="1468">
                  <c:v>4.0777777777777775</c:v>
                </c:pt>
                <c:pt idx="1469">
                  <c:v>4.0805555555555557</c:v>
                </c:pt>
                <c:pt idx="1470">
                  <c:v>4.083333333333333</c:v>
                </c:pt>
                <c:pt idx="1471">
                  <c:v>4.0861111111111112</c:v>
                </c:pt>
                <c:pt idx="1472">
                  <c:v>4.0888888888888886</c:v>
                </c:pt>
                <c:pt idx="1473">
                  <c:v>4.0916666666666668</c:v>
                </c:pt>
                <c:pt idx="1474">
                  <c:v>4.0944444444444441</c:v>
                </c:pt>
                <c:pt idx="1475">
                  <c:v>4.0972222222222223</c:v>
                </c:pt>
                <c:pt idx="1476">
                  <c:v>4.0999999999999996</c:v>
                </c:pt>
                <c:pt idx="1477">
                  <c:v>4.1027777777777779</c:v>
                </c:pt>
                <c:pt idx="1478">
                  <c:v>4.1055555555555552</c:v>
                </c:pt>
                <c:pt idx="1479">
                  <c:v>4.1083333333333334</c:v>
                </c:pt>
                <c:pt idx="1480">
                  <c:v>4.1111111111111107</c:v>
                </c:pt>
                <c:pt idx="1481">
                  <c:v>4.1138888888888889</c:v>
                </c:pt>
                <c:pt idx="1482">
                  <c:v>4.1166666666666663</c:v>
                </c:pt>
                <c:pt idx="1483">
                  <c:v>4.1194444444444445</c:v>
                </c:pt>
                <c:pt idx="1484">
                  <c:v>4.1222222222222218</c:v>
                </c:pt>
                <c:pt idx="1485">
                  <c:v>4.125</c:v>
                </c:pt>
                <c:pt idx="1486">
                  <c:v>4.1277777777777782</c:v>
                </c:pt>
                <c:pt idx="1487">
                  <c:v>4.1305555555555555</c:v>
                </c:pt>
                <c:pt idx="1488">
                  <c:v>4.1333333333333337</c:v>
                </c:pt>
                <c:pt idx="1489">
                  <c:v>4.1361111111111111</c:v>
                </c:pt>
                <c:pt idx="1490">
                  <c:v>4.1388888888888893</c:v>
                </c:pt>
                <c:pt idx="1491">
                  <c:v>4.1416666666666666</c:v>
                </c:pt>
                <c:pt idx="1492">
                  <c:v>4.1444444444444448</c:v>
                </c:pt>
                <c:pt idx="1493">
                  <c:v>4.1472222222222221</c:v>
                </c:pt>
                <c:pt idx="1494">
                  <c:v>4.1500000000000004</c:v>
                </c:pt>
                <c:pt idx="1495">
                  <c:v>4.1527777777777777</c:v>
                </c:pt>
                <c:pt idx="1496">
                  <c:v>4.1555555555555559</c:v>
                </c:pt>
                <c:pt idx="1497">
                  <c:v>4.1583333333333332</c:v>
                </c:pt>
                <c:pt idx="1498">
                  <c:v>4.1611111111111114</c:v>
                </c:pt>
                <c:pt idx="1499">
                  <c:v>4.1638888888888888</c:v>
                </c:pt>
                <c:pt idx="1500">
                  <c:v>4.166666666666667</c:v>
                </c:pt>
                <c:pt idx="1501">
                  <c:v>4.1694444444444443</c:v>
                </c:pt>
                <c:pt idx="1502">
                  <c:v>4.1722222222222225</c:v>
                </c:pt>
                <c:pt idx="1503">
                  <c:v>4.1749999999999998</c:v>
                </c:pt>
                <c:pt idx="1504">
                  <c:v>4.177777777777778</c:v>
                </c:pt>
                <c:pt idx="1505">
                  <c:v>4.1805555555555554</c:v>
                </c:pt>
                <c:pt idx="1506">
                  <c:v>4.1833333333333336</c:v>
                </c:pt>
                <c:pt idx="1507">
                  <c:v>4.1861111111111109</c:v>
                </c:pt>
                <c:pt idx="1508">
                  <c:v>4.1888888888888891</c:v>
                </c:pt>
                <c:pt idx="1509">
                  <c:v>4.1916666666666664</c:v>
                </c:pt>
                <c:pt idx="1510">
                  <c:v>4.1944444444444446</c:v>
                </c:pt>
                <c:pt idx="1511">
                  <c:v>4.197222222222222</c:v>
                </c:pt>
                <c:pt idx="1512">
                  <c:v>4.2</c:v>
                </c:pt>
                <c:pt idx="1513">
                  <c:v>4.2027777777777775</c:v>
                </c:pt>
                <c:pt idx="1514">
                  <c:v>4.2055555555555557</c:v>
                </c:pt>
                <c:pt idx="1515">
                  <c:v>4.208333333333333</c:v>
                </c:pt>
                <c:pt idx="1516">
                  <c:v>4.2111111111111112</c:v>
                </c:pt>
                <c:pt idx="1517">
                  <c:v>4.2138888888888886</c:v>
                </c:pt>
                <c:pt idx="1518">
                  <c:v>4.2166666666666668</c:v>
                </c:pt>
                <c:pt idx="1519">
                  <c:v>4.2194444444444441</c:v>
                </c:pt>
                <c:pt idx="1520">
                  <c:v>4.2222222222222223</c:v>
                </c:pt>
                <c:pt idx="1521">
                  <c:v>4.2249999999999996</c:v>
                </c:pt>
                <c:pt idx="1522">
                  <c:v>4.2277777777777779</c:v>
                </c:pt>
                <c:pt idx="1523">
                  <c:v>4.2305555555555552</c:v>
                </c:pt>
                <c:pt idx="1524">
                  <c:v>4.2333333333333334</c:v>
                </c:pt>
                <c:pt idx="1525">
                  <c:v>4.2361111111111107</c:v>
                </c:pt>
                <c:pt idx="1526">
                  <c:v>4.2388888888888889</c:v>
                </c:pt>
                <c:pt idx="1527">
                  <c:v>4.2416666666666663</c:v>
                </c:pt>
                <c:pt idx="1528">
                  <c:v>4.2444444444444445</c:v>
                </c:pt>
                <c:pt idx="1529">
                  <c:v>4.2472222222222218</c:v>
                </c:pt>
                <c:pt idx="1530">
                  <c:v>4.25</c:v>
                </c:pt>
                <c:pt idx="1531">
                  <c:v>4.2527777777777782</c:v>
                </c:pt>
                <c:pt idx="1532">
                  <c:v>4.2555555555555555</c:v>
                </c:pt>
                <c:pt idx="1533">
                  <c:v>4.2583333333333337</c:v>
                </c:pt>
                <c:pt idx="1534">
                  <c:v>4.2611111111111111</c:v>
                </c:pt>
                <c:pt idx="1535">
                  <c:v>4.2638888888888893</c:v>
                </c:pt>
                <c:pt idx="1536">
                  <c:v>4.2666666666666666</c:v>
                </c:pt>
                <c:pt idx="1537">
                  <c:v>4.2694444444444448</c:v>
                </c:pt>
                <c:pt idx="1538">
                  <c:v>4.2722222222222221</c:v>
                </c:pt>
                <c:pt idx="1539">
                  <c:v>4.2750000000000004</c:v>
                </c:pt>
                <c:pt idx="1540">
                  <c:v>4.2777777777777777</c:v>
                </c:pt>
                <c:pt idx="1541">
                  <c:v>4.2805555555555559</c:v>
                </c:pt>
                <c:pt idx="1542">
                  <c:v>4.2833333333333332</c:v>
                </c:pt>
                <c:pt idx="1543">
                  <c:v>4.2861111111111114</c:v>
                </c:pt>
                <c:pt idx="1544">
                  <c:v>4.2888888888888888</c:v>
                </c:pt>
                <c:pt idx="1545">
                  <c:v>4.291666666666667</c:v>
                </c:pt>
                <c:pt idx="1546">
                  <c:v>4.2944444444444443</c:v>
                </c:pt>
                <c:pt idx="1547">
                  <c:v>4.2972222222222225</c:v>
                </c:pt>
                <c:pt idx="1548">
                  <c:v>4.3</c:v>
                </c:pt>
                <c:pt idx="1549">
                  <c:v>4.302777777777778</c:v>
                </c:pt>
                <c:pt idx="1550">
                  <c:v>4.3055555555555554</c:v>
                </c:pt>
                <c:pt idx="1551">
                  <c:v>4.3083333333333336</c:v>
                </c:pt>
                <c:pt idx="1552">
                  <c:v>4.3111111111111109</c:v>
                </c:pt>
                <c:pt idx="1553">
                  <c:v>4.3138888888888891</c:v>
                </c:pt>
                <c:pt idx="1554">
                  <c:v>4.3166666666666664</c:v>
                </c:pt>
                <c:pt idx="1555">
                  <c:v>4.3194444444444446</c:v>
                </c:pt>
                <c:pt idx="1556">
                  <c:v>4.322222222222222</c:v>
                </c:pt>
                <c:pt idx="1557">
                  <c:v>4.3250000000000002</c:v>
                </c:pt>
                <c:pt idx="1558">
                  <c:v>4.3277777777777775</c:v>
                </c:pt>
                <c:pt idx="1559">
                  <c:v>4.3305555555555557</c:v>
                </c:pt>
                <c:pt idx="1560">
                  <c:v>4.333333333333333</c:v>
                </c:pt>
                <c:pt idx="1561">
                  <c:v>4.3361111111111112</c:v>
                </c:pt>
                <c:pt idx="1562">
                  <c:v>4.3388888888888886</c:v>
                </c:pt>
                <c:pt idx="1563">
                  <c:v>4.3416666666666668</c:v>
                </c:pt>
                <c:pt idx="1564">
                  <c:v>4.3444444444444441</c:v>
                </c:pt>
                <c:pt idx="1565">
                  <c:v>4.3472222222222223</c:v>
                </c:pt>
                <c:pt idx="1566">
                  <c:v>4.3499999999999996</c:v>
                </c:pt>
                <c:pt idx="1567">
                  <c:v>4.3527777777777779</c:v>
                </c:pt>
                <c:pt idx="1568">
                  <c:v>4.3555555555555552</c:v>
                </c:pt>
                <c:pt idx="1569">
                  <c:v>4.3583333333333334</c:v>
                </c:pt>
                <c:pt idx="1570">
                  <c:v>4.3611111111111107</c:v>
                </c:pt>
                <c:pt idx="1571">
                  <c:v>4.3638888888888889</c:v>
                </c:pt>
                <c:pt idx="1572">
                  <c:v>4.3666666666666663</c:v>
                </c:pt>
                <c:pt idx="1573">
                  <c:v>4.3694444444444445</c:v>
                </c:pt>
                <c:pt idx="1574">
                  <c:v>4.3722222222222218</c:v>
                </c:pt>
                <c:pt idx="1575">
                  <c:v>4.375</c:v>
                </c:pt>
                <c:pt idx="1576">
                  <c:v>4.3777777777777782</c:v>
                </c:pt>
                <c:pt idx="1577">
                  <c:v>4.3805555555555555</c:v>
                </c:pt>
                <c:pt idx="1578">
                  <c:v>4.3833333333333337</c:v>
                </c:pt>
                <c:pt idx="1579">
                  <c:v>4.3861111111111111</c:v>
                </c:pt>
                <c:pt idx="1580">
                  <c:v>4.3888888888888893</c:v>
                </c:pt>
                <c:pt idx="1581">
                  <c:v>4.3916666666666666</c:v>
                </c:pt>
                <c:pt idx="1582">
                  <c:v>4.3944444444444448</c:v>
                </c:pt>
                <c:pt idx="1583">
                  <c:v>4.3972222222222221</c:v>
                </c:pt>
                <c:pt idx="1584">
                  <c:v>4.4000000000000004</c:v>
                </c:pt>
                <c:pt idx="1585">
                  <c:v>4.4027777777777777</c:v>
                </c:pt>
                <c:pt idx="1586">
                  <c:v>4.4055555555555559</c:v>
                </c:pt>
                <c:pt idx="1587">
                  <c:v>4.4083333333333332</c:v>
                </c:pt>
                <c:pt idx="1588">
                  <c:v>4.4111111111111114</c:v>
                </c:pt>
                <c:pt idx="1589">
                  <c:v>4.4138888888888888</c:v>
                </c:pt>
                <c:pt idx="1590">
                  <c:v>4.416666666666667</c:v>
                </c:pt>
                <c:pt idx="1591">
                  <c:v>4.4194444444444443</c:v>
                </c:pt>
                <c:pt idx="1592">
                  <c:v>4.4222222222222225</c:v>
                </c:pt>
                <c:pt idx="1593">
                  <c:v>4.4249999999999998</c:v>
                </c:pt>
                <c:pt idx="1594">
                  <c:v>4.427777777777778</c:v>
                </c:pt>
                <c:pt idx="1595">
                  <c:v>4.4305555555555554</c:v>
                </c:pt>
                <c:pt idx="1596">
                  <c:v>4.4333333333333336</c:v>
                </c:pt>
                <c:pt idx="1597">
                  <c:v>4.4361111111111109</c:v>
                </c:pt>
                <c:pt idx="1598">
                  <c:v>4.4388888888888891</c:v>
                </c:pt>
                <c:pt idx="1599">
                  <c:v>4.4416666666666664</c:v>
                </c:pt>
                <c:pt idx="1600">
                  <c:v>4.4444444444444446</c:v>
                </c:pt>
                <c:pt idx="1601">
                  <c:v>4.447222222222222</c:v>
                </c:pt>
                <c:pt idx="1602">
                  <c:v>4.45</c:v>
                </c:pt>
                <c:pt idx="1603">
                  <c:v>4.4527777777777775</c:v>
                </c:pt>
                <c:pt idx="1604">
                  <c:v>4.4555555555555557</c:v>
                </c:pt>
                <c:pt idx="1605">
                  <c:v>4.458333333333333</c:v>
                </c:pt>
                <c:pt idx="1606">
                  <c:v>4.4611111111111112</c:v>
                </c:pt>
                <c:pt idx="1607">
                  <c:v>4.4638888888888886</c:v>
                </c:pt>
                <c:pt idx="1608">
                  <c:v>4.4666666666666668</c:v>
                </c:pt>
                <c:pt idx="1609">
                  <c:v>4.4694444444444441</c:v>
                </c:pt>
                <c:pt idx="1610">
                  <c:v>4.4722222222222223</c:v>
                </c:pt>
                <c:pt idx="1611">
                  <c:v>4.4749999999999996</c:v>
                </c:pt>
                <c:pt idx="1612">
                  <c:v>4.4777777777777779</c:v>
                </c:pt>
                <c:pt idx="1613">
                  <c:v>4.4805555555555552</c:v>
                </c:pt>
                <c:pt idx="1614">
                  <c:v>4.4833333333333334</c:v>
                </c:pt>
                <c:pt idx="1615">
                  <c:v>4.4861111111111107</c:v>
                </c:pt>
                <c:pt idx="1616">
                  <c:v>4.4888888888888889</c:v>
                </c:pt>
                <c:pt idx="1617">
                  <c:v>4.4916666666666663</c:v>
                </c:pt>
                <c:pt idx="1618">
                  <c:v>4.4944444444444445</c:v>
                </c:pt>
                <c:pt idx="1619">
                  <c:v>4.4972222222222218</c:v>
                </c:pt>
                <c:pt idx="1620">
                  <c:v>4.5</c:v>
                </c:pt>
                <c:pt idx="1621">
                  <c:v>4.5027777777777782</c:v>
                </c:pt>
                <c:pt idx="1622">
                  <c:v>4.5055555555555555</c:v>
                </c:pt>
                <c:pt idx="1623">
                  <c:v>4.5083333333333337</c:v>
                </c:pt>
                <c:pt idx="1624">
                  <c:v>4.5111111111111111</c:v>
                </c:pt>
                <c:pt idx="1625">
                  <c:v>4.5138888888888893</c:v>
                </c:pt>
                <c:pt idx="1626">
                  <c:v>4.5166666666666666</c:v>
                </c:pt>
                <c:pt idx="1627">
                  <c:v>4.5194444444444448</c:v>
                </c:pt>
                <c:pt idx="1628">
                  <c:v>4.5222222222222221</c:v>
                </c:pt>
                <c:pt idx="1629">
                  <c:v>4.5250000000000004</c:v>
                </c:pt>
                <c:pt idx="1630">
                  <c:v>4.5277777777777777</c:v>
                </c:pt>
                <c:pt idx="1631">
                  <c:v>4.5305555555555559</c:v>
                </c:pt>
                <c:pt idx="1632">
                  <c:v>4.5333333333333332</c:v>
                </c:pt>
                <c:pt idx="1633">
                  <c:v>4.5361111111111114</c:v>
                </c:pt>
                <c:pt idx="1634">
                  <c:v>4.5388888888888888</c:v>
                </c:pt>
                <c:pt idx="1635">
                  <c:v>4.541666666666667</c:v>
                </c:pt>
                <c:pt idx="1636">
                  <c:v>4.5444444444444443</c:v>
                </c:pt>
                <c:pt idx="1637">
                  <c:v>4.5472222222222225</c:v>
                </c:pt>
                <c:pt idx="1638">
                  <c:v>4.55</c:v>
                </c:pt>
                <c:pt idx="1639">
                  <c:v>4.552777777777778</c:v>
                </c:pt>
                <c:pt idx="1640">
                  <c:v>4.5555555555555554</c:v>
                </c:pt>
                <c:pt idx="1641">
                  <c:v>4.5583333333333336</c:v>
                </c:pt>
                <c:pt idx="1642">
                  <c:v>4.5611111111111109</c:v>
                </c:pt>
                <c:pt idx="1643">
                  <c:v>4.5638888888888891</c:v>
                </c:pt>
                <c:pt idx="1644">
                  <c:v>4.5666666666666664</c:v>
                </c:pt>
                <c:pt idx="1645">
                  <c:v>4.5694444444444446</c:v>
                </c:pt>
                <c:pt idx="1646">
                  <c:v>4.572222222222222</c:v>
                </c:pt>
                <c:pt idx="1647">
                  <c:v>4.5750000000000002</c:v>
                </c:pt>
                <c:pt idx="1648">
                  <c:v>4.5777777777777775</c:v>
                </c:pt>
                <c:pt idx="1649">
                  <c:v>4.5805555555555557</c:v>
                </c:pt>
                <c:pt idx="1650">
                  <c:v>4.583333333333333</c:v>
                </c:pt>
                <c:pt idx="1651">
                  <c:v>4.5861111111111112</c:v>
                </c:pt>
                <c:pt idx="1652">
                  <c:v>4.5888888888888886</c:v>
                </c:pt>
                <c:pt idx="1653">
                  <c:v>4.5916666666666668</c:v>
                </c:pt>
                <c:pt idx="1654">
                  <c:v>4.5944444444444441</c:v>
                </c:pt>
                <c:pt idx="1655">
                  <c:v>4.5972222222222223</c:v>
                </c:pt>
                <c:pt idx="1656">
                  <c:v>4.5999999999999996</c:v>
                </c:pt>
                <c:pt idx="1657">
                  <c:v>4.6027777777777779</c:v>
                </c:pt>
                <c:pt idx="1658">
                  <c:v>4.6055555555555552</c:v>
                </c:pt>
                <c:pt idx="1659">
                  <c:v>4.6083333333333334</c:v>
                </c:pt>
                <c:pt idx="1660">
                  <c:v>4.6111111111111107</c:v>
                </c:pt>
                <c:pt idx="1661">
                  <c:v>4.6138888888888889</c:v>
                </c:pt>
                <c:pt idx="1662">
                  <c:v>4.6166666666666663</c:v>
                </c:pt>
                <c:pt idx="1663">
                  <c:v>4.6194444444444445</c:v>
                </c:pt>
                <c:pt idx="1664">
                  <c:v>4.6222222222222218</c:v>
                </c:pt>
                <c:pt idx="1665">
                  <c:v>4.625</c:v>
                </c:pt>
                <c:pt idx="1666">
                  <c:v>4.6277777777777782</c:v>
                </c:pt>
                <c:pt idx="1667">
                  <c:v>4.6305555555555555</c:v>
                </c:pt>
                <c:pt idx="1668">
                  <c:v>4.6333333333333337</c:v>
                </c:pt>
                <c:pt idx="1669">
                  <c:v>4.6361111111111111</c:v>
                </c:pt>
                <c:pt idx="1670">
                  <c:v>4.6388888888888893</c:v>
                </c:pt>
                <c:pt idx="1671">
                  <c:v>4.6416666666666666</c:v>
                </c:pt>
                <c:pt idx="1672">
                  <c:v>4.6444444444444448</c:v>
                </c:pt>
                <c:pt idx="1673">
                  <c:v>4.6472222222222221</c:v>
                </c:pt>
                <c:pt idx="1674">
                  <c:v>4.6500000000000004</c:v>
                </c:pt>
                <c:pt idx="1675">
                  <c:v>4.6527777777777777</c:v>
                </c:pt>
                <c:pt idx="1676">
                  <c:v>4.6555555555555559</c:v>
                </c:pt>
                <c:pt idx="1677">
                  <c:v>4.6583333333333332</c:v>
                </c:pt>
                <c:pt idx="1678">
                  <c:v>4.6611111111111114</c:v>
                </c:pt>
                <c:pt idx="1679">
                  <c:v>4.6638888888888888</c:v>
                </c:pt>
                <c:pt idx="1680">
                  <c:v>4.666666666666667</c:v>
                </c:pt>
                <c:pt idx="1681">
                  <c:v>4.6694444444444443</c:v>
                </c:pt>
                <c:pt idx="1682">
                  <c:v>4.6722222222222225</c:v>
                </c:pt>
                <c:pt idx="1683">
                  <c:v>4.6749999999999998</c:v>
                </c:pt>
                <c:pt idx="1684">
                  <c:v>4.677777777777778</c:v>
                </c:pt>
                <c:pt idx="1685">
                  <c:v>4.6805555555555554</c:v>
                </c:pt>
                <c:pt idx="1686">
                  <c:v>4.6833333333333336</c:v>
                </c:pt>
                <c:pt idx="1687">
                  <c:v>4.6861111111111109</c:v>
                </c:pt>
                <c:pt idx="1688">
                  <c:v>4.6888888888888891</c:v>
                </c:pt>
                <c:pt idx="1689">
                  <c:v>4.6916666666666664</c:v>
                </c:pt>
                <c:pt idx="1690">
                  <c:v>4.6944444444444446</c:v>
                </c:pt>
                <c:pt idx="1691">
                  <c:v>4.697222222222222</c:v>
                </c:pt>
                <c:pt idx="1692">
                  <c:v>4.7</c:v>
                </c:pt>
                <c:pt idx="1693">
                  <c:v>4.7027777777777775</c:v>
                </c:pt>
                <c:pt idx="1694">
                  <c:v>4.7055555555555557</c:v>
                </c:pt>
                <c:pt idx="1695">
                  <c:v>4.708333333333333</c:v>
                </c:pt>
                <c:pt idx="1696">
                  <c:v>4.7111111111111112</c:v>
                </c:pt>
                <c:pt idx="1697">
                  <c:v>4.7138888888888886</c:v>
                </c:pt>
                <c:pt idx="1698">
                  <c:v>4.7166666666666668</c:v>
                </c:pt>
                <c:pt idx="1699">
                  <c:v>4.7194444444444441</c:v>
                </c:pt>
                <c:pt idx="1700">
                  <c:v>4.7222222222222223</c:v>
                </c:pt>
                <c:pt idx="1701">
                  <c:v>4.7249999999999996</c:v>
                </c:pt>
                <c:pt idx="1702">
                  <c:v>4.7277777777777779</c:v>
                </c:pt>
                <c:pt idx="1703">
                  <c:v>4.7305555555555552</c:v>
                </c:pt>
                <c:pt idx="1704">
                  <c:v>4.7333333333333334</c:v>
                </c:pt>
                <c:pt idx="1705">
                  <c:v>4.7361111111111107</c:v>
                </c:pt>
                <c:pt idx="1706">
                  <c:v>4.7388888888888889</c:v>
                </c:pt>
                <c:pt idx="1707">
                  <c:v>4.7416666666666663</c:v>
                </c:pt>
                <c:pt idx="1708">
                  <c:v>4.7444444444444445</c:v>
                </c:pt>
                <c:pt idx="1709">
                  <c:v>4.7472222222222218</c:v>
                </c:pt>
                <c:pt idx="1710">
                  <c:v>4.75</c:v>
                </c:pt>
                <c:pt idx="1711">
                  <c:v>4.7527777777777782</c:v>
                </c:pt>
                <c:pt idx="1712">
                  <c:v>4.7555555555555555</c:v>
                </c:pt>
                <c:pt idx="1713">
                  <c:v>4.7583333333333337</c:v>
                </c:pt>
                <c:pt idx="1714">
                  <c:v>4.7611111111111111</c:v>
                </c:pt>
                <c:pt idx="1715">
                  <c:v>4.7638888888888893</c:v>
                </c:pt>
                <c:pt idx="1716">
                  <c:v>4.7666666666666666</c:v>
                </c:pt>
                <c:pt idx="1717">
                  <c:v>4.7694444444444448</c:v>
                </c:pt>
                <c:pt idx="1718">
                  <c:v>4.7722222222222221</c:v>
                </c:pt>
                <c:pt idx="1719">
                  <c:v>4.7750000000000004</c:v>
                </c:pt>
                <c:pt idx="1720">
                  <c:v>4.7777777777777777</c:v>
                </c:pt>
                <c:pt idx="1721">
                  <c:v>4.7805555555555559</c:v>
                </c:pt>
                <c:pt idx="1722">
                  <c:v>4.7833333333333332</c:v>
                </c:pt>
                <c:pt idx="1723">
                  <c:v>4.7861111111111114</c:v>
                </c:pt>
                <c:pt idx="1724">
                  <c:v>4.7888888888888888</c:v>
                </c:pt>
                <c:pt idx="1725">
                  <c:v>4.791666666666667</c:v>
                </c:pt>
                <c:pt idx="1726">
                  <c:v>4.7944444444444443</c:v>
                </c:pt>
                <c:pt idx="1727">
                  <c:v>4.7972222222222225</c:v>
                </c:pt>
                <c:pt idx="1728">
                  <c:v>4.8</c:v>
                </c:pt>
                <c:pt idx="1729">
                  <c:v>4.802777777777778</c:v>
                </c:pt>
                <c:pt idx="1730">
                  <c:v>4.8055555555555554</c:v>
                </c:pt>
                <c:pt idx="1731">
                  <c:v>4.8083333333333336</c:v>
                </c:pt>
                <c:pt idx="1732">
                  <c:v>4.8111111111111109</c:v>
                </c:pt>
                <c:pt idx="1733">
                  <c:v>4.8138888888888891</c:v>
                </c:pt>
                <c:pt idx="1734">
                  <c:v>4.8166666666666664</c:v>
                </c:pt>
                <c:pt idx="1735">
                  <c:v>4.8194444444444446</c:v>
                </c:pt>
                <c:pt idx="1736">
                  <c:v>4.822222222222222</c:v>
                </c:pt>
                <c:pt idx="1737">
                  <c:v>4.8250000000000002</c:v>
                </c:pt>
                <c:pt idx="1738">
                  <c:v>4.8277777777777775</c:v>
                </c:pt>
                <c:pt idx="1739">
                  <c:v>4.8305555555555557</c:v>
                </c:pt>
                <c:pt idx="1740">
                  <c:v>4.833333333333333</c:v>
                </c:pt>
                <c:pt idx="1741">
                  <c:v>4.8361111111111112</c:v>
                </c:pt>
                <c:pt idx="1742">
                  <c:v>4.8388888888888886</c:v>
                </c:pt>
                <c:pt idx="1743">
                  <c:v>4.8416666666666668</c:v>
                </c:pt>
                <c:pt idx="1744">
                  <c:v>4.8444444444444441</c:v>
                </c:pt>
                <c:pt idx="1745">
                  <c:v>4.8472222222222223</c:v>
                </c:pt>
                <c:pt idx="1746">
                  <c:v>4.8499999999999996</c:v>
                </c:pt>
                <c:pt idx="1747">
                  <c:v>4.8527777777777779</c:v>
                </c:pt>
                <c:pt idx="1748">
                  <c:v>4.8555555555555552</c:v>
                </c:pt>
                <c:pt idx="1749">
                  <c:v>4.8583333333333334</c:v>
                </c:pt>
                <c:pt idx="1750">
                  <c:v>4.8611111111111107</c:v>
                </c:pt>
                <c:pt idx="1751">
                  <c:v>4.8638888888888889</c:v>
                </c:pt>
                <c:pt idx="1752">
                  <c:v>4.8666666666666663</c:v>
                </c:pt>
                <c:pt idx="1753">
                  <c:v>4.8694444444444445</c:v>
                </c:pt>
                <c:pt idx="1754">
                  <c:v>4.8722222222222218</c:v>
                </c:pt>
                <c:pt idx="1755">
                  <c:v>4.875</c:v>
                </c:pt>
                <c:pt idx="1756">
                  <c:v>4.8777777777777782</c:v>
                </c:pt>
                <c:pt idx="1757">
                  <c:v>4.8805555555555555</c:v>
                </c:pt>
                <c:pt idx="1758">
                  <c:v>4.8833333333333337</c:v>
                </c:pt>
                <c:pt idx="1759">
                  <c:v>4.8861111111111111</c:v>
                </c:pt>
                <c:pt idx="1760">
                  <c:v>4.8888888888888893</c:v>
                </c:pt>
                <c:pt idx="1761">
                  <c:v>4.8916666666666666</c:v>
                </c:pt>
                <c:pt idx="1762">
                  <c:v>4.8944444444444448</c:v>
                </c:pt>
                <c:pt idx="1763">
                  <c:v>4.8972222222222221</c:v>
                </c:pt>
                <c:pt idx="1764">
                  <c:v>4.9000000000000004</c:v>
                </c:pt>
                <c:pt idx="1765">
                  <c:v>4.9027777777777777</c:v>
                </c:pt>
                <c:pt idx="1766">
                  <c:v>4.9055555555555559</c:v>
                </c:pt>
                <c:pt idx="1767">
                  <c:v>4.9083333333333332</c:v>
                </c:pt>
                <c:pt idx="1768">
                  <c:v>4.9111111111111114</c:v>
                </c:pt>
                <c:pt idx="1769">
                  <c:v>4.9138888888888888</c:v>
                </c:pt>
                <c:pt idx="1770">
                  <c:v>4.916666666666667</c:v>
                </c:pt>
                <c:pt idx="1771">
                  <c:v>4.9194444444444443</c:v>
                </c:pt>
                <c:pt idx="1772">
                  <c:v>4.9222222222222225</c:v>
                </c:pt>
                <c:pt idx="1773">
                  <c:v>4.9249999999999998</c:v>
                </c:pt>
                <c:pt idx="1774">
                  <c:v>4.927777777777778</c:v>
                </c:pt>
                <c:pt idx="1775">
                  <c:v>4.9305555555555554</c:v>
                </c:pt>
                <c:pt idx="1776">
                  <c:v>4.9333333333333336</c:v>
                </c:pt>
                <c:pt idx="1777">
                  <c:v>4.9361111111111109</c:v>
                </c:pt>
                <c:pt idx="1778">
                  <c:v>4.9388888888888891</c:v>
                </c:pt>
                <c:pt idx="1779">
                  <c:v>4.9416666666666664</c:v>
                </c:pt>
                <c:pt idx="1780">
                  <c:v>4.9444444444444446</c:v>
                </c:pt>
                <c:pt idx="1781">
                  <c:v>4.947222222222222</c:v>
                </c:pt>
                <c:pt idx="1782">
                  <c:v>4.95</c:v>
                </c:pt>
                <c:pt idx="1783">
                  <c:v>4.9527777777777775</c:v>
                </c:pt>
                <c:pt idx="1784">
                  <c:v>4.9555555555555557</c:v>
                </c:pt>
                <c:pt idx="1785">
                  <c:v>4.958333333333333</c:v>
                </c:pt>
                <c:pt idx="1786">
                  <c:v>4.9611111111111112</c:v>
                </c:pt>
                <c:pt idx="1787">
                  <c:v>4.9638888888888886</c:v>
                </c:pt>
                <c:pt idx="1788">
                  <c:v>4.9666666666666668</c:v>
                </c:pt>
                <c:pt idx="1789">
                  <c:v>4.9694444444444441</c:v>
                </c:pt>
                <c:pt idx="1790">
                  <c:v>4.9722222222222223</c:v>
                </c:pt>
                <c:pt idx="1791">
                  <c:v>4.9749999999999996</c:v>
                </c:pt>
                <c:pt idx="1792">
                  <c:v>4.9777777777777779</c:v>
                </c:pt>
                <c:pt idx="1793">
                  <c:v>4.9805555555555552</c:v>
                </c:pt>
                <c:pt idx="1794">
                  <c:v>4.9833333333333334</c:v>
                </c:pt>
                <c:pt idx="1795">
                  <c:v>4.9861111111111107</c:v>
                </c:pt>
                <c:pt idx="1796">
                  <c:v>4.9888888888888889</c:v>
                </c:pt>
                <c:pt idx="1797">
                  <c:v>4.9916666666666663</c:v>
                </c:pt>
                <c:pt idx="1798">
                  <c:v>4.9944444444444445</c:v>
                </c:pt>
                <c:pt idx="1799">
                  <c:v>4.9972222222222218</c:v>
                </c:pt>
                <c:pt idx="1800">
                  <c:v>5</c:v>
                </c:pt>
                <c:pt idx="1801">
                  <c:v>5.0027777777777782</c:v>
                </c:pt>
                <c:pt idx="1802">
                  <c:v>5.0055555555555555</c:v>
                </c:pt>
                <c:pt idx="1803">
                  <c:v>5.0083333333333337</c:v>
                </c:pt>
                <c:pt idx="1804">
                  <c:v>5.0111111111111111</c:v>
                </c:pt>
                <c:pt idx="1805">
                  <c:v>5.0138888888888893</c:v>
                </c:pt>
                <c:pt idx="1806">
                  <c:v>5.0166666666666666</c:v>
                </c:pt>
                <c:pt idx="1807">
                  <c:v>5.0194444444444448</c:v>
                </c:pt>
                <c:pt idx="1808">
                  <c:v>5.0222222222222221</c:v>
                </c:pt>
                <c:pt idx="1809">
                  <c:v>5.0250000000000004</c:v>
                </c:pt>
                <c:pt idx="1810">
                  <c:v>5.0277777777777777</c:v>
                </c:pt>
                <c:pt idx="1811">
                  <c:v>5.0305555555555559</c:v>
                </c:pt>
                <c:pt idx="1812">
                  <c:v>5.0333333333333332</c:v>
                </c:pt>
                <c:pt idx="1813">
                  <c:v>5.0361111111111114</c:v>
                </c:pt>
                <c:pt idx="1814">
                  <c:v>5.0388888888888888</c:v>
                </c:pt>
                <c:pt idx="1815">
                  <c:v>5.041666666666667</c:v>
                </c:pt>
                <c:pt idx="1816">
                  <c:v>5.0444444444444443</c:v>
                </c:pt>
                <c:pt idx="1817">
                  <c:v>5.0472222222222225</c:v>
                </c:pt>
                <c:pt idx="1818">
                  <c:v>5.05</c:v>
                </c:pt>
                <c:pt idx="1819">
                  <c:v>5.052777777777778</c:v>
                </c:pt>
                <c:pt idx="1820">
                  <c:v>5.0555555555555554</c:v>
                </c:pt>
                <c:pt idx="1821">
                  <c:v>5.0583333333333336</c:v>
                </c:pt>
                <c:pt idx="1822">
                  <c:v>5.0611111111111109</c:v>
                </c:pt>
                <c:pt idx="1823">
                  <c:v>5.0638888888888891</c:v>
                </c:pt>
                <c:pt idx="1824">
                  <c:v>5.0666666666666664</c:v>
                </c:pt>
                <c:pt idx="1825">
                  <c:v>5.0694444444444446</c:v>
                </c:pt>
                <c:pt idx="1826">
                  <c:v>5.072222222222222</c:v>
                </c:pt>
                <c:pt idx="1827">
                  <c:v>5.0750000000000002</c:v>
                </c:pt>
                <c:pt idx="1828">
                  <c:v>5.0777777777777775</c:v>
                </c:pt>
                <c:pt idx="1829">
                  <c:v>5.0805555555555557</c:v>
                </c:pt>
                <c:pt idx="1830">
                  <c:v>5.083333333333333</c:v>
                </c:pt>
                <c:pt idx="1831">
                  <c:v>5.0861111111111112</c:v>
                </c:pt>
                <c:pt idx="1832">
                  <c:v>5.0888888888888886</c:v>
                </c:pt>
                <c:pt idx="1833">
                  <c:v>5.0916666666666668</c:v>
                </c:pt>
                <c:pt idx="1834">
                  <c:v>5.0944444444444441</c:v>
                </c:pt>
                <c:pt idx="1835">
                  <c:v>5.0972222222222223</c:v>
                </c:pt>
                <c:pt idx="1836">
                  <c:v>5.0999999999999996</c:v>
                </c:pt>
                <c:pt idx="1837">
                  <c:v>5.1027777777777779</c:v>
                </c:pt>
                <c:pt idx="1838">
                  <c:v>5.1055555555555552</c:v>
                </c:pt>
                <c:pt idx="1839">
                  <c:v>5.1083333333333334</c:v>
                </c:pt>
                <c:pt idx="1840">
                  <c:v>5.1111111111111107</c:v>
                </c:pt>
                <c:pt idx="1841">
                  <c:v>5.1138888888888889</c:v>
                </c:pt>
                <c:pt idx="1842">
                  <c:v>5.1166666666666663</c:v>
                </c:pt>
                <c:pt idx="1843">
                  <c:v>5.1194444444444445</c:v>
                </c:pt>
                <c:pt idx="1844">
                  <c:v>5.1222222222222218</c:v>
                </c:pt>
                <c:pt idx="1845">
                  <c:v>5.125</c:v>
                </c:pt>
                <c:pt idx="1846">
                  <c:v>5.1277777777777782</c:v>
                </c:pt>
                <c:pt idx="1847">
                  <c:v>5.1305555555555555</c:v>
                </c:pt>
                <c:pt idx="1848">
                  <c:v>5.1333333333333337</c:v>
                </c:pt>
                <c:pt idx="1849">
                  <c:v>5.1361111111111111</c:v>
                </c:pt>
                <c:pt idx="1850">
                  <c:v>5.1388888888888893</c:v>
                </c:pt>
                <c:pt idx="1851">
                  <c:v>5.1416666666666666</c:v>
                </c:pt>
                <c:pt idx="1852">
                  <c:v>5.1444444444444448</c:v>
                </c:pt>
                <c:pt idx="1853">
                  <c:v>5.1472222222222221</c:v>
                </c:pt>
                <c:pt idx="1854">
                  <c:v>5.15</c:v>
                </c:pt>
                <c:pt idx="1855">
                  <c:v>5.1527777777777777</c:v>
                </c:pt>
                <c:pt idx="1856">
                  <c:v>5.1555555555555559</c:v>
                </c:pt>
                <c:pt idx="1857">
                  <c:v>5.1583333333333332</c:v>
                </c:pt>
                <c:pt idx="1858">
                  <c:v>5.1611111111111114</c:v>
                </c:pt>
                <c:pt idx="1859">
                  <c:v>5.1638888888888888</c:v>
                </c:pt>
                <c:pt idx="1860">
                  <c:v>5.166666666666667</c:v>
                </c:pt>
                <c:pt idx="1861">
                  <c:v>5.1694444444444443</c:v>
                </c:pt>
                <c:pt idx="1862">
                  <c:v>5.1722222222222225</c:v>
                </c:pt>
                <c:pt idx="1863">
                  <c:v>5.1749999999999998</c:v>
                </c:pt>
                <c:pt idx="1864">
                  <c:v>5.177777777777778</c:v>
                </c:pt>
                <c:pt idx="1865">
                  <c:v>5.1805555555555554</c:v>
                </c:pt>
                <c:pt idx="1866">
                  <c:v>5.1833333333333336</c:v>
                </c:pt>
                <c:pt idx="1867">
                  <c:v>5.1861111111111109</c:v>
                </c:pt>
                <c:pt idx="1868">
                  <c:v>5.1888888888888891</c:v>
                </c:pt>
                <c:pt idx="1869">
                  <c:v>5.1916666666666664</c:v>
                </c:pt>
                <c:pt idx="1870">
                  <c:v>5.1944444444444446</c:v>
                </c:pt>
                <c:pt idx="1871">
                  <c:v>5.197222222222222</c:v>
                </c:pt>
                <c:pt idx="1872">
                  <c:v>5.2</c:v>
                </c:pt>
                <c:pt idx="1873">
                  <c:v>5.2027777777777775</c:v>
                </c:pt>
                <c:pt idx="1874">
                  <c:v>5.2055555555555557</c:v>
                </c:pt>
                <c:pt idx="1875">
                  <c:v>5.208333333333333</c:v>
                </c:pt>
                <c:pt idx="1876">
                  <c:v>5.2111111111111112</c:v>
                </c:pt>
                <c:pt idx="1877">
                  <c:v>5.2138888888888886</c:v>
                </c:pt>
                <c:pt idx="1878">
                  <c:v>5.2166666666666668</c:v>
                </c:pt>
                <c:pt idx="1879">
                  <c:v>5.2194444444444441</c:v>
                </c:pt>
                <c:pt idx="1880">
                  <c:v>5.2222222222222223</c:v>
                </c:pt>
                <c:pt idx="1881">
                  <c:v>5.2249999999999996</c:v>
                </c:pt>
                <c:pt idx="1882">
                  <c:v>5.2277777777777779</c:v>
                </c:pt>
                <c:pt idx="1883">
                  <c:v>5.2305555555555552</c:v>
                </c:pt>
                <c:pt idx="1884">
                  <c:v>5.2333333333333334</c:v>
                </c:pt>
                <c:pt idx="1885">
                  <c:v>5.2361111111111107</c:v>
                </c:pt>
                <c:pt idx="1886">
                  <c:v>5.2388888888888889</c:v>
                </c:pt>
                <c:pt idx="1887">
                  <c:v>5.2416666666666663</c:v>
                </c:pt>
                <c:pt idx="1888">
                  <c:v>5.2444444444444445</c:v>
                </c:pt>
                <c:pt idx="1889">
                  <c:v>5.2472222222222218</c:v>
                </c:pt>
                <c:pt idx="1890">
                  <c:v>5.25</c:v>
                </c:pt>
                <c:pt idx="1891">
                  <c:v>5.2527777777777782</c:v>
                </c:pt>
                <c:pt idx="1892">
                  <c:v>5.2555555555555555</c:v>
                </c:pt>
                <c:pt idx="1893">
                  <c:v>5.2583333333333337</c:v>
                </c:pt>
                <c:pt idx="1894">
                  <c:v>5.2611111111111111</c:v>
                </c:pt>
                <c:pt idx="1895">
                  <c:v>5.2638888888888893</c:v>
                </c:pt>
                <c:pt idx="1896">
                  <c:v>5.2666666666666666</c:v>
                </c:pt>
                <c:pt idx="1897">
                  <c:v>5.2694444444444448</c:v>
                </c:pt>
                <c:pt idx="1898">
                  <c:v>5.2722222222222221</c:v>
                </c:pt>
                <c:pt idx="1899">
                  <c:v>5.2750000000000004</c:v>
                </c:pt>
                <c:pt idx="1900">
                  <c:v>5.2777777777777777</c:v>
                </c:pt>
                <c:pt idx="1901">
                  <c:v>5.2805555555555559</c:v>
                </c:pt>
                <c:pt idx="1902">
                  <c:v>5.2833333333333332</c:v>
                </c:pt>
                <c:pt idx="1903">
                  <c:v>5.2861111111111114</c:v>
                </c:pt>
                <c:pt idx="1904">
                  <c:v>5.2888888888888888</c:v>
                </c:pt>
                <c:pt idx="1905">
                  <c:v>5.291666666666667</c:v>
                </c:pt>
                <c:pt idx="1906">
                  <c:v>5.2944444444444443</c:v>
                </c:pt>
                <c:pt idx="1907">
                  <c:v>5.2972222222222225</c:v>
                </c:pt>
                <c:pt idx="1908">
                  <c:v>5.3</c:v>
                </c:pt>
                <c:pt idx="1909">
                  <c:v>5.302777777777778</c:v>
                </c:pt>
                <c:pt idx="1910">
                  <c:v>5.3055555555555554</c:v>
                </c:pt>
                <c:pt idx="1911">
                  <c:v>5.3083333333333336</c:v>
                </c:pt>
                <c:pt idx="1912">
                  <c:v>5.3111111111111109</c:v>
                </c:pt>
                <c:pt idx="1913">
                  <c:v>5.3138888888888891</c:v>
                </c:pt>
                <c:pt idx="1914">
                  <c:v>5.3166666666666664</c:v>
                </c:pt>
                <c:pt idx="1915">
                  <c:v>5.3194444444444446</c:v>
                </c:pt>
                <c:pt idx="1916">
                  <c:v>5.322222222222222</c:v>
                </c:pt>
                <c:pt idx="1917">
                  <c:v>5.3250000000000002</c:v>
                </c:pt>
                <c:pt idx="1918">
                  <c:v>5.3277777777777775</c:v>
                </c:pt>
                <c:pt idx="1919">
                  <c:v>5.3305555555555557</c:v>
                </c:pt>
                <c:pt idx="1920">
                  <c:v>5.333333333333333</c:v>
                </c:pt>
                <c:pt idx="1921">
                  <c:v>5.3361111111111112</c:v>
                </c:pt>
                <c:pt idx="1922">
                  <c:v>5.3388888888888886</c:v>
                </c:pt>
                <c:pt idx="1923">
                  <c:v>5.3416666666666668</c:v>
                </c:pt>
                <c:pt idx="1924">
                  <c:v>5.3444444444444441</c:v>
                </c:pt>
                <c:pt idx="1925">
                  <c:v>5.3472222222222223</c:v>
                </c:pt>
                <c:pt idx="1926">
                  <c:v>5.35</c:v>
                </c:pt>
                <c:pt idx="1927">
                  <c:v>5.3527777777777779</c:v>
                </c:pt>
                <c:pt idx="1928">
                  <c:v>5.3555555555555552</c:v>
                </c:pt>
                <c:pt idx="1929">
                  <c:v>5.3583333333333334</c:v>
                </c:pt>
                <c:pt idx="1930">
                  <c:v>5.3611111111111107</c:v>
                </c:pt>
                <c:pt idx="1931">
                  <c:v>5.3638888888888889</c:v>
                </c:pt>
                <c:pt idx="1932">
                  <c:v>5.3666666666666663</c:v>
                </c:pt>
                <c:pt idx="1933">
                  <c:v>5.3694444444444445</c:v>
                </c:pt>
                <c:pt idx="1934">
                  <c:v>5.3722222222222218</c:v>
                </c:pt>
                <c:pt idx="1935">
                  <c:v>5.375</c:v>
                </c:pt>
                <c:pt idx="1936">
                  <c:v>5.3777777777777782</c:v>
                </c:pt>
                <c:pt idx="1937">
                  <c:v>5.3805555555555555</c:v>
                </c:pt>
                <c:pt idx="1938">
                  <c:v>5.3833333333333337</c:v>
                </c:pt>
                <c:pt idx="1939">
                  <c:v>5.3861111111111111</c:v>
                </c:pt>
                <c:pt idx="1940">
                  <c:v>5.3888888888888893</c:v>
                </c:pt>
                <c:pt idx="1941">
                  <c:v>5.3916666666666666</c:v>
                </c:pt>
                <c:pt idx="1942">
                  <c:v>5.3944444444444448</c:v>
                </c:pt>
                <c:pt idx="1943">
                  <c:v>5.3972222222222221</c:v>
                </c:pt>
                <c:pt idx="1944">
                  <c:v>5.4</c:v>
                </c:pt>
                <c:pt idx="1945">
                  <c:v>5.4027777777777777</c:v>
                </c:pt>
                <c:pt idx="1946">
                  <c:v>5.4055555555555559</c:v>
                </c:pt>
                <c:pt idx="1947">
                  <c:v>5.4083333333333332</c:v>
                </c:pt>
                <c:pt idx="1948">
                  <c:v>5.4111111111111114</c:v>
                </c:pt>
                <c:pt idx="1949">
                  <c:v>5.4138888888888888</c:v>
                </c:pt>
                <c:pt idx="1950">
                  <c:v>5.416666666666667</c:v>
                </c:pt>
                <c:pt idx="1951">
                  <c:v>5.4194444444444443</c:v>
                </c:pt>
                <c:pt idx="1952">
                  <c:v>5.4222222222222225</c:v>
                </c:pt>
                <c:pt idx="1953">
                  <c:v>5.4249999999999998</c:v>
                </c:pt>
                <c:pt idx="1954">
                  <c:v>5.427777777777778</c:v>
                </c:pt>
                <c:pt idx="1955">
                  <c:v>5.4305555555555554</c:v>
                </c:pt>
                <c:pt idx="1956">
                  <c:v>5.4333333333333336</c:v>
                </c:pt>
                <c:pt idx="1957">
                  <c:v>5.4361111111111109</c:v>
                </c:pt>
                <c:pt idx="1958">
                  <c:v>5.4388888888888891</c:v>
                </c:pt>
                <c:pt idx="1959">
                  <c:v>5.4416666666666664</c:v>
                </c:pt>
                <c:pt idx="1960">
                  <c:v>5.4444444444444446</c:v>
                </c:pt>
                <c:pt idx="1961">
                  <c:v>5.447222222222222</c:v>
                </c:pt>
                <c:pt idx="1962">
                  <c:v>5.45</c:v>
                </c:pt>
                <c:pt idx="1963">
                  <c:v>5.4527777777777775</c:v>
                </c:pt>
                <c:pt idx="1964">
                  <c:v>5.4555555555555557</c:v>
                </c:pt>
                <c:pt idx="1965">
                  <c:v>5.458333333333333</c:v>
                </c:pt>
                <c:pt idx="1966">
                  <c:v>5.4611111111111112</c:v>
                </c:pt>
                <c:pt idx="1967">
                  <c:v>5.4638888888888886</c:v>
                </c:pt>
                <c:pt idx="1968">
                  <c:v>5.4666666666666668</c:v>
                </c:pt>
                <c:pt idx="1969">
                  <c:v>5.4694444444444441</c:v>
                </c:pt>
                <c:pt idx="1970">
                  <c:v>5.4722222222222223</c:v>
                </c:pt>
                <c:pt idx="1971">
                  <c:v>5.4749999999999996</c:v>
                </c:pt>
                <c:pt idx="1972">
                  <c:v>5.4777777777777779</c:v>
                </c:pt>
                <c:pt idx="1973">
                  <c:v>5.4805555555555552</c:v>
                </c:pt>
                <c:pt idx="1974">
                  <c:v>5.4833333333333334</c:v>
                </c:pt>
                <c:pt idx="1975">
                  <c:v>5.4861111111111107</c:v>
                </c:pt>
                <c:pt idx="1976">
                  <c:v>5.4888888888888889</c:v>
                </c:pt>
                <c:pt idx="1977">
                  <c:v>5.4916666666666663</c:v>
                </c:pt>
                <c:pt idx="1978">
                  <c:v>5.4944444444444445</c:v>
                </c:pt>
                <c:pt idx="1979">
                  <c:v>5.4972222222222218</c:v>
                </c:pt>
                <c:pt idx="1980">
                  <c:v>5.5</c:v>
                </c:pt>
                <c:pt idx="1981">
                  <c:v>5.5027777777777782</c:v>
                </c:pt>
                <c:pt idx="1982">
                  <c:v>5.5055555555555555</c:v>
                </c:pt>
                <c:pt idx="1983">
                  <c:v>5.5083333333333337</c:v>
                </c:pt>
                <c:pt idx="1984">
                  <c:v>5.5111111111111111</c:v>
                </c:pt>
                <c:pt idx="1985">
                  <c:v>5.5138888888888893</c:v>
                </c:pt>
                <c:pt idx="1986">
                  <c:v>5.5166666666666666</c:v>
                </c:pt>
                <c:pt idx="1987">
                  <c:v>5.5194444444444448</c:v>
                </c:pt>
                <c:pt idx="1988">
                  <c:v>5.5222222222222221</c:v>
                </c:pt>
                <c:pt idx="1989">
                  <c:v>5.5250000000000004</c:v>
                </c:pt>
                <c:pt idx="1990">
                  <c:v>5.5277777777777777</c:v>
                </c:pt>
                <c:pt idx="1991">
                  <c:v>5.5305555555555559</c:v>
                </c:pt>
                <c:pt idx="1992">
                  <c:v>5.5333333333333332</c:v>
                </c:pt>
                <c:pt idx="1993">
                  <c:v>5.5361111111111114</c:v>
                </c:pt>
                <c:pt idx="1994">
                  <c:v>5.5388888888888888</c:v>
                </c:pt>
                <c:pt idx="1995">
                  <c:v>5.541666666666667</c:v>
                </c:pt>
                <c:pt idx="1996">
                  <c:v>5.5444444444444443</c:v>
                </c:pt>
                <c:pt idx="1997">
                  <c:v>5.5472222222222225</c:v>
                </c:pt>
                <c:pt idx="1998">
                  <c:v>5.55</c:v>
                </c:pt>
                <c:pt idx="1999">
                  <c:v>5.552777777777778</c:v>
                </c:pt>
                <c:pt idx="2000">
                  <c:v>5.5555555555555554</c:v>
                </c:pt>
                <c:pt idx="2001">
                  <c:v>5.5583333333333336</c:v>
                </c:pt>
                <c:pt idx="2002">
                  <c:v>5.5611111111111109</c:v>
                </c:pt>
                <c:pt idx="2003">
                  <c:v>5.5638888888888891</c:v>
                </c:pt>
                <c:pt idx="2004">
                  <c:v>5.5666666666666664</c:v>
                </c:pt>
                <c:pt idx="2005">
                  <c:v>5.5694444444444446</c:v>
                </c:pt>
                <c:pt idx="2006">
                  <c:v>5.572222222222222</c:v>
                </c:pt>
                <c:pt idx="2007">
                  <c:v>5.5750000000000002</c:v>
                </c:pt>
                <c:pt idx="2008">
                  <c:v>5.5777777777777775</c:v>
                </c:pt>
                <c:pt idx="2009">
                  <c:v>5.5805555555555557</c:v>
                </c:pt>
                <c:pt idx="2010">
                  <c:v>5.583333333333333</c:v>
                </c:pt>
                <c:pt idx="2011">
                  <c:v>5.5861111111111112</c:v>
                </c:pt>
                <c:pt idx="2012">
                  <c:v>5.5888888888888886</c:v>
                </c:pt>
                <c:pt idx="2013">
                  <c:v>5.5916666666666668</c:v>
                </c:pt>
                <c:pt idx="2014">
                  <c:v>5.5944444444444441</c:v>
                </c:pt>
                <c:pt idx="2015">
                  <c:v>5.5972222222222223</c:v>
                </c:pt>
                <c:pt idx="2016">
                  <c:v>5.6</c:v>
                </c:pt>
                <c:pt idx="2017">
                  <c:v>5.6027777777777779</c:v>
                </c:pt>
                <c:pt idx="2018">
                  <c:v>5.6055555555555552</c:v>
                </c:pt>
                <c:pt idx="2019">
                  <c:v>5.6083333333333334</c:v>
                </c:pt>
                <c:pt idx="2020">
                  <c:v>5.6111111111111107</c:v>
                </c:pt>
                <c:pt idx="2021">
                  <c:v>5.6138888888888889</c:v>
                </c:pt>
                <c:pt idx="2022">
                  <c:v>5.6166666666666663</c:v>
                </c:pt>
                <c:pt idx="2023">
                  <c:v>5.6194444444444445</c:v>
                </c:pt>
                <c:pt idx="2024">
                  <c:v>5.6222222222222218</c:v>
                </c:pt>
                <c:pt idx="2025">
                  <c:v>5.625</c:v>
                </c:pt>
                <c:pt idx="2026">
                  <c:v>5.6277777777777782</c:v>
                </c:pt>
                <c:pt idx="2027">
                  <c:v>5.6305555555555555</c:v>
                </c:pt>
                <c:pt idx="2028">
                  <c:v>5.6333333333333337</c:v>
                </c:pt>
                <c:pt idx="2029">
                  <c:v>5.6361111111111111</c:v>
                </c:pt>
                <c:pt idx="2030">
                  <c:v>5.6388888888888893</c:v>
                </c:pt>
                <c:pt idx="2031">
                  <c:v>5.6416666666666666</c:v>
                </c:pt>
                <c:pt idx="2032">
                  <c:v>5.6444444444444448</c:v>
                </c:pt>
                <c:pt idx="2033">
                  <c:v>5.6472222222222221</c:v>
                </c:pt>
                <c:pt idx="2034">
                  <c:v>5.65</c:v>
                </c:pt>
                <c:pt idx="2035">
                  <c:v>5.6527777777777777</c:v>
                </c:pt>
                <c:pt idx="2036">
                  <c:v>5.6555555555555559</c:v>
                </c:pt>
                <c:pt idx="2037">
                  <c:v>5.6583333333333332</c:v>
                </c:pt>
                <c:pt idx="2038">
                  <c:v>5.6611111111111114</c:v>
                </c:pt>
                <c:pt idx="2039">
                  <c:v>5.6638888888888888</c:v>
                </c:pt>
                <c:pt idx="2040">
                  <c:v>5.666666666666667</c:v>
                </c:pt>
                <c:pt idx="2041">
                  <c:v>5.6694444444444443</c:v>
                </c:pt>
                <c:pt idx="2042">
                  <c:v>5.6722222222222225</c:v>
                </c:pt>
                <c:pt idx="2043">
                  <c:v>5.6749999999999998</c:v>
                </c:pt>
                <c:pt idx="2044">
                  <c:v>5.677777777777778</c:v>
                </c:pt>
                <c:pt idx="2045">
                  <c:v>5.6805555555555554</c:v>
                </c:pt>
                <c:pt idx="2046">
                  <c:v>5.6833333333333336</c:v>
                </c:pt>
                <c:pt idx="2047">
                  <c:v>5.6861111111111109</c:v>
                </c:pt>
                <c:pt idx="2048">
                  <c:v>5.6888888888888891</c:v>
                </c:pt>
                <c:pt idx="2049">
                  <c:v>5.6916666666666664</c:v>
                </c:pt>
                <c:pt idx="2050">
                  <c:v>5.6944444444444446</c:v>
                </c:pt>
                <c:pt idx="2051">
                  <c:v>5.697222222222222</c:v>
                </c:pt>
                <c:pt idx="2052">
                  <c:v>5.7</c:v>
                </c:pt>
                <c:pt idx="2053">
                  <c:v>5.7027777777777775</c:v>
                </c:pt>
                <c:pt idx="2054">
                  <c:v>5.7055555555555557</c:v>
                </c:pt>
                <c:pt idx="2055">
                  <c:v>5.708333333333333</c:v>
                </c:pt>
                <c:pt idx="2056">
                  <c:v>5.7111111111111112</c:v>
                </c:pt>
                <c:pt idx="2057">
                  <c:v>5.7138888888888886</c:v>
                </c:pt>
                <c:pt idx="2058">
                  <c:v>5.7166666666666668</c:v>
                </c:pt>
                <c:pt idx="2059">
                  <c:v>5.7194444444444441</c:v>
                </c:pt>
                <c:pt idx="2060">
                  <c:v>5.7222222222222223</c:v>
                </c:pt>
                <c:pt idx="2061">
                  <c:v>5.7249999999999996</c:v>
                </c:pt>
                <c:pt idx="2062">
                  <c:v>5.7277777777777779</c:v>
                </c:pt>
                <c:pt idx="2063">
                  <c:v>5.7305555555555552</c:v>
                </c:pt>
                <c:pt idx="2064">
                  <c:v>5.7333333333333334</c:v>
                </c:pt>
                <c:pt idx="2065">
                  <c:v>5.7361111111111107</c:v>
                </c:pt>
                <c:pt idx="2066">
                  <c:v>5.7388888888888889</c:v>
                </c:pt>
                <c:pt idx="2067">
                  <c:v>5.7416666666666663</c:v>
                </c:pt>
                <c:pt idx="2068">
                  <c:v>5.7444444444444445</c:v>
                </c:pt>
                <c:pt idx="2069">
                  <c:v>5.7472222222222218</c:v>
                </c:pt>
                <c:pt idx="2070">
                  <c:v>5.75</c:v>
                </c:pt>
                <c:pt idx="2071">
                  <c:v>5.7527777777777782</c:v>
                </c:pt>
                <c:pt idx="2072">
                  <c:v>5.7555555555555555</c:v>
                </c:pt>
                <c:pt idx="2073">
                  <c:v>5.7583333333333337</c:v>
                </c:pt>
                <c:pt idx="2074">
                  <c:v>5.7611111111111111</c:v>
                </c:pt>
                <c:pt idx="2075">
                  <c:v>5.7638888888888893</c:v>
                </c:pt>
                <c:pt idx="2076">
                  <c:v>5.7666666666666666</c:v>
                </c:pt>
                <c:pt idx="2077">
                  <c:v>5.7694444444444448</c:v>
                </c:pt>
                <c:pt idx="2078">
                  <c:v>5.7722222222222221</c:v>
                </c:pt>
                <c:pt idx="2079">
                  <c:v>5.7750000000000004</c:v>
                </c:pt>
                <c:pt idx="2080">
                  <c:v>5.7777777777777777</c:v>
                </c:pt>
                <c:pt idx="2081">
                  <c:v>5.7805555555555559</c:v>
                </c:pt>
                <c:pt idx="2082">
                  <c:v>5.7833333333333332</c:v>
                </c:pt>
                <c:pt idx="2083">
                  <c:v>5.7861111111111114</c:v>
                </c:pt>
                <c:pt idx="2084">
                  <c:v>5.7888888888888888</c:v>
                </c:pt>
                <c:pt idx="2085">
                  <c:v>5.791666666666667</c:v>
                </c:pt>
                <c:pt idx="2086">
                  <c:v>5.7944444444444443</c:v>
                </c:pt>
                <c:pt idx="2087">
                  <c:v>5.7972222222222225</c:v>
                </c:pt>
                <c:pt idx="2088">
                  <c:v>5.8</c:v>
                </c:pt>
                <c:pt idx="2089">
                  <c:v>5.802777777777778</c:v>
                </c:pt>
                <c:pt idx="2090">
                  <c:v>5.8055555555555554</c:v>
                </c:pt>
                <c:pt idx="2091">
                  <c:v>5.8083333333333336</c:v>
                </c:pt>
                <c:pt idx="2092">
                  <c:v>5.8111111111111109</c:v>
                </c:pt>
                <c:pt idx="2093">
                  <c:v>5.8138888888888891</c:v>
                </c:pt>
                <c:pt idx="2094">
                  <c:v>5.8166666666666664</c:v>
                </c:pt>
                <c:pt idx="2095">
                  <c:v>5.8194444444444446</c:v>
                </c:pt>
                <c:pt idx="2096">
                  <c:v>5.822222222222222</c:v>
                </c:pt>
                <c:pt idx="2097">
                  <c:v>5.8250000000000002</c:v>
                </c:pt>
                <c:pt idx="2098">
                  <c:v>5.8277777777777775</c:v>
                </c:pt>
                <c:pt idx="2099">
                  <c:v>5.8305555555555557</c:v>
                </c:pt>
                <c:pt idx="2100">
                  <c:v>5.833333333333333</c:v>
                </c:pt>
                <c:pt idx="2101">
                  <c:v>5.8361111111111112</c:v>
                </c:pt>
                <c:pt idx="2102">
                  <c:v>5.8388888888888886</c:v>
                </c:pt>
                <c:pt idx="2103">
                  <c:v>5.8416666666666668</c:v>
                </c:pt>
                <c:pt idx="2104">
                  <c:v>5.8444444444444441</c:v>
                </c:pt>
                <c:pt idx="2105">
                  <c:v>5.8472222222222223</c:v>
                </c:pt>
                <c:pt idx="2106">
                  <c:v>5.85</c:v>
                </c:pt>
                <c:pt idx="2107">
                  <c:v>5.8527777777777779</c:v>
                </c:pt>
                <c:pt idx="2108">
                  <c:v>5.8555555555555552</c:v>
                </c:pt>
                <c:pt idx="2109">
                  <c:v>5.8583333333333334</c:v>
                </c:pt>
                <c:pt idx="2110">
                  <c:v>5.8611111111111107</c:v>
                </c:pt>
                <c:pt idx="2111">
                  <c:v>5.8638888888888889</c:v>
                </c:pt>
                <c:pt idx="2112">
                  <c:v>5.8666666666666663</c:v>
                </c:pt>
                <c:pt idx="2113">
                  <c:v>5.8694444444444445</c:v>
                </c:pt>
                <c:pt idx="2114">
                  <c:v>5.8722222222222218</c:v>
                </c:pt>
                <c:pt idx="2115">
                  <c:v>5.875</c:v>
                </c:pt>
                <c:pt idx="2116">
                  <c:v>5.8777777777777782</c:v>
                </c:pt>
                <c:pt idx="2117">
                  <c:v>5.8805555555555555</c:v>
                </c:pt>
                <c:pt idx="2118">
                  <c:v>5.8833333333333337</c:v>
                </c:pt>
                <c:pt idx="2119">
                  <c:v>5.8861111111111111</c:v>
                </c:pt>
                <c:pt idx="2120">
                  <c:v>5.8888888888888893</c:v>
                </c:pt>
                <c:pt idx="2121">
                  <c:v>5.8916666666666666</c:v>
                </c:pt>
                <c:pt idx="2122">
                  <c:v>5.8944444444444448</c:v>
                </c:pt>
                <c:pt idx="2123">
                  <c:v>5.8972222222222221</c:v>
                </c:pt>
                <c:pt idx="2124">
                  <c:v>5.9</c:v>
                </c:pt>
                <c:pt idx="2125">
                  <c:v>5.9027777777777777</c:v>
                </c:pt>
                <c:pt idx="2126">
                  <c:v>5.9055555555555559</c:v>
                </c:pt>
                <c:pt idx="2127">
                  <c:v>5.9083333333333332</c:v>
                </c:pt>
                <c:pt idx="2128">
                  <c:v>5.9111111111111114</c:v>
                </c:pt>
                <c:pt idx="2129">
                  <c:v>5.9138888888888888</c:v>
                </c:pt>
                <c:pt idx="2130">
                  <c:v>5.916666666666667</c:v>
                </c:pt>
                <c:pt idx="2131">
                  <c:v>5.9194444444444443</c:v>
                </c:pt>
                <c:pt idx="2132">
                  <c:v>5.9222222222222225</c:v>
                </c:pt>
                <c:pt idx="2133">
                  <c:v>5.9249999999999998</c:v>
                </c:pt>
                <c:pt idx="2134">
                  <c:v>5.927777777777778</c:v>
                </c:pt>
                <c:pt idx="2135">
                  <c:v>5.9305555555555554</c:v>
                </c:pt>
                <c:pt idx="2136">
                  <c:v>5.9333333333333336</c:v>
                </c:pt>
                <c:pt idx="2137">
                  <c:v>5.9361111111111109</c:v>
                </c:pt>
                <c:pt idx="2138">
                  <c:v>5.9388888888888891</c:v>
                </c:pt>
                <c:pt idx="2139">
                  <c:v>5.9416666666666664</c:v>
                </c:pt>
                <c:pt idx="2140">
                  <c:v>5.9444444444444446</c:v>
                </c:pt>
                <c:pt idx="2141">
                  <c:v>5.947222222222222</c:v>
                </c:pt>
                <c:pt idx="2142">
                  <c:v>5.95</c:v>
                </c:pt>
                <c:pt idx="2143">
                  <c:v>5.9527777777777775</c:v>
                </c:pt>
                <c:pt idx="2144">
                  <c:v>5.9555555555555557</c:v>
                </c:pt>
                <c:pt idx="2145">
                  <c:v>5.958333333333333</c:v>
                </c:pt>
                <c:pt idx="2146">
                  <c:v>5.9611111111111112</c:v>
                </c:pt>
                <c:pt idx="2147">
                  <c:v>5.9638888888888886</c:v>
                </c:pt>
                <c:pt idx="2148">
                  <c:v>5.9666666666666668</c:v>
                </c:pt>
                <c:pt idx="2149">
                  <c:v>5.9694444444444441</c:v>
                </c:pt>
                <c:pt idx="2150">
                  <c:v>5.9722222222222223</c:v>
                </c:pt>
                <c:pt idx="2151">
                  <c:v>5.9749999999999996</c:v>
                </c:pt>
                <c:pt idx="2152">
                  <c:v>5.9777777777777779</c:v>
                </c:pt>
                <c:pt idx="2153">
                  <c:v>5.9805555555555552</c:v>
                </c:pt>
                <c:pt idx="2154">
                  <c:v>5.9833333333333334</c:v>
                </c:pt>
                <c:pt idx="2155">
                  <c:v>5.9861111111111107</c:v>
                </c:pt>
                <c:pt idx="2156">
                  <c:v>5.9888888888888889</c:v>
                </c:pt>
                <c:pt idx="2157">
                  <c:v>5.9916666666666663</c:v>
                </c:pt>
                <c:pt idx="2158">
                  <c:v>5.9944444444444445</c:v>
                </c:pt>
                <c:pt idx="2159">
                  <c:v>5.9972222222222218</c:v>
                </c:pt>
                <c:pt idx="2160">
                  <c:v>6</c:v>
                </c:pt>
                <c:pt idx="2161">
                  <c:v>6.0027777777777782</c:v>
                </c:pt>
                <c:pt idx="2162">
                  <c:v>6.0055555555555555</c:v>
                </c:pt>
                <c:pt idx="2163">
                  <c:v>6.0083333333333337</c:v>
                </c:pt>
                <c:pt idx="2164">
                  <c:v>6.0111111111111111</c:v>
                </c:pt>
                <c:pt idx="2165">
                  <c:v>6.0138888888888893</c:v>
                </c:pt>
                <c:pt idx="2166">
                  <c:v>6.0166666666666666</c:v>
                </c:pt>
                <c:pt idx="2167">
                  <c:v>6.0194444444444448</c:v>
                </c:pt>
                <c:pt idx="2168">
                  <c:v>6.0222222222222221</c:v>
                </c:pt>
                <c:pt idx="2169">
                  <c:v>6.0250000000000004</c:v>
                </c:pt>
                <c:pt idx="2170">
                  <c:v>6.0277777777777777</c:v>
                </c:pt>
                <c:pt idx="2171">
                  <c:v>6.0305555555555559</c:v>
                </c:pt>
                <c:pt idx="2172">
                  <c:v>6.0333333333333332</c:v>
                </c:pt>
                <c:pt idx="2173">
                  <c:v>6.0361111111111114</c:v>
                </c:pt>
                <c:pt idx="2174">
                  <c:v>6.0388888888888888</c:v>
                </c:pt>
                <c:pt idx="2175">
                  <c:v>6.041666666666667</c:v>
                </c:pt>
                <c:pt idx="2176">
                  <c:v>6.0444444444444443</c:v>
                </c:pt>
                <c:pt idx="2177">
                  <c:v>6.0472222222222225</c:v>
                </c:pt>
                <c:pt idx="2178">
                  <c:v>6.05</c:v>
                </c:pt>
                <c:pt idx="2179">
                  <c:v>6.052777777777778</c:v>
                </c:pt>
                <c:pt idx="2180">
                  <c:v>6.0555555555555554</c:v>
                </c:pt>
                <c:pt idx="2181">
                  <c:v>6.0583333333333336</c:v>
                </c:pt>
                <c:pt idx="2182">
                  <c:v>6.0611111111111109</c:v>
                </c:pt>
                <c:pt idx="2183">
                  <c:v>6.0638888888888891</c:v>
                </c:pt>
                <c:pt idx="2184">
                  <c:v>6.0666666666666664</c:v>
                </c:pt>
                <c:pt idx="2185">
                  <c:v>6.0694444444444446</c:v>
                </c:pt>
                <c:pt idx="2186">
                  <c:v>6.072222222222222</c:v>
                </c:pt>
                <c:pt idx="2187">
                  <c:v>6.0750000000000002</c:v>
                </c:pt>
                <c:pt idx="2188">
                  <c:v>6.0777777777777775</c:v>
                </c:pt>
                <c:pt idx="2189">
                  <c:v>6.0805555555555557</c:v>
                </c:pt>
                <c:pt idx="2190">
                  <c:v>6.083333333333333</c:v>
                </c:pt>
                <c:pt idx="2191">
                  <c:v>6.0861111111111112</c:v>
                </c:pt>
                <c:pt idx="2192">
                  <c:v>6.0888888888888886</c:v>
                </c:pt>
                <c:pt idx="2193">
                  <c:v>6.0916666666666668</c:v>
                </c:pt>
                <c:pt idx="2194">
                  <c:v>6.0944444444444441</c:v>
                </c:pt>
                <c:pt idx="2195">
                  <c:v>6.0972222222222223</c:v>
                </c:pt>
                <c:pt idx="2196">
                  <c:v>6.1</c:v>
                </c:pt>
                <c:pt idx="2197">
                  <c:v>6.1027777777777779</c:v>
                </c:pt>
                <c:pt idx="2198">
                  <c:v>6.1055555555555552</c:v>
                </c:pt>
                <c:pt idx="2199">
                  <c:v>6.1083333333333334</c:v>
                </c:pt>
                <c:pt idx="2200">
                  <c:v>6.1111111111111107</c:v>
                </c:pt>
                <c:pt idx="2201">
                  <c:v>6.1138888888888889</c:v>
                </c:pt>
                <c:pt idx="2202">
                  <c:v>6.1166666666666663</c:v>
                </c:pt>
                <c:pt idx="2203">
                  <c:v>6.1194444444444445</c:v>
                </c:pt>
                <c:pt idx="2204">
                  <c:v>6.1222222222222218</c:v>
                </c:pt>
                <c:pt idx="2205">
                  <c:v>6.125</c:v>
                </c:pt>
                <c:pt idx="2206">
                  <c:v>6.1277777777777782</c:v>
                </c:pt>
                <c:pt idx="2207">
                  <c:v>6.1305555555555555</c:v>
                </c:pt>
                <c:pt idx="2208">
                  <c:v>6.1333333333333337</c:v>
                </c:pt>
                <c:pt idx="2209">
                  <c:v>6.1361111111111111</c:v>
                </c:pt>
                <c:pt idx="2210">
                  <c:v>6.1388888888888893</c:v>
                </c:pt>
                <c:pt idx="2211">
                  <c:v>6.1416666666666666</c:v>
                </c:pt>
                <c:pt idx="2212">
                  <c:v>6.1444444444444448</c:v>
                </c:pt>
                <c:pt idx="2213">
                  <c:v>6.1472222222222221</c:v>
                </c:pt>
                <c:pt idx="2214">
                  <c:v>6.15</c:v>
                </c:pt>
                <c:pt idx="2215">
                  <c:v>6.1527777777777777</c:v>
                </c:pt>
                <c:pt idx="2216">
                  <c:v>6.1555555555555559</c:v>
                </c:pt>
                <c:pt idx="2217">
                  <c:v>6.1583333333333332</c:v>
                </c:pt>
                <c:pt idx="2218">
                  <c:v>6.1611111111111114</c:v>
                </c:pt>
                <c:pt idx="2219">
                  <c:v>6.1638888888888888</c:v>
                </c:pt>
                <c:pt idx="2220">
                  <c:v>6.166666666666667</c:v>
                </c:pt>
                <c:pt idx="2221">
                  <c:v>6.1694444444444443</c:v>
                </c:pt>
                <c:pt idx="2222">
                  <c:v>6.1722222222222225</c:v>
                </c:pt>
                <c:pt idx="2223">
                  <c:v>6.1749999999999998</c:v>
                </c:pt>
                <c:pt idx="2224">
                  <c:v>6.177777777777778</c:v>
                </c:pt>
                <c:pt idx="2225">
                  <c:v>6.1805555555555554</c:v>
                </c:pt>
                <c:pt idx="2226">
                  <c:v>6.1833333333333336</c:v>
                </c:pt>
                <c:pt idx="2227">
                  <c:v>6.1861111111111109</c:v>
                </c:pt>
                <c:pt idx="2228">
                  <c:v>6.1888888888888891</c:v>
                </c:pt>
                <c:pt idx="2229">
                  <c:v>6.1916666666666664</c:v>
                </c:pt>
                <c:pt idx="2230">
                  <c:v>6.1944444444444446</c:v>
                </c:pt>
                <c:pt idx="2231">
                  <c:v>6.197222222222222</c:v>
                </c:pt>
                <c:pt idx="2232">
                  <c:v>6.2</c:v>
                </c:pt>
                <c:pt idx="2233">
                  <c:v>6.2027777777777775</c:v>
                </c:pt>
                <c:pt idx="2234">
                  <c:v>6.2055555555555557</c:v>
                </c:pt>
                <c:pt idx="2235">
                  <c:v>6.208333333333333</c:v>
                </c:pt>
                <c:pt idx="2236">
                  <c:v>6.2111111111111112</c:v>
                </c:pt>
                <c:pt idx="2237">
                  <c:v>6.2138888888888886</c:v>
                </c:pt>
                <c:pt idx="2238">
                  <c:v>6.2166666666666668</c:v>
                </c:pt>
                <c:pt idx="2239">
                  <c:v>6.2194444444444441</c:v>
                </c:pt>
                <c:pt idx="2240">
                  <c:v>6.2222222222222223</c:v>
                </c:pt>
                <c:pt idx="2241">
                  <c:v>6.2249999999999996</c:v>
                </c:pt>
                <c:pt idx="2242">
                  <c:v>6.2277777777777779</c:v>
                </c:pt>
                <c:pt idx="2243">
                  <c:v>6.2305555555555552</c:v>
                </c:pt>
                <c:pt idx="2244">
                  <c:v>6.2333333333333334</c:v>
                </c:pt>
                <c:pt idx="2245">
                  <c:v>6.2361111111111107</c:v>
                </c:pt>
                <c:pt idx="2246">
                  <c:v>6.2388888888888889</c:v>
                </c:pt>
                <c:pt idx="2247">
                  <c:v>6.2416666666666663</c:v>
                </c:pt>
                <c:pt idx="2248">
                  <c:v>6.2444444444444445</c:v>
                </c:pt>
                <c:pt idx="2249">
                  <c:v>6.2472222222222218</c:v>
                </c:pt>
                <c:pt idx="2250">
                  <c:v>6.25</c:v>
                </c:pt>
                <c:pt idx="2251">
                  <c:v>6.2527777777777782</c:v>
                </c:pt>
                <c:pt idx="2252">
                  <c:v>6.2555555555555555</c:v>
                </c:pt>
                <c:pt idx="2253">
                  <c:v>6.2583333333333337</c:v>
                </c:pt>
                <c:pt idx="2254">
                  <c:v>6.2611111111111111</c:v>
                </c:pt>
                <c:pt idx="2255">
                  <c:v>6.2638888888888893</c:v>
                </c:pt>
                <c:pt idx="2256">
                  <c:v>6.2666666666666666</c:v>
                </c:pt>
                <c:pt idx="2257">
                  <c:v>6.2694444444444448</c:v>
                </c:pt>
                <c:pt idx="2258">
                  <c:v>6.2722222222222221</c:v>
                </c:pt>
                <c:pt idx="2259">
                  <c:v>6.2750000000000004</c:v>
                </c:pt>
                <c:pt idx="2260">
                  <c:v>6.2777777777777777</c:v>
                </c:pt>
                <c:pt idx="2261">
                  <c:v>6.2805555555555559</c:v>
                </c:pt>
                <c:pt idx="2262">
                  <c:v>6.2833333333333332</c:v>
                </c:pt>
                <c:pt idx="2263">
                  <c:v>6.2861111111111114</c:v>
                </c:pt>
                <c:pt idx="2264">
                  <c:v>6.2888888888888888</c:v>
                </c:pt>
                <c:pt idx="2265">
                  <c:v>6.291666666666667</c:v>
                </c:pt>
                <c:pt idx="2266">
                  <c:v>6.2944444444444443</c:v>
                </c:pt>
                <c:pt idx="2267">
                  <c:v>6.2972222222222225</c:v>
                </c:pt>
                <c:pt idx="2268">
                  <c:v>6.3</c:v>
                </c:pt>
                <c:pt idx="2269">
                  <c:v>6.302777777777778</c:v>
                </c:pt>
                <c:pt idx="2270">
                  <c:v>6.3055555555555554</c:v>
                </c:pt>
                <c:pt idx="2271">
                  <c:v>6.3083333333333336</c:v>
                </c:pt>
                <c:pt idx="2272">
                  <c:v>6.3111111111111109</c:v>
                </c:pt>
                <c:pt idx="2273">
                  <c:v>6.3138888888888891</c:v>
                </c:pt>
                <c:pt idx="2274">
                  <c:v>6.3166666666666664</c:v>
                </c:pt>
                <c:pt idx="2275">
                  <c:v>6.3194444444444446</c:v>
                </c:pt>
                <c:pt idx="2276">
                  <c:v>6.322222222222222</c:v>
                </c:pt>
                <c:pt idx="2277">
                  <c:v>6.3250000000000002</c:v>
                </c:pt>
                <c:pt idx="2278">
                  <c:v>6.3277777777777775</c:v>
                </c:pt>
                <c:pt idx="2279">
                  <c:v>6.3305555555555557</c:v>
                </c:pt>
                <c:pt idx="2280">
                  <c:v>6.333333333333333</c:v>
                </c:pt>
                <c:pt idx="2281">
                  <c:v>6.3361111111111112</c:v>
                </c:pt>
                <c:pt idx="2282">
                  <c:v>6.3388888888888886</c:v>
                </c:pt>
                <c:pt idx="2283">
                  <c:v>6.3416666666666668</c:v>
                </c:pt>
                <c:pt idx="2284">
                  <c:v>6.3444444444444441</c:v>
                </c:pt>
                <c:pt idx="2285">
                  <c:v>6.3472222222222223</c:v>
                </c:pt>
                <c:pt idx="2286">
                  <c:v>6.35</c:v>
                </c:pt>
                <c:pt idx="2287">
                  <c:v>6.3527777777777779</c:v>
                </c:pt>
                <c:pt idx="2288">
                  <c:v>6.3555555555555552</c:v>
                </c:pt>
                <c:pt idx="2289">
                  <c:v>6.3583333333333334</c:v>
                </c:pt>
                <c:pt idx="2290">
                  <c:v>6.3611111111111107</c:v>
                </c:pt>
                <c:pt idx="2291">
                  <c:v>6.3638888888888889</c:v>
                </c:pt>
                <c:pt idx="2292">
                  <c:v>6.3666666666666663</c:v>
                </c:pt>
                <c:pt idx="2293">
                  <c:v>6.3694444444444445</c:v>
                </c:pt>
                <c:pt idx="2294">
                  <c:v>6.3722222222222218</c:v>
                </c:pt>
                <c:pt idx="2295">
                  <c:v>6.375</c:v>
                </c:pt>
                <c:pt idx="2296">
                  <c:v>6.3777777777777782</c:v>
                </c:pt>
                <c:pt idx="2297">
                  <c:v>6.3805555555555555</c:v>
                </c:pt>
                <c:pt idx="2298">
                  <c:v>6.3833333333333337</c:v>
                </c:pt>
                <c:pt idx="2299">
                  <c:v>6.3861111111111111</c:v>
                </c:pt>
                <c:pt idx="2300">
                  <c:v>6.3888888888888893</c:v>
                </c:pt>
                <c:pt idx="2301">
                  <c:v>6.3916666666666666</c:v>
                </c:pt>
                <c:pt idx="2302">
                  <c:v>6.3944444444444448</c:v>
                </c:pt>
                <c:pt idx="2303">
                  <c:v>6.3972222222222221</c:v>
                </c:pt>
                <c:pt idx="2304">
                  <c:v>6.4</c:v>
                </c:pt>
                <c:pt idx="2305">
                  <c:v>6.4027777777777777</c:v>
                </c:pt>
                <c:pt idx="2306">
                  <c:v>6.4055555555555559</c:v>
                </c:pt>
                <c:pt idx="2307">
                  <c:v>6.4083333333333332</c:v>
                </c:pt>
                <c:pt idx="2308">
                  <c:v>6.4111111111111114</c:v>
                </c:pt>
                <c:pt idx="2309">
                  <c:v>6.4138888888888888</c:v>
                </c:pt>
                <c:pt idx="2310">
                  <c:v>6.416666666666667</c:v>
                </c:pt>
                <c:pt idx="2311">
                  <c:v>6.4194444444444443</c:v>
                </c:pt>
                <c:pt idx="2312">
                  <c:v>6.4222222222222225</c:v>
                </c:pt>
                <c:pt idx="2313">
                  <c:v>6.4249999999999998</c:v>
                </c:pt>
                <c:pt idx="2314">
                  <c:v>6.427777777777778</c:v>
                </c:pt>
                <c:pt idx="2315">
                  <c:v>6.4305555555555554</c:v>
                </c:pt>
                <c:pt idx="2316">
                  <c:v>6.4333333333333336</c:v>
                </c:pt>
                <c:pt idx="2317">
                  <c:v>6.4361111111111109</c:v>
                </c:pt>
                <c:pt idx="2318">
                  <c:v>6.4388888888888891</c:v>
                </c:pt>
                <c:pt idx="2319">
                  <c:v>6.4416666666666664</c:v>
                </c:pt>
                <c:pt idx="2320">
                  <c:v>6.4444444444444446</c:v>
                </c:pt>
                <c:pt idx="2321">
                  <c:v>6.447222222222222</c:v>
                </c:pt>
                <c:pt idx="2322">
                  <c:v>6.45</c:v>
                </c:pt>
                <c:pt idx="2323">
                  <c:v>6.4527777777777775</c:v>
                </c:pt>
                <c:pt idx="2324">
                  <c:v>6.4555555555555557</c:v>
                </c:pt>
                <c:pt idx="2325">
                  <c:v>6.458333333333333</c:v>
                </c:pt>
                <c:pt idx="2326">
                  <c:v>6.4611111111111112</c:v>
                </c:pt>
                <c:pt idx="2327">
                  <c:v>6.4638888888888886</c:v>
                </c:pt>
                <c:pt idx="2328">
                  <c:v>6.4666666666666668</c:v>
                </c:pt>
                <c:pt idx="2329">
                  <c:v>6.4694444444444441</c:v>
                </c:pt>
                <c:pt idx="2330">
                  <c:v>6.4722222222222223</c:v>
                </c:pt>
                <c:pt idx="2331">
                  <c:v>6.4749999999999996</c:v>
                </c:pt>
                <c:pt idx="2332">
                  <c:v>6.4777777777777779</c:v>
                </c:pt>
                <c:pt idx="2333">
                  <c:v>6.4805555555555552</c:v>
                </c:pt>
                <c:pt idx="2334">
                  <c:v>6.4833333333333334</c:v>
                </c:pt>
                <c:pt idx="2335">
                  <c:v>6.4861111111111107</c:v>
                </c:pt>
                <c:pt idx="2336">
                  <c:v>6.4888888888888889</c:v>
                </c:pt>
                <c:pt idx="2337">
                  <c:v>6.4916666666666663</c:v>
                </c:pt>
                <c:pt idx="2338">
                  <c:v>6.4944444444444445</c:v>
                </c:pt>
                <c:pt idx="2339">
                  <c:v>6.4972222222222218</c:v>
                </c:pt>
                <c:pt idx="2340">
                  <c:v>6.5</c:v>
                </c:pt>
                <c:pt idx="2341">
                  <c:v>6.5027777777777782</c:v>
                </c:pt>
                <c:pt idx="2342">
                  <c:v>6.5055555555555555</c:v>
                </c:pt>
                <c:pt idx="2343">
                  <c:v>6.5083333333333337</c:v>
                </c:pt>
                <c:pt idx="2344">
                  <c:v>6.5111111111111111</c:v>
                </c:pt>
                <c:pt idx="2345">
                  <c:v>6.5138888888888893</c:v>
                </c:pt>
                <c:pt idx="2346">
                  <c:v>6.5166666666666666</c:v>
                </c:pt>
                <c:pt idx="2347">
                  <c:v>6.5194444444444448</c:v>
                </c:pt>
                <c:pt idx="2348">
                  <c:v>6.5222222222222221</c:v>
                </c:pt>
                <c:pt idx="2349">
                  <c:v>6.5250000000000004</c:v>
                </c:pt>
                <c:pt idx="2350">
                  <c:v>6.5277777777777777</c:v>
                </c:pt>
                <c:pt idx="2351">
                  <c:v>6.5305555555555559</c:v>
                </c:pt>
                <c:pt idx="2352">
                  <c:v>6.5333333333333332</c:v>
                </c:pt>
                <c:pt idx="2353">
                  <c:v>6.5361111111111114</c:v>
                </c:pt>
                <c:pt idx="2354">
                  <c:v>6.5388888888888888</c:v>
                </c:pt>
                <c:pt idx="2355">
                  <c:v>6.541666666666667</c:v>
                </c:pt>
                <c:pt idx="2356">
                  <c:v>6.5444444444444443</c:v>
                </c:pt>
                <c:pt idx="2357">
                  <c:v>6.5472222222222225</c:v>
                </c:pt>
                <c:pt idx="2358">
                  <c:v>6.55</c:v>
                </c:pt>
                <c:pt idx="2359">
                  <c:v>6.552777777777778</c:v>
                </c:pt>
                <c:pt idx="2360">
                  <c:v>6.5555555555555554</c:v>
                </c:pt>
                <c:pt idx="2361">
                  <c:v>6.5583333333333336</c:v>
                </c:pt>
                <c:pt idx="2362">
                  <c:v>6.5611111111111109</c:v>
                </c:pt>
                <c:pt idx="2363">
                  <c:v>6.5638888888888891</c:v>
                </c:pt>
                <c:pt idx="2364">
                  <c:v>6.5666666666666664</c:v>
                </c:pt>
                <c:pt idx="2365">
                  <c:v>6.5694444444444446</c:v>
                </c:pt>
                <c:pt idx="2366">
                  <c:v>6.572222222222222</c:v>
                </c:pt>
                <c:pt idx="2367">
                  <c:v>6.5750000000000002</c:v>
                </c:pt>
                <c:pt idx="2368">
                  <c:v>6.5777777777777775</c:v>
                </c:pt>
                <c:pt idx="2369">
                  <c:v>6.5805555555555557</c:v>
                </c:pt>
                <c:pt idx="2370">
                  <c:v>6.583333333333333</c:v>
                </c:pt>
                <c:pt idx="2371">
                  <c:v>6.5861111111111112</c:v>
                </c:pt>
                <c:pt idx="2372">
                  <c:v>6.5888888888888886</c:v>
                </c:pt>
                <c:pt idx="2373">
                  <c:v>6.5916666666666668</c:v>
                </c:pt>
                <c:pt idx="2374">
                  <c:v>6.5944444444444441</c:v>
                </c:pt>
                <c:pt idx="2375">
                  <c:v>6.5972222222222223</c:v>
                </c:pt>
                <c:pt idx="2376">
                  <c:v>6.6</c:v>
                </c:pt>
                <c:pt idx="2377">
                  <c:v>6.6027777777777779</c:v>
                </c:pt>
                <c:pt idx="2378">
                  <c:v>6.6055555555555552</c:v>
                </c:pt>
                <c:pt idx="2379">
                  <c:v>6.6083333333333334</c:v>
                </c:pt>
                <c:pt idx="2380">
                  <c:v>6.6111111111111107</c:v>
                </c:pt>
                <c:pt idx="2381">
                  <c:v>6.6138888888888889</c:v>
                </c:pt>
                <c:pt idx="2382">
                  <c:v>6.6166666666666663</c:v>
                </c:pt>
                <c:pt idx="2383">
                  <c:v>6.6194444444444445</c:v>
                </c:pt>
                <c:pt idx="2384">
                  <c:v>6.6222222222222218</c:v>
                </c:pt>
                <c:pt idx="2385">
                  <c:v>6.625</c:v>
                </c:pt>
                <c:pt idx="2386">
                  <c:v>6.6277777777777782</c:v>
                </c:pt>
                <c:pt idx="2387">
                  <c:v>6.6305555555555555</c:v>
                </c:pt>
                <c:pt idx="2388">
                  <c:v>6.6333333333333337</c:v>
                </c:pt>
                <c:pt idx="2389">
                  <c:v>6.6361111111111111</c:v>
                </c:pt>
                <c:pt idx="2390">
                  <c:v>6.6388888888888893</c:v>
                </c:pt>
                <c:pt idx="2391">
                  <c:v>6.6416666666666666</c:v>
                </c:pt>
                <c:pt idx="2392">
                  <c:v>6.6444444444444448</c:v>
                </c:pt>
                <c:pt idx="2393">
                  <c:v>6.6472222222222221</c:v>
                </c:pt>
                <c:pt idx="2394">
                  <c:v>6.65</c:v>
                </c:pt>
                <c:pt idx="2395">
                  <c:v>6.6527777777777777</c:v>
                </c:pt>
                <c:pt idx="2396">
                  <c:v>6.6555555555555559</c:v>
                </c:pt>
                <c:pt idx="2397">
                  <c:v>6.6583333333333332</c:v>
                </c:pt>
                <c:pt idx="2398">
                  <c:v>6.6611111111111114</c:v>
                </c:pt>
                <c:pt idx="2399">
                  <c:v>6.6638888888888888</c:v>
                </c:pt>
                <c:pt idx="2400">
                  <c:v>6.666666666666667</c:v>
                </c:pt>
                <c:pt idx="2401">
                  <c:v>6.6694444444444443</c:v>
                </c:pt>
                <c:pt idx="2402">
                  <c:v>6.6722222222222225</c:v>
                </c:pt>
                <c:pt idx="2403">
                  <c:v>6.6749999999999998</c:v>
                </c:pt>
                <c:pt idx="2404">
                  <c:v>6.677777777777778</c:v>
                </c:pt>
                <c:pt idx="2405">
                  <c:v>6.6805555555555554</c:v>
                </c:pt>
                <c:pt idx="2406">
                  <c:v>6.6833333333333336</c:v>
                </c:pt>
                <c:pt idx="2407">
                  <c:v>6.6861111111111109</c:v>
                </c:pt>
                <c:pt idx="2408">
                  <c:v>6.6888888888888891</c:v>
                </c:pt>
                <c:pt idx="2409">
                  <c:v>6.6916666666666664</c:v>
                </c:pt>
                <c:pt idx="2410">
                  <c:v>6.6944444444444446</c:v>
                </c:pt>
                <c:pt idx="2411">
                  <c:v>6.697222222222222</c:v>
                </c:pt>
                <c:pt idx="2412">
                  <c:v>6.7</c:v>
                </c:pt>
                <c:pt idx="2413">
                  <c:v>6.7027777777777775</c:v>
                </c:pt>
                <c:pt idx="2414">
                  <c:v>6.7055555555555557</c:v>
                </c:pt>
                <c:pt idx="2415">
                  <c:v>6.708333333333333</c:v>
                </c:pt>
                <c:pt idx="2416">
                  <c:v>6.7111111111111112</c:v>
                </c:pt>
                <c:pt idx="2417">
                  <c:v>6.7138888888888886</c:v>
                </c:pt>
                <c:pt idx="2418">
                  <c:v>6.7166666666666668</c:v>
                </c:pt>
                <c:pt idx="2419">
                  <c:v>6.7194444444444441</c:v>
                </c:pt>
                <c:pt idx="2420">
                  <c:v>6.7222222222222223</c:v>
                </c:pt>
                <c:pt idx="2421">
                  <c:v>6.7249999999999996</c:v>
                </c:pt>
                <c:pt idx="2422">
                  <c:v>6.7277777777777779</c:v>
                </c:pt>
                <c:pt idx="2423">
                  <c:v>6.7305555555555552</c:v>
                </c:pt>
                <c:pt idx="2424">
                  <c:v>6.7333333333333334</c:v>
                </c:pt>
                <c:pt idx="2425">
                  <c:v>6.7361111111111107</c:v>
                </c:pt>
                <c:pt idx="2426">
                  <c:v>6.7388888888888889</c:v>
                </c:pt>
                <c:pt idx="2427">
                  <c:v>6.7416666666666663</c:v>
                </c:pt>
                <c:pt idx="2428">
                  <c:v>6.7444444444444445</c:v>
                </c:pt>
                <c:pt idx="2429">
                  <c:v>6.7472222222222218</c:v>
                </c:pt>
                <c:pt idx="2430">
                  <c:v>6.75</c:v>
                </c:pt>
                <c:pt idx="2431">
                  <c:v>6.7527777777777782</c:v>
                </c:pt>
                <c:pt idx="2432">
                  <c:v>6.7555555555555555</c:v>
                </c:pt>
                <c:pt idx="2433">
                  <c:v>6.7583333333333337</c:v>
                </c:pt>
                <c:pt idx="2434">
                  <c:v>6.7611111111111111</c:v>
                </c:pt>
                <c:pt idx="2435">
                  <c:v>6.7638888888888893</c:v>
                </c:pt>
                <c:pt idx="2436">
                  <c:v>6.7666666666666666</c:v>
                </c:pt>
                <c:pt idx="2437">
                  <c:v>6.7694444444444448</c:v>
                </c:pt>
                <c:pt idx="2438">
                  <c:v>6.7722222222222221</c:v>
                </c:pt>
                <c:pt idx="2439">
                  <c:v>6.7750000000000004</c:v>
                </c:pt>
                <c:pt idx="2440">
                  <c:v>6.7777777777777777</c:v>
                </c:pt>
                <c:pt idx="2441">
                  <c:v>6.7805555555555559</c:v>
                </c:pt>
                <c:pt idx="2442">
                  <c:v>6.7833333333333332</c:v>
                </c:pt>
                <c:pt idx="2443">
                  <c:v>6.7861111111111114</c:v>
                </c:pt>
                <c:pt idx="2444">
                  <c:v>6.7888888888888888</c:v>
                </c:pt>
                <c:pt idx="2445">
                  <c:v>6.791666666666667</c:v>
                </c:pt>
                <c:pt idx="2446">
                  <c:v>6.7944444444444443</c:v>
                </c:pt>
                <c:pt idx="2447">
                  <c:v>6.7972222222222225</c:v>
                </c:pt>
                <c:pt idx="2448">
                  <c:v>6.8</c:v>
                </c:pt>
                <c:pt idx="2449">
                  <c:v>6.802777777777778</c:v>
                </c:pt>
                <c:pt idx="2450">
                  <c:v>6.8055555555555554</c:v>
                </c:pt>
                <c:pt idx="2451">
                  <c:v>6.8083333333333336</c:v>
                </c:pt>
                <c:pt idx="2452">
                  <c:v>6.8111111111111109</c:v>
                </c:pt>
                <c:pt idx="2453">
                  <c:v>6.8138888888888891</c:v>
                </c:pt>
                <c:pt idx="2454">
                  <c:v>6.8166666666666664</c:v>
                </c:pt>
                <c:pt idx="2455">
                  <c:v>6.8194444444444446</c:v>
                </c:pt>
                <c:pt idx="2456">
                  <c:v>6.822222222222222</c:v>
                </c:pt>
                <c:pt idx="2457">
                  <c:v>6.8250000000000002</c:v>
                </c:pt>
                <c:pt idx="2458">
                  <c:v>6.8277777777777775</c:v>
                </c:pt>
                <c:pt idx="2459">
                  <c:v>6.8305555555555557</c:v>
                </c:pt>
                <c:pt idx="2460">
                  <c:v>6.833333333333333</c:v>
                </c:pt>
                <c:pt idx="2461">
                  <c:v>6.8361111111111112</c:v>
                </c:pt>
                <c:pt idx="2462">
                  <c:v>6.8388888888888886</c:v>
                </c:pt>
                <c:pt idx="2463">
                  <c:v>6.8416666666666668</c:v>
                </c:pt>
                <c:pt idx="2464">
                  <c:v>6.8444444444444441</c:v>
                </c:pt>
                <c:pt idx="2465">
                  <c:v>6.8472222222222223</c:v>
                </c:pt>
                <c:pt idx="2466">
                  <c:v>6.85</c:v>
                </c:pt>
                <c:pt idx="2467">
                  <c:v>6.8527777777777779</c:v>
                </c:pt>
                <c:pt idx="2468">
                  <c:v>6.8555555555555552</c:v>
                </c:pt>
                <c:pt idx="2469">
                  <c:v>6.8583333333333334</c:v>
                </c:pt>
                <c:pt idx="2470">
                  <c:v>6.8611111111111107</c:v>
                </c:pt>
                <c:pt idx="2471">
                  <c:v>6.8638888888888889</c:v>
                </c:pt>
                <c:pt idx="2472">
                  <c:v>6.8666666666666663</c:v>
                </c:pt>
                <c:pt idx="2473">
                  <c:v>6.8694444444444445</c:v>
                </c:pt>
                <c:pt idx="2474">
                  <c:v>6.8722222222222218</c:v>
                </c:pt>
                <c:pt idx="2475">
                  <c:v>6.875</c:v>
                </c:pt>
                <c:pt idx="2476">
                  <c:v>6.8777777777777782</c:v>
                </c:pt>
                <c:pt idx="2477">
                  <c:v>6.8805555555555555</c:v>
                </c:pt>
                <c:pt idx="2478">
                  <c:v>6.8833333333333337</c:v>
                </c:pt>
                <c:pt idx="2479">
                  <c:v>6.8861111111111111</c:v>
                </c:pt>
                <c:pt idx="2480">
                  <c:v>6.8888888888888893</c:v>
                </c:pt>
                <c:pt idx="2481">
                  <c:v>6.8916666666666666</c:v>
                </c:pt>
                <c:pt idx="2482">
                  <c:v>6.8944444444444448</c:v>
                </c:pt>
                <c:pt idx="2483">
                  <c:v>6.8972222222222221</c:v>
                </c:pt>
                <c:pt idx="2484">
                  <c:v>6.9</c:v>
                </c:pt>
                <c:pt idx="2485">
                  <c:v>6.9027777777777777</c:v>
                </c:pt>
                <c:pt idx="2486">
                  <c:v>6.9055555555555559</c:v>
                </c:pt>
                <c:pt idx="2487">
                  <c:v>6.9083333333333332</c:v>
                </c:pt>
                <c:pt idx="2488">
                  <c:v>6.9111111111111114</c:v>
                </c:pt>
                <c:pt idx="2489">
                  <c:v>6.9138888888888888</c:v>
                </c:pt>
                <c:pt idx="2490">
                  <c:v>6.916666666666667</c:v>
                </c:pt>
                <c:pt idx="2491">
                  <c:v>6.9194444444444443</c:v>
                </c:pt>
                <c:pt idx="2492">
                  <c:v>6.9222222222222225</c:v>
                </c:pt>
                <c:pt idx="2493">
                  <c:v>6.9249999999999998</c:v>
                </c:pt>
                <c:pt idx="2494">
                  <c:v>6.927777777777778</c:v>
                </c:pt>
                <c:pt idx="2495">
                  <c:v>6.9305555555555554</c:v>
                </c:pt>
                <c:pt idx="2496">
                  <c:v>6.9333333333333336</c:v>
                </c:pt>
                <c:pt idx="2497">
                  <c:v>6.9361111111111109</c:v>
                </c:pt>
                <c:pt idx="2498">
                  <c:v>6.9388888888888891</c:v>
                </c:pt>
                <c:pt idx="2499">
                  <c:v>6.9416666666666664</c:v>
                </c:pt>
                <c:pt idx="2500">
                  <c:v>6.9444444444444446</c:v>
                </c:pt>
                <c:pt idx="2501">
                  <c:v>6.947222222222222</c:v>
                </c:pt>
                <c:pt idx="2502">
                  <c:v>6.95</c:v>
                </c:pt>
                <c:pt idx="2503">
                  <c:v>6.9527777777777775</c:v>
                </c:pt>
                <c:pt idx="2504">
                  <c:v>6.9555555555555557</c:v>
                </c:pt>
                <c:pt idx="2505">
                  <c:v>6.958333333333333</c:v>
                </c:pt>
                <c:pt idx="2506">
                  <c:v>6.9611111111111112</c:v>
                </c:pt>
                <c:pt idx="2507">
                  <c:v>6.9638888888888886</c:v>
                </c:pt>
                <c:pt idx="2508">
                  <c:v>6.9666666666666668</c:v>
                </c:pt>
                <c:pt idx="2509">
                  <c:v>6.9694444444444441</c:v>
                </c:pt>
                <c:pt idx="2510">
                  <c:v>6.9722222222222223</c:v>
                </c:pt>
                <c:pt idx="2511">
                  <c:v>6.9749999999999996</c:v>
                </c:pt>
                <c:pt idx="2512">
                  <c:v>6.9777777777777779</c:v>
                </c:pt>
                <c:pt idx="2513">
                  <c:v>6.9805555555555552</c:v>
                </c:pt>
                <c:pt idx="2514">
                  <c:v>6.9833333333333334</c:v>
                </c:pt>
                <c:pt idx="2515">
                  <c:v>6.9861111111111107</c:v>
                </c:pt>
                <c:pt idx="2516">
                  <c:v>6.9888888888888889</c:v>
                </c:pt>
                <c:pt idx="2517">
                  <c:v>6.9916666666666663</c:v>
                </c:pt>
                <c:pt idx="2518">
                  <c:v>6.9944444444444445</c:v>
                </c:pt>
                <c:pt idx="2519">
                  <c:v>6.9972222222222218</c:v>
                </c:pt>
                <c:pt idx="2520">
                  <c:v>7</c:v>
                </c:pt>
                <c:pt idx="2521">
                  <c:v>7.0027777777777782</c:v>
                </c:pt>
                <c:pt idx="2522">
                  <c:v>7.0055555555555555</c:v>
                </c:pt>
                <c:pt idx="2523">
                  <c:v>7.0083333333333337</c:v>
                </c:pt>
                <c:pt idx="2524">
                  <c:v>7.0111111111111111</c:v>
                </c:pt>
                <c:pt idx="2525">
                  <c:v>7.0138888888888893</c:v>
                </c:pt>
                <c:pt idx="2526">
                  <c:v>7.0166666666666666</c:v>
                </c:pt>
                <c:pt idx="2527">
                  <c:v>7.0194444444444448</c:v>
                </c:pt>
                <c:pt idx="2528">
                  <c:v>7.0222222222222221</c:v>
                </c:pt>
                <c:pt idx="2529">
                  <c:v>7.0250000000000004</c:v>
                </c:pt>
                <c:pt idx="2530">
                  <c:v>7.0277777777777777</c:v>
                </c:pt>
                <c:pt idx="2531">
                  <c:v>7.0305555555555559</c:v>
                </c:pt>
                <c:pt idx="2532">
                  <c:v>7.0333333333333332</c:v>
                </c:pt>
                <c:pt idx="2533">
                  <c:v>7.0361111111111114</c:v>
                </c:pt>
                <c:pt idx="2534">
                  <c:v>7.0388888888888888</c:v>
                </c:pt>
                <c:pt idx="2535">
                  <c:v>7.041666666666667</c:v>
                </c:pt>
                <c:pt idx="2536">
                  <c:v>7.0444444444444443</c:v>
                </c:pt>
                <c:pt idx="2537">
                  <c:v>7.0472222222222225</c:v>
                </c:pt>
                <c:pt idx="2538">
                  <c:v>7.05</c:v>
                </c:pt>
                <c:pt idx="2539">
                  <c:v>7.052777777777778</c:v>
                </c:pt>
                <c:pt idx="2540">
                  <c:v>7.0555555555555554</c:v>
                </c:pt>
                <c:pt idx="2541">
                  <c:v>7.0583333333333336</c:v>
                </c:pt>
                <c:pt idx="2542">
                  <c:v>7.0611111111111109</c:v>
                </c:pt>
                <c:pt idx="2543">
                  <c:v>7.0638888888888891</c:v>
                </c:pt>
                <c:pt idx="2544">
                  <c:v>7.0666666666666664</c:v>
                </c:pt>
                <c:pt idx="2545">
                  <c:v>7.0694444444444446</c:v>
                </c:pt>
                <c:pt idx="2546">
                  <c:v>7.072222222222222</c:v>
                </c:pt>
                <c:pt idx="2547">
                  <c:v>7.0750000000000002</c:v>
                </c:pt>
                <c:pt idx="2548">
                  <c:v>7.0777777777777775</c:v>
                </c:pt>
                <c:pt idx="2549">
                  <c:v>7.0805555555555557</c:v>
                </c:pt>
                <c:pt idx="2550">
                  <c:v>7.083333333333333</c:v>
                </c:pt>
                <c:pt idx="2551">
                  <c:v>7.0861111111111112</c:v>
                </c:pt>
                <c:pt idx="2552">
                  <c:v>7.0888888888888886</c:v>
                </c:pt>
                <c:pt idx="2553">
                  <c:v>7.0916666666666668</c:v>
                </c:pt>
                <c:pt idx="2554">
                  <c:v>7.0944444444444441</c:v>
                </c:pt>
                <c:pt idx="2555">
                  <c:v>7.0972222222222223</c:v>
                </c:pt>
                <c:pt idx="2556">
                  <c:v>7.1</c:v>
                </c:pt>
                <c:pt idx="2557">
                  <c:v>7.1027777777777779</c:v>
                </c:pt>
                <c:pt idx="2558">
                  <c:v>7.1055555555555552</c:v>
                </c:pt>
                <c:pt idx="2559">
                  <c:v>7.1083333333333334</c:v>
                </c:pt>
                <c:pt idx="2560">
                  <c:v>7.1111111111111107</c:v>
                </c:pt>
                <c:pt idx="2561">
                  <c:v>7.1138888888888889</c:v>
                </c:pt>
                <c:pt idx="2562">
                  <c:v>7.1166666666666663</c:v>
                </c:pt>
                <c:pt idx="2563">
                  <c:v>7.1194444444444445</c:v>
                </c:pt>
                <c:pt idx="2564">
                  <c:v>7.1222222222222218</c:v>
                </c:pt>
                <c:pt idx="2565">
                  <c:v>7.125</c:v>
                </c:pt>
                <c:pt idx="2566">
                  <c:v>7.1277777777777782</c:v>
                </c:pt>
                <c:pt idx="2567">
                  <c:v>7.1305555555555555</c:v>
                </c:pt>
                <c:pt idx="2568">
                  <c:v>7.1333333333333337</c:v>
                </c:pt>
                <c:pt idx="2569">
                  <c:v>7.1361111111111111</c:v>
                </c:pt>
                <c:pt idx="2570">
                  <c:v>7.1388888888888893</c:v>
                </c:pt>
                <c:pt idx="2571">
                  <c:v>7.1416666666666666</c:v>
                </c:pt>
                <c:pt idx="2572">
                  <c:v>7.1444444444444448</c:v>
                </c:pt>
                <c:pt idx="2573">
                  <c:v>7.1472222222222221</c:v>
                </c:pt>
                <c:pt idx="2574">
                  <c:v>7.15</c:v>
                </c:pt>
                <c:pt idx="2575">
                  <c:v>7.1527777777777777</c:v>
                </c:pt>
                <c:pt idx="2576">
                  <c:v>7.1555555555555559</c:v>
                </c:pt>
                <c:pt idx="2577">
                  <c:v>7.1583333333333332</c:v>
                </c:pt>
                <c:pt idx="2578">
                  <c:v>7.1611111111111114</c:v>
                </c:pt>
                <c:pt idx="2579">
                  <c:v>7.1638888888888888</c:v>
                </c:pt>
                <c:pt idx="2580">
                  <c:v>7.166666666666667</c:v>
                </c:pt>
                <c:pt idx="2581">
                  <c:v>7.1694444444444443</c:v>
                </c:pt>
                <c:pt idx="2582">
                  <c:v>7.1722222222222225</c:v>
                </c:pt>
                <c:pt idx="2583">
                  <c:v>7.1749999999999998</c:v>
                </c:pt>
                <c:pt idx="2584">
                  <c:v>7.177777777777778</c:v>
                </c:pt>
                <c:pt idx="2585">
                  <c:v>7.1805555555555554</c:v>
                </c:pt>
                <c:pt idx="2586">
                  <c:v>7.1833333333333336</c:v>
                </c:pt>
                <c:pt idx="2587">
                  <c:v>7.1861111111111109</c:v>
                </c:pt>
                <c:pt idx="2588">
                  <c:v>7.1888888888888891</c:v>
                </c:pt>
                <c:pt idx="2589">
                  <c:v>7.1916666666666664</c:v>
                </c:pt>
                <c:pt idx="2590">
                  <c:v>7.1944444444444446</c:v>
                </c:pt>
                <c:pt idx="2591">
                  <c:v>7.197222222222222</c:v>
                </c:pt>
                <c:pt idx="2592">
                  <c:v>7.2</c:v>
                </c:pt>
                <c:pt idx="2593">
                  <c:v>7.2027777777777775</c:v>
                </c:pt>
                <c:pt idx="2594">
                  <c:v>7.2055555555555557</c:v>
                </c:pt>
                <c:pt idx="2595">
                  <c:v>7.208333333333333</c:v>
                </c:pt>
                <c:pt idx="2596">
                  <c:v>7.2111111111111112</c:v>
                </c:pt>
                <c:pt idx="2597">
                  <c:v>7.2138888888888886</c:v>
                </c:pt>
                <c:pt idx="2598">
                  <c:v>7.2166666666666668</c:v>
                </c:pt>
                <c:pt idx="2599">
                  <c:v>7.2194444444444441</c:v>
                </c:pt>
                <c:pt idx="2600">
                  <c:v>7.2222222222222223</c:v>
                </c:pt>
                <c:pt idx="2601">
                  <c:v>7.2249999999999996</c:v>
                </c:pt>
                <c:pt idx="2602">
                  <c:v>7.2277777777777779</c:v>
                </c:pt>
                <c:pt idx="2603">
                  <c:v>7.2305555555555552</c:v>
                </c:pt>
                <c:pt idx="2604">
                  <c:v>7.2333333333333334</c:v>
                </c:pt>
                <c:pt idx="2605">
                  <c:v>7.2361111111111107</c:v>
                </c:pt>
                <c:pt idx="2606">
                  <c:v>7.2388888888888889</c:v>
                </c:pt>
                <c:pt idx="2607">
                  <c:v>7.2416666666666663</c:v>
                </c:pt>
                <c:pt idx="2608">
                  <c:v>7.2444444444444445</c:v>
                </c:pt>
                <c:pt idx="2609">
                  <c:v>7.2472222222222218</c:v>
                </c:pt>
                <c:pt idx="2610">
                  <c:v>7.25</c:v>
                </c:pt>
                <c:pt idx="2611">
                  <c:v>7.2527777777777782</c:v>
                </c:pt>
                <c:pt idx="2612">
                  <c:v>7.2555555555555555</c:v>
                </c:pt>
                <c:pt idx="2613">
                  <c:v>7.2583333333333337</c:v>
                </c:pt>
                <c:pt idx="2614">
                  <c:v>7.2611111111111111</c:v>
                </c:pt>
                <c:pt idx="2615">
                  <c:v>7.2638888888888893</c:v>
                </c:pt>
                <c:pt idx="2616">
                  <c:v>7.2666666666666666</c:v>
                </c:pt>
                <c:pt idx="2617">
                  <c:v>7.2694444444444448</c:v>
                </c:pt>
                <c:pt idx="2618">
                  <c:v>7.2722222222222221</c:v>
                </c:pt>
                <c:pt idx="2619">
                  <c:v>7.2750000000000004</c:v>
                </c:pt>
                <c:pt idx="2620">
                  <c:v>7.2777777777777777</c:v>
                </c:pt>
                <c:pt idx="2621">
                  <c:v>7.2805555555555559</c:v>
                </c:pt>
                <c:pt idx="2622">
                  <c:v>7.2833333333333332</c:v>
                </c:pt>
                <c:pt idx="2623">
                  <c:v>7.2861111111111114</c:v>
                </c:pt>
                <c:pt idx="2624">
                  <c:v>7.2888888888888888</c:v>
                </c:pt>
                <c:pt idx="2625">
                  <c:v>7.291666666666667</c:v>
                </c:pt>
                <c:pt idx="2626">
                  <c:v>7.2944444444444443</c:v>
                </c:pt>
                <c:pt idx="2627">
                  <c:v>7.2972222222222225</c:v>
                </c:pt>
                <c:pt idx="2628">
                  <c:v>7.3</c:v>
                </c:pt>
                <c:pt idx="2629">
                  <c:v>7.302777777777778</c:v>
                </c:pt>
                <c:pt idx="2630">
                  <c:v>7.3055555555555554</c:v>
                </c:pt>
                <c:pt idx="2631">
                  <c:v>7.3083333333333336</c:v>
                </c:pt>
                <c:pt idx="2632">
                  <c:v>7.3111111111111109</c:v>
                </c:pt>
                <c:pt idx="2633">
                  <c:v>7.3138888888888891</c:v>
                </c:pt>
                <c:pt idx="2634">
                  <c:v>7.3166666666666664</c:v>
                </c:pt>
                <c:pt idx="2635">
                  <c:v>7.3194444444444446</c:v>
                </c:pt>
                <c:pt idx="2636">
                  <c:v>7.322222222222222</c:v>
                </c:pt>
                <c:pt idx="2637">
                  <c:v>7.3250000000000002</c:v>
                </c:pt>
                <c:pt idx="2638">
                  <c:v>7.3277777777777775</c:v>
                </c:pt>
                <c:pt idx="2639">
                  <c:v>7.3305555555555557</c:v>
                </c:pt>
                <c:pt idx="2640">
                  <c:v>7.333333333333333</c:v>
                </c:pt>
                <c:pt idx="2641">
                  <c:v>7.3361111111111112</c:v>
                </c:pt>
                <c:pt idx="2642">
                  <c:v>7.3388888888888886</c:v>
                </c:pt>
                <c:pt idx="2643">
                  <c:v>7.3416666666666668</c:v>
                </c:pt>
                <c:pt idx="2644">
                  <c:v>7.3444444444444441</c:v>
                </c:pt>
                <c:pt idx="2645">
                  <c:v>7.3472222222222223</c:v>
                </c:pt>
                <c:pt idx="2646">
                  <c:v>7.35</c:v>
                </c:pt>
                <c:pt idx="2647">
                  <c:v>7.3527777777777779</c:v>
                </c:pt>
                <c:pt idx="2648">
                  <c:v>7.3555555555555552</c:v>
                </c:pt>
                <c:pt idx="2649">
                  <c:v>7.3583333333333334</c:v>
                </c:pt>
                <c:pt idx="2650">
                  <c:v>7.3611111111111107</c:v>
                </c:pt>
                <c:pt idx="2651">
                  <c:v>7.3638888888888889</c:v>
                </c:pt>
                <c:pt idx="2652">
                  <c:v>7.3666666666666663</c:v>
                </c:pt>
                <c:pt idx="2653">
                  <c:v>7.3694444444444445</c:v>
                </c:pt>
                <c:pt idx="2654">
                  <c:v>7.3722222222222218</c:v>
                </c:pt>
                <c:pt idx="2655">
                  <c:v>7.375</c:v>
                </c:pt>
                <c:pt idx="2656">
                  <c:v>7.3777777777777782</c:v>
                </c:pt>
                <c:pt idx="2657">
                  <c:v>7.3805555555555555</c:v>
                </c:pt>
                <c:pt idx="2658">
                  <c:v>7.3833333333333337</c:v>
                </c:pt>
                <c:pt idx="2659">
                  <c:v>7.3861111111111111</c:v>
                </c:pt>
                <c:pt idx="2660">
                  <c:v>7.3888888888888893</c:v>
                </c:pt>
                <c:pt idx="2661">
                  <c:v>7.3916666666666666</c:v>
                </c:pt>
                <c:pt idx="2662">
                  <c:v>7.3944444444444448</c:v>
                </c:pt>
                <c:pt idx="2663">
                  <c:v>7.3972222222222221</c:v>
                </c:pt>
                <c:pt idx="2664">
                  <c:v>7.4</c:v>
                </c:pt>
                <c:pt idx="2665">
                  <c:v>7.4027777777777777</c:v>
                </c:pt>
                <c:pt idx="2666">
                  <c:v>7.4055555555555559</c:v>
                </c:pt>
                <c:pt idx="2667">
                  <c:v>7.4083333333333332</c:v>
                </c:pt>
                <c:pt idx="2668">
                  <c:v>7.4111111111111114</c:v>
                </c:pt>
                <c:pt idx="2669">
                  <c:v>7.4138888888888888</c:v>
                </c:pt>
                <c:pt idx="2670">
                  <c:v>7.416666666666667</c:v>
                </c:pt>
                <c:pt idx="2671">
                  <c:v>7.4194444444444443</c:v>
                </c:pt>
                <c:pt idx="2672">
                  <c:v>7.4222222222222225</c:v>
                </c:pt>
                <c:pt idx="2673">
                  <c:v>7.4249999999999998</c:v>
                </c:pt>
                <c:pt idx="2674">
                  <c:v>7.427777777777778</c:v>
                </c:pt>
                <c:pt idx="2675">
                  <c:v>7.4305555555555554</c:v>
                </c:pt>
                <c:pt idx="2676">
                  <c:v>7.4333333333333336</c:v>
                </c:pt>
                <c:pt idx="2677">
                  <c:v>7.4361111111111109</c:v>
                </c:pt>
                <c:pt idx="2678">
                  <c:v>7.4388888888888891</c:v>
                </c:pt>
                <c:pt idx="2679">
                  <c:v>7.4416666666666664</c:v>
                </c:pt>
                <c:pt idx="2680">
                  <c:v>7.4444444444444446</c:v>
                </c:pt>
                <c:pt idx="2681">
                  <c:v>7.447222222222222</c:v>
                </c:pt>
                <c:pt idx="2682">
                  <c:v>7.45</c:v>
                </c:pt>
                <c:pt idx="2683">
                  <c:v>7.4527777777777775</c:v>
                </c:pt>
                <c:pt idx="2684">
                  <c:v>7.4555555555555557</c:v>
                </c:pt>
                <c:pt idx="2685">
                  <c:v>7.458333333333333</c:v>
                </c:pt>
                <c:pt idx="2686">
                  <c:v>7.4611111111111112</c:v>
                </c:pt>
                <c:pt idx="2687">
                  <c:v>7.4638888888888886</c:v>
                </c:pt>
                <c:pt idx="2688">
                  <c:v>7.4666666666666668</c:v>
                </c:pt>
                <c:pt idx="2689">
                  <c:v>7.4694444444444441</c:v>
                </c:pt>
                <c:pt idx="2690">
                  <c:v>7.4722222222222223</c:v>
                </c:pt>
                <c:pt idx="2691">
                  <c:v>7.4749999999999996</c:v>
                </c:pt>
                <c:pt idx="2692">
                  <c:v>7.4777777777777779</c:v>
                </c:pt>
                <c:pt idx="2693">
                  <c:v>7.4805555555555552</c:v>
                </c:pt>
                <c:pt idx="2694">
                  <c:v>7.4833333333333334</c:v>
                </c:pt>
                <c:pt idx="2695">
                  <c:v>7.4861111111111107</c:v>
                </c:pt>
                <c:pt idx="2696">
                  <c:v>7.4888888888888889</c:v>
                </c:pt>
                <c:pt idx="2697">
                  <c:v>7.4916666666666663</c:v>
                </c:pt>
                <c:pt idx="2698">
                  <c:v>7.4944444444444445</c:v>
                </c:pt>
                <c:pt idx="2699">
                  <c:v>7.4972222222222218</c:v>
                </c:pt>
                <c:pt idx="2700">
                  <c:v>7.5</c:v>
                </c:pt>
                <c:pt idx="2701">
                  <c:v>7.5027777777777782</c:v>
                </c:pt>
                <c:pt idx="2702">
                  <c:v>7.5055555555555555</c:v>
                </c:pt>
                <c:pt idx="2703">
                  <c:v>7.5083333333333337</c:v>
                </c:pt>
                <c:pt idx="2704">
                  <c:v>7.5111111111111111</c:v>
                </c:pt>
                <c:pt idx="2705">
                  <c:v>7.5138888888888893</c:v>
                </c:pt>
                <c:pt idx="2706">
                  <c:v>7.5166666666666666</c:v>
                </c:pt>
                <c:pt idx="2707">
                  <c:v>7.5194444444444448</c:v>
                </c:pt>
                <c:pt idx="2708">
                  <c:v>7.5222222222222221</c:v>
                </c:pt>
                <c:pt idx="2709">
                  <c:v>7.5250000000000004</c:v>
                </c:pt>
                <c:pt idx="2710">
                  <c:v>7.5277777777777777</c:v>
                </c:pt>
                <c:pt idx="2711">
                  <c:v>7.5305555555555559</c:v>
                </c:pt>
                <c:pt idx="2712">
                  <c:v>7.5333333333333332</c:v>
                </c:pt>
                <c:pt idx="2713">
                  <c:v>7.5361111111111114</c:v>
                </c:pt>
                <c:pt idx="2714">
                  <c:v>7.5388888888888888</c:v>
                </c:pt>
                <c:pt idx="2715">
                  <c:v>7.541666666666667</c:v>
                </c:pt>
                <c:pt idx="2716">
                  <c:v>7.5444444444444443</c:v>
                </c:pt>
                <c:pt idx="2717">
                  <c:v>7.5472222222222225</c:v>
                </c:pt>
                <c:pt idx="2718">
                  <c:v>7.55</c:v>
                </c:pt>
                <c:pt idx="2719">
                  <c:v>7.552777777777778</c:v>
                </c:pt>
                <c:pt idx="2720">
                  <c:v>7.5555555555555554</c:v>
                </c:pt>
                <c:pt idx="2721">
                  <c:v>7.5583333333333336</c:v>
                </c:pt>
                <c:pt idx="2722">
                  <c:v>7.5611111111111109</c:v>
                </c:pt>
                <c:pt idx="2723">
                  <c:v>7.5638888888888891</c:v>
                </c:pt>
                <c:pt idx="2724">
                  <c:v>7.5666666666666664</c:v>
                </c:pt>
                <c:pt idx="2725">
                  <c:v>7.5694444444444446</c:v>
                </c:pt>
                <c:pt idx="2726">
                  <c:v>7.572222222222222</c:v>
                </c:pt>
                <c:pt idx="2727">
                  <c:v>7.5750000000000002</c:v>
                </c:pt>
                <c:pt idx="2728">
                  <c:v>7.5777777777777775</c:v>
                </c:pt>
                <c:pt idx="2729">
                  <c:v>7.5805555555555557</c:v>
                </c:pt>
                <c:pt idx="2730">
                  <c:v>7.583333333333333</c:v>
                </c:pt>
                <c:pt idx="2731">
                  <c:v>7.5861111111111112</c:v>
                </c:pt>
                <c:pt idx="2732">
                  <c:v>7.5888888888888886</c:v>
                </c:pt>
                <c:pt idx="2733">
                  <c:v>7.5916666666666668</c:v>
                </c:pt>
                <c:pt idx="2734">
                  <c:v>7.5944444444444441</c:v>
                </c:pt>
                <c:pt idx="2735">
                  <c:v>7.5972222222222223</c:v>
                </c:pt>
                <c:pt idx="2736">
                  <c:v>7.6</c:v>
                </c:pt>
                <c:pt idx="2737">
                  <c:v>7.6027777777777779</c:v>
                </c:pt>
                <c:pt idx="2738">
                  <c:v>7.6055555555555552</c:v>
                </c:pt>
                <c:pt idx="2739">
                  <c:v>7.6083333333333334</c:v>
                </c:pt>
                <c:pt idx="2740">
                  <c:v>7.6111111111111107</c:v>
                </c:pt>
                <c:pt idx="2741">
                  <c:v>7.6138888888888889</c:v>
                </c:pt>
                <c:pt idx="2742">
                  <c:v>7.6166666666666663</c:v>
                </c:pt>
                <c:pt idx="2743">
                  <c:v>7.6194444444444445</c:v>
                </c:pt>
                <c:pt idx="2744">
                  <c:v>7.6222222222222218</c:v>
                </c:pt>
                <c:pt idx="2745">
                  <c:v>7.625</c:v>
                </c:pt>
                <c:pt idx="2746">
                  <c:v>7.6277777777777782</c:v>
                </c:pt>
                <c:pt idx="2747">
                  <c:v>7.6305555555555555</c:v>
                </c:pt>
                <c:pt idx="2748">
                  <c:v>7.6333333333333337</c:v>
                </c:pt>
                <c:pt idx="2749">
                  <c:v>7.6361111111111111</c:v>
                </c:pt>
                <c:pt idx="2750">
                  <c:v>7.6388888888888893</c:v>
                </c:pt>
                <c:pt idx="2751">
                  <c:v>7.6416666666666666</c:v>
                </c:pt>
                <c:pt idx="2752">
                  <c:v>7.6444444444444448</c:v>
                </c:pt>
                <c:pt idx="2753">
                  <c:v>7.6472222222222221</c:v>
                </c:pt>
                <c:pt idx="2754">
                  <c:v>7.65</c:v>
                </c:pt>
                <c:pt idx="2755">
                  <c:v>7.6527777777777777</c:v>
                </c:pt>
                <c:pt idx="2756">
                  <c:v>7.6555555555555559</c:v>
                </c:pt>
                <c:pt idx="2757">
                  <c:v>7.6583333333333332</c:v>
                </c:pt>
                <c:pt idx="2758">
                  <c:v>7.6611111111111114</c:v>
                </c:pt>
                <c:pt idx="2759">
                  <c:v>7.6638888888888888</c:v>
                </c:pt>
                <c:pt idx="2760">
                  <c:v>7.666666666666667</c:v>
                </c:pt>
                <c:pt idx="2761">
                  <c:v>7.6694444444444443</c:v>
                </c:pt>
                <c:pt idx="2762">
                  <c:v>7.6722222222222225</c:v>
                </c:pt>
                <c:pt idx="2763">
                  <c:v>7.6749999999999998</c:v>
                </c:pt>
                <c:pt idx="2764">
                  <c:v>7.677777777777778</c:v>
                </c:pt>
                <c:pt idx="2765">
                  <c:v>7.6805555555555554</c:v>
                </c:pt>
                <c:pt idx="2766">
                  <c:v>7.6833333333333336</c:v>
                </c:pt>
                <c:pt idx="2767">
                  <c:v>7.6861111111111109</c:v>
                </c:pt>
                <c:pt idx="2768">
                  <c:v>7.6888888888888891</c:v>
                </c:pt>
                <c:pt idx="2769">
                  <c:v>7.6916666666666664</c:v>
                </c:pt>
                <c:pt idx="2770">
                  <c:v>7.6944444444444446</c:v>
                </c:pt>
                <c:pt idx="2771">
                  <c:v>7.697222222222222</c:v>
                </c:pt>
                <c:pt idx="2772">
                  <c:v>7.7</c:v>
                </c:pt>
                <c:pt idx="2773">
                  <c:v>7.7027777777777775</c:v>
                </c:pt>
                <c:pt idx="2774">
                  <c:v>7.7055555555555557</c:v>
                </c:pt>
                <c:pt idx="2775">
                  <c:v>7.708333333333333</c:v>
                </c:pt>
                <c:pt idx="2776">
                  <c:v>7.7111111111111112</c:v>
                </c:pt>
                <c:pt idx="2777">
                  <c:v>7.7138888888888886</c:v>
                </c:pt>
                <c:pt idx="2778">
                  <c:v>7.7166666666666668</c:v>
                </c:pt>
                <c:pt idx="2779">
                  <c:v>7.7194444444444441</c:v>
                </c:pt>
                <c:pt idx="2780">
                  <c:v>7.7222222222222223</c:v>
                </c:pt>
                <c:pt idx="2781">
                  <c:v>7.7249999999999996</c:v>
                </c:pt>
                <c:pt idx="2782">
                  <c:v>7.7277777777777779</c:v>
                </c:pt>
                <c:pt idx="2783">
                  <c:v>7.7305555555555552</c:v>
                </c:pt>
                <c:pt idx="2784">
                  <c:v>7.7333333333333334</c:v>
                </c:pt>
                <c:pt idx="2785">
                  <c:v>7.7361111111111107</c:v>
                </c:pt>
                <c:pt idx="2786">
                  <c:v>7.7388888888888889</c:v>
                </c:pt>
                <c:pt idx="2787">
                  <c:v>7.7416666666666663</c:v>
                </c:pt>
                <c:pt idx="2788">
                  <c:v>7.7444444444444445</c:v>
                </c:pt>
                <c:pt idx="2789">
                  <c:v>7.7472222222222218</c:v>
                </c:pt>
                <c:pt idx="2790">
                  <c:v>7.75</c:v>
                </c:pt>
                <c:pt idx="2791">
                  <c:v>7.7527777777777782</c:v>
                </c:pt>
                <c:pt idx="2792">
                  <c:v>7.7555555555555555</c:v>
                </c:pt>
                <c:pt idx="2793">
                  <c:v>7.7583333333333337</c:v>
                </c:pt>
                <c:pt idx="2794">
                  <c:v>7.7611111111111111</c:v>
                </c:pt>
                <c:pt idx="2795">
                  <c:v>7.7638888888888893</c:v>
                </c:pt>
                <c:pt idx="2796">
                  <c:v>7.7666666666666666</c:v>
                </c:pt>
                <c:pt idx="2797">
                  <c:v>7.7694444444444448</c:v>
                </c:pt>
                <c:pt idx="2798">
                  <c:v>7.7722222222222221</c:v>
                </c:pt>
                <c:pt idx="2799">
                  <c:v>7.7750000000000004</c:v>
                </c:pt>
                <c:pt idx="2800">
                  <c:v>7.7777777777777777</c:v>
                </c:pt>
                <c:pt idx="2801">
                  <c:v>7.7805555555555559</c:v>
                </c:pt>
                <c:pt idx="2802">
                  <c:v>7.7833333333333332</c:v>
                </c:pt>
                <c:pt idx="2803">
                  <c:v>7.7861111111111114</c:v>
                </c:pt>
                <c:pt idx="2804">
                  <c:v>7.7888888888888888</c:v>
                </c:pt>
                <c:pt idx="2805">
                  <c:v>7.791666666666667</c:v>
                </c:pt>
                <c:pt idx="2806">
                  <c:v>7.7944444444444443</c:v>
                </c:pt>
                <c:pt idx="2807">
                  <c:v>7.7972222222222225</c:v>
                </c:pt>
                <c:pt idx="2808">
                  <c:v>7.8</c:v>
                </c:pt>
                <c:pt idx="2809">
                  <c:v>7.802777777777778</c:v>
                </c:pt>
                <c:pt idx="2810">
                  <c:v>7.8055555555555554</c:v>
                </c:pt>
                <c:pt idx="2811">
                  <c:v>7.8083333333333336</c:v>
                </c:pt>
                <c:pt idx="2812">
                  <c:v>7.8111111111111109</c:v>
                </c:pt>
                <c:pt idx="2813">
                  <c:v>7.8138888888888891</c:v>
                </c:pt>
                <c:pt idx="2814">
                  <c:v>7.8166666666666664</c:v>
                </c:pt>
                <c:pt idx="2815">
                  <c:v>7.8194444444444446</c:v>
                </c:pt>
                <c:pt idx="2816">
                  <c:v>7.822222222222222</c:v>
                </c:pt>
                <c:pt idx="2817">
                  <c:v>7.8250000000000002</c:v>
                </c:pt>
                <c:pt idx="2818">
                  <c:v>7.8277777777777775</c:v>
                </c:pt>
                <c:pt idx="2819">
                  <c:v>7.8305555555555557</c:v>
                </c:pt>
                <c:pt idx="2820">
                  <c:v>7.833333333333333</c:v>
                </c:pt>
                <c:pt idx="2821">
                  <c:v>7.8361111111111112</c:v>
                </c:pt>
                <c:pt idx="2822">
                  <c:v>7.8388888888888886</c:v>
                </c:pt>
                <c:pt idx="2823">
                  <c:v>7.8416666666666668</c:v>
                </c:pt>
                <c:pt idx="2824">
                  <c:v>7.8444444444444441</c:v>
                </c:pt>
                <c:pt idx="2825">
                  <c:v>7.8472222222222223</c:v>
                </c:pt>
                <c:pt idx="2826">
                  <c:v>7.85</c:v>
                </c:pt>
                <c:pt idx="2827">
                  <c:v>7.8527777777777779</c:v>
                </c:pt>
                <c:pt idx="2828">
                  <c:v>7.8555555555555552</c:v>
                </c:pt>
                <c:pt idx="2829">
                  <c:v>7.8583333333333334</c:v>
                </c:pt>
                <c:pt idx="2830">
                  <c:v>7.8611111111111107</c:v>
                </c:pt>
                <c:pt idx="2831">
                  <c:v>7.8638888888888889</c:v>
                </c:pt>
                <c:pt idx="2832">
                  <c:v>7.8666666666666663</c:v>
                </c:pt>
                <c:pt idx="2833">
                  <c:v>7.8694444444444445</c:v>
                </c:pt>
                <c:pt idx="2834">
                  <c:v>7.8722222222222218</c:v>
                </c:pt>
                <c:pt idx="2835">
                  <c:v>7.875</c:v>
                </c:pt>
                <c:pt idx="2836">
                  <c:v>7.8777777777777782</c:v>
                </c:pt>
                <c:pt idx="2837">
                  <c:v>7.8805555555555555</c:v>
                </c:pt>
                <c:pt idx="2838">
                  <c:v>7.8833333333333337</c:v>
                </c:pt>
                <c:pt idx="2839">
                  <c:v>7.8861111111111111</c:v>
                </c:pt>
                <c:pt idx="2840">
                  <c:v>7.8888888888888893</c:v>
                </c:pt>
                <c:pt idx="2841">
                  <c:v>7.8916666666666666</c:v>
                </c:pt>
                <c:pt idx="2842">
                  <c:v>7.8944444444444448</c:v>
                </c:pt>
                <c:pt idx="2843">
                  <c:v>7.8972222222222221</c:v>
                </c:pt>
                <c:pt idx="2844">
                  <c:v>7.9</c:v>
                </c:pt>
                <c:pt idx="2845">
                  <c:v>7.9027777777777777</c:v>
                </c:pt>
                <c:pt idx="2846">
                  <c:v>7.9055555555555559</c:v>
                </c:pt>
                <c:pt idx="2847">
                  <c:v>7.9083333333333332</c:v>
                </c:pt>
                <c:pt idx="2848">
                  <c:v>7.9111111111111114</c:v>
                </c:pt>
                <c:pt idx="2849">
                  <c:v>7.9138888888888888</c:v>
                </c:pt>
                <c:pt idx="2850">
                  <c:v>7.916666666666667</c:v>
                </c:pt>
                <c:pt idx="2851">
                  <c:v>7.9194444444444443</c:v>
                </c:pt>
                <c:pt idx="2852">
                  <c:v>7.9222222222222225</c:v>
                </c:pt>
                <c:pt idx="2853">
                  <c:v>7.9249999999999998</c:v>
                </c:pt>
                <c:pt idx="2854">
                  <c:v>7.927777777777778</c:v>
                </c:pt>
                <c:pt idx="2855">
                  <c:v>7.9305555555555554</c:v>
                </c:pt>
                <c:pt idx="2856">
                  <c:v>7.9333333333333336</c:v>
                </c:pt>
                <c:pt idx="2857">
                  <c:v>7.9361111111111109</c:v>
                </c:pt>
                <c:pt idx="2858">
                  <c:v>7.9388888888888891</c:v>
                </c:pt>
                <c:pt idx="2859">
                  <c:v>7.9416666666666664</c:v>
                </c:pt>
                <c:pt idx="2860">
                  <c:v>7.9444444444444446</c:v>
                </c:pt>
                <c:pt idx="2861">
                  <c:v>7.947222222222222</c:v>
                </c:pt>
                <c:pt idx="2862">
                  <c:v>7.95</c:v>
                </c:pt>
                <c:pt idx="2863">
                  <c:v>7.9527777777777775</c:v>
                </c:pt>
                <c:pt idx="2864">
                  <c:v>7.9555555555555557</c:v>
                </c:pt>
                <c:pt idx="2865">
                  <c:v>7.958333333333333</c:v>
                </c:pt>
                <c:pt idx="2866">
                  <c:v>7.9611111111111112</c:v>
                </c:pt>
                <c:pt idx="2867">
                  <c:v>7.9638888888888886</c:v>
                </c:pt>
                <c:pt idx="2868">
                  <c:v>7.9666666666666668</c:v>
                </c:pt>
                <c:pt idx="2869">
                  <c:v>7.9694444444444441</c:v>
                </c:pt>
                <c:pt idx="2870">
                  <c:v>7.9722222222222223</c:v>
                </c:pt>
                <c:pt idx="2871">
                  <c:v>7.9749999999999996</c:v>
                </c:pt>
                <c:pt idx="2872">
                  <c:v>7.9777777777777779</c:v>
                </c:pt>
                <c:pt idx="2873">
                  <c:v>7.9805555555555552</c:v>
                </c:pt>
                <c:pt idx="2874">
                  <c:v>7.9833333333333334</c:v>
                </c:pt>
                <c:pt idx="2875">
                  <c:v>7.9861111111111107</c:v>
                </c:pt>
                <c:pt idx="2876">
                  <c:v>7.9888888888888889</c:v>
                </c:pt>
                <c:pt idx="2877">
                  <c:v>7.9916666666666663</c:v>
                </c:pt>
                <c:pt idx="2878">
                  <c:v>7.9944444444444445</c:v>
                </c:pt>
                <c:pt idx="2879">
                  <c:v>7.9972222222222218</c:v>
                </c:pt>
                <c:pt idx="2880">
                  <c:v>8</c:v>
                </c:pt>
                <c:pt idx="2881">
                  <c:v>8.0027777777777782</c:v>
                </c:pt>
                <c:pt idx="2882">
                  <c:v>8.0055555555555564</c:v>
                </c:pt>
                <c:pt idx="2883">
                  <c:v>8.0083333333333329</c:v>
                </c:pt>
                <c:pt idx="2884">
                  <c:v>8.0111111111111111</c:v>
                </c:pt>
                <c:pt idx="2885">
                  <c:v>8.0138888888888893</c:v>
                </c:pt>
                <c:pt idx="2886">
                  <c:v>8.0166666666666675</c:v>
                </c:pt>
                <c:pt idx="2887">
                  <c:v>8.0194444444444439</c:v>
                </c:pt>
                <c:pt idx="2888">
                  <c:v>8.0222222222222221</c:v>
                </c:pt>
                <c:pt idx="2889">
                  <c:v>8.0250000000000004</c:v>
                </c:pt>
                <c:pt idx="2890">
                  <c:v>8.0277777777777786</c:v>
                </c:pt>
                <c:pt idx="2891">
                  <c:v>8.030555555555555</c:v>
                </c:pt>
                <c:pt idx="2892">
                  <c:v>8.0333333333333332</c:v>
                </c:pt>
                <c:pt idx="2893">
                  <c:v>8.0361111111111114</c:v>
                </c:pt>
                <c:pt idx="2894">
                  <c:v>8.0388888888888896</c:v>
                </c:pt>
                <c:pt idx="2895">
                  <c:v>8.0416666666666661</c:v>
                </c:pt>
                <c:pt idx="2896">
                  <c:v>8.0444444444444443</c:v>
                </c:pt>
                <c:pt idx="2897">
                  <c:v>8.0472222222222225</c:v>
                </c:pt>
                <c:pt idx="2898">
                  <c:v>8.0500000000000007</c:v>
                </c:pt>
                <c:pt idx="2899">
                  <c:v>8.0527777777777771</c:v>
                </c:pt>
                <c:pt idx="2900">
                  <c:v>8.0555555555555554</c:v>
                </c:pt>
                <c:pt idx="2901">
                  <c:v>8.0583333333333336</c:v>
                </c:pt>
                <c:pt idx="2902">
                  <c:v>8.0611111111111118</c:v>
                </c:pt>
                <c:pt idx="2903">
                  <c:v>8.0638888888888882</c:v>
                </c:pt>
                <c:pt idx="2904">
                  <c:v>8.0666666666666664</c:v>
                </c:pt>
                <c:pt idx="2905">
                  <c:v>8.0694444444444446</c:v>
                </c:pt>
                <c:pt idx="2906">
                  <c:v>8.0722222222222229</c:v>
                </c:pt>
                <c:pt idx="2907">
                  <c:v>8.0749999999999993</c:v>
                </c:pt>
                <c:pt idx="2908">
                  <c:v>8.0777777777777775</c:v>
                </c:pt>
                <c:pt idx="2909">
                  <c:v>8.0805555555555557</c:v>
                </c:pt>
                <c:pt idx="2910">
                  <c:v>8.0833333333333339</c:v>
                </c:pt>
                <c:pt idx="2911">
                  <c:v>8.0861111111111104</c:v>
                </c:pt>
                <c:pt idx="2912">
                  <c:v>8.0888888888888886</c:v>
                </c:pt>
                <c:pt idx="2913">
                  <c:v>8.0916666666666668</c:v>
                </c:pt>
                <c:pt idx="2914">
                  <c:v>8.094444444444445</c:v>
                </c:pt>
                <c:pt idx="2915">
                  <c:v>8.0972222222222214</c:v>
                </c:pt>
                <c:pt idx="2916">
                  <c:v>8.1</c:v>
                </c:pt>
                <c:pt idx="2917">
                  <c:v>8.1027777777777779</c:v>
                </c:pt>
                <c:pt idx="2918">
                  <c:v>8.1055555555555561</c:v>
                </c:pt>
                <c:pt idx="2919">
                  <c:v>8.1083333333333325</c:v>
                </c:pt>
                <c:pt idx="2920">
                  <c:v>8.1111111111111107</c:v>
                </c:pt>
                <c:pt idx="2921">
                  <c:v>8.1138888888888889</c:v>
                </c:pt>
                <c:pt idx="2922">
                  <c:v>8.1166666666666671</c:v>
                </c:pt>
                <c:pt idx="2923">
                  <c:v>8.1194444444444436</c:v>
                </c:pt>
                <c:pt idx="2924">
                  <c:v>8.1222222222222218</c:v>
                </c:pt>
                <c:pt idx="2925">
                  <c:v>8.125</c:v>
                </c:pt>
                <c:pt idx="2926">
                  <c:v>8.1277777777777782</c:v>
                </c:pt>
                <c:pt idx="2927">
                  <c:v>8.1305555555555564</c:v>
                </c:pt>
                <c:pt idx="2928">
                  <c:v>8.1333333333333329</c:v>
                </c:pt>
                <c:pt idx="2929">
                  <c:v>8.1361111111111111</c:v>
                </c:pt>
                <c:pt idx="2930">
                  <c:v>8.1388888888888893</c:v>
                </c:pt>
                <c:pt idx="2931">
                  <c:v>8.1416666666666675</c:v>
                </c:pt>
                <c:pt idx="2932">
                  <c:v>8.1444444444444439</c:v>
                </c:pt>
                <c:pt idx="2933">
                  <c:v>8.1472222222222221</c:v>
                </c:pt>
                <c:pt idx="2934">
                  <c:v>8.15</c:v>
                </c:pt>
                <c:pt idx="2935">
                  <c:v>8.1527777777777786</c:v>
                </c:pt>
                <c:pt idx="2936">
                  <c:v>8.155555555555555</c:v>
                </c:pt>
                <c:pt idx="2937">
                  <c:v>8.1583333333333332</c:v>
                </c:pt>
                <c:pt idx="2938">
                  <c:v>8.1611111111111114</c:v>
                </c:pt>
                <c:pt idx="2939">
                  <c:v>8.1638888888888896</c:v>
                </c:pt>
                <c:pt idx="2940">
                  <c:v>8.1666666666666661</c:v>
                </c:pt>
                <c:pt idx="2941">
                  <c:v>8.1694444444444443</c:v>
                </c:pt>
                <c:pt idx="2942">
                  <c:v>8.1722222222222225</c:v>
                </c:pt>
                <c:pt idx="2943">
                  <c:v>8.1750000000000007</c:v>
                </c:pt>
                <c:pt idx="2944">
                  <c:v>8.1777777777777771</c:v>
                </c:pt>
                <c:pt idx="2945">
                  <c:v>8.1805555555555554</c:v>
                </c:pt>
                <c:pt idx="2946">
                  <c:v>8.1833333333333336</c:v>
                </c:pt>
                <c:pt idx="2947">
                  <c:v>8.1861111111111118</c:v>
                </c:pt>
                <c:pt idx="2948">
                  <c:v>8.1888888888888882</c:v>
                </c:pt>
                <c:pt idx="2949">
                  <c:v>8.1916666666666664</c:v>
                </c:pt>
                <c:pt idx="2950">
                  <c:v>8.1944444444444446</c:v>
                </c:pt>
                <c:pt idx="2951">
                  <c:v>8.1972222222222229</c:v>
                </c:pt>
                <c:pt idx="2952">
                  <c:v>8.1999999999999993</c:v>
                </c:pt>
                <c:pt idx="2953">
                  <c:v>8.2027777777777775</c:v>
                </c:pt>
                <c:pt idx="2954">
                  <c:v>8.2055555555555557</c:v>
                </c:pt>
                <c:pt idx="2955">
                  <c:v>8.2083333333333339</c:v>
                </c:pt>
                <c:pt idx="2956">
                  <c:v>8.2111111111111104</c:v>
                </c:pt>
                <c:pt idx="2957">
                  <c:v>8.2138888888888886</c:v>
                </c:pt>
                <c:pt idx="2958">
                  <c:v>8.2166666666666668</c:v>
                </c:pt>
                <c:pt idx="2959">
                  <c:v>8.219444444444445</c:v>
                </c:pt>
                <c:pt idx="2960">
                  <c:v>8.2222222222222214</c:v>
                </c:pt>
                <c:pt idx="2961">
                  <c:v>8.2249999999999996</c:v>
                </c:pt>
                <c:pt idx="2962">
                  <c:v>8.2277777777777779</c:v>
                </c:pt>
                <c:pt idx="2963">
                  <c:v>8.2305555555555561</c:v>
                </c:pt>
                <c:pt idx="2964">
                  <c:v>8.2333333333333325</c:v>
                </c:pt>
                <c:pt idx="2965">
                  <c:v>8.2361111111111107</c:v>
                </c:pt>
                <c:pt idx="2966">
                  <c:v>8.2388888888888889</c:v>
                </c:pt>
                <c:pt idx="2967">
                  <c:v>8.2416666666666671</c:v>
                </c:pt>
                <c:pt idx="2968">
                  <c:v>8.2444444444444436</c:v>
                </c:pt>
                <c:pt idx="2969">
                  <c:v>8.2472222222222218</c:v>
                </c:pt>
                <c:pt idx="2970">
                  <c:v>8.25</c:v>
                </c:pt>
                <c:pt idx="2971">
                  <c:v>8.2527777777777782</c:v>
                </c:pt>
                <c:pt idx="2972">
                  <c:v>8.2555555555555564</c:v>
                </c:pt>
                <c:pt idx="2973">
                  <c:v>8.2583333333333329</c:v>
                </c:pt>
                <c:pt idx="2974">
                  <c:v>8.2611111111111111</c:v>
                </c:pt>
                <c:pt idx="2975">
                  <c:v>8.2638888888888893</c:v>
                </c:pt>
                <c:pt idx="2976">
                  <c:v>8.2666666666666675</c:v>
                </c:pt>
                <c:pt idx="2977">
                  <c:v>8.2694444444444439</c:v>
                </c:pt>
                <c:pt idx="2978">
                  <c:v>8.2722222222222221</c:v>
                </c:pt>
                <c:pt idx="2979">
                  <c:v>8.2750000000000004</c:v>
                </c:pt>
                <c:pt idx="2980">
                  <c:v>8.2777777777777786</c:v>
                </c:pt>
                <c:pt idx="2981">
                  <c:v>8.280555555555555</c:v>
                </c:pt>
                <c:pt idx="2982">
                  <c:v>8.2833333333333332</c:v>
                </c:pt>
                <c:pt idx="2983">
                  <c:v>8.2861111111111114</c:v>
                </c:pt>
                <c:pt idx="2984">
                  <c:v>8.2888888888888896</c:v>
                </c:pt>
                <c:pt idx="2985">
                  <c:v>8.2916666666666661</c:v>
                </c:pt>
                <c:pt idx="2986">
                  <c:v>8.2944444444444443</c:v>
                </c:pt>
                <c:pt idx="2987">
                  <c:v>8.2972222222222225</c:v>
                </c:pt>
                <c:pt idx="2988">
                  <c:v>8.3000000000000007</c:v>
                </c:pt>
                <c:pt idx="2989">
                  <c:v>8.3027777777777771</c:v>
                </c:pt>
                <c:pt idx="2990">
                  <c:v>8.3055555555555554</c:v>
                </c:pt>
                <c:pt idx="2991">
                  <c:v>8.3083333333333336</c:v>
                </c:pt>
                <c:pt idx="2992">
                  <c:v>8.3111111111111118</c:v>
                </c:pt>
                <c:pt idx="2993">
                  <c:v>8.3138888888888882</c:v>
                </c:pt>
                <c:pt idx="2994">
                  <c:v>8.3166666666666664</c:v>
                </c:pt>
                <c:pt idx="2995">
                  <c:v>8.3194444444444446</c:v>
                </c:pt>
                <c:pt idx="2996">
                  <c:v>8.3222222222222229</c:v>
                </c:pt>
                <c:pt idx="2997">
                  <c:v>8.3249999999999993</c:v>
                </c:pt>
                <c:pt idx="2998">
                  <c:v>8.3277777777777775</c:v>
                </c:pt>
                <c:pt idx="2999">
                  <c:v>8.3305555555555557</c:v>
                </c:pt>
                <c:pt idx="3000">
                  <c:v>8.3333333333333339</c:v>
                </c:pt>
                <c:pt idx="3001">
                  <c:v>8.3361111111111104</c:v>
                </c:pt>
                <c:pt idx="3002">
                  <c:v>8.3388888888888886</c:v>
                </c:pt>
                <c:pt idx="3003">
                  <c:v>8.3416666666666668</c:v>
                </c:pt>
                <c:pt idx="3004">
                  <c:v>8.344444444444445</c:v>
                </c:pt>
                <c:pt idx="3005">
                  <c:v>8.3472222222222214</c:v>
                </c:pt>
                <c:pt idx="3006">
                  <c:v>8.35</c:v>
                </c:pt>
                <c:pt idx="3007">
                  <c:v>8.3527777777777779</c:v>
                </c:pt>
                <c:pt idx="3008">
                  <c:v>8.3555555555555561</c:v>
                </c:pt>
                <c:pt idx="3009">
                  <c:v>8.3583333333333325</c:v>
                </c:pt>
                <c:pt idx="3010">
                  <c:v>8.3611111111111107</c:v>
                </c:pt>
                <c:pt idx="3011">
                  <c:v>8.3638888888888889</c:v>
                </c:pt>
                <c:pt idx="3012">
                  <c:v>8.3666666666666671</c:v>
                </c:pt>
                <c:pt idx="3013">
                  <c:v>8.3694444444444436</c:v>
                </c:pt>
                <c:pt idx="3014">
                  <c:v>8.3722222222222218</c:v>
                </c:pt>
                <c:pt idx="3015">
                  <c:v>8.375</c:v>
                </c:pt>
                <c:pt idx="3016">
                  <c:v>8.3777777777777782</c:v>
                </c:pt>
                <c:pt idx="3017">
                  <c:v>8.3805555555555564</c:v>
                </c:pt>
                <c:pt idx="3018">
                  <c:v>8.3833333333333329</c:v>
                </c:pt>
                <c:pt idx="3019">
                  <c:v>8.3861111111111111</c:v>
                </c:pt>
                <c:pt idx="3020">
                  <c:v>8.3888888888888893</c:v>
                </c:pt>
                <c:pt idx="3021">
                  <c:v>8.3916666666666675</c:v>
                </c:pt>
                <c:pt idx="3022">
                  <c:v>8.3944444444444439</c:v>
                </c:pt>
                <c:pt idx="3023">
                  <c:v>8.3972222222222221</c:v>
                </c:pt>
                <c:pt idx="3024">
                  <c:v>8.4</c:v>
                </c:pt>
                <c:pt idx="3025">
                  <c:v>8.4027777777777786</c:v>
                </c:pt>
                <c:pt idx="3026">
                  <c:v>8.405555555555555</c:v>
                </c:pt>
                <c:pt idx="3027">
                  <c:v>8.4083333333333332</c:v>
                </c:pt>
                <c:pt idx="3028">
                  <c:v>8.4111111111111114</c:v>
                </c:pt>
                <c:pt idx="3029">
                  <c:v>8.4138888888888896</c:v>
                </c:pt>
                <c:pt idx="3030">
                  <c:v>8.4166666666666661</c:v>
                </c:pt>
                <c:pt idx="3031">
                  <c:v>8.4194444444444443</c:v>
                </c:pt>
                <c:pt idx="3032">
                  <c:v>8.4222222222222225</c:v>
                </c:pt>
                <c:pt idx="3033">
                  <c:v>8.4250000000000007</c:v>
                </c:pt>
                <c:pt idx="3034">
                  <c:v>8.4277777777777771</c:v>
                </c:pt>
                <c:pt idx="3035">
                  <c:v>8.4305555555555554</c:v>
                </c:pt>
                <c:pt idx="3036">
                  <c:v>8.4333333333333336</c:v>
                </c:pt>
                <c:pt idx="3037">
                  <c:v>8.4361111111111118</c:v>
                </c:pt>
                <c:pt idx="3038">
                  <c:v>8.4388888888888882</c:v>
                </c:pt>
                <c:pt idx="3039">
                  <c:v>8.4416666666666664</c:v>
                </c:pt>
                <c:pt idx="3040">
                  <c:v>8.4444444444444446</c:v>
                </c:pt>
                <c:pt idx="3041">
                  <c:v>8.4472222222222229</c:v>
                </c:pt>
                <c:pt idx="3042">
                  <c:v>8.4499999999999993</c:v>
                </c:pt>
                <c:pt idx="3043">
                  <c:v>8.4527777777777775</c:v>
                </c:pt>
                <c:pt idx="3044">
                  <c:v>8.4555555555555557</c:v>
                </c:pt>
                <c:pt idx="3045">
                  <c:v>8.4583333333333339</c:v>
                </c:pt>
                <c:pt idx="3046">
                  <c:v>8.4611111111111104</c:v>
                </c:pt>
                <c:pt idx="3047">
                  <c:v>8.4638888888888886</c:v>
                </c:pt>
                <c:pt idx="3048">
                  <c:v>8.4666666666666668</c:v>
                </c:pt>
                <c:pt idx="3049">
                  <c:v>8.469444444444445</c:v>
                </c:pt>
                <c:pt idx="3050">
                  <c:v>8.4722222222222214</c:v>
                </c:pt>
                <c:pt idx="3051">
                  <c:v>8.4749999999999996</c:v>
                </c:pt>
                <c:pt idx="3052">
                  <c:v>8.4777777777777779</c:v>
                </c:pt>
                <c:pt idx="3053">
                  <c:v>8.4805555555555561</c:v>
                </c:pt>
                <c:pt idx="3054">
                  <c:v>8.4833333333333325</c:v>
                </c:pt>
                <c:pt idx="3055">
                  <c:v>8.4861111111111107</c:v>
                </c:pt>
                <c:pt idx="3056">
                  <c:v>8.4888888888888889</c:v>
                </c:pt>
                <c:pt idx="3057">
                  <c:v>8.4916666666666671</c:v>
                </c:pt>
                <c:pt idx="3058">
                  <c:v>8.4944444444444436</c:v>
                </c:pt>
                <c:pt idx="3059">
                  <c:v>8.4972222222222218</c:v>
                </c:pt>
                <c:pt idx="3060">
                  <c:v>8.5</c:v>
                </c:pt>
                <c:pt idx="3061">
                  <c:v>8.5027777777777782</c:v>
                </c:pt>
                <c:pt idx="3062">
                  <c:v>8.5055555555555564</c:v>
                </c:pt>
                <c:pt idx="3063">
                  <c:v>8.5083333333333329</c:v>
                </c:pt>
                <c:pt idx="3064">
                  <c:v>8.5111111111111111</c:v>
                </c:pt>
                <c:pt idx="3065">
                  <c:v>8.5138888888888893</c:v>
                </c:pt>
                <c:pt idx="3066">
                  <c:v>8.5166666666666675</c:v>
                </c:pt>
                <c:pt idx="3067">
                  <c:v>8.5194444444444439</c:v>
                </c:pt>
                <c:pt idx="3068">
                  <c:v>8.5222222222222221</c:v>
                </c:pt>
                <c:pt idx="3069">
                  <c:v>8.5250000000000004</c:v>
                </c:pt>
                <c:pt idx="3070">
                  <c:v>8.5277777777777786</c:v>
                </c:pt>
                <c:pt idx="3071">
                  <c:v>8.530555555555555</c:v>
                </c:pt>
                <c:pt idx="3072">
                  <c:v>8.5333333333333332</c:v>
                </c:pt>
                <c:pt idx="3073">
                  <c:v>8.5361111111111114</c:v>
                </c:pt>
                <c:pt idx="3074">
                  <c:v>8.5388888888888896</c:v>
                </c:pt>
                <c:pt idx="3075">
                  <c:v>8.5416666666666661</c:v>
                </c:pt>
                <c:pt idx="3076">
                  <c:v>8.5444444444444443</c:v>
                </c:pt>
                <c:pt idx="3077">
                  <c:v>8.5472222222222225</c:v>
                </c:pt>
                <c:pt idx="3078">
                  <c:v>8.5500000000000007</c:v>
                </c:pt>
                <c:pt idx="3079">
                  <c:v>8.5527777777777771</c:v>
                </c:pt>
                <c:pt idx="3080">
                  <c:v>8.5555555555555554</c:v>
                </c:pt>
                <c:pt idx="3081">
                  <c:v>8.5583333333333336</c:v>
                </c:pt>
                <c:pt idx="3082">
                  <c:v>8.5611111111111118</c:v>
                </c:pt>
                <c:pt idx="3083">
                  <c:v>8.5638888888888882</c:v>
                </c:pt>
                <c:pt idx="3084">
                  <c:v>8.5666666666666664</c:v>
                </c:pt>
                <c:pt idx="3085">
                  <c:v>8.5694444444444446</c:v>
                </c:pt>
                <c:pt idx="3086">
                  <c:v>8.5722222222222229</c:v>
                </c:pt>
                <c:pt idx="3087">
                  <c:v>8.5749999999999993</c:v>
                </c:pt>
                <c:pt idx="3088">
                  <c:v>8.5777777777777775</c:v>
                </c:pt>
                <c:pt idx="3089">
                  <c:v>8.5805555555555557</c:v>
                </c:pt>
                <c:pt idx="3090">
                  <c:v>8.5833333333333339</c:v>
                </c:pt>
                <c:pt idx="3091">
                  <c:v>8.5861111111111104</c:v>
                </c:pt>
                <c:pt idx="3092">
                  <c:v>8.5888888888888886</c:v>
                </c:pt>
                <c:pt idx="3093">
                  <c:v>8.5916666666666668</c:v>
                </c:pt>
                <c:pt idx="3094">
                  <c:v>8.594444444444445</c:v>
                </c:pt>
                <c:pt idx="3095">
                  <c:v>8.5972222222222214</c:v>
                </c:pt>
                <c:pt idx="3096">
                  <c:v>8.6</c:v>
                </c:pt>
                <c:pt idx="3097">
                  <c:v>8.6027777777777779</c:v>
                </c:pt>
                <c:pt idx="3098">
                  <c:v>8.6055555555555561</c:v>
                </c:pt>
                <c:pt idx="3099">
                  <c:v>8.6083333333333325</c:v>
                </c:pt>
                <c:pt idx="3100">
                  <c:v>8.6111111111111107</c:v>
                </c:pt>
                <c:pt idx="3101">
                  <c:v>8.6138888888888889</c:v>
                </c:pt>
                <c:pt idx="3102">
                  <c:v>8.6166666666666671</c:v>
                </c:pt>
                <c:pt idx="3103">
                  <c:v>8.6194444444444436</c:v>
                </c:pt>
                <c:pt idx="3104">
                  <c:v>8.6222222222222218</c:v>
                </c:pt>
                <c:pt idx="3105">
                  <c:v>8.625</c:v>
                </c:pt>
                <c:pt idx="3106">
                  <c:v>8.6277777777777782</c:v>
                </c:pt>
                <c:pt idx="3107">
                  <c:v>8.6305555555555564</c:v>
                </c:pt>
                <c:pt idx="3108">
                  <c:v>8.6333333333333329</c:v>
                </c:pt>
                <c:pt idx="3109">
                  <c:v>8.6361111111111111</c:v>
                </c:pt>
                <c:pt idx="3110">
                  <c:v>8.6388888888888893</c:v>
                </c:pt>
                <c:pt idx="3111">
                  <c:v>8.6416666666666675</c:v>
                </c:pt>
                <c:pt idx="3112">
                  <c:v>8.6444444444444439</c:v>
                </c:pt>
                <c:pt idx="3113">
                  <c:v>8.6472222222222221</c:v>
                </c:pt>
                <c:pt idx="3114">
                  <c:v>8.65</c:v>
                </c:pt>
                <c:pt idx="3115">
                  <c:v>8.6527777777777786</c:v>
                </c:pt>
                <c:pt idx="3116">
                  <c:v>8.655555555555555</c:v>
                </c:pt>
                <c:pt idx="3117">
                  <c:v>8.6583333333333332</c:v>
                </c:pt>
                <c:pt idx="3118">
                  <c:v>8.6611111111111114</c:v>
                </c:pt>
                <c:pt idx="3119">
                  <c:v>8.6638888888888896</c:v>
                </c:pt>
                <c:pt idx="3120">
                  <c:v>8.6666666666666661</c:v>
                </c:pt>
                <c:pt idx="3121">
                  <c:v>8.6694444444444443</c:v>
                </c:pt>
                <c:pt idx="3122">
                  <c:v>8.6722222222222225</c:v>
                </c:pt>
                <c:pt idx="3123">
                  <c:v>8.6750000000000007</c:v>
                </c:pt>
                <c:pt idx="3124">
                  <c:v>8.6777777777777771</c:v>
                </c:pt>
                <c:pt idx="3125">
                  <c:v>8.6805555555555554</c:v>
                </c:pt>
                <c:pt idx="3126">
                  <c:v>8.6833333333333336</c:v>
                </c:pt>
                <c:pt idx="3127">
                  <c:v>8.6861111111111118</c:v>
                </c:pt>
                <c:pt idx="3128">
                  <c:v>8.6888888888888882</c:v>
                </c:pt>
                <c:pt idx="3129">
                  <c:v>8.6916666666666664</c:v>
                </c:pt>
                <c:pt idx="3130">
                  <c:v>8.6944444444444446</c:v>
                </c:pt>
                <c:pt idx="3131">
                  <c:v>8.6972222222222229</c:v>
                </c:pt>
                <c:pt idx="3132">
                  <c:v>8.6999999999999993</c:v>
                </c:pt>
                <c:pt idx="3133">
                  <c:v>8.7027777777777775</c:v>
                </c:pt>
                <c:pt idx="3134">
                  <c:v>8.7055555555555557</c:v>
                </c:pt>
                <c:pt idx="3135">
                  <c:v>8.7083333333333339</c:v>
                </c:pt>
                <c:pt idx="3136">
                  <c:v>8.7111111111111104</c:v>
                </c:pt>
                <c:pt idx="3137">
                  <c:v>8.7138888888888886</c:v>
                </c:pt>
                <c:pt idx="3138">
                  <c:v>8.7166666666666668</c:v>
                </c:pt>
                <c:pt idx="3139">
                  <c:v>8.719444444444445</c:v>
                </c:pt>
                <c:pt idx="3140">
                  <c:v>8.7222222222222214</c:v>
                </c:pt>
                <c:pt idx="3141">
                  <c:v>8.7249999999999996</c:v>
                </c:pt>
                <c:pt idx="3142">
                  <c:v>8.7277777777777779</c:v>
                </c:pt>
                <c:pt idx="3143">
                  <c:v>8.7305555555555561</c:v>
                </c:pt>
                <c:pt idx="3144">
                  <c:v>8.7333333333333325</c:v>
                </c:pt>
                <c:pt idx="3145">
                  <c:v>8.7361111111111107</c:v>
                </c:pt>
                <c:pt idx="3146">
                  <c:v>8.7388888888888889</c:v>
                </c:pt>
                <c:pt idx="3147">
                  <c:v>8.7416666666666671</c:v>
                </c:pt>
                <c:pt idx="3148">
                  <c:v>8.7444444444444436</c:v>
                </c:pt>
                <c:pt idx="3149">
                  <c:v>8.7472222222222218</c:v>
                </c:pt>
                <c:pt idx="3150">
                  <c:v>8.75</c:v>
                </c:pt>
                <c:pt idx="3151">
                  <c:v>8.7527777777777782</c:v>
                </c:pt>
                <c:pt idx="3152">
                  <c:v>8.7555555555555564</c:v>
                </c:pt>
                <c:pt idx="3153">
                  <c:v>8.7583333333333329</c:v>
                </c:pt>
                <c:pt idx="3154">
                  <c:v>8.7611111111111111</c:v>
                </c:pt>
                <c:pt idx="3155">
                  <c:v>8.7638888888888893</c:v>
                </c:pt>
                <c:pt idx="3156">
                  <c:v>8.7666666666666675</c:v>
                </c:pt>
                <c:pt idx="3157">
                  <c:v>8.7694444444444439</c:v>
                </c:pt>
                <c:pt idx="3158">
                  <c:v>8.7722222222222221</c:v>
                </c:pt>
                <c:pt idx="3159">
                  <c:v>8.7750000000000004</c:v>
                </c:pt>
                <c:pt idx="3160">
                  <c:v>8.7777777777777786</c:v>
                </c:pt>
                <c:pt idx="3161">
                  <c:v>8.780555555555555</c:v>
                </c:pt>
                <c:pt idx="3162">
                  <c:v>8.7833333333333332</c:v>
                </c:pt>
                <c:pt idx="3163">
                  <c:v>8.7861111111111114</c:v>
                </c:pt>
                <c:pt idx="3164">
                  <c:v>8.7888888888888896</c:v>
                </c:pt>
                <c:pt idx="3165">
                  <c:v>8.7916666666666661</c:v>
                </c:pt>
                <c:pt idx="3166">
                  <c:v>8.7944444444444443</c:v>
                </c:pt>
                <c:pt idx="3167">
                  <c:v>8.7972222222222225</c:v>
                </c:pt>
                <c:pt idx="3168">
                  <c:v>8.8000000000000007</c:v>
                </c:pt>
                <c:pt idx="3169">
                  <c:v>8.8027777777777771</c:v>
                </c:pt>
                <c:pt idx="3170">
                  <c:v>8.8055555555555554</c:v>
                </c:pt>
                <c:pt idx="3171">
                  <c:v>8.8083333333333336</c:v>
                </c:pt>
                <c:pt idx="3172">
                  <c:v>8.8111111111111118</c:v>
                </c:pt>
                <c:pt idx="3173">
                  <c:v>8.8138888888888882</c:v>
                </c:pt>
                <c:pt idx="3174">
                  <c:v>8.8166666666666664</c:v>
                </c:pt>
                <c:pt idx="3175">
                  <c:v>8.8194444444444446</c:v>
                </c:pt>
                <c:pt idx="3176">
                  <c:v>8.8222222222222229</c:v>
                </c:pt>
                <c:pt idx="3177">
                  <c:v>8.8249999999999993</c:v>
                </c:pt>
                <c:pt idx="3178">
                  <c:v>8.8277777777777775</c:v>
                </c:pt>
                <c:pt idx="3179">
                  <c:v>8.8305555555555557</c:v>
                </c:pt>
                <c:pt idx="3180">
                  <c:v>8.8333333333333339</c:v>
                </c:pt>
                <c:pt idx="3181">
                  <c:v>8.8361111111111104</c:v>
                </c:pt>
                <c:pt idx="3182">
                  <c:v>8.8388888888888886</c:v>
                </c:pt>
                <c:pt idx="3183">
                  <c:v>8.8416666666666668</c:v>
                </c:pt>
                <c:pt idx="3184">
                  <c:v>8.844444444444445</c:v>
                </c:pt>
                <c:pt idx="3185">
                  <c:v>8.8472222222222214</c:v>
                </c:pt>
                <c:pt idx="3186">
                  <c:v>8.85</c:v>
                </c:pt>
                <c:pt idx="3187">
                  <c:v>8.8527777777777779</c:v>
                </c:pt>
                <c:pt idx="3188">
                  <c:v>8.8555555555555561</c:v>
                </c:pt>
                <c:pt idx="3189">
                  <c:v>8.8583333333333325</c:v>
                </c:pt>
                <c:pt idx="3190">
                  <c:v>8.8611111111111107</c:v>
                </c:pt>
                <c:pt idx="3191">
                  <c:v>8.8638888888888889</c:v>
                </c:pt>
                <c:pt idx="3192">
                  <c:v>8.8666666666666671</c:v>
                </c:pt>
                <c:pt idx="3193">
                  <c:v>8.8694444444444436</c:v>
                </c:pt>
                <c:pt idx="3194">
                  <c:v>8.8722222222222218</c:v>
                </c:pt>
                <c:pt idx="3195">
                  <c:v>8.875</c:v>
                </c:pt>
                <c:pt idx="3196">
                  <c:v>8.8777777777777782</c:v>
                </c:pt>
                <c:pt idx="3197">
                  <c:v>8.8805555555555564</c:v>
                </c:pt>
                <c:pt idx="3198">
                  <c:v>8.8833333333333329</c:v>
                </c:pt>
                <c:pt idx="3199">
                  <c:v>8.8861111111111111</c:v>
                </c:pt>
                <c:pt idx="3200">
                  <c:v>8.8888888888888893</c:v>
                </c:pt>
                <c:pt idx="3201">
                  <c:v>8.8916666666666675</c:v>
                </c:pt>
                <c:pt idx="3202">
                  <c:v>8.8944444444444439</c:v>
                </c:pt>
                <c:pt idx="3203">
                  <c:v>8.8972222222222221</c:v>
                </c:pt>
                <c:pt idx="3204">
                  <c:v>8.9</c:v>
                </c:pt>
                <c:pt idx="3205">
                  <c:v>8.9027777777777786</c:v>
                </c:pt>
                <c:pt idx="3206">
                  <c:v>8.905555555555555</c:v>
                </c:pt>
                <c:pt idx="3207">
                  <c:v>8.9083333333333332</c:v>
                </c:pt>
                <c:pt idx="3208">
                  <c:v>8.9111111111111114</c:v>
                </c:pt>
                <c:pt idx="3209">
                  <c:v>8.9138888888888896</c:v>
                </c:pt>
                <c:pt idx="3210">
                  <c:v>8.9166666666666661</c:v>
                </c:pt>
                <c:pt idx="3211">
                  <c:v>8.9194444444444443</c:v>
                </c:pt>
                <c:pt idx="3212">
                  <c:v>8.9222222222222225</c:v>
                </c:pt>
                <c:pt idx="3213">
                  <c:v>8.9250000000000007</c:v>
                </c:pt>
                <c:pt idx="3214">
                  <c:v>8.9277777777777771</c:v>
                </c:pt>
                <c:pt idx="3215">
                  <c:v>8.9305555555555554</c:v>
                </c:pt>
                <c:pt idx="3216">
                  <c:v>8.9333333333333336</c:v>
                </c:pt>
                <c:pt idx="3217">
                  <c:v>8.9361111111111118</c:v>
                </c:pt>
                <c:pt idx="3218">
                  <c:v>8.9388888888888882</c:v>
                </c:pt>
                <c:pt idx="3219">
                  <c:v>8.9416666666666664</c:v>
                </c:pt>
                <c:pt idx="3220">
                  <c:v>8.9444444444444446</c:v>
                </c:pt>
                <c:pt idx="3221">
                  <c:v>8.9472222222222229</c:v>
                </c:pt>
                <c:pt idx="3222">
                  <c:v>8.9499999999999993</c:v>
                </c:pt>
                <c:pt idx="3223">
                  <c:v>8.9527777777777775</c:v>
                </c:pt>
                <c:pt idx="3224">
                  <c:v>8.9555555555555557</c:v>
                </c:pt>
                <c:pt idx="3225">
                  <c:v>8.9583333333333339</c:v>
                </c:pt>
                <c:pt idx="3226">
                  <c:v>8.9611111111111104</c:v>
                </c:pt>
                <c:pt idx="3227">
                  <c:v>8.9638888888888886</c:v>
                </c:pt>
                <c:pt idx="3228">
                  <c:v>8.9666666666666668</c:v>
                </c:pt>
                <c:pt idx="3229">
                  <c:v>8.969444444444445</c:v>
                </c:pt>
                <c:pt idx="3230">
                  <c:v>8.9722222222222214</c:v>
                </c:pt>
                <c:pt idx="3231">
                  <c:v>8.9749999999999996</c:v>
                </c:pt>
                <c:pt idx="3232">
                  <c:v>8.9777777777777779</c:v>
                </c:pt>
                <c:pt idx="3233">
                  <c:v>8.9805555555555561</c:v>
                </c:pt>
                <c:pt idx="3234">
                  <c:v>8.9833333333333325</c:v>
                </c:pt>
                <c:pt idx="3235">
                  <c:v>8.9861111111111107</c:v>
                </c:pt>
                <c:pt idx="3236">
                  <c:v>8.9888888888888889</c:v>
                </c:pt>
                <c:pt idx="3237">
                  <c:v>8.9916666666666671</c:v>
                </c:pt>
                <c:pt idx="3238">
                  <c:v>8.9944444444444436</c:v>
                </c:pt>
                <c:pt idx="3239">
                  <c:v>8.9972222222222218</c:v>
                </c:pt>
                <c:pt idx="3240">
                  <c:v>9</c:v>
                </c:pt>
                <c:pt idx="3241">
                  <c:v>9.0027777777777782</c:v>
                </c:pt>
                <c:pt idx="3242">
                  <c:v>9.0055555555555564</c:v>
                </c:pt>
                <c:pt idx="3243">
                  <c:v>9.0083333333333329</c:v>
                </c:pt>
                <c:pt idx="3244">
                  <c:v>9.0111111111111111</c:v>
                </c:pt>
                <c:pt idx="3245">
                  <c:v>9.0138888888888893</c:v>
                </c:pt>
                <c:pt idx="3246">
                  <c:v>9.0166666666666675</c:v>
                </c:pt>
                <c:pt idx="3247">
                  <c:v>9.0194444444444439</c:v>
                </c:pt>
                <c:pt idx="3248">
                  <c:v>9.0222222222222221</c:v>
                </c:pt>
                <c:pt idx="3249">
                  <c:v>9.0250000000000004</c:v>
                </c:pt>
                <c:pt idx="3250">
                  <c:v>9.0277777777777786</c:v>
                </c:pt>
                <c:pt idx="3251">
                  <c:v>9.030555555555555</c:v>
                </c:pt>
                <c:pt idx="3252">
                  <c:v>9.0333333333333332</c:v>
                </c:pt>
                <c:pt idx="3253">
                  <c:v>9.0361111111111114</c:v>
                </c:pt>
                <c:pt idx="3254">
                  <c:v>9.0388888888888896</c:v>
                </c:pt>
                <c:pt idx="3255">
                  <c:v>9.0416666666666661</c:v>
                </c:pt>
                <c:pt idx="3256">
                  <c:v>9.0444444444444443</c:v>
                </c:pt>
                <c:pt idx="3257">
                  <c:v>9.0472222222222225</c:v>
                </c:pt>
                <c:pt idx="3258">
                  <c:v>9.0500000000000007</c:v>
                </c:pt>
                <c:pt idx="3259">
                  <c:v>9.0527777777777771</c:v>
                </c:pt>
                <c:pt idx="3260">
                  <c:v>9.0555555555555554</c:v>
                </c:pt>
                <c:pt idx="3261">
                  <c:v>9.0583333333333336</c:v>
                </c:pt>
                <c:pt idx="3262">
                  <c:v>9.0611111111111118</c:v>
                </c:pt>
                <c:pt idx="3263">
                  <c:v>9.0638888888888882</c:v>
                </c:pt>
                <c:pt idx="3264">
                  <c:v>9.0666666666666664</c:v>
                </c:pt>
                <c:pt idx="3265">
                  <c:v>9.0694444444444446</c:v>
                </c:pt>
                <c:pt idx="3266">
                  <c:v>9.0722222222222229</c:v>
                </c:pt>
                <c:pt idx="3267">
                  <c:v>9.0749999999999993</c:v>
                </c:pt>
                <c:pt idx="3268">
                  <c:v>9.0777777777777775</c:v>
                </c:pt>
                <c:pt idx="3269">
                  <c:v>9.0805555555555557</c:v>
                </c:pt>
                <c:pt idx="3270">
                  <c:v>9.0833333333333339</c:v>
                </c:pt>
                <c:pt idx="3271">
                  <c:v>9.0861111111111104</c:v>
                </c:pt>
                <c:pt idx="3272">
                  <c:v>9.0888888888888886</c:v>
                </c:pt>
                <c:pt idx="3273">
                  <c:v>9.0916666666666668</c:v>
                </c:pt>
                <c:pt idx="3274">
                  <c:v>9.094444444444445</c:v>
                </c:pt>
                <c:pt idx="3275">
                  <c:v>9.0972222222222214</c:v>
                </c:pt>
                <c:pt idx="3276">
                  <c:v>9.1</c:v>
                </c:pt>
                <c:pt idx="3277">
                  <c:v>9.1027777777777779</c:v>
                </c:pt>
                <c:pt idx="3278">
                  <c:v>9.1055555555555561</c:v>
                </c:pt>
                <c:pt idx="3279">
                  <c:v>9.1083333333333325</c:v>
                </c:pt>
                <c:pt idx="3280">
                  <c:v>9.1111111111111107</c:v>
                </c:pt>
                <c:pt idx="3281">
                  <c:v>9.1138888888888889</c:v>
                </c:pt>
                <c:pt idx="3282">
                  <c:v>9.1166666666666671</c:v>
                </c:pt>
                <c:pt idx="3283">
                  <c:v>9.1194444444444436</c:v>
                </c:pt>
                <c:pt idx="3284">
                  <c:v>9.1222222222222218</c:v>
                </c:pt>
                <c:pt idx="3285">
                  <c:v>9.125</c:v>
                </c:pt>
                <c:pt idx="3286">
                  <c:v>9.1277777777777782</c:v>
                </c:pt>
                <c:pt idx="3287">
                  <c:v>9.1305555555555564</c:v>
                </c:pt>
                <c:pt idx="3288">
                  <c:v>9.1333333333333329</c:v>
                </c:pt>
                <c:pt idx="3289">
                  <c:v>9.1361111111111111</c:v>
                </c:pt>
                <c:pt idx="3290">
                  <c:v>9.1388888888888893</c:v>
                </c:pt>
                <c:pt idx="3291">
                  <c:v>9.1416666666666675</c:v>
                </c:pt>
                <c:pt idx="3292">
                  <c:v>9.1444444444444439</c:v>
                </c:pt>
                <c:pt idx="3293">
                  <c:v>9.1472222222222221</c:v>
                </c:pt>
                <c:pt idx="3294">
                  <c:v>9.15</c:v>
                </c:pt>
                <c:pt idx="3295">
                  <c:v>9.1527777777777786</c:v>
                </c:pt>
                <c:pt idx="3296">
                  <c:v>9.155555555555555</c:v>
                </c:pt>
                <c:pt idx="3297">
                  <c:v>9.1583333333333332</c:v>
                </c:pt>
                <c:pt idx="3298">
                  <c:v>9.1611111111111114</c:v>
                </c:pt>
                <c:pt idx="3299">
                  <c:v>9.1638888888888896</c:v>
                </c:pt>
                <c:pt idx="3300">
                  <c:v>9.1666666666666661</c:v>
                </c:pt>
                <c:pt idx="3301">
                  <c:v>9.1694444444444443</c:v>
                </c:pt>
                <c:pt idx="3302">
                  <c:v>9.1722222222222225</c:v>
                </c:pt>
                <c:pt idx="3303">
                  <c:v>9.1750000000000007</c:v>
                </c:pt>
                <c:pt idx="3304">
                  <c:v>9.1777777777777771</c:v>
                </c:pt>
                <c:pt idx="3305">
                  <c:v>9.1805555555555554</c:v>
                </c:pt>
                <c:pt idx="3306">
                  <c:v>9.1833333333333336</c:v>
                </c:pt>
                <c:pt idx="3307">
                  <c:v>9.1861111111111118</c:v>
                </c:pt>
                <c:pt idx="3308">
                  <c:v>9.1888888888888882</c:v>
                </c:pt>
                <c:pt idx="3309">
                  <c:v>9.1916666666666664</c:v>
                </c:pt>
                <c:pt idx="3310">
                  <c:v>9.1944444444444446</c:v>
                </c:pt>
                <c:pt idx="3311">
                  <c:v>9.1972222222222229</c:v>
                </c:pt>
                <c:pt idx="3312">
                  <c:v>9.1999999999999993</c:v>
                </c:pt>
                <c:pt idx="3313">
                  <c:v>9.2027777777777775</c:v>
                </c:pt>
                <c:pt idx="3314">
                  <c:v>9.2055555555555557</c:v>
                </c:pt>
                <c:pt idx="3315">
                  <c:v>9.2083333333333339</c:v>
                </c:pt>
                <c:pt idx="3316">
                  <c:v>9.2111111111111104</c:v>
                </c:pt>
                <c:pt idx="3317">
                  <c:v>9.2138888888888886</c:v>
                </c:pt>
                <c:pt idx="3318">
                  <c:v>9.2166666666666668</c:v>
                </c:pt>
                <c:pt idx="3319">
                  <c:v>9.219444444444445</c:v>
                </c:pt>
                <c:pt idx="3320">
                  <c:v>9.2222222222222214</c:v>
                </c:pt>
                <c:pt idx="3321">
                  <c:v>9.2249999999999996</c:v>
                </c:pt>
                <c:pt idx="3322">
                  <c:v>9.2277777777777779</c:v>
                </c:pt>
                <c:pt idx="3323">
                  <c:v>9.2305555555555561</c:v>
                </c:pt>
                <c:pt idx="3324">
                  <c:v>9.2333333333333325</c:v>
                </c:pt>
                <c:pt idx="3325">
                  <c:v>9.2361111111111107</c:v>
                </c:pt>
                <c:pt idx="3326">
                  <c:v>9.2388888888888889</c:v>
                </c:pt>
                <c:pt idx="3327">
                  <c:v>9.2416666666666671</c:v>
                </c:pt>
                <c:pt idx="3328">
                  <c:v>9.2444444444444436</c:v>
                </c:pt>
                <c:pt idx="3329">
                  <c:v>9.2472222222222218</c:v>
                </c:pt>
                <c:pt idx="3330">
                  <c:v>9.25</c:v>
                </c:pt>
                <c:pt idx="3331">
                  <c:v>9.2527777777777782</c:v>
                </c:pt>
                <c:pt idx="3332">
                  <c:v>9.2555555555555564</c:v>
                </c:pt>
                <c:pt idx="3333">
                  <c:v>9.2583333333333329</c:v>
                </c:pt>
                <c:pt idx="3334">
                  <c:v>9.2611111111111111</c:v>
                </c:pt>
                <c:pt idx="3335">
                  <c:v>9.2638888888888893</c:v>
                </c:pt>
                <c:pt idx="3336">
                  <c:v>9.2666666666666675</c:v>
                </c:pt>
                <c:pt idx="3337">
                  <c:v>9.2694444444444439</c:v>
                </c:pt>
                <c:pt idx="3338">
                  <c:v>9.2722222222222221</c:v>
                </c:pt>
                <c:pt idx="3339">
                  <c:v>9.2750000000000004</c:v>
                </c:pt>
                <c:pt idx="3340">
                  <c:v>9.2777777777777786</c:v>
                </c:pt>
                <c:pt idx="3341">
                  <c:v>9.280555555555555</c:v>
                </c:pt>
                <c:pt idx="3342">
                  <c:v>9.2833333333333332</c:v>
                </c:pt>
                <c:pt idx="3343">
                  <c:v>9.2861111111111114</c:v>
                </c:pt>
                <c:pt idx="3344">
                  <c:v>9.2888888888888896</c:v>
                </c:pt>
                <c:pt idx="3345">
                  <c:v>9.2916666666666661</c:v>
                </c:pt>
                <c:pt idx="3346">
                  <c:v>9.2944444444444443</c:v>
                </c:pt>
                <c:pt idx="3347">
                  <c:v>9.2972222222222225</c:v>
                </c:pt>
                <c:pt idx="3348">
                  <c:v>9.3000000000000007</c:v>
                </c:pt>
                <c:pt idx="3349">
                  <c:v>9.3027777777777771</c:v>
                </c:pt>
                <c:pt idx="3350">
                  <c:v>9.3055555555555554</c:v>
                </c:pt>
                <c:pt idx="3351">
                  <c:v>9.3083333333333336</c:v>
                </c:pt>
                <c:pt idx="3352">
                  <c:v>9.3111111111111118</c:v>
                </c:pt>
                <c:pt idx="3353">
                  <c:v>9.3138888888888882</c:v>
                </c:pt>
                <c:pt idx="3354">
                  <c:v>9.3166666666666664</c:v>
                </c:pt>
                <c:pt idx="3355">
                  <c:v>9.3194444444444446</c:v>
                </c:pt>
                <c:pt idx="3356">
                  <c:v>9.3222222222222229</c:v>
                </c:pt>
                <c:pt idx="3357">
                  <c:v>9.3249999999999993</c:v>
                </c:pt>
                <c:pt idx="3358">
                  <c:v>9.3277777777777775</c:v>
                </c:pt>
                <c:pt idx="3359">
                  <c:v>9.3305555555555557</c:v>
                </c:pt>
                <c:pt idx="3360">
                  <c:v>9.3333333333333339</c:v>
                </c:pt>
                <c:pt idx="3361">
                  <c:v>9.3361111111111104</c:v>
                </c:pt>
                <c:pt idx="3362">
                  <c:v>9.3388888888888886</c:v>
                </c:pt>
                <c:pt idx="3363">
                  <c:v>9.3416666666666668</c:v>
                </c:pt>
                <c:pt idx="3364">
                  <c:v>9.344444444444445</c:v>
                </c:pt>
                <c:pt idx="3365">
                  <c:v>9.3472222222222214</c:v>
                </c:pt>
                <c:pt idx="3366">
                  <c:v>9.35</c:v>
                </c:pt>
                <c:pt idx="3367">
                  <c:v>9.3527777777777779</c:v>
                </c:pt>
                <c:pt idx="3368">
                  <c:v>9.3555555555555561</c:v>
                </c:pt>
                <c:pt idx="3369">
                  <c:v>9.3583333333333325</c:v>
                </c:pt>
                <c:pt idx="3370">
                  <c:v>9.3611111111111107</c:v>
                </c:pt>
                <c:pt idx="3371">
                  <c:v>9.3638888888888889</c:v>
                </c:pt>
                <c:pt idx="3372">
                  <c:v>9.3666666666666671</c:v>
                </c:pt>
                <c:pt idx="3373">
                  <c:v>9.3694444444444436</c:v>
                </c:pt>
                <c:pt idx="3374">
                  <c:v>9.3722222222222218</c:v>
                </c:pt>
                <c:pt idx="3375">
                  <c:v>9.375</c:v>
                </c:pt>
                <c:pt idx="3376">
                  <c:v>9.3777777777777782</c:v>
                </c:pt>
                <c:pt idx="3377">
                  <c:v>9.3805555555555564</c:v>
                </c:pt>
                <c:pt idx="3378">
                  <c:v>9.3833333333333329</c:v>
                </c:pt>
                <c:pt idx="3379">
                  <c:v>9.3861111111111111</c:v>
                </c:pt>
                <c:pt idx="3380">
                  <c:v>9.3888888888888893</c:v>
                </c:pt>
                <c:pt idx="3381">
                  <c:v>9.3916666666666675</c:v>
                </c:pt>
                <c:pt idx="3382">
                  <c:v>9.3944444444444439</c:v>
                </c:pt>
                <c:pt idx="3383">
                  <c:v>9.3972222222222221</c:v>
                </c:pt>
                <c:pt idx="3384">
                  <c:v>9.4</c:v>
                </c:pt>
                <c:pt idx="3385">
                  <c:v>9.4027777777777786</c:v>
                </c:pt>
                <c:pt idx="3386">
                  <c:v>9.405555555555555</c:v>
                </c:pt>
                <c:pt idx="3387">
                  <c:v>9.4083333333333332</c:v>
                </c:pt>
                <c:pt idx="3388">
                  <c:v>9.4111111111111114</c:v>
                </c:pt>
                <c:pt idx="3389">
                  <c:v>9.4138888888888896</c:v>
                </c:pt>
                <c:pt idx="3390">
                  <c:v>9.4166666666666661</c:v>
                </c:pt>
                <c:pt idx="3391">
                  <c:v>9.4194444444444443</c:v>
                </c:pt>
                <c:pt idx="3392">
                  <c:v>9.4222222222222225</c:v>
                </c:pt>
                <c:pt idx="3393">
                  <c:v>9.4250000000000007</c:v>
                </c:pt>
                <c:pt idx="3394">
                  <c:v>9.4277777777777771</c:v>
                </c:pt>
                <c:pt idx="3395">
                  <c:v>9.4305555555555554</c:v>
                </c:pt>
                <c:pt idx="3396">
                  <c:v>9.4333333333333336</c:v>
                </c:pt>
                <c:pt idx="3397">
                  <c:v>9.4361111111111118</c:v>
                </c:pt>
                <c:pt idx="3398">
                  <c:v>9.4388888888888882</c:v>
                </c:pt>
                <c:pt idx="3399">
                  <c:v>9.4416666666666664</c:v>
                </c:pt>
                <c:pt idx="3400">
                  <c:v>9.4444444444444446</c:v>
                </c:pt>
                <c:pt idx="3401">
                  <c:v>9.4472222222222229</c:v>
                </c:pt>
                <c:pt idx="3402">
                  <c:v>9.4499999999999993</c:v>
                </c:pt>
                <c:pt idx="3403">
                  <c:v>9.4527777777777775</c:v>
                </c:pt>
                <c:pt idx="3404">
                  <c:v>9.4555555555555557</c:v>
                </c:pt>
                <c:pt idx="3405">
                  <c:v>9.4583333333333339</c:v>
                </c:pt>
                <c:pt idx="3406">
                  <c:v>9.4611111111111104</c:v>
                </c:pt>
                <c:pt idx="3407">
                  <c:v>9.4638888888888886</c:v>
                </c:pt>
                <c:pt idx="3408">
                  <c:v>9.4666666666666668</c:v>
                </c:pt>
                <c:pt idx="3409">
                  <c:v>9.469444444444445</c:v>
                </c:pt>
                <c:pt idx="3410">
                  <c:v>9.4722222222222214</c:v>
                </c:pt>
                <c:pt idx="3411">
                  <c:v>9.4749999999999996</c:v>
                </c:pt>
                <c:pt idx="3412">
                  <c:v>9.4777777777777779</c:v>
                </c:pt>
                <c:pt idx="3413">
                  <c:v>9.4805555555555561</c:v>
                </c:pt>
                <c:pt idx="3414">
                  <c:v>9.4833333333333325</c:v>
                </c:pt>
                <c:pt idx="3415">
                  <c:v>9.4861111111111107</c:v>
                </c:pt>
                <c:pt idx="3416">
                  <c:v>9.4888888888888889</c:v>
                </c:pt>
                <c:pt idx="3417">
                  <c:v>9.4916666666666671</c:v>
                </c:pt>
                <c:pt idx="3418">
                  <c:v>9.4944444444444436</c:v>
                </c:pt>
                <c:pt idx="3419">
                  <c:v>9.4972222222222218</c:v>
                </c:pt>
                <c:pt idx="3420">
                  <c:v>9.5</c:v>
                </c:pt>
                <c:pt idx="3421">
                  <c:v>9.5027777777777782</c:v>
                </c:pt>
                <c:pt idx="3422">
                  <c:v>9.5055555555555564</c:v>
                </c:pt>
                <c:pt idx="3423">
                  <c:v>9.5083333333333329</c:v>
                </c:pt>
                <c:pt idx="3424">
                  <c:v>9.5111111111111111</c:v>
                </c:pt>
                <c:pt idx="3425">
                  <c:v>9.5138888888888893</c:v>
                </c:pt>
                <c:pt idx="3426">
                  <c:v>9.5166666666666675</c:v>
                </c:pt>
                <c:pt idx="3427">
                  <c:v>9.5194444444444439</c:v>
                </c:pt>
                <c:pt idx="3428">
                  <c:v>9.5222222222222221</c:v>
                </c:pt>
                <c:pt idx="3429">
                  <c:v>9.5250000000000004</c:v>
                </c:pt>
                <c:pt idx="3430">
                  <c:v>9.5277777777777786</c:v>
                </c:pt>
                <c:pt idx="3431">
                  <c:v>9.530555555555555</c:v>
                </c:pt>
                <c:pt idx="3432">
                  <c:v>9.5333333333333332</c:v>
                </c:pt>
                <c:pt idx="3433">
                  <c:v>9.5361111111111114</c:v>
                </c:pt>
                <c:pt idx="3434">
                  <c:v>9.5388888888888896</c:v>
                </c:pt>
                <c:pt idx="3435">
                  <c:v>9.5416666666666661</c:v>
                </c:pt>
                <c:pt idx="3436">
                  <c:v>9.5444444444444443</c:v>
                </c:pt>
                <c:pt idx="3437">
                  <c:v>9.5472222222222225</c:v>
                </c:pt>
                <c:pt idx="3438">
                  <c:v>9.5500000000000007</c:v>
                </c:pt>
                <c:pt idx="3439">
                  <c:v>9.5527777777777771</c:v>
                </c:pt>
                <c:pt idx="3440">
                  <c:v>9.5555555555555554</c:v>
                </c:pt>
                <c:pt idx="3441">
                  <c:v>9.5583333333333336</c:v>
                </c:pt>
                <c:pt idx="3442">
                  <c:v>9.5611111111111118</c:v>
                </c:pt>
                <c:pt idx="3443">
                  <c:v>9.5638888888888882</c:v>
                </c:pt>
                <c:pt idx="3444">
                  <c:v>9.5666666666666664</c:v>
                </c:pt>
                <c:pt idx="3445">
                  <c:v>9.5694444444444446</c:v>
                </c:pt>
                <c:pt idx="3446">
                  <c:v>9.5722222222222229</c:v>
                </c:pt>
                <c:pt idx="3447">
                  <c:v>9.5749999999999993</c:v>
                </c:pt>
                <c:pt idx="3448">
                  <c:v>9.5777777777777775</c:v>
                </c:pt>
                <c:pt idx="3449">
                  <c:v>9.5805555555555557</c:v>
                </c:pt>
                <c:pt idx="3450">
                  <c:v>9.5833333333333339</c:v>
                </c:pt>
                <c:pt idx="3451">
                  <c:v>9.5861111111111104</c:v>
                </c:pt>
                <c:pt idx="3452">
                  <c:v>9.5888888888888886</c:v>
                </c:pt>
                <c:pt idx="3453">
                  <c:v>9.5916666666666668</c:v>
                </c:pt>
                <c:pt idx="3454">
                  <c:v>9.594444444444445</c:v>
                </c:pt>
                <c:pt idx="3455">
                  <c:v>9.5972222222222214</c:v>
                </c:pt>
                <c:pt idx="3456">
                  <c:v>9.6</c:v>
                </c:pt>
                <c:pt idx="3457">
                  <c:v>9.6027777777777779</c:v>
                </c:pt>
                <c:pt idx="3458">
                  <c:v>9.6055555555555561</c:v>
                </c:pt>
                <c:pt idx="3459">
                  <c:v>9.6083333333333325</c:v>
                </c:pt>
                <c:pt idx="3460">
                  <c:v>9.6111111111111107</c:v>
                </c:pt>
                <c:pt idx="3461">
                  <c:v>9.6138888888888889</c:v>
                </c:pt>
                <c:pt idx="3462">
                  <c:v>9.6166666666666671</c:v>
                </c:pt>
                <c:pt idx="3463">
                  <c:v>9.6194444444444436</c:v>
                </c:pt>
                <c:pt idx="3464">
                  <c:v>9.6222222222222218</c:v>
                </c:pt>
                <c:pt idx="3465">
                  <c:v>9.625</c:v>
                </c:pt>
                <c:pt idx="3466">
                  <c:v>9.6277777777777782</c:v>
                </c:pt>
                <c:pt idx="3467">
                  <c:v>9.6305555555555564</c:v>
                </c:pt>
                <c:pt idx="3468">
                  <c:v>9.6333333333333329</c:v>
                </c:pt>
                <c:pt idx="3469">
                  <c:v>9.6361111111111111</c:v>
                </c:pt>
                <c:pt idx="3470">
                  <c:v>9.6388888888888893</c:v>
                </c:pt>
                <c:pt idx="3471">
                  <c:v>9.6416666666666675</c:v>
                </c:pt>
                <c:pt idx="3472">
                  <c:v>9.6444444444444439</c:v>
                </c:pt>
                <c:pt idx="3473">
                  <c:v>9.6472222222222221</c:v>
                </c:pt>
                <c:pt idx="3474">
                  <c:v>9.65</c:v>
                </c:pt>
                <c:pt idx="3475">
                  <c:v>9.6527777777777786</c:v>
                </c:pt>
                <c:pt idx="3476">
                  <c:v>9.655555555555555</c:v>
                </c:pt>
                <c:pt idx="3477">
                  <c:v>9.6583333333333332</c:v>
                </c:pt>
                <c:pt idx="3478">
                  <c:v>9.6611111111111114</c:v>
                </c:pt>
                <c:pt idx="3479">
                  <c:v>9.6638888888888896</c:v>
                </c:pt>
                <c:pt idx="3480">
                  <c:v>9.6666666666666661</c:v>
                </c:pt>
                <c:pt idx="3481">
                  <c:v>9.6694444444444443</c:v>
                </c:pt>
                <c:pt idx="3482">
                  <c:v>9.6722222222222225</c:v>
                </c:pt>
                <c:pt idx="3483">
                  <c:v>9.6750000000000007</c:v>
                </c:pt>
                <c:pt idx="3484">
                  <c:v>9.6777777777777771</c:v>
                </c:pt>
                <c:pt idx="3485">
                  <c:v>9.6805555555555554</c:v>
                </c:pt>
                <c:pt idx="3486">
                  <c:v>9.6833333333333336</c:v>
                </c:pt>
                <c:pt idx="3487">
                  <c:v>9.6861111111111118</c:v>
                </c:pt>
                <c:pt idx="3488">
                  <c:v>9.6888888888888882</c:v>
                </c:pt>
                <c:pt idx="3489">
                  <c:v>9.6916666666666664</c:v>
                </c:pt>
                <c:pt idx="3490">
                  <c:v>9.6944444444444446</c:v>
                </c:pt>
                <c:pt idx="3491">
                  <c:v>9.6972222222222229</c:v>
                </c:pt>
                <c:pt idx="3492">
                  <c:v>9.6999999999999993</c:v>
                </c:pt>
                <c:pt idx="3493">
                  <c:v>9.7027777777777775</c:v>
                </c:pt>
                <c:pt idx="3494">
                  <c:v>9.7055555555555557</c:v>
                </c:pt>
                <c:pt idx="3495">
                  <c:v>9.7083333333333339</c:v>
                </c:pt>
                <c:pt idx="3496">
                  <c:v>9.7111111111111104</c:v>
                </c:pt>
                <c:pt idx="3497">
                  <c:v>9.7138888888888886</c:v>
                </c:pt>
                <c:pt idx="3498">
                  <c:v>9.7166666666666668</c:v>
                </c:pt>
                <c:pt idx="3499">
                  <c:v>9.719444444444445</c:v>
                </c:pt>
                <c:pt idx="3500">
                  <c:v>9.7222222222222214</c:v>
                </c:pt>
                <c:pt idx="3501">
                  <c:v>9.7249999999999996</c:v>
                </c:pt>
                <c:pt idx="3502">
                  <c:v>9.7277777777777779</c:v>
                </c:pt>
                <c:pt idx="3503">
                  <c:v>9.7305555555555561</c:v>
                </c:pt>
                <c:pt idx="3504">
                  <c:v>9.7333333333333325</c:v>
                </c:pt>
                <c:pt idx="3505">
                  <c:v>9.7361111111111107</c:v>
                </c:pt>
                <c:pt idx="3506">
                  <c:v>9.7388888888888889</c:v>
                </c:pt>
                <c:pt idx="3507">
                  <c:v>9.7416666666666671</c:v>
                </c:pt>
                <c:pt idx="3508">
                  <c:v>9.7444444444444436</c:v>
                </c:pt>
                <c:pt idx="3509">
                  <c:v>9.7472222222222218</c:v>
                </c:pt>
                <c:pt idx="3510">
                  <c:v>9.75</c:v>
                </c:pt>
                <c:pt idx="3511">
                  <c:v>9.7527777777777782</c:v>
                </c:pt>
                <c:pt idx="3512">
                  <c:v>9.7555555555555564</c:v>
                </c:pt>
                <c:pt idx="3513">
                  <c:v>9.7583333333333329</c:v>
                </c:pt>
                <c:pt idx="3514">
                  <c:v>9.7611111111111111</c:v>
                </c:pt>
                <c:pt idx="3515">
                  <c:v>9.7638888888888893</c:v>
                </c:pt>
                <c:pt idx="3516">
                  <c:v>9.7666666666666675</c:v>
                </c:pt>
                <c:pt idx="3517">
                  <c:v>9.7694444444444439</c:v>
                </c:pt>
                <c:pt idx="3518">
                  <c:v>9.7722222222222221</c:v>
                </c:pt>
                <c:pt idx="3519">
                  <c:v>9.7750000000000004</c:v>
                </c:pt>
                <c:pt idx="3520">
                  <c:v>9.7777777777777786</c:v>
                </c:pt>
                <c:pt idx="3521">
                  <c:v>9.780555555555555</c:v>
                </c:pt>
                <c:pt idx="3522">
                  <c:v>9.7833333333333332</c:v>
                </c:pt>
                <c:pt idx="3523">
                  <c:v>9.7861111111111114</c:v>
                </c:pt>
                <c:pt idx="3524">
                  <c:v>9.7888888888888896</c:v>
                </c:pt>
                <c:pt idx="3525">
                  <c:v>9.7916666666666661</c:v>
                </c:pt>
                <c:pt idx="3526">
                  <c:v>9.7944444444444443</c:v>
                </c:pt>
                <c:pt idx="3527">
                  <c:v>9.7972222222222225</c:v>
                </c:pt>
                <c:pt idx="3528">
                  <c:v>9.8000000000000007</c:v>
                </c:pt>
                <c:pt idx="3529">
                  <c:v>9.8027777777777771</c:v>
                </c:pt>
                <c:pt idx="3530">
                  <c:v>9.8055555555555554</c:v>
                </c:pt>
                <c:pt idx="3531">
                  <c:v>9.8083333333333336</c:v>
                </c:pt>
                <c:pt idx="3532">
                  <c:v>9.8111111111111118</c:v>
                </c:pt>
                <c:pt idx="3533">
                  <c:v>9.8138888888888882</c:v>
                </c:pt>
                <c:pt idx="3534">
                  <c:v>9.8166666666666664</c:v>
                </c:pt>
                <c:pt idx="3535">
                  <c:v>9.8194444444444446</c:v>
                </c:pt>
                <c:pt idx="3536">
                  <c:v>9.8222222222222229</c:v>
                </c:pt>
                <c:pt idx="3537">
                  <c:v>9.8249999999999993</c:v>
                </c:pt>
                <c:pt idx="3538">
                  <c:v>9.8277777777777775</c:v>
                </c:pt>
                <c:pt idx="3539">
                  <c:v>9.8305555555555557</c:v>
                </c:pt>
                <c:pt idx="3540">
                  <c:v>9.8333333333333339</c:v>
                </c:pt>
                <c:pt idx="3541">
                  <c:v>9.8361111111111104</c:v>
                </c:pt>
                <c:pt idx="3542">
                  <c:v>9.8388888888888886</c:v>
                </c:pt>
                <c:pt idx="3543">
                  <c:v>9.8416666666666668</c:v>
                </c:pt>
                <c:pt idx="3544">
                  <c:v>9.844444444444445</c:v>
                </c:pt>
                <c:pt idx="3545">
                  <c:v>9.8472222222222214</c:v>
                </c:pt>
                <c:pt idx="3546">
                  <c:v>9.85</c:v>
                </c:pt>
                <c:pt idx="3547">
                  <c:v>9.8527777777777779</c:v>
                </c:pt>
                <c:pt idx="3548">
                  <c:v>9.8555555555555561</c:v>
                </c:pt>
                <c:pt idx="3549">
                  <c:v>9.8583333333333325</c:v>
                </c:pt>
                <c:pt idx="3550">
                  <c:v>9.8611111111111107</c:v>
                </c:pt>
                <c:pt idx="3551">
                  <c:v>9.8638888888888889</c:v>
                </c:pt>
                <c:pt idx="3552">
                  <c:v>9.8666666666666671</c:v>
                </c:pt>
                <c:pt idx="3553">
                  <c:v>9.8694444444444436</c:v>
                </c:pt>
                <c:pt idx="3554">
                  <c:v>9.8722222222222218</c:v>
                </c:pt>
                <c:pt idx="3555">
                  <c:v>9.875</c:v>
                </c:pt>
                <c:pt idx="3556">
                  <c:v>9.8777777777777782</c:v>
                </c:pt>
                <c:pt idx="3557">
                  <c:v>9.8805555555555564</c:v>
                </c:pt>
                <c:pt idx="3558">
                  <c:v>9.8833333333333329</c:v>
                </c:pt>
                <c:pt idx="3559">
                  <c:v>9.8861111111111111</c:v>
                </c:pt>
                <c:pt idx="3560">
                  <c:v>9.8888888888888893</c:v>
                </c:pt>
                <c:pt idx="3561">
                  <c:v>9.8916666666666675</c:v>
                </c:pt>
                <c:pt idx="3562">
                  <c:v>9.8944444444444439</c:v>
                </c:pt>
                <c:pt idx="3563">
                  <c:v>9.8972222222222221</c:v>
                </c:pt>
                <c:pt idx="3564">
                  <c:v>9.9</c:v>
                </c:pt>
                <c:pt idx="3565">
                  <c:v>9.9027777777777786</c:v>
                </c:pt>
                <c:pt idx="3566">
                  <c:v>9.905555555555555</c:v>
                </c:pt>
                <c:pt idx="3567">
                  <c:v>9.9083333333333332</c:v>
                </c:pt>
                <c:pt idx="3568">
                  <c:v>9.9111111111111114</c:v>
                </c:pt>
                <c:pt idx="3569">
                  <c:v>9.9138888888888896</c:v>
                </c:pt>
                <c:pt idx="3570">
                  <c:v>9.9166666666666661</c:v>
                </c:pt>
                <c:pt idx="3571">
                  <c:v>9.9194444444444443</c:v>
                </c:pt>
                <c:pt idx="3572">
                  <c:v>9.9222222222222225</c:v>
                </c:pt>
                <c:pt idx="3573">
                  <c:v>9.9250000000000007</c:v>
                </c:pt>
                <c:pt idx="3574">
                  <c:v>9.9277777777777771</c:v>
                </c:pt>
                <c:pt idx="3575">
                  <c:v>9.9305555555555554</c:v>
                </c:pt>
                <c:pt idx="3576">
                  <c:v>9.9333333333333336</c:v>
                </c:pt>
                <c:pt idx="3577">
                  <c:v>9.9361111111111118</c:v>
                </c:pt>
                <c:pt idx="3578">
                  <c:v>9.9388888888888882</c:v>
                </c:pt>
                <c:pt idx="3579">
                  <c:v>9.9416666666666664</c:v>
                </c:pt>
                <c:pt idx="3580">
                  <c:v>9.9444444444444446</c:v>
                </c:pt>
                <c:pt idx="3581">
                  <c:v>9.9472222222222229</c:v>
                </c:pt>
                <c:pt idx="3582">
                  <c:v>9.9499999999999993</c:v>
                </c:pt>
                <c:pt idx="3583">
                  <c:v>9.9527777777777775</c:v>
                </c:pt>
                <c:pt idx="3584">
                  <c:v>9.9555555555555557</c:v>
                </c:pt>
                <c:pt idx="3585">
                  <c:v>9.9583333333333339</c:v>
                </c:pt>
                <c:pt idx="3586">
                  <c:v>9.9611111111111104</c:v>
                </c:pt>
                <c:pt idx="3587">
                  <c:v>9.9638888888888886</c:v>
                </c:pt>
                <c:pt idx="3588">
                  <c:v>9.9666666666666668</c:v>
                </c:pt>
                <c:pt idx="3589">
                  <c:v>9.969444444444445</c:v>
                </c:pt>
                <c:pt idx="3590">
                  <c:v>9.9722222222222214</c:v>
                </c:pt>
                <c:pt idx="3591">
                  <c:v>9.9749999999999996</c:v>
                </c:pt>
                <c:pt idx="3592">
                  <c:v>9.9777777777777779</c:v>
                </c:pt>
                <c:pt idx="3593">
                  <c:v>9.9805555555555561</c:v>
                </c:pt>
                <c:pt idx="3594">
                  <c:v>9.9833333333333325</c:v>
                </c:pt>
                <c:pt idx="3595">
                  <c:v>9.9861111111111107</c:v>
                </c:pt>
                <c:pt idx="3596">
                  <c:v>9.9888888888888889</c:v>
                </c:pt>
                <c:pt idx="3597">
                  <c:v>9.9916666666666671</c:v>
                </c:pt>
                <c:pt idx="3598">
                  <c:v>9.9944444444444436</c:v>
                </c:pt>
                <c:pt idx="3599">
                  <c:v>9.9972222222222218</c:v>
                </c:pt>
                <c:pt idx="3600">
                  <c:v>10</c:v>
                </c:pt>
                <c:pt idx="3601">
                  <c:v>10.002777777777778</c:v>
                </c:pt>
                <c:pt idx="3602">
                  <c:v>10.005555555555556</c:v>
                </c:pt>
                <c:pt idx="3603">
                  <c:v>10.008333333333333</c:v>
                </c:pt>
                <c:pt idx="3604">
                  <c:v>10.011111111111111</c:v>
                </c:pt>
                <c:pt idx="3605">
                  <c:v>10.013888888888889</c:v>
                </c:pt>
                <c:pt idx="3606">
                  <c:v>10.016666666666667</c:v>
                </c:pt>
                <c:pt idx="3607">
                  <c:v>10.019444444444444</c:v>
                </c:pt>
                <c:pt idx="3608">
                  <c:v>10.022222222222222</c:v>
                </c:pt>
                <c:pt idx="3609">
                  <c:v>10.025</c:v>
                </c:pt>
                <c:pt idx="3610">
                  <c:v>10.027777777777779</c:v>
                </c:pt>
                <c:pt idx="3611">
                  <c:v>10.030555555555555</c:v>
                </c:pt>
                <c:pt idx="3612">
                  <c:v>10.033333333333333</c:v>
                </c:pt>
                <c:pt idx="3613">
                  <c:v>10.036111111111111</c:v>
                </c:pt>
                <c:pt idx="3614">
                  <c:v>10.03888888888889</c:v>
                </c:pt>
                <c:pt idx="3615">
                  <c:v>10.041666666666666</c:v>
                </c:pt>
                <c:pt idx="3616">
                  <c:v>10.044444444444444</c:v>
                </c:pt>
                <c:pt idx="3617">
                  <c:v>10.047222222222222</c:v>
                </c:pt>
                <c:pt idx="3618">
                  <c:v>10.050000000000001</c:v>
                </c:pt>
                <c:pt idx="3619">
                  <c:v>10.052777777777777</c:v>
                </c:pt>
                <c:pt idx="3620">
                  <c:v>10.055555555555555</c:v>
                </c:pt>
                <c:pt idx="3621">
                  <c:v>10.058333333333334</c:v>
                </c:pt>
                <c:pt idx="3622">
                  <c:v>10.061111111111112</c:v>
                </c:pt>
                <c:pt idx="3623">
                  <c:v>10.063888888888888</c:v>
                </c:pt>
                <c:pt idx="3624">
                  <c:v>10.066666666666666</c:v>
                </c:pt>
                <c:pt idx="3625">
                  <c:v>10.069444444444445</c:v>
                </c:pt>
                <c:pt idx="3626">
                  <c:v>10.072222222222223</c:v>
                </c:pt>
                <c:pt idx="3627">
                  <c:v>10.074999999999999</c:v>
                </c:pt>
                <c:pt idx="3628">
                  <c:v>10.077777777777778</c:v>
                </c:pt>
                <c:pt idx="3629">
                  <c:v>10.080555555555556</c:v>
                </c:pt>
                <c:pt idx="3630">
                  <c:v>10.083333333333334</c:v>
                </c:pt>
                <c:pt idx="3631">
                  <c:v>10.08611111111111</c:v>
                </c:pt>
                <c:pt idx="3632">
                  <c:v>10.088888888888889</c:v>
                </c:pt>
                <c:pt idx="3633">
                  <c:v>10.091666666666667</c:v>
                </c:pt>
                <c:pt idx="3634">
                  <c:v>10.094444444444445</c:v>
                </c:pt>
                <c:pt idx="3635">
                  <c:v>10.097222222222221</c:v>
                </c:pt>
                <c:pt idx="3636">
                  <c:v>10.1</c:v>
                </c:pt>
                <c:pt idx="3637">
                  <c:v>10.102777777777778</c:v>
                </c:pt>
                <c:pt idx="3638">
                  <c:v>10.105555555555556</c:v>
                </c:pt>
                <c:pt idx="3639">
                  <c:v>10.108333333333333</c:v>
                </c:pt>
                <c:pt idx="3640">
                  <c:v>10.111111111111111</c:v>
                </c:pt>
                <c:pt idx="3641">
                  <c:v>10.113888888888889</c:v>
                </c:pt>
                <c:pt idx="3642">
                  <c:v>10.116666666666667</c:v>
                </c:pt>
                <c:pt idx="3643">
                  <c:v>10.119444444444444</c:v>
                </c:pt>
                <c:pt idx="3644">
                  <c:v>10.122222222222222</c:v>
                </c:pt>
                <c:pt idx="3645">
                  <c:v>10.125</c:v>
                </c:pt>
                <c:pt idx="3646">
                  <c:v>10.127777777777778</c:v>
                </c:pt>
                <c:pt idx="3647">
                  <c:v>10.130555555555556</c:v>
                </c:pt>
                <c:pt idx="3648">
                  <c:v>10.133333333333333</c:v>
                </c:pt>
                <c:pt idx="3649">
                  <c:v>10.136111111111111</c:v>
                </c:pt>
                <c:pt idx="3650">
                  <c:v>10.138888888888889</c:v>
                </c:pt>
                <c:pt idx="3651">
                  <c:v>10.141666666666667</c:v>
                </c:pt>
                <c:pt idx="3652">
                  <c:v>10.144444444444444</c:v>
                </c:pt>
                <c:pt idx="3653">
                  <c:v>10.147222222222222</c:v>
                </c:pt>
                <c:pt idx="3654">
                  <c:v>10.15</c:v>
                </c:pt>
                <c:pt idx="3655">
                  <c:v>10.152777777777779</c:v>
                </c:pt>
                <c:pt idx="3656">
                  <c:v>10.155555555555555</c:v>
                </c:pt>
                <c:pt idx="3657">
                  <c:v>10.158333333333333</c:v>
                </c:pt>
                <c:pt idx="3658">
                  <c:v>10.161111111111111</c:v>
                </c:pt>
                <c:pt idx="3659">
                  <c:v>10.16388888888889</c:v>
                </c:pt>
                <c:pt idx="3660">
                  <c:v>10.166666666666666</c:v>
                </c:pt>
                <c:pt idx="3661">
                  <c:v>10.169444444444444</c:v>
                </c:pt>
                <c:pt idx="3662">
                  <c:v>10.172222222222222</c:v>
                </c:pt>
                <c:pt idx="3663">
                  <c:v>10.175000000000001</c:v>
                </c:pt>
                <c:pt idx="3664">
                  <c:v>10.177777777777777</c:v>
                </c:pt>
                <c:pt idx="3665">
                  <c:v>10.180555555555555</c:v>
                </c:pt>
                <c:pt idx="3666">
                  <c:v>10.183333333333334</c:v>
                </c:pt>
                <c:pt idx="3667">
                  <c:v>10.186111111111112</c:v>
                </c:pt>
                <c:pt idx="3668">
                  <c:v>10.188888888888888</c:v>
                </c:pt>
                <c:pt idx="3669">
                  <c:v>10.191666666666666</c:v>
                </c:pt>
                <c:pt idx="3670">
                  <c:v>10.194444444444445</c:v>
                </c:pt>
                <c:pt idx="3671">
                  <c:v>10.197222222222223</c:v>
                </c:pt>
                <c:pt idx="3672">
                  <c:v>10.199999999999999</c:v>
                </c:pt>
                <c:pt idx="3673">
                  <c:v>10.202777777777778</c:v>
                </c:pt>
                <c:pt idx="3674">
                  <c:v>10.205555555555556</c:v>
                </c:pt>
                <c:pt idx="3675">
                  <c:v>10.208333333333334</c:v>
                </c:pt>
                <c:pt idx="3676">
                  <c:v>10.21111111111111</c:v>
                </c:pt>
                <c:pt idx="3677">
                  <c:v>10.213888888888889</c:v>
                </c:pt>
                <c:pt idx="3678">
                  <c:v>10.216666666666667</c:v>
                </c:pt>
                <c:pt idx="3679">
                  <c:v>10.219444444444445</c:v>
                </c:pt>
                <c:pt idx="3680">
                  <c:v>10.222222222222221</c:v>
                </c:pt>
                <c:pt idx="3681">
                  <c:v>10.225</c:v>
                </c:pt>
                <c:pt idx="3682">
                  <c:v>10.227777777777778</c:v>
                </c:pt>
                <c:pt idx="3683">
                  <c:v>10.230555555555556</c:v>
                </c:pt>
                <c:pt idx="3684">
                  <c:v>10.233333333333333</c:v>
                </c:pt>
                <c:pt idx="3685">
                  <c:v>10.236111111111111</c:v>
                </c:pt>
                <c:pt idx="3686">
                  <c:v>10.238888888888889</c:v>
                </c:pt>
                <c:pt idx="3687">
                  <c:v>10.241666666666667</c:v>
                </c:pt>
                <c:pt idx="3688">
                  <c:v>10.244444444444444</c:v>
                </c:pt>
                <c:pt idx="3689">
                  <c:v>10.247222222222222</c:v>
                </c:pt>
                <c:pt idx="3690">
                  <c:v>10.25</c:v>
                </c:pt>
                <c:pt idx="3691">
                  <c:v>10.252777777777778</c:v>
                </c:pt>
                <c:pt idx="3692">
                  <c:v>10.255555555555556</c:v>
                </c:pt>
                <c:pt idx="3693">
                  <c:v>10.258333333333333</c:v>
                </c:pt>
                <c:pt idx="3694">
                  <c:v>10.261111111111111</c:v>
                </c:pt>
                <c:pt idx="3695">
                  <c:v>10.263888888888889</c:v>
                </c:pt>
                <c:pt idx="3696">
                  <c:v>10.266666666666667</c:v>
                </c:pt>
                <c:pt idx="3697">
                  <c:v>10.269444444444444</c:v>
                </c:pt>
                <c:pt idx="3698">
                  <c:v>10.272222222222222</c:v>
                </c:pt>
                <c:pt idx="3699">
                  <c:v>10.275</c:v>
                </c:pt>
                <c:pt idx="3700">
                  <c:v>10.277777777777779</c:v>
                </c:pt>
                <c:pt idx="3701">
                  <c:v>10.280555555555555</c:v>
                </c:pt>
                <c:pt idx="3702">
                  <c:v>10.283333333333333</c:v>
                </c:pt>
                <c:pt idx="3703">
                  <c:v>10.286111111111111</c:v>
                </c:pt>
                <c:pt idx="3704">
                  <c:v>10.28888888888889</c:v>
                </c:pt>
                <c:pt idx="3705">
                  <c:v>10.291666666666666</c:v>
                </c:pt>
                <c:pt idx="3706">
                  <c:v>10.294444444444444</c:v>
                </c:pt>
                <c:pt idx="3707">
                  <c:v>10.297222222222222</c:v>
                </c:pt>
                <c:pt idx="3708">
                  <c:v>10.3</c:v>
                </c:pt>
                <c:pt idx="3709">
                  <c:v>10.302777777777777</c:v>
                </c:pt>
                <c:pt idx="3710">
                  <c:v>10.305555555555555</c:v>
                </c:pt>
                <c:pt idx="3711">
                  <c:v>10.308333333333334</c:v>
                </c:pt>
                <c:pt idx="3712">
                  <c:v>10.311111111111112</c:v>
                </c:pt>
                <c:pt idx="3713">
                  <c:v>10.313888888888888</c:v>
                </c:pt>
                <c:pt idx="3714">
                  <c:v>10.316666666666666</c:v>
                </c:pt>
                <c:pt idx="3715">
                  <c:v>10.319444444444445</c:v>
                </c:pt>
                <c:pt idx="3716">
                  <c:v>10.322222222222223</c:v>
                </c:pt>
                <c:pt idx="3717">
                  <c:v>10.324999999999999</c:v>
                </c:pt>
                <c:pt idx="3718">
                  <c:v>10.327777777777778</c:v>
                </c:pt>
                <c:pt idx="3719">
                  <c:v>10.330555555555556</c:v>
                </c:pt>
                <c:pt idx="3720">
                  <c:v>10.333333333333334</c:v>
                </c:pt>
                <c:pt idx="3721">
                  <c:v>10.33611111111111</c:v>
                </c:pt>
                <c:pt idx="3722">
                  <c:v>10.338888888888889</c:v>
                </c:pt>
                <c:pt idx="3723">
                  <c:v>10.341666666666667</c:v>
                </c:pt>
                <c:pt idx="3724">
                  <c:v>10.344444444444445</c:v>
                </c:pt>
                <c:pt idx="3725">
                  <c:v>10.347222222222221</c:v>
                </c:pt>
                <c:pt idx="3726">
                  <c:v>10.35</c:v>
                </c:pt>
                <c:pt idx="3727">
                  <c:v>10.352777777777778</c:v>
                </c:pt>
                <c:pt idx="3728">
                  <c:v>10.355555555555556</c:v>
                </c:pt>
                <c:pt idx="3729">
                  <c:v>10.358333333333333</c:v>
                </c:pt>
                <c:pt idx="3730">
                  <c:v>10.361111111111111</c:v>
                </c:pt>
                <c:pt idx="3731">
                  <c:v>10.363888888888889</c:v>
                </c:pt>
                <c:pt idx="3732">
                  <c:v>10.366666666666667</c:v>
                </c:pt>
                <c:pt idx="3733">
                  <c:v>10.369444444444444</c:v>
                </c:pt>
                <c:pt idx="3734">
                  <c:v>10.372222222222222</c:v>
                </c:pt>
                <c:pt idx="3735">
                  <c:v>10.375</c:v>
                </c:pt>
                <c:pt idx="3736">
                  <c:v>10.377777777777778</c:v>
                </c:pt>
                <c:pt idx="3737">
                  <c:v>10.380555555555556</c:v>
                </c:pt>
                <c:pt idx="3738">
                  <c:v>10.383333333333333</c:v>
                </c:pt>
                <c:pt idx="3739">
                  <c:v>10.386111111111111</c:v>
                </c:pt>
                <c:pt idx="3740">
                  <c:v>10.388888888888889</c:v>
                </c:pt>
                <c:pt idx="3741">
                  <c:v>10.391666666666667</c:v>
                </c:pt>
                <c:pt idx="3742">
                  <c:v>10.394444444444444</c:v>
                </c:pt>
                <c:pt idx="3743">
                  <c:v>10.397222222222222</c:v>
                </c:pt>
                <c:pt idx="3744">
                  <c:v>10.4</c:v>
                </c:pt>
                <c:pt idx="3745">
                  <c:v>10.402777777777779</c:v>
                </c:pt>
                <c:pt idx="3746">
                  <c:v>10.405555555555555</c:v>
                </c:pt>
                <c:pt idx="3747">
                  <c:v>10.408333333333333</c:v>
                </c:pt>
                <c:pt idx="3748">
                  <c:v>10.411111111111111</c:v>
                </c:pt>
                <c:pt idx="3749">
                  <c:v>10.41388888888889</c:v>
                </c:pt>
                <c:pt idx="3750">
                  <c:v>10.416666666666666</c:v>
                </c:pt>
                <c:pt idx="3751">
                  <c:v>10.419444444444444</c:v>
                </c:pt>
                <c:pt idx="3752">
                  <c:v>10.422222222222222</c:v>
                </c:pt>
                <c:pt idx="3753">
                  <c:v>10.425000000000001</c:v>
                </c:pt>
                <c:pt idx="3754">
                  <c:v>10.427777777777777</c:v>
                </c:pt>
                <c:pt idx="3755">
                  <c:v>10.430555555555555</c:v>
                </c:pt>
                <c:pt idx="3756">
                  <c:v>10.433333333333334</c:v>
                </c:pt>
                <c:pt idx="3757">
                  <c:v>10.436111111111112</c:v>
                </c:pt>
                <c:pt idx="3758">
                  <c:v>10.438888888888888</c:v>
                </c:pt>
                <c:pt idx="3759">
                  <c:v>10.441666666666666</c:v>
                </c:pt>
                <c:pt idx="3760">
                  <c:v>10.444444444444445</c:v>
                </c:pt>
                <c:pt idx="3761">
                  <c:v>10.447222222222223</c:v>
                </c:pt>
                <c:pt idx="3762">
                  <c:v>10.45</c:v>
                </c:pt>
                <c:pt idx="3763">
                  <c:v>10.452777777777778</c:v>
                </c:pt>
                <c:pt idx="3764">
                  <c:v>10.455555555555556</c:v>
                </c:pt>
                <c:pt idx="3765">
                  <c:v>10.458333333333334</c:v>
                </c:pt>
                <c:pt idx="3766">
                  <c:v>10.46111111111111</c:v>
                </c:pt>
                <c:pt idx="3767">
                  <c:v>10.463888888888889</c:v>
                </c:pt>
                <c:pt idx="3768">
                  <c:v>10.466666666666667</c:v>
                </c:pt>
                <c:pt idx="3769">
                  <c:v>10.469444444444445</c:v>
                </c:pt>
                <c:pt idx="3770">
                  <c:v>10.472222222222221</c:v>
                </c:pt>
                <c:pt idx="3771">
                  <c:v>10.475</c:v>
                </c:pt>
                <c:pt idx="3772">
                  <c:v>10.477777777777778</c:v>
                </c:pt>
                <c:pt idx="3773">
                  <c:v>10.480555555555556</c:v>
                </c:pt>
                <c:pt idx="3774">
                  <c:v>10.483333333333333</c:v>
                </c:pt>
                <c:pt idx="3775">
                  <c:v>10.486111111111111</c:v>
                </c:pt>
                <c:pt idx="3776">
                  <c:v>10.488888888888889</c:v>
                </c:pt>
                <c:pt idx="3777">
                  <c:v>10.491666666666667</c:v>
                </c:pt>
                <c:pt idx="3778">
                  <c:v>10.494444444444444</c:v>
                </c:pt>
                <c:pt idx="3779">
                  <c:v>10.497222222222222</c:v>
                </c:pt>
                <c:pt idx="3780">
                  <c:v>10.5</c:v>
                </c:pt>
                <c:pt idx="3781">
                  <c:v>10.502777777777778</c:v>
                </c:pt>
                <c:pt idx="3782">
                  <c:v>10.505555555555556</c:v>
                </c:pt>
                <c:pt idx="3783">
                  <c:v>10.508333333333333</c:v>
                </c:pt>
                <c:pt idx="3784">
                  <c:v>10.511111111111111</c:v>
                </c:pt>
                <c:pt idx="3785">
                  <c:v>10.513888888888889</c:v>
                </c:pt>
                <c:pt idx="3786">
                  <c:v>10.516666666666667</c:v>
                </c:pt>
                <c:pt idx="3787">
                  <c:v>10.519444444444444</c:v>
                </c:pt>
                <c:pt idx="3788">
                  <c:v>10.522222222222222</c:v>
                </c:pt>
                <c:pt idx="3789">
                  <c:v>10.525</c:v>
                </c:pt>
                <c:pt idx="3790">
                  <c:v>10.527777777777779</c:v>
                </c:pt>
                <c:pt idx="3791">
                  <c:v>10.530555555555555</c:v>
                </c:pt>
                <c:pt idx="3792">
                  <c:v>10.533333333333333</c:v>
                </c:pt>
                <c:pt idx="3793">
                  <c:v>10.536111111111111</c:v>
                </c:pt>
                <c:pt idx="3794">
                  <c:v>10.53888888888889</c:v>
                </c:pt>
                <c:pt idx="3795">
                  <c:v>10.541666666666666</c:v>
                </c:pt>
                <c:pt idx="3796">
                  <c:v>10.544444444444444</c:v>
                </c:pt>
                <c:pt idx="3797">
                  <c:v>10.547222222222222</c:v>
                </c:pt>
                <c:pt idx="3798">
                  <c:v>10.55</c:v>
                </c:pt>
                <c:pt idx="3799">
                  <c:v>10.552777777777777</c:v>
                </c:pt>
                <c:pt idx="3800">
                  <c:v>10.555555555555555</c:v>
                </c:pt>
                <c:pt idx="3801">
                  <c:v>10.558333333333334</c:v>
                </c:pt>
                <c:pt idx="3802">
                  <c:v>10.561111111111112</c:v>
                </c:pt>
                <c:pt idx="3803">
                  <c:v>10.563888888888888</c:v>
                </c:pt>
                <c:pt idx="3804">
                  <c:v>10.566666666666666</c:v>
                </c:pt>
                <c:pt idx="3805">
                  <c:v>10.569444444444445</c:v>
                </c:pt>
                <c:pt idx="3806">
                  <c:v>10.572222222222223</c:v>
                </c:pt>
                <c:pt idx="3807">
                  <c:v>10.574999999999999</c:v>
                </c:pt>
                <c:pt idx="3808">
                  <c:v>10.577777777777778</c:v>
                </c:pt>
                <c:pt idx="3809">
                  <c:v>10.580555555555556</c:v>
                </c:pt>
                <c:pt idx="3810">
                  <c:v>10.583333333333334</c:v>
                </c:pt>
                <c:pt idx="3811">
                  <c:v>10.58611111111111</c:v>
                </c:pt>
                <c:pt idx="3812">
                  <c:v>10.588888888888889</c:v>
                </c:pt>
                <c:pt idx="3813">
                  <c:v>10.591666666666667</c:v>
                </c:pt>
                <c:pt idx="3814">
                  <c:v>10.594444444444445</c:v>
                </c:pt>
                <c:pt idx="3815">
                  <c:v>10.597222222222221</c:v>
                </c:pt>
                <c:pt idx="3816">
                  <c:v>10.6</c:v>
                </c:pt>
                <c:pt idx="3817">
                  <c:v>10.602777777777778</c:v>
                </c:pt>
                <c:pt idx="3818">
                  <c:v>10.605555555555556</c:v>
                </c:pt>
                <c:pt idx="3819">
                  <c:v>10.608333333333333</c:v>
                </c:pt>
                <c:pt idx="3820">
                  <c:v>10.611111111111111</c:v>
                </c:pt>
                <c:pt idx="3821">
                  <c:v>10.613888888888889</c:v>
                </c:pt>
                <c:pt idx="3822">
                  <c:v>10.616666666666667</c:v>
                </c:pt>
                <c:pt idx="3823">
                  <c:v>10.619444444444444</c:v>
                </c:pt>
                <c:pt idx="3824">
                  <c:v>10.622222222222222</c:v>
                </c:pt>
                <c:pt idx="3825">
                  <c:v>10.625</c:v>
                </c:pt>
                <c:pt idx="3826">
                  <c:v>10.627777777777778</c:v>
                </c:pt>
                <c:pt idx="3827">
                  <c:v>10.630555555555556</c:v>
                </c:pt>
                <c:pt idx="3828">
                  <c:v>10.633333333333333</c:v>
                </c:pt>
                <c:pt idx="3829">
                  <c:v>10.636111111111111</c:v>
                </c:pt>
                <c:pt idx="3830">
                  <c:v>10.638888888888889</c:v>
                </c:pt>
                <c:pt idx="3831">
                  <c:v>10.641666666666667</c:v>
                </c:pt>
                <c:pt idx="3832">
                  <c:v>10.644444444444444</c:v>
                </c:pt>
                <c:pt idx="3833">
                  <c:v>10.647222222222222</c:v>
                </c:pt>
                <c:pt idx="3834">
                  <c:v>10.65</c:v>
                </c:pt>
                <c:pt idx="3835">
                  <c:v>10.652777777777779</c:v>
                </c:pt>
                <c:pt idx="3836">
                  <c:v>10.655555555555555</c:v>
                </c:pt>
                <c:pt idx="3837">
                  <c:v>10.658333333333333</c:v>
                </c:pt>
                <c:pt idx="3838">
                  <c:v>10.661111111111111</c:v>
                </c:pt>
                <c:pt idx="3839">
                  <c:v>10.66388888888889</c:v>
                </c:pt>
                <c:pt idx="3840">
                  <c:v>10.666666666666666</c:v>
                </c:pt>
                <c:pt idx="3841">
                  <c:v>10.669444444444444</c:v>
                </c:pt>
                <c:pt idx="3842">
                  <c:v>10.672222222222222</c:v>
                </c:pt>
                <c:pt idx="3843">
                  <c:v>10.675000000000001</c:v>
                </c:pt>
                <c:pt idx="3844">
                  <c:v>10.677777777777777</c:v>
                </c:pt>
                <c:pt idx="3845">
                  <c:v>10.680555555555555</c:v>
                </c:pt>
                <c:pt idx="3846">
                  <c:v>10.683333333333334</c:v>
                </c:pt>
                <c:pt idx="3847">
                  <c:v>10.686111111111112</c:v>
                </c:pt>
                <c:pt idx="3848">
                  <c:v>10.688888888888888</c:v>
                </c:pt>
                <c:pt idx="3849">
                  <c:v>10.691666666666666</c:v>
                </c:pt>
                <c:pt idx="3850">
                  <c:v>10.694444444444445</c:v>
                </c:pt>
                <c:pt idx="3851">
                  <c:v>10.697222222222223</c:v>
                </c:pt>
                <c:pt idx="3852">
                  <c:v>10.7</c:v>
                </c:pt>
                <c:pt idx="3853">
                  <c:v>10.702777777777778</c:v>
                </c:pt>
                <c:pt idx="3854">
                  <c:v>10.705555555555556</c:v>
                </c:pt>
                <c:pt idx="3855">
                  <c:v>10.708333333333334</c:v>
                </c:pt>
                <c:pt idx="3856">
                  <c:v>10.71111111111111</c:v>
                </c:pt>
                <c:pt idx="3857">
                  <c:v>10.713888888888889</c:v>
                </c:pt>
                <c:pt idx="3858">
                  <c:v>10.716666666666667</c:v>
                </c:pt>
                <c:pt idx="3859">
                  <c:v>10.719444444444445</c:v>
                </c:pt>
                <c:pt idx="3860">
                  <c:v>10.722222222222221</c:v>
                </c:pt>
                <c:pt idx="3861">
                  <c:v>10.725</c:v>
                </c:pt>
                <c:pt idx="3862">
                  <c:v>10.727777777777778</c:v>
                </c:pt>
                <c:pt idx="3863">
                  <c:v>10.730555555555556</c:v>
                </c:pt>
                <c:pt idx="3864">
                  <c:v>10.733333333333333</c:v>
                </c:pt>
                <c:pt idx="3865">
                  <c:v>10.736111111111111</c:v>
                </c:pt>
                <c:pt idx="3866">
                  <c:v>10.738888888888889</c:v>
                </c:pt>
                <c:pt idx="3867">
                  <c:v>10.741666666666667</c:v>
                </c:pt>
                <c:pt idx="3868">
                  <c:v>10.744444444444444</c:v>
                </c:pt>
                <c:pt idx="3869">
                  <c:v>10.747222222222222</c:v>
                </c:pt>
                <c:pt idx="3870">
                  <c:v>10.75</c:v>
                </c:pt>
                <c:pt idx="3871">
                  <c:v>10.752777777777778</c:v>
                </c:pt>
                <c:pt idx="3872">
                  <c:v>10.755555555555556</c:v>
                </c:pt>
                <c:pt idx="3873">
                  <c:v>10.758333333333333</c:v>
                </c:pt>
                <c:pt idx="3874">
                  <c:v>10.761111111111111</c:v>
                </c:pt>
                <c:pt idx="3875">
                  <c:v>10.763888888888889</c:v>
                </c:pt>
                <c:pt idx="3876">
                  <c:v>10.766666666666667</c:v>
                </c:pt>
                <c:pt idx="3877">
                  <c:v>10.769444444444444</c:v>
                </c:pt>
                <c:pt idx="3878">
                  <c:v>10.772222222222222</c:v>
                </c:pt>
                <c:pt idx="3879">
                  <c:v>10.775</c:v>
                </c:pt>
                <c:pt idx="3880">
                  <c:v>10.777777777777779</c:v>
                </c:pt>
                <c:pt idx="3881">
                  <c:v>10.780555555555555</c:v>
                </c:pt>
                <c:pt idx="3882">
                  <c:v>10.783333333333333</c:v>
                </c:pt>
                <c:pt idx="3883">
                  <c:v>10.786111111111111</c:v>
                </c:pt>
                <c:pt idx="3884">
                  <c:v>10.78888888888889</c:v>
                </c:pt>
                <c:pt idx="3885">
                  <c:v>10.791666666666666</c:v>
                </c:pt>
                <c:pt idx="3886">
                  <c:v>10.794444444444444</c:v>
                </c:pt>
                <c:pt idx="3887">
                  <c:v>10.797222222222222</c:v>
                </c:pt>
                <c:pt idx="3888">
                  <c:v>10.8</c:v>
                </c:pt>
                <c:pt idx="3889">
                  <c:v>10.802777777777777</c:v>
                </c:pt>
                <c:pt idx="3890">
                  <c:v>10.805555555555555</c:v>
                </c:pt>
                <c:pt idx="3891">
                  <c:v>10.808333333333334</c:v>
                </c:pt>
                <c:pt idx="3892">
                  <c:v>10.811111111111112</c:v>
                </c:pt>
                <c:pt idx="3893">
                  <c:v>10.813888888888888</c:v>
                </c:pt>
                <c:pt idx="3894">
                  <c:v>10.816666666666666</c:v>
                </c:pt>
                <c:pt idx="3895">
                  <c:v>10.819444444444445</c:v>
                </c:pt>
                <c:pt idx="3896">
                  <c:v>10.822222222222223</c:v>
                </c:pt>
                <c:pt idx="3897">
                  <c:v>10.824999999999999</c:v>
                </c:pt>
                <c:pt idx="3898">
                  <c:v>10.827777777777778</c:v>
                </c:pt>
                <c:pt idx="3899">
                  <c:v>10.830555555555556</c:v>
                </c:pt>
                <c:pt idx="3900">
                  <c:v>10.833333333333334</c:v>
                </c:pt>
                <c:pt idx="3901">
                  <c:v>10.83611111111111</c:v>
                </c:pt>
                <c:pt idx="3902">
                  <c:v>10.838888888888889</c:v>
                </c:pt>
                <c:pt idx="3903">
                  <c:v>10.841666666666667</c:v>
                </c:pt>
                <c:pt idx="3904">
                  <c:v>10.844444444444445</c:v>
                </c:pt>
                <c:pt idx="3905">
                  <c:v>10.847222222222221</c:v>
                </c:pt>
                <c:pt idx="3906">
                  <c:v>10.85</c:v>
                </c:pt>
                <c:pt idx="3907">
                  <c:v>10.852777777777778</c:v>
                </c:pt>
                <c:pt idx="3908">
                  <c:v>10.855555555555556</c:v>
                </c:pt>
                <c:pt idx="3909">
                  <c:v>10.858333333333333</c:v>
                </c:pt>
                <c:pt idx="3910">
                  <c:v>10.861111111111111</c:v>
                </c:pt>
                <c:pt idx="3911">
                  <c:v>10.863888888888889</c:v>
                </c:pt>
                <c:pt idx="3912">
                  <c:v>10.866666666666667</c:v>
                </c:pt>
                <c:pt idx="3913">
                  <c:v>10.869444444444444</c:v>
                </c:pt>
                <c:pt idx="3914">
                  <c:v>10.872222222222222</c:v>
                </c:pt>
                <c:pt idx="3915">
                  <c:v>10.875</c:v>
                </c:pt>
                <c:pt idx="3916">
                  <c:v>10.877777777777778</c:v>
                </c:pt>
                <c:pt idx="3917">
                  <c:v>10.880555555555556</c:v>
                </c:pt>
                <c:pt idx="3918">
                  <c:v>10.883333333333333</c:v>
                </c:pt>
                <c:pt idx="3919">
                  <c:v>10.886111111111111</c:v>
                </c:pt>
                <c:pt idx="3920">
                  <c:v>10.888888888888889</c:v>
                </c:pt>
                <c:pt idx="3921">
                  <c:v>10.891666666666667</c:v>
                </c:pt>
                <c:pt idx="3922">
                  <c:v>10.894444444444444</c:v>
                </c:pt>
                <c:pt idx="3923">
                  <c:v>10.897222222222222</c:v>
                </c:pt>
                <c:pt idx="3924">
                  <c:v>10.9</c:v>
                </c:pt>
                <c:pt idx="3925">
                  <c:v>10.902777777777779</c:v>
                </c:pt>
                <c:pt idx="3926">
                  <c:v>10.905555555555555</c:v>
                </c:pt>
                <c:pt idx="3927">
                  <c:v>10.908333333333333</c:v>
                </c:pt>
                <c:pt idx="3928">
                  <c:v>10.911111111111111</c:v>
                </c:pt>
                <c:pt idx="3929">
                  <c:v>10.91388888888889</c:v>
                </c:pt>
                <c:pt idx="3930">
                  <c:v>10.916666666666666</c:v>
                </c:pt>
                <c:pt idx="3931">
                  <c:v>10.919444444444444</c:v>
                </c:pt>
                <c:pt idx="3932">
                  <c:v>10.922222222222222</c:v>
                </c:pt>
                <c:pt idx="3933">
                  <c:v>10.925000000000001</c:v>
                </c:pt>
                <c:pt idx="3934">
                  <c:v>10.927777777777777</c:v>
                </c:pt>
                <c:pt idx="3935">
                  <c:v>10.930555555555555</c:v>
                </c:pt>
                <c:pt idx="3936">
                  <c:v>10.933333333333334</c:v>
                </c:pt>
                <c:pt idx="3937">
                  <c:v>10.936111111111112</c:v>
                </c:pt>
                <c:pt idx="3938">
                  <c:v>10.938888888888888</c:v>
                </c:pt>
                <c:pt idx="3939">
                  <c:v>10.941666666666666</c:v>
                </c:pt>
                <c:pt idx="3940">
                  <c:v>10.944444444444445</c:v>
                </c:pt>
                <c:pt idx="3941">
                  <c:v>10.947222222222223</c:v>
                </c:pt>
                <c:pt idx="3942">
                  <c:v>10.95</c:v>
                </c:pt>
                <c:pt idx="3943">
                  <c:v>10.952777777777778</c:v>
                </c:pt>
                <c:pt idx="3944">
                  <c:v>10.955555555555556</c:v>
                </c:pt>
                <c:pt idx="3945">
                  <c:v>10.958333333333334</c:v>
                </c:pt>
                <c:pt idx="3946">
                  <c:v>10.96111111111111</c:v>
                </c:pt>
                <c:pt idx="3947">
                  <c:v>10.963888888888889</c:v>
                </c:pt>
                <c:pt idx="3948">
                  <c:v>10.966666666666667</c:v>
                </c:pt>
                <c:pt idx="3949">
                  <c:v>10.969444444444445</c:v>
                </c:pt>
                <c:pt idx="3950">
                  <c:v>10.972222222222221</c:v>
                </c:pt>
                <c:pt idx="3951">
                  <c:v>10.975</c:v>
                </c:pt>
                <c:pt idx="3952">
                  <c:v>10.977777777777778</c:v>
                </c:pt>
                <c:pt idx="3953">
                  <c:v>10.980555555555556</c:v>
                </c:pt>
                <c:pt idx="3954">
                  <c:v>10.983333333333333</c:v>
                </c:pt>
                <c:pt idx="3955">
                  <c:v>10.986111111111111</c:v>
                </c:pt>
                <c:pt idx="3956">
                  <c:v>10.988888888888889</c:v>
                </c:pt>
                <c:pt idx="3957">
                  <c:v>10.991666666666667</c:v>
                </c:pt>
                <c:pt idx="3958">
                  <c:v>10.994444444444444</c:v>
                </c:pt>
                <c:pt idx="3959">
                  <c:v>10.997222222222222</c:v>
                </c:pt>
                <c:pt idx="3960">
                  <c:v>11</c:v>
                </c:pt>
                <c:pt idx="3961">
                  <c:v>11.002777777777778</c:v>
                </c:pt>
                <c:pt idx="3962">
                  <c:v>11.005555555555556</c:v>
                </c:pt>
                <c:pt idx="3963">
                  <c:v>11.008333333333333</c:v>
                </c:pt>
                <c:pt idx="3964">
                  <c:v>11.011111111111111</c:v>
                </c:pt>
                <c:pt idx="3965">
                  <c:v>11.013888888888889</c:v>
                </c:pt>
                <c:pt idx="3966">
                  <c:v>11.016666666666667</c:v>
                </c:pt>
                <c:pt idx="3967">
                  <c:v>11.019444444444444</c:v>
                </c:pt>
                <c:pt idx="3968">
                  <c:v>11.022222222222222</c:v>
                </c:pt>
                <c:pt idx="3969">
                  <c:v>11.025</c:v>
                </c:pt>
                <c:pt idx="3970">
                  <c:v>11.027777777777779</c:v>
                </c:pt>
                <c:pt idx="3971">
                  <c:v>11.030555555555555</c:v>
                </c:pt>
                <c:pt idx="3972">
                  <c:v>11.033333333333333</c:v>
                </c:pt>
                <c:pt idx="3973">
                  <c:v>11.036111111111111</c:v>
                </c:pt>
                <c:pt idx="3974">
                  <c:v>11.03888888888889</c:v>
                </c:pt>
                <c:pt idx="3975">
                  <c:v>11.041666666666666</c:v>
                </c:pt>
                <c:pt idx="3976">
                  <c:v>11.044444444444444</c:v>
                </c:pt>
                <c:pt idx="3977">
                  <c:v>11.047222222222222</c:v>
                </c:pt>
                <c:pt idx="3978">
                  <c:v>11.05</c:v>
                </c:pt>
                <c:pt idx="3979">
                  <c:v>11.052777777777777</c:v>
                </c:pt>
                <c:pt idx="3980">
                  <c:v>11.055555555555555</c:v>
                </c:pt>
                <c:pt idx="3981">
                  <c:v>11.058333333333334</c:v>
                </c:pt>
                <c:pt idx="3982">
                  <c:v>11.061111111111112</c:v>
                </c:pt>
                <c:pt idx="3983">
                  <c:v>11.063888888888888</c:v>
                </c:pt>
                <c:pt idx="3984">
                  <c:v>11.066666666666666</c:v>
                </c:pt>
                <c:pt idx="3985">
                  <c:v>11.069444444444445</c:v>
                </c:pt>
                <c:pt idx="3986">
                  <c:v>11.072222222222223</c:v>
                </c:pt>
                <c:pt idx="3987">
                  <c:v>11.074999999999999</c:v>
                </c:pt>
                <c:pt idx="3988">
                  <c:v>11.077777777777778</c:v>
                </c:pt>
                <c:pt idx="3989">
                  <c:v>11.080555555555556</c:v>
                </c:pt>
                <c:pt idx="3990">
                  <c:v>11.083333333333334</c:v>
                </c:pt>
                <c:pt idx="3991">
                  <c:v>11.08611111111111</c:v>
                </c:pt>
                <c:pt idx="3992">
                  <c:v>11.088888888888889</c:v>
                </c:pt>
                <c:pt idx="3993">
                  <c:v>11.091666666666667</c:v>
                </c:pt>
                <c:pt idx="3994">
                  <c:v>11.094444444444445</c:v>
                </c:pt>
                <c:pt idx="3995">
                  <c:v>11.097222222222221</c:v>
                </c:pt>
                <c:pt idx="3996">
                  <c:v>11.1</c:v>
                </c:pt>
                <c:pt idx="3997">
                  <c:v>11.102777777777778</c:v>
                </c:pt>
                <c:pt idx="3998">
                  <c:v>11.105555555555556</c:v>
                </c:pt>
                <c:pt idx="3999">
                  <c:v>11.108333333333333</c:v>
                </c:pt>
                <c:pt idx="4000">
                  <c:v>11.111111111111111</c:v>
                </c:pt>
                <c:pt idx="4001">
                  <c:v>11.113888888888889</c:v>
                </c:pt>
                <c:pt idx="4002">
                  <c:v>11.116666666666667</c:v>
                </c:pt>
                <c:pt idx="4003">
                  <c:v>11.119444444444444</c:v>
                </c:pt>
                <c:pt idx="4004">
                  <c:v>11.122222222222222</c:v>
                </c:pt>
                <c:pt idx="4005">
                  <c:v>11.125</c:v>
                </c:pt>
                <c:pt idx="4006">
                  <c:v>11.127777777777778</c:v>
                </c:pt>
                <c:pt idx="4007">
                  <c:v>11.130555555555556</c:v>
                </c:pt>
                <c:pt idx="4008">
                  <c:v>11.133333333333333</c:v>
                </c:pt>
                <c:pt idx="4009">
                  <c:v>11.136111111111111</c:v>
                </c:pt>
                <c:pt idx="4010">
                  <c:v>11.138888888888889</c:v>
                </c:pt>
                <c:pt idx="4011">
                  <c:v>11.141666666666667</c:v>
                </c:pt>
                <c:pt idx="4012">
                  <c:v>11.144444444444444</c:v>
                </c:pt>
                <c:pt idx="4013">
                  <c:v>11.147222222222222</c:v>
                </c:pt>
                <c:pt idx="4014">
                  <c:v>11.15</c:v>
                </c:pt>
                <c:pt idx="4015">
                  <c:v>11.152777777777779</c:v>
                </c:pt>
                <c:pt idx="4016">
                  <c:v>11.155555555555555</c:v>
                </c:pt>
                <c:pt idx="4017">
                  <c:v>11.158333333333333</c:v>
                </c:pt>
                <c:pt idx="4018">
                  <c:v>11.161111111111111</c:v>
                </c:pt>
                <c:pt idx="4019">
                  <c:v>11.16388888888889</c:v>
                </c:pt>
                <c:pt idx="4020">
                  <c:v>11.166666666666666</c:v>
                </c:pt>
                <c:pt idx="4021">
                  <c:v>11.169444444444444</c:v>
                </c:pt>
                <c:pt idx="4022">
                  <c:v>11.172222222222222</c:v>
                </c:pt>
                <c:pt idx="4023">
                  <c:v>11.175000000000001</c:v>
                </c:pt>
                <c:pt idx="4024">
                  <c:v>11.177777777777777</c:v>
                </c:pt>
                <c:pt idx="4025">
                  <c:v>11.180555555555555</c:v>
                </c:pt>
                <c:pt idx="4026">
                  <c:v>11.183333333333334</c:v>
                </c:pt>
                <c:pt idx="4027">
                  <c:v>11.186111111111112</c:v>
                </c:pt>
                <c:pt idx="4028">
                  <c:v>11.188888888888888</c:v>
                </c:pt>
                <c:pt idx="4029">
                  <c:v>11.191666666666666</c:v>
                </c:pt>
                <c:pt idx="4030">
                  <c:v>11.194444444444445</c:v>
                </c:pt>
                <c:pt idx="4031">
                  <c:v>11.197222222222223</c:v>
                </c:pt>
                <c:pt idx="4032">
                  <c:v>11.2</c:v>
                </c:pt>
                <c:pt idx="4033">
                  <c:v>11.202777777777778</c:v>
                </c:pt>
                <c:pt idx="4034">
                  <c:v>11.205555555555556</c:v>
                </c:pt>
                <c:pt idx="4035">
                  <c:v>11.208333333333334</c:v>
                </c:pt>
                <c:pt idx="4036">
                  <c:v>11.21111111111111</c:v>
                </c:pt>
                <c:pt idx="4037">
                  <c:v>11.213888888888889</c:v>
                </c:pt>
                <c:pt idx="4038">
                  <c:v>11.216666666666667</c:v>
                </c:pt>
                <c:pt idx="4039">
                  <c:v>11.219444444444445</c:v>
                </c:pt>
                <c:pt idx="4040">
                  <c:v>11.222222222222221</c:v>
                </c:pt>
                <c:pt idx="4041">
                  <c:v>11.225</c:v>
                </c:pt>
                <c:pt idx="4042">
                  <c:v>11.227777777777778</c:v>
                </c:pt>
                <c:pt idx="4043">
                  <c:v>11.230555555555556</c:v>
                </c:pt>
                <c:pt idx="4044">
                  <c:v>11.233333333333333</c:v>
                </c:pt>
                <c:pt idx="4045">
                  <c:v>11.236111111111111</c:v>
                </c:pt>
                <c:pt idx="4046">
                  <c:v>11.238888888888889</c:v>
                </c:pt>
                <c:pt idx="4047">
                  <c:v>11.241666666666667</c:v>
                </c:pt>
                <c:pt idx="4048">
                  <c:v>11.244444444444444</c:v>
                </c:pt>
                <c:pt idx="4049">
                  <c:v>11.247222222222222</c:v>
                </c:pt>
                <c:pt idx="4050">
                  <c:v>11.25</c:v>
                </c:pt>
                <c:pt idx="4051">
                  <c:v>11.252777777777778</c:v>
                </c:pt>
                <c:pt idx="4052">
                  <c:v>11.255555555555556</c:v>
                </c:pt>
                <c:pt idx="4053">
                  <c:v>11.258333333333333</c:v>
                </c:pt>
                <c:pt idx="4054">
                  <c:v>11.261111111111111</c:v>
                </c:pt>
                <c:pt idx="4055">
                  <c:v>11.263888888888889</c:v>
                </c:pt>
                <c:pt idx="4056">
                  <c:v>11.266666666666667</c:v>
                </c:pt>
                <c:pt idx="4057">
                  <c:v>11.269444444444444</c:v>
                </c:pt>
                <c:pt idx="4058">
                  <c:v>11.272222222222222</c:v>
                </c:pt>
                <c:pt idx="4059">
                  <c:v>11.275</c:v>
                </c:pt>
                <c:pt idx="4060">
                  <c:v>11.277777777777779</c:v>
                </c:pt>
                <c:pt idx="4061">
                  <c:v>11.280555555555555</c:v>
                </c:pt>
                <c:pt idx="4062">
                  <c:v>11.283333333333333</c:v>
                </c:pt>
                <c:pt idx="4063">
                  <c:v>11.286111111111111</c:v>
                </c:pt>
                <c:pt idx="4064">
                  <c:v>11.28888888888889</c:v>
                </c:pt>
                <c:pt idx="4065">
                  <c:v>11.291666666666666</c:v>
                </c:pt>
                <c:pt idx="4066">
                  <c:v>11.294444444444444</c:v>
                </c:pt>
                <c:pt idx="4067">
                  <c:v>11.297222222222222</c:v>
                </c:pt>
                <c:pt idx="4068">
                  <c:v>11.3</c:v>
                </c:pt>
                <c:pt idx="4069">
                  <c:v>11.302777777777777</c:v>
                </c:pt>
                <c:pt idx="4070">
                  <c:v>11.305555555555555</c:v>
                </c:pt>
                <c:pt idx="4071">
                  <c:v>11.308333333333334</c:v>
                </c:pt>
                <c:pt idx="4072">
                  <c:v>11.311111111111112</c:v>
                </c:pt>
                <c:pt idx="4073">
                  <c:v>11.313888888888888</c:v>
                </c:pt>
                <c:pt idx="4074">
                  <c:v>11.316666666666666</c:v>
                </c:pt>
                <c:pt idx="4075">
                  <c:v>11.319444444444445</c:v>
                </c:pt>
                <c:pt idx="4076">
                  <c:v>11.322222222222223</c:v>
                </c:pt>
                <c:pt idx="4077">
                  <c:v>11.324999999999999</c:v>
                </c:pt>
                <c:pt idx="4078">
                  <c:v>11.327777777777778</c:v>
                </c:pt>
                <c:pt idx="4079">
                  <c:v>11.330555555555556</c:v>
                </c:pt>
                <c:pt idx="4080">
                  <c:v>11.333333333333334</c:v>
                </c:pt>
                <c:pt idx="4081">
                  <c:v>11.33611111111111</c:v>
                </c:pt>
                <c:pt idx="4082">
                  <c:v>11.338888888888889</c:v>
                </c:pt>
                <c:pt idx="4083">
                  <c:v>11.341666666666667</c:v>
                </c:pt>
                <c:pt idx="4084">
                  <c:v>11.344444444444445</c:v>
                </c:pt>
                <c:pt idx="4085">
                  <c:v>11.347222222222221</c:v>
                </c:pt>
                <c:pt idx="4086">
                  <c:v>11.35</c:v>
                </c:pt>
                <c:pt idx="4087">
                  <c:v>11.352777777777778</c:v>
                </c:pt>
                <c:pt idx="4088">
                  <c:v>11.355555555555556</c:v>
                </c:pt>
                <c:pt idx="4089">
                  <c:v>11.358333333333333</c:v>
                </c:pt>
                <c:pt idx="4090">
                  <c:v>11.361111111111111</c:v>
                </c:pt>
                <c:pt idx="4091">
                  <c:v>11.363888888888889</c:v>
                </c:pt>
                <c:pt idx="4092">
                  <c:v>11.366666666666667</c:v>
                </c:pt>
                <c:pt idx="4093">
                  <c:v>11.369444444444444</c:v>
                </c:pt>
                <c:pt idx="4094">
                  <c:v>11.372222222222222</c:v>
                </c:pt>
                <c:pt idx="4095">
                  <c:v>11.375</c:v>
                </c:pt>
                <c:pt idx="4096">
                  <c:v>11.377777777777778</c:v>
                </c:pt>
                <c:pt idx="4097">
                  <c:v>11.380555555555556</c:v>
                </c:pt>
                <c:pt idx="4098">
                  <c:v>11.383333333333333</c:v>
                </c:pt>
                <c:pt idx="4099">
                  <c:v>11.386111111111111</c:v>
                </c:pt>
                <c:pt idx="4100">
                  <c:v>11.388888888888889</c:v>
                </c:pt>
                <c:pt idx="4101">
                  <c:v>11.391666666666667</c:v>
                </c:pt>
                <c:pt idx="4102">
                  <c:v>11.394444444444444</c:v>
                </c:pt>
                <c:pt idx="4103">
                  <c:v>11.397222222222222</c:v>
                </c:pt>
                <c:pt idx="4104">
                  <c:v>11.4</c:v>
                </c:pt>
                <c:pt idx="4105">
                  <c:v>11.402777777777779</c:v>
                </c:pt>
                <c:pt idx="4106">
                  <c:v>11.405555555555555</c:v>
                </c:pt>
                <c:pt idx="4107">
                  <c:v>11.408333333333333</c:v>
                </c:pt>
                <c:pt idx="4108">
                  <c:v>11.411111111111111</c:v>
                </c:pt>
                <c:pt idx="4109">
                  <c:v>11.41388888888889</c:v>
                </c:pt>
                <c:pt idx="4110">
                  <c:v>11.416666666666666</c:v>
                </c:pt>
                <c:pt idx="4111">
                  <c:v>11.419444444444444</c:v>
                </c:pt>
                <c:pt idx="4112">
                  <c:v>11.422222222222222</c:v>
                </c:pt>
                <c:pt idx="4113">
                  <c:v>11.425000000000001</c:v>
                </c:pt>
                <c:pt idx="4114">
                  <c:v>11.427777777777777</c:v>
                </c:pt>
                <c:pt idx="4115">
                  <c:v>11.430555555555555</c:v>
                </c:pt>
                <c:pt idx="4116">
                  <c:v>11.433333333333334</c:v>
                </c:pt>
                <c:pt idx="4117">
                  <c:v>11.436111111111112</c:v>
                </c:pt>
                <c:pt idx="4118">
                  <c:v>11.438888888888888</c:v>
                </c:pt>
                <c:pt idx="4119">
                  <c:v>11.441666666666666</c:v>
                </c:pt>
                <c:pt idx="4120">
                  <c:v>11.444444444444445</c:v>
                </c:pt>
                <c:pt idx="4121">
                  <c:v>11.447222222222223</c:v>
                </c:pt>
                <c:pt idx="4122">
                  <c:v>11.45</c:v>
                </c:pt>
                <c:pt idx="4123">
                  <c:v>11.452777777777778</c:v>
                </c:pt>
                <c:pt idx="4124">
                  <c:v>11.455555555555556</c:v>
                </c:pt>
                <c:pt idx="4125">
                  <c:v>11.458333333333334</c:v>
                </c:pt>
                <c:pt idx="4126">
                  <c:v>11.46111111111111</c:v>
                </c:pt>
                <c:pt idx="4127">
                  <c:v>11.463888888888889</c:v>
                </c:pt>
                <c:pt idx="4128">
                  <c:v>11.466666666666667</c:v>
                </c:pt>
                <c:pt idx="4129">
                  <c:v>11.469444444444445</c:v>
                </c:pt>
                <c:pt idx="4130">
                  <c:v>11.472222222222221</c:v>
                </c:pt>
                <c:pt idx="4131">
                  <c:v>11.475</c:v>
                </c:pt>
                <c:pt idx="4132">
                  <c:v>11.477777777777778</c:v>
                </c:pt>
                <c:pt idx="4133">
                  <c:v>11.480555555555556</c:v>
                </c:pt>
                <c:pt idx="4134">
                  <c:v>11.483333333333333</c:v>
                </c:pt>
                <c:pt idx="4135">
                  <c:v>11.486111111111111</c:v>
                </c:pt>
                <c:pt idx="4136">
                  <c:v>11.488888888888889</c:v>
                </c:pt>
                <c:pt idx="4137">
                  <c:v>11.491666666666667</c:v>
                </c:pt>
                <c:pt idx="4138">
                  <c:v>11.494444444444444</c:v>
                </c:pt>
                <c:pt idx="4139">
                  <c:v>11.497222222222222</c:v>
                </c:pt>
                <c:pt idx="4140">
                  <c:v>11.5</c:v>
                </c:pt>
                <c:pt idx="4141">
                  <c:v>11.502777777777778</c:v>
                </c:pt>
                <c:pt idx="4142">
                  <c:v>11.505555555555556</c:v>
                </c:pt>
                <c:pt idx="4143">
                  <c:v>11.508333333333333</c:v>
                </c:pt>
                <c:pt idx="4144">
                  <c:v>11.511111111111111</c:v>
                </c:pt>
                <c:pt idx="4145">
                  <c:v>11.513888888888889</c:v>
                </c:pt>
                <c:pt idx="4146">
                  <c:v>11.516666666666667</c:v>
                </c:pt>
                <c:pt idx="4147">
                  <c:v>11.519444444444444</c:v>
                </c:pt>
                <c:pt idx="4148">
                  <c:v>11.522222222222222</c:v>
                </c:pt>
                <c:pt idx="4149">
                  <c:v>11.525</c:v>
                </c:pt>
                <c:pt idx="4150">
                  <c:v>11.527777777777779</c:v>
                </c:pt>
                <c:pt idx="4151">
                  <c:v>11.530555555555555</c:v>
                </c:pt>
                <c:pt idx="4152">
                  <c:v>11.533333333333333</c:v>
                </c:pt>
                <c:pt idx="4153">
                  <c:v>11.536111111111111</c:v>
                </c:pt>
                <c:pt idx="4154">
                  <c:v>11.53888888888889</c:v>
                </c:pt>
                <c:pt idx="4155">
                  <c:v>11.541666666666666</c:v>
                </c:pt>
                <c:pt idx="4156">
                  <c:v>11.544444444444444</c:v>
                </c:pt>
                <c:pt idx="4157">
                  <c:v>11.547222222222222</c:v>
                </c:pt>
                <c:pt idx="4158">
                  <c:v>11.55</c:v>
                </c:pt>
                <c:pt idx="4159">
                  <c:v>11.552777777777777</c:v>
                </c:pt>
                <c:pt idx="4160">
                  <c:v>11.555555555555555</c:v>
                </c:pt>
                <c:pt idx="4161">
                  <c:v>11.558333333333334</c:v>
                </c:pt>
                <c:pt idx="4162">
                  <c:v>11.561111111111112</c:v>
                </c:pt>
                <c:pt idx="4163">
                  <c:v>11.563888888888888</c:v>
                </c:pt>
                <c:pt idx="4164">
                  <c:v>11.566666666666666</c:v>
                </c:pt>
                <c:pt idx="4165">
                  <c:v>11.569444444444445</c:v>
                </c:pt>
                <c:pt idx="4166">
                  <c:v>11.572222222222223</c:v>
                </c:pt>
                <c:pt idx="4167">
                  <c:v>11.574999999999999</c:v>
                </c:pt>
                <c:pt idx="4168">
                  <c:v>11.577777777777778</c:v>
                </c:pt>
                <c:pt idx="4169">
                  <c:v>11.580555555555556</c:v>
                </c:pt>
                <c:pt idx="4170">
                  <c:v>11.583333333333334</c:v>
                </c:pt>
                <c:pt idx="4171">
                  <c:v>11.58611111111111</c:v>
                </c:pt>
                <c:pt idx="4172">
                  <c:v>11.588888888888889</c:v>
                </c:pt>
                <c:pt idx="4173">
                  <c:v>11.591666666666667</c:v>
                </c:pt>
                <c:pt idx="4174">
                  <c:v>11.594444444444445</c:v>
                </c:pt>
                <c:pt idx="4175">
                  <c:v>11.597222222222221</c:v>
                </c:pt>
                <c:pt idx="4176">
                  <c:v>11.6</c:v>
                </c:pt>
                <c:pt idx="4177">
                  <c:v>11.602777777777778</c:v>
                </c:pt>
                <c:pt idx="4178">
                  <c:v>11.605555555555556</c:v>
                </c:pt>
                <c:pt idx="4179">
                  <c:v>11.608333333333333</c:v>
                </c:pt>
                <c:pt idx="4180">
                  <c:v>11.611111111111111</c:v>
                </c:pt>
                <c:pt idx="4181">
                  <c:v>11.613888888888889</c:v>
                </c:pt>
                <c:pt idx="4182">
                  <c:v>11.616666666666667</c:v>
                </c:pt>
                <c:pt idx="4183">
                  <c:v>11.619444444444444</c:v>
                </c:pt>
                <c:pt idx="4184">
                  <c:v>11.622222222222222</c:v>
                </c:pt>
                <c:pt idx="4185">
                  <c:v>11.625</c:v>
                </c:pt>
                <c:pt idx="4186">
                  <c:v>11.627777777777778</c:v>
                </c:pt>
                <c:pt idx="4187">
                  <c:v>11.630555555555556</c:v>
                </c:pt>
                <c:pt idx="4188">
                  <c:v>11.633333333333333</c:v>
                </c:pt>
                <c:pt idx="4189">
                  <c:v>11.636111111111111</c:v>
                </c:pt>
                <c:pt idx="4190">
                  <c:v>11.638888888888889</c:v>
                </c:pt>
                <c:pt idx="4191">
                  <c:v>11.641666666666667</c:v>
                </c:pt>
                <c:pt idx="4192">
                  <c:v>11.644444444444444</c:v>
                </c:pt>
                <c:pt idx="4193">
                  <c:v>11.647222222222222</c:v>
                </c:pt>
                <c:pt idx="4194">
                  <c:v>11.65</c:v>
                </c:pt>
                <c:pt idx="4195">
                  <c:v>11.652777777777779</c:v>
                </c:pt>
                <c:pt idx="4196">
                  <c:v>11.655555555555555</c:v>
                </c:pt>
                <c:pt idx="4197">
                  <c:v>11.658333333333333</c:v>
                </c:pt>
                <c:pt idx="4198">
                  <c:v>11.661111111111111</c:v>
                </c:pt>
                <c:pt idx="4199">
                  <c:v>11.66388888888889</c:v>
                </c:pt>
                <c:pt idx="4200">
                  <c:v>11.666666666666666</c:v>
                </c:pt>
                <c:pt idx="4201">
                  <c:v>11.669444444444444</c:v>
                </c:pt>
                <c:pt idx="4202">
                  <c:v>11.672222222222222</c:v>
                </c:pt>
                <c:pt idx="4203">
                  <c:v>11.675000000000001</c:v>
                </c:pt>
                <c:pt idx="4204">
                  <c:v>11.677777777777777</c:v>
                </c:pt>
                <c:pt idx="4205">
                  <c:v>11.680555555555555</c:v>
                </c:pt>
                <c:pt idx="4206">
                  <c:v>11.683333333333334</c:v>
                </c:pt>
                <c:pt idx="4207">
                  <c:v>11.686111111111112</c:v>
                </c:pt>
                <c:pt idx="4208">
                  <c:v>11.688888888888888</c:v>
                </c:pt>
                <c:pt idx="4209">
                  <c:v>11.691666666666666</c:v>
                </c:pt>
                <c:pt idx="4210">
                  <c:v>11.694444444444445</c:v>
                </c:pt>
                <c:pt idx="4211">
                  <c:v>11.697222222222223</c:v>
                </c:pt>
                <c:pt idx="4212">
                  <c:v>11.7</c:v>
                </c:pt>
                <c:pt idx="4213">
                  <c:v>11.702777777777778</c:v>
                </c:pt>
                <c:pt idx="4214">
                  <c:v>11.705555555555556</c:v>
                </c:pt>
                <c:pt idx="4215">
                  <c:v>11.708333333333334</c:v>
                </c:pt>
                <c:pt idx="4216">
                  <c:v>11.71111111111111</c:v>
                </c:pt>
                <c:pt idx="4217">
                  <c:v>11.713888888888889</c:v>
                </c:pt>
                <c:pt idx="4218">
                  <c:v>11.716666666666667</c:v>
                </c:pt>
                <c:pt idx="4219">
                  <c:v>11.719444444444445</c:v>
                </c:pt>
                <c:pt idx="4220">
                  <c:v>11.722222222222221</c:v>
                </c:pt>
                <c:pt idx="4221">
                  <c:v>11.725</c:v>
                </c:pt>
                <c:pt idx="4222">
                  <c:v>11.727777777777778</c:v>
                </c:pt>
                <c:pt idx="4223">
                  <c:v>11.730555555555556</c:v>
                </c:pt>
                <c:pt idx="4224">
                  <c:v>11.733333333333333</c:v>
                </c:pt>
                <c:pt idx="4225">
                  <c:v>11.736111111111111</c:v>
                </c:pt>
                <c:pt idx="4226">
                  <c:v>11.738888888888889</c:v>
                </c:pt>
                <c:pt idx="4227">
                  <c:v>11.741666666666667</c:v>
                </c:pt>
                <c:pt idx="4228">
                  <c:v>11.744444444444444</c:v>
                </c:pt>
                <c:pt idx="4229">
                  <c:v>11.747222222222222</c:v>
                </c:pt>
                <c:pt idx="4230">
                  <c:v>11.75</c:v>
                </c:pt>
                <c:pt idx="4231">
                  <c:v>11.752777777777778</c:v>
                </c:pt>
                <c:pt idx="4232">
                  <c:v>11.755555555555556</c:v>
                </c:pt>
                <c:pt idx="4233">
                  <c:v>11.758333333333333</c:v>
                </c:pt>
                <c:pt idx="4234">
                  <c:v>11.761111111111111</c:v>
                </c:pt>
                <c:pt idx="4235">
                  <c:v>11.763888888888889</c:v>
                </c:pt>
                <c:pt idx="4236">
                  <c:v>11.766666666666667</c:v>
                </c:pt>
                <c:pt idx="4237">
                  <c:v>11.769444444444444</c:v>
                </c:pt>
                <c:pt idx="4238">
                  <c:v>11.772222222222222</c:v>
                </c:pt>
                <c:pt idx="4239">
                  <c:v>11.775</c:v>
                </c:pt>
                <c:pt idx="4240">
                  <c:v>11.777777777777779</c:v>
                </c:pt>
                <c:pt idx="4241">
                  <c:v>11.780555555555555</c:v>
                </c:pt>
                <c:pt idx="4242">
                  <c:v>11.783333333333333</c:v>
                </c:pt>
                <c:pt idx="4243">
                  <c:v>11.786111111111111</c:v>
                </c:pt>
                <c:pt idx="4244">
                  <c:v>11.78888888888889</c:v>
                </c:pt>
                <c:pt idx="4245">
                  <c:v>11.791666666666666</c:v>
                </c:pt>
                <c:pt idx="4246">
                  <c:v>11.794444444444444</c:v>
                </c:pt>
                <c:pt idx="4247">
                  <c:v>11.797222222222222</c:v>
                </c:pt>
                <c:pt idx="4248">
                  <c:v>11.8</c:v>
                </c:pt>
                <c:pt idx="4249">
                  <c:v>11.802777777777777</c:v>
                </c:pt>
                <c:pt idx="4250">
                  <c:v>11.805555555555555</c:v>
                </c:pt>
                <c:pt idx="4251">
                  <c:v>11.808333333333334</c:v>
                </c:pt>
                <c:pt idx="4252">
                  <c:v>11.811111111111112</c:v>
                </c:pt>
                <c:pt idx="4253">
                  <c:v>11.813888888888888</c:v>
                </c:pt>
                <c:pt idx="4254">
                  <c:v>11.816666666666666</c:v>
                </c:pt>
                <c:pt idx="4255">
                  <c:v>11.819444444444445</c:v>
                </c:pt>
                <c:pt idx="4256">
                  <c:v>11.822222222222223</c:v>
                </c:pt>
                <c:pt idx="4257">
                  <c:v>11.824999999999999</c:v>
                </c:pt>
                <c:pt idx="4258">
                  <c:v>11.827777777777778</c:v>
                </c:pt>
                <c:pt idx="4259">
                  <c:v>11.830555555555556</c:v>
                </c:pt>
                <c:pt idx="4260">
                  <c:v>11.833333333333334</c:v>
                </c:pt>
                <c:pt idx="4261">
                  <c:v>11.83611111111111</c:v>
                </c:pt>
                <c:pt idx="4262">
                  <c:v>11.838888888888889</c:v>
                </c:pt>
                <c:pt idx="4263">
                  <c:v>11.841666666666667</c:v>
                </c:pt>
                <c:pt idx="4264">
                  <c:v>11.844444444444445</c:v>
                </c:pt>
                <c:pt idx="4265">
                  <c:v>11.847222222222221</c:v>
                </c:pt>
                <c:pt idx="4266">
                  <c:v>11.85</c:v>
                </c:pt>
                <c:pt idx="4267">
                  <c:v>11.852777777777778</c:v>
                </c:pt>
                <c:pt idx="4268">
                  <c:v>11.855555555555556</c:v>
                </c:pt>
                <c:pt idx="4269">
                  <c:v>11.858333333333333</c:v>
                </c:pt>
                <c:pt idx="4270">
                  <c:v>11.861111111111111</c:v>
                </c:pt>
                <c:pt idx="4271">
                  <c:v>11.863888888888889</c:v>
                </c:pt>
                <c:pt idx="4272">
                  <c:v>11.866666666666667</c:v>
                </c:pt>
                <c:pt idx="4273">
                  <c:v>11.869444444444444</c:v>
                </c:pt>
                <c:pt idx="4274">
                  <c:v>11.872222222222222</c:v>
                </c:pt>
                <c:pt idx="4275">
                  <c:v>11.875</c:v>
                </c:pt>
                <c:pt idx="4276">
                  <c:v>11.877777777777778</c:v>
                </c:pt>
                <c:pt idx="4277">
                  <c:v>11.880555555555556</c:v>
                </c:pt>
                <c:pt idx="4278">
                  <c:v>11.883333333333333</c:v>
                </c:pt>
                <c:pt idx="4279">
                  <c:v>11.886111111111111</c:v>
                </c:pt>
                <c:pt idx="4280">
                  <c:v>11.888888888888889</c:v>
                </c:pt>
                <c:pt idx="4281">
                  <c:v>11.891666666666667</c:v>
                </c:pt>
                <c:pt idx="4282">
                  <c:v>11.894444444444444</c:v>
                </c:pt>
                <c:pt idx="4283">
                  <c:v>11.897222222222222</c:v>
                </c:pt>
                <c:pt idx="4284">
                  <c:v>11.9</c:v>
                </c:pt>
                <c:pt idx="4285">
                  <c:v>11.902777777777779</c:v>
                </c:pt>
                <c:pt idx="4286">
                  <c:v>11.905555555555555</c:v>
                </c:pt>
                <c:pt idx="4287">
                  <c:v>11.908333333333333</c:v>
                </c:pt>
                <c:pt idx="4288">
                  <c:v>11.911111111111111</c:v>
                </c:pt>
                <c:pt idx="4289">
                  <c:v>11.91388888888889</c:v>
                </c:pt>
                <c:pt idx="4290">
                  <c:v>11.916666666666666</c:v>
                </c:pt>
                <c:pt idx="4291">
                  <c:v>11.919444444444444</c:v>
                </c:pt>
                <c:pt idx="4292">
                  <c:v>11.922222222222222</c:v>
                </c:pt>
                <c:pt idx="4293">
                  <c:v>11.925000000000001</c:v>
                </c:pt>
                <c:pt idx="4294">
                  <c:v>11.927777777777777</c:v>
                </c:pt>
                <c:pt idx="4295">
                  <c:v>11.930555555555555</c:v>
                </c:pt>
                <c:pt idx="4296">
                  <c:v>11.933333333333334</c:v>
                </c:pt>
                <c:pt idx="4297">
                  <c:v>11.936111111111112</c:v>
                </c:pt>
                <c:pt idx="4298">
                  <c:v>11.938888888888888</c:v>
                </c:pt>
                <c:pt idx="4299">
                  <c:v>11.941666666666666</c:v>
                </c:pt>
                <c:pt idx="4300">
                  <c:v>11.944444444444445</c:v>
                </c:pt>
                <c:pt idx="4301">
                  <c:v>11.947222222222223</c:v>
                </c:pt>
                <c:pt idx="4302">
                  <c:v>11.95</c:v>
                </c:pt>
                <c:pt idx="4303">
                  <c:v>11.952777777777778</c:v>
                </c:pt>
                <c:pt idx="4304">
                  <c:v>11.955555555555556</c:v>
                </c:pt>
                <c:pt idx="4305">
                  <c:v>11.958333333333334</c:v>
                </c:pt>
                <c:pt idx="4306">
                  <c:v>11.96111111111111</c:v>
                </c:pt>
                <c:pt idx="4307">
                  <c:v>11.963888888888889</c:v>
                </c:pt>
                <c:pt idx="4308">
                  <c:v>11.966666666666667</c:v>
                </c:pt>
                <c:pt idx="4309">
                  <c:v>11.969444444444445</c:v>
                </c:pt>
                <c:pt idx="4310">
                  <c:v>11.972222222222221</c:v>
                </c:pt>
                <c:pt idx="4311">
                  <c:v>11.975</c:v>
                </c:pt>
                <c:pt idx="4312">
                  <c:v>11.977777777777778</c:v>
                </c:pt>
                <c:pt idx="4313">
                  <c:v>11.980555555555556</c:v>
                </c:pt>
                <c:pt idx="4314">
                  <c:v>11.983333333333333</c:v>
                </c:pt>
                <c:pt idx="4315">
                  <c:v>11.986111111111111</c:v>
                </c:pt>
                <c:pt idx="4316">
                  <c:v>11.988888888888889</c:v>
                </c:pt>
                <c:pt idx="4317">
                  <c:v>11.991666666666667</c:v>
                </c:pt>
                <c:pt idx="4318">
                  <c:v>11.994444444444444</c:v>
                </c:pt>
                <c:pt idx="4319">
                  <c:v>11.997222222222222</c:v>
                </c:pt>
                <c:pt idx="4320">
                  <c:v>12</c:v>
                </c:pt>
                <c:pt idx="4321">
                  <c:v>12.002777777777778</c:v>
                </c:pt>
                <c:pt idx="4322">
                  <c:v>12.005555555555556</c:v>
                </c:pt>
                <c:pt idx="4323">
                  <c:v>12.008333333333333</c:v>
                </c:pt>
                <c:pt idx="4324">
                  <c:v>12.011111111111111</c:v>
                </c:pt>
                <c:pt idx="4325">
                  <c:v>12.013888888888889</c:v>
                </c:pt>
                <c:pt idx="4326">
                  <c:v>12.016666666666667</c:v>
                </c:pt>
                <c:pt idx="4327">
                  <c:v>12.019444444444444</c:v>
                </c:pt>
                <c:pt idx="4328">
                  <c:v>12.022222222222222</c:v>
                </c:pt>
                <c:pt idx="4329">
                  <c:v>12.025</c:v>
                </c:pt>
                <c:pt idx="4330">
                  <c:v>12.027777777777779</c:v>
                </c:pt>
                <c:pt idx="4331">
                  <c:v>12.030555555555555</c:v>
                </c:pt>
                <c:pt idx="4332">
                  <c:v>12.033333333333333</c:v>
                </c:pt>
                <c:pt idx="4333">
                  <c:v>12.036111111111111</c:v>
                </c:pt>
                <c:pt idx="4334">
                  <c:v>12.03888888888889</c:v>
                </c:pt>
                <c:pt idx="4335">
                  <c:v>12.041666666666666</c:v>
                </c:pt>
                <c:pt idx="4336">
                  <c:v>12.044444444444444</c:v>
                </c:pt>
                <c:pt idx="4337">
                  <c:v>12.047222222222222</c:v>
                </c:pt>
                <c:pt idx="4338">
                  <c:v>12.05</c:v>
                </c:pt>
                <c:pt idx="4339">
                  <c:v>12.052777777777777</c:v>
                </c:pt>
                <c:pt idx="4340">
                  <c:v>12.055555555555555</c:v>
                </c:pt>
                <c:pt idx="4341">
                  <c:v>12.058333333333334</c:v>
                </c:pt>
                <c:pt idx="4342">
                  <c:v>12.061111111111112</c:v>
                </c:pt>
                <c:pt idx="4343">
                  <c:v>12.063888888888888</c:v>
                </c:pt>
                <c:pt idx="4344">
                  <c:v>12.066666666666666</c:v>
                </c:pt>
                <c:pt idx="4345">
                  <c:v>12.069444444444445</c:v>
                </c:pt>
                <c:pt idx="4346">
                  <c:v>12.072222222222223</c:v>
                </c:pt>
                <c:pt idx="4347">
                  <c:v>12.074999999999999</c:v>
                </c:pt>
                <c:pt idx="4348">
                  <c:v>12.077777777777778</c:v>
                </c:pt>
                <c:pt idx="4349">
                  <c:v>12.080555555555556</c:v>
                </c:pt>
                <c:pt idx="4350">
                  <c:v>12.083333333333334</c:v>
                </c:pt>
                <c:pt idx="4351">
                  <c:v>12.08611111111111</c:v>
                </c:pt>
                <c:pt idx="4352">
                  <c:v>12.088888888888889</c:v>
                </c:pt>
                <c:pt idx="4353">
                  <c:v>12.091666666666667</c:v>
                </c:pt>
                <c:pt idx="4354">
                  <c:v>12.094444444444445</c:v>
                </c:pt>
                <c:pt idx="4355">
                  <c:v>12.097222222222221</c:v>
                </c:pt>
                <c:pt idx="4356">
                  <c:v>12.1</c:v>
                </c:pt>
                <c:pt idx="4357">
                  <c:v>12.102777777777778</c:v>
                </c:pt>
                <c:pt idx="4358">
                  <c:v>12.105555555555556</c:v>
                </c:pt>
                <c:pt idx="4359">
                  <c:v>12.108333333333333</c:v>
                </c:pt>
                <c:pt idx="4360">
                  <c:v>12.111111111111111</c:v>
                </c:pt>
                <c:pt idx="4361">
                  <c:v>12.113888888888889</c:v>
                </c:pt>
                <c:pt idx="4362">
                  <c:v>12.116666666666667</c:v>
                </c:pt>
                <c:pt idx="4363">
                  <c:v>12.119444444444444</c:v>
                </c:pt>
                <c:pt idx="4364">
                  <c:v>12.122222222222222</c:v>
                </c:pt>
                <c:pt idx="4365">
                  <c:v>12.125</c:v>
                </c:pt>
                <c:pt idx="4366">
                  <c:v>12.127777777777778</c:v>
                </c:pt>
                <c:pt idx="4367">
                  <c:v>12.130555555555556</c:v>
                </c:pt>
                <c:pt idx="4368">
                  <c:v>12.133333333333333</c:v>
                </c:pt>
                <c:pt idx="4369">
                  <c:v>12.136111111111111</c:v>
                </c:pt>
                <c:pt idx="4370">
                  <c:v>12.138888888888889</c:v>
                </c:pt>
                <c:pt idx="4371">
                  <c:v>12.141666666666667</c:v>
                </c:pt>
                <c:pt idx="4372">
                  <c:v>12.144444444444444</c:v>
                </c:pt>
                <c:pt idx="4373">
                  <c:v>12.147222222222222</c:v>
                </c:pt>
                <c:pt idx="4374">
                  <c:v>12.15</c:v>
                </c:pt>
                <c:pt idx="4375">
                  <c:v>12.152777777777779</c:v>
                </c:pt>
                <c:pt idx="4376">
                  <c:v>12.155555555555555</c:v>
                </c:pt>
                <c:pt idx="4377">
                  <c:v>12.158333333333333</c:v>
                </c:pt>
                <c:pt idx="4378">
                  <c:v>12.161111111111111</c:v>
                </c:pt>
                <c:pt idx="4379">
                  <c:v>12.16388888888889</c:v>
                </c:pt>
                <c:pt idx="4380">
                  <c:v>12.166666666666666</c:v>
                </c:pt>
                <c:pt idx="4381">
                  <c:v>12.169444444444444</c:v>
                </c:pt>
                <c:pt idx="4382">
                  <c:v>12.172222222222222</c:v>
                </c:pt>
                <c:pt idx="4383">
                  <c:v>12.175000000000001</c:v>
                </c:pt>
                <c:pt idx="4384">
                  <c:v>12.177777777777777</c:v>
                </c:pt>
                <c:pt idx="4385">
                  <c:v>12.180555555555555</c:v>
                </c:pt>
                <c:pt idx="4386">
                  <c:v>12.183333333333334</c:v>
                </c:pt>
                <c:pt idx="4387">
                  <c:v>12.186111111111112</c:v>
                </c:pt>
                <c:pt idx="4388">
                  <c:v>12.188888888888888</c:v>
                </c:pt>
                <c:pt idx="4389">
                  <c:v>12.191666666666666</c:v>
                </c:pt>
                <c:pt idx="4390">
                  <c:v>12.194444444444445</c:v>
                </c:pt>
                <c:pt idx="4391">
                  <c:v>12.197222222222223</c:v>
                </c:pt>
                <c:pt idx="4392">
                  <c:v>12.2</c:v>
                </c:pt>
                <c:pt idx="4393">
                  <c:v>12.202777777777778</c:v>
                </c:pt>
                <c:pt idx="4394">
                  <c:v>12.205555555555556</c:v>
                </c:pt>
                <c:pt idx="4395">
                  <c:v>12.208333333333334</c:v>
                </c:pt>
                <c:pt idx="4396">
                  <c:v>12.21111111111111</c:v>
                </c:pt>
                <c:pt idx="4397">
                  <c:v>12.213888888888889</c:v>
                </c:pt>
                <c:pt idx="4398">
                  <c:v>12.216666666666667</c:v>
                </c:pt>
                <c:pt idx="4399">
                  <c:v>12.219444444444445</c:v>
                </c:pt>
                <c:pt idx="4400">
                  <c:v>12.222222222222221</c:v>
                </c:pt>
                <c:pt idx="4401">
                  <c:v>12.225</c:v>
                </c:pt>
                <c:pt idx="4402">
                  <c:v>12.227777777777778</c:v>
                </c:pt>
                <c:pt idx="4403">
                  <c:v>12.230555555555556</c:v>
                </c:pt>
                <c:pt idx="4404">
                  <c:v>12.233333333333333</c:v>
                </c:pt>
                <c:pt idx="4405">
                  <c:v>12.236111111111111</c:v>
                </c:pt>
                <c:pt idx="4406">
                  <c:v>12.238888888888889</c:v>
                </c:pt>
                <c:pt idx="4407">
                  <c:v>12.241666666666667</c:v>
                </c:pt>
                <c:pt idx="4408">
                  <c:v>12.244444444444444</c:v>
                </c:pt>
                <c:pt idx="4409">
                  <c:v>12.247222222222222</c:v>
                </c:pt>
                <c:pt idx="4410">
                  <c:v>12.25</c:v>
                </c:pt>
                <c:pt idx="4411">
                  <c:v>12.252777777777778</c:v>
                </c:pt>
                <c:pt idx="4412">
                  <c:v>12.255555555555556</c:v>
                </c:pt>
                <c:pt idx="4413">
                  <c:v>12.258333333333333</c:v>
                </c:pt>
                <c:pt idx="4414">
                  <c:v>12.261111111111111</c:v>
                </c:pt>
                <c:pt idx="4415">
                  <c:v>12.263888888888889</c:v>
                </c:pt>
                <c:pt idx="4416">
                  <c:v>12.266666666666667</c:v>
                </c:pt>
                <c:pt idx="4417">
                  <c:v>12.269444444444444</c:v>
                </c:pt>
                <c:pt idx="4418">
                  <c:v>12.272222222222222</c:v>
                </c:pt>
                <c:pt idx="4419">
                  <c:v>12.275</c:v>
                </c:pt>
                <c:pt idx="4420">
                  <c:v>12.277777777777779</c:v>
                </c:pt>
                <c:pt idx="4421">
                  <c:v>12.280555555555555</c:v>
                </c:pt>
                <c:pt idx="4422">
                  <c:v>12.283333333333333</c:v>
                </c:pt>
                <c:pt idx="4423">
                  <c:v>12.286111111111111</c:v>
                </c:pt>
                <c:pt idx="4424">
                  <c:v>12.28888888888889</c:v>
                </c:pt>
                <c:pt idx="4425">
                  <c:v>12.291666666666666</c:v>
                </c:pt>
                <c:pt idx="4426">
                  <c:v>12.294444444444444</c:v>
                </c:pt>
                <c:pt idx="4427">
                  <c:v>12.297222222222222</c:v>
                </c:pt>
                <c:pt idx="4428">
                  <c:v>12.3</c:v>
                </c:pt>
                <c:pt idx="4429">
                  <c:v>12.302777777777777</c:v>
                </c:pt>
                <c:pt idx="4430">
                  <c:v>12.305555555555555</c:v>
                </c:pt>
                <c:pt idx="4431">
                  <c:v>12.308333333333334</c:v>
                </c:pt>
                <c:pt idx="4432">
                  <c:v>12.311111111111112</c:v>
                </c:pt>
                <c:pt idx="4433">
                  <c:v>12.313888888888888</c:v>
                </c:pt>
                <c:pt idx="4434">
                  <c:v>12.316666666666666</c:v>
                </c:pt>
                <c:pt idx="4435">
                  <c:v>12.319444444444445</c:v>
                </c:pt>
                <c:pt idx="4436">
                  <c:v>12.322222222222223</c:v>
                </c:pt>
                <c:pt idx="4437">
                  <c:v>12.324999999999999</c:v>
                </c:pt>
                <c:pt idx="4438">
                  <c:v>12.327777777777778</c:v>
                </c:pt>
                <c:pt idx="4439">
                  <c:v>12.330555555555556</c:v>
                </c:pt>
                <c:pt idx="4440">
                  <c:v>12.333333333333334</c:v>
                </c:pt>
                <c:pt idx="4441">
                  <c:v>12.33611111111111</c:v>
                </c:pt>
                <c:pt idx="4442">
                  <c:v>12.338888888888889</c:v>
                </c:pt>
                <c:pt idx="4443">
                  <c:v>12.341666666666667</c:v>
                </c:pt>
                <c:pt idx="4444">
                  <c:v>12.344444444444445</c:v>
                </c:pt>
                <c:pt idx="4445">
                  <c:v>12.347222222222221</c:v>
                </c:pt>
                <c:pt idx="4446">
                  <c:v>12.35</c:v>
                </c:pt>
                <c:pt idx="4447">
                  <c:v>12.352777777777778</c:v>
                </c:pt>
                <c:pt idx="4448">
                  <c:v>12.355555555555556</c:v>
                </c:pt>
                <c:pt idx="4449">
                  <c:v>12.358333333333333</c:v>
                </c:pt>
                <c:pt idx="4450">
                  <c:v>12.361111111111111</c:v>
                </c:pt>
                <c:pt idx="4451">
                  <c:v>12.363888888888889</c:v>
                </c:pt>
                <c:pt idx="4452">
                  <c:v>12.366666666666667</c:v>
                </c:pt>
                <c:pt idx="4453">
                  <c:v>12.369444444444444</c:v>
                </c:pt>
                <c:pt idx="4454">
                  <c:v>12.372222222222222</c:v>
                </c:pt>
                <c:pt idx="4455">
                  <c:v>12.375</c:v>
                </c:pt>
                <c:pt idx="4456">
                  <c:v>12.377777777777778</c:v>
                </c:pt>
                <c:pt idx="4457">
                  <c:v>12.380555555555556</c:v>
                </c:pt>
                <c:pt idx="4458">
                  <c:v>12.383333333333333</c:v>
                </c:pt>
                <c:pt idx="4459">
                  <c:v>12.386111111111111</c:v>
                </c:pt>
                <c:pt idx="4460">
                  <c:v>12.388888888888889</c:v>
                </c:pt>
                <c:pt idx="4461">
                  <c:v>12.391666666666667</c:v>
                </c:pt>
                <c:pt idx="4462">
                  <c:v>12.394444444444444</c:v>
                </c:pt>
                <c:pt idx="4463">
                  <c:v>12.397222222222222</c:v>
                </c:pt>
                <c:pt idx="4464">
                  <c:v>12.4</c:v>
                </c:pt>
                <c:pt idx="4465">
                  <c:v>12.402777777777779</c:v>
                </c:pt>
                <c:pt idx="4466">
                  <c:v>12.405555555555555</c:v>
                </c:pt>
                <c:pt idx="4467">
                  <c:v>12.408333333333333</c:v>
                </c:pt>
                <c:pt idx="4468">
                  <c:v>12.411111111111111</c:v>
                </c:pt>
                <c:pt idx="4469">
                  <c:v>12.41388888888889</c:v>
                </c:pt>
                <c:pt idx="4470">
                  <c:v>12.416666666666666</c:v>
                </c:pt>
                <c:pt idx="4471">
                  <c:v>12.419444444444444</c:v>
                </c:pt>
                <c:pt idx="4472">
                  <c:v>12.422222222222222</c:v>
                </c:pt>
                <c:pt idx="4473">
                  <c:v>12.425000000000001</c:v>
                </c:pt>
                <c:pt idx="4474">
                  <c:v>12.427777777777777</c:v>
                </c:pt>
                <c:pt idx="4475">
                  <c:v>12.430555555555555</c:v>
                </c:pt>
                <c:pt idx="4476">
                  <c:v>12.433333333333334</c:v>
                </c:pt>
                <c:pt idx="4477">
                  <c:v>12.436111111111112</c:v>
                </c:pt>
                <c:pt idx="4478">
                  <c:v>12.438888888888888</c:v>
                </c:pt>
                <c:pt idx="4479">
                  <c:v>12.441666666666666</c:v>
                </c:pt>
                <c:pt idx="4480">
                  <c:v>12.444444444444445</c:v>
                </c:pt>
                <c:pt idx="4481">
                  <c:v>12.447222222222223</c:v>
                </c:pt>
                <c:pt idx="4482">
                  <c:v>12.45</c:v>
                </c:pt>
                <c:pt idx="4483">
                  <c:v>12.452777777777778</c:v>
                </c:pt>
                <c:pt idx="4484">
                  <c:v>12.455555555555556</c:v>
                </c:pt>
                <c:pt idx="4485">
                  <c:v>12.458333333333334</c:v>
                </c:pt>
                <c:pt idx="4486">
                  <c:v>12.46111111111111</c:v>
                </c:pt>
                <c:pt idx="4487">
                  <c:v>12.463888888888889</c:v>
                </c:pt>
                <c:pt idx="4488">
                  <c:v>12.466666666666667</c:v>
                </c:pt>
                <c:pt idx="4489">
                  <c:v>12.469444444444445</c:v>
                </c:pt>
                <c:pt idx="4490">
                  <c:v>12.472222222222221</c:v>
                </c:pt>
                <c:pt idx="4491">
                  <c:v>12.475</c:v>
                </c:pt>
                <c:pt idx="4492">
                  <c:v>12.477777777777778</c:v>
                </c:pt>
                <c:pt idx="4493">
                  <c:v>12.480555555555556</c:v>
                </c:pt>
                <c:pt idx="4494">
                  <c:v>12.483333333333333</c:v>
                </c:pt>
                <c:pt idx="4495">
                  <c:v>12.486111111111111</c:v>
                </c:pt>
                <c:pt idx="4496">
                  <c:v>12.488888888888889</c:v>
                </c:pt>
                <c:pt idx="4497">
                  <c:v>12.491666666666667</c:v>
                </c:pt>
                <c:pt idx="4498">
                  <c:v>12.494444444444444</c:v>
                </c:pt>
                <c:pt idx="4499">
                  <c:v>12.497222222222222</c:v>
                </c:pt>
                <c:pt idx="4500">
                  <c:v>12.5</c:v>
                </c:pt>
                <c:pt idx="4501">
                  <c:v>12.502777777777778</c:v>
                </c:pt>
                <c:pt idx="4502">
                  <c:v>12.505555555555556</c:v>
                </c:pt>
                <c:pt idx="4503">
                  <c:v>12.508333333333333</c:v>
                </c:pt>
                <c:pt idx="4504">
                  <c:v>12.511111111111111</c:v>
                </c:pt>
                <c:pt idx="4505">
                  <c:v>12.513888888888889</c:v>
                </c:pt>
                <c:pt idx="4506">
                  <c:v>12.516666666666667</c:v>
                </c:pt>
                <c:pt idx="4507">
                  <c:v>12.519444444444444</c:v>
                </c:pt>
                <c:pt idx="4508">
                  <c:v>12.522222222222222</c:v>
                </c:pt>
                <c:pt idx="4509">
                  <c:v>12.525</c:v>
                </c:pt>
                <c:pt idx="4510">
                  <c:v>12.527777777777779</c:v>
                </c:pt>
                <c:pt idx="4511">
                  <c:v>12.530555555555555</c:v>
                </c:pt>
                <c:pt idx="4512">
                  <c:v>12.533333333333333</c:v>
                </c:pt>
                <c:pt idx="4513">
                  <c:v>12.536111111111111</c:v>
                </c:pt>
                <c:pt idx="4514">
                  <c:v>12.53888888888889</c:v>
                </c:pt>
                <c:pt idx="4515">
                  <c:v>12.541666666666666</c:v>
                </c:pt>
                <c:pt idx="4516">
                  <c:v>12.544444444444444</c:v>
                </c:pt>
                <c:pt idx="4517">
                  <c:v>12.547222222222222</c:v>
                </c:pt>
                <c:pt idx="4518">
                  <c:v>12.55</c:v>
                </c:pt>
                <c:pt idx="4519">
                  <c:v>12.552777777777777</c:v>
                </c:pt>
                <c:pt idx="4520">
                  <c:v>12.555555555555555</c:v>
                </c:pt>
                <c:pt idx="4521">
                  <c:v>12.558333333333334</c:v>
                </c:pt>
                <c:pt idx="4522">
                  <c:v>12.561111111111112</c:v>
                </c:pt>
                <c:pt idx="4523">
                  <c:v>12.563888888888888</c:v>
                </c:pt>
                <c:pt idx="4524">
                  <c:v>12.566666666666666</c:v>
                </c:pt>
                <c:pt idx="4525">
                  <c:v>12.569444444444445</c:v>
                </c:pt>
                <c:pt idx="4526">
                  <c:v>12.572222222222223</c:v>
                </c:pt>
                <c:pt idx="4527">
                  <c:v>12.574999999999999</c:v>
                </c:pt>
                <c:pt idx="4528">
                  <c:v>12.577777777777778</c:v>
                </c:pt>
                <c:pt idx="4529">
                  <c:v>12.580555555555556</c:v>
                </c:pt>
                <c:pt idx="4530">
                  <c:v>12.583333333333334</c:v>
                </c:pt>
                <c:pt idx="4531">
                  <c:v>12.58611111111111</c:v>
                </c:pt>
                <c:pt idx="4532">
                  <c:v>12.588888888888889</c:v>
                </c:pt>
                <c:pt idx="4533">
                  <c:v>12.591666666666667</c:v>
                </c:pt>
                <c:pt idx="4534">
                  <c:v>12.594444444444445</c:v>
                </c:pt>
                <c:pt idx="4535">
                  <c:v>12.597222222222221</c:v>
                </c:pt>
                <c:pt idx="4536">
                  <c:v>12.6</c:v>
                </c:pt>
                <c:pt idx="4537">
                  <c:v>12.602777777777778</c:v>
                </c:pt>
                <c:pt idx="4538">
                  <c:v>12.605555555555556</c:v>
                </c:pt>
                <c:pt idx="4539">
                  <c:v>12.608333333333333</c:v>
                </c:pt>
                <c:pt idx="4540">
                  <c:v>12.611111111111111</c:v>
                </c:pt>
                <c:pt idx="4541">
                  <c:v>12.613888888888889</c:v>
                </c:pt>
                <c:pt idx="4542">
                  <c:v>12.616666666666667</c:v>
                </c:pt>
                <c:pt idx="4543">
                  <c:v>12.619444444444444</c:v>
                </c:pt>
                <c:pt idx="4544">
                  <c:v>12.622222222222222</c:v>
                </c:pt>
                <c:pt idx="4545">
                  <c:v>12.625</c:v>
                </c:pt>
                <c:pt idx="4546">
                  <c:v>12.627777777777778</c:v>
                </c:pt>
                <c:pt idx="4547">
                  <c:v>12.630555555555556</c:v>
                </c:pt>
                <c:pt idx="4548">
                  <c:v>12.633333333333333</c:v>
                </c:pt>
                <c:pt idx="4549">
                  <c:v>12.636111111111111</c:v>
                </c:pt>
                <c:pt idx="4550">
                  <c:v>12.638888888888889</c:v>
                </c:pt>
                <c:pt idx="4551">
                  <c:v>12.641666666666667</c:v>
                </c:pt>
                <c:pt idx="4552">
                  <c:v>12.644444444444444</c:v>
                </c:pt>
                <c:pt idx="4553">
                  <c:v>12.647222222222222</c:v>
                </c:pt>
                <c:pt idx="4554">
                  <c:v>12.65</c:v>
                </c:pt>
                <c:pt idx="4555">
                  <c:v>12.652777777777779</c:v>
                </c:pt>
                <c:pt idx="4556">
                  <c:v>12.655555555555555</c:v>
                </c:pt>
                <c:pt idx="4557">
                  <c:v>12.658333333333333</c:v>
                </c:pt>
                <c:pt idx="4558">
                  <c:v>12.661111111111111</c:v>
                </c:pt>
                <c:pt idx="4559">
                  <c:v>12.66388888888889</c:v>
                </c:pt>
                <c:pt idx="4560">
                  <c:v>12.666666666666666</c:v>
                </c:pt>
                <c:pt idx="4561">
                  <c:v>12.669444444444444</c:v>
                </c:pt>
                <c:pt idx="4562">
                  <c:v>12.672222222222222</c:v>
                </c:pt>
                <c:pt idx="4563">
                  <c:v>12.675000000000001</c:v>
                </c:pt>
                <c:pt idx="4564">
                  <c:v>12.677777777777777</c:v>
                </c:pt>
                <c:pt idx="4565">
                  <c:v>12.680555555555555</c:v>
                </c:pt>
                <c:pt idx="4566">
                  <c:v>12.683333333333334</c:v>
                </c:pt>
                <c:pt idx="4567">
                  <c:v>12.686111111111112</c:v>
                </c:pt>
                <c:pt idx="4568">
                  <c:v>12.688888888888888</c:v>
                </c:pt>
                <c:pt idx="4569">
                  <c:v>12.691666666666666</c:v>
                </c:pt>
                <c:pt idx="4570">
                  <c:v>12.694444444444445</c:v>
                </c:pt>
                <c:pt idx="4571">
                  <c:v>12.697222222222223</c:v>
                </c:pt>
                <c:pt idx="4572">
                  <c:v>12.7</c:v>
                </c:pt>
                <c:pt idx="4573">
                  <c:v>12.702777777777778</c:v>
                </c:pt>
                <c:pt idx="4574">
                  <c:v>12.705555555555556</c:v>
                </c:pt>
                <c:pt idx="4575">
                  <c:v>12.708333333333334</c:v>
                </c:pt>
                <c:pt idx="4576">
                  <c:v>12.71111111111111</c:v>
                </c:pt>
                <c:pt idx="4577">
                  <c:v>12.713888888888889</c:v>
                </c:pt>
                <c:pt idx="4578">
                  <c:v>12.716666666666667</c:v>
                </c:pt>
                <c:pt idx="4579">
                  <c:v>12.719444444444445</c:v>
                </c:pt>
                <c:pt idx="4580">
                  <c:v>12.722222222222221</c:v>
                </c:pt>
                <c:pt idx="4581">
                  <c:v>12.725</c:v>
                </c:pt>
                <c:pt idx="4582">
                  <c:v>12.727777777777778</c:v>
                </c:pt>
                <c:pt idx="4583">
                  <c:v>12.730555555555556</c:v>
                </c:pt>
                <c:pt idx="4584">
                  <c:v>12.733333333333333</c:v>
                </c:pt>
                <c:pt idx="4585">
                  <c:v>12.736111111111111</c:v>
                </c:pt>
                <c:pt idx="4586">
                  <c:v>12.738888888888889</c:v>
                </c:pt>
                <c:pt idx="4587">
                  <c:v>12.741666666666667</c:v>
                </c:pt>
                <c:pt idx="4588">
                  <c:v>12.744444444444444</c:v>
                </c:pt>
                <c:pt idx="4589">
                  <c:v>12.747222222222222</c:v>
                </c:pt>
                <c:pt idx="4590">
                  <c:v>12.75</c:v>
                </c:pt>
                <c:pt idx="4591">
                  <c:v>12.752777777777778</c:v>
                </c:pt>
                <c:pt idx="4592">
                  <c:v>12.755555555555556</c:v>
                </c:pt>
                <c:pt idx="4593">
                  <c:v>12.758333333333333</c:v>
                </c:pt>
                <c:pt idx="4594">
                  <c:v>12.761111111111111</c:v>
                </c:pt>
                <c:pt idx="4595">
                  <c:v>12.763888888888889</c:v>
                </c:pt>
                <c:pt idx="4596">
                  <c:v>12.766666666666667</c:v>
                </c:pt>
                <c:pt idx="4597">
                  <c:v>12.769444444444444</c:v>
                </c:pt>
                <c:pt idx="4598">
                  <c:v>12.772222222222222</c:v>
                </c:pt>
                <c:pt idx="4599">
                  <c:v>12.775</c:v>
                </c:pt>
                <c:pt idx="4600">
                  <c:v>12.777777777777779</c:v>
                </c:pt>
                <c:pt idx="4601">
                  <c:v>12.780555555555555</c:v>
                </c:pt>
                <c:pt idx="4602">
                  <c:v>12.783333333333333</c:v>
                </c:pt>
                <c:pt idx="4603">
                  <c:v>12.786111111111111</c:v>
                </c:pt>
                <c:pt idx="4604">
                  <c:v>12.78888888888889</c:v>
                </c:pt>
                <c:pt idx="4605">
                  <c:v>12.791666666666666</c:v>
                </c:pt>
                <c:pt idx="4606">
                  <c:v>12.794444444444444</c:v>
                </c:pt>
                <c:pt idx="4607">
                  <c:v>12.797222222222222</c:v>
                </c:pt>
                <c:pt idx="4608">
                  <c:v>12.8</c:v>
                </c:pt>
                <c:pt idx="4609">
                  <c:v>12.802777777777777</c:v>
                </c:pt>
                <c:pt idx="4610">
                  <c:v>12.805555555555555</c:v>
                </c:pt>
                <c:pt idx="4611">
                  <c:v>12.808333333333334</c:v>
                </c:pt>
                <c:pt idx="4612">
                  <c:v>12.811111111111112</c:v>
                </c:pt>
                <c:pt idx="4613">
                  <c:v>12.813888888888888</c:v>
                </c:pt>
                <c:pt idx="4614">
                  <c:v>12.816666666666666</c:v>
                </c:pt>
                <c:pt idx="4615">
                  <c:v>12.819444444444445</c:v>
                </c:pt>
                <c:pt idx="4616">
                  <c:v>12.822222222222223</c:v>
                </c:pt>
                <c:pt idx="4617">
                  <c:v>12.824999999999999</c:v>
                </c:pt>
                <c:pt idx="4618">
                  <c:v>12.827777777777778</c:v>
                </c:pt>
                <c:pt idx="4619">
                  <c:v>12.830555555555556</c:v>
                </c:pt>
                <c:pt idx="4620">
                  <c:v>12.833333333333334</c:v>
                </c:pt>
                <c:pt idx="4621">
                  <c:v>12.83611111111111</c:v>
                </c:pt>
                <c:pt idx="4622">
                  <c:v>12.838888888888889</c:v>
                </c:pt>
                <c:pt idx="4623">
                  <c:v>12.841666666666667</c:v>
                </c:pt>
                <c:pt idx="4624">
                  <c:v>12.844444444444445</c:v>
                </c:pt>
                <c:pt idx="4625">
                  <c:v>12.847222222222221</c:v>
                </c:pt>
                <c:pt idx="4626">
                  <c:v>12.85</c:v>
                </c:pt>
                <c:pt idx="4627">
                  <c:v>12.852777777777778</c:v>
                </c:pt>
                <c:pt idx="4628">
                  <c:v>12.855555555555556</c:v>
                </c:pt>
                <c:pt idx="4629">
                  <c:v>12.858333333333333</c:v>
                </c:pt>
                <c:pt idx="4630">
                  <c:v>12.861111111111111</c:v>
                </c:pt>
                <c:pt idx="4631">
                  <c:v>12.863888888888889</c:v>
                </c:pt>
                <c:pt idx="4632">
                  <c:v>12.866666666666667</c:v>
                </c:pt>
                <c:pt idx="4633">
                  <c:v>12.869444444444444</c:v>
                </c:pt>
                <c:pt idx="4634">
                  <c:v>12.872222222222222</c:v>
                </c:pt>
                <c:pt idx="4635">
                  <c:v>12.875</c:v>
                </c:pt>
                <c:pt idx="4636">
                  <c:v>12.877777777777778</c:v>
                </c:pt>
                <c:pt idx="4637">
                  <c:v>12.880555555555556</c:v>
                </c:pt>
                <c:pt idx="4638">
                  <c:v>12.883333333333333</c:v>
                </c:pt>
                <c:pt idx="4639">
                  <c:v>12.886111111111111</c:v>
                </c:pt>
                <c:pt idx="4640">
                  <c:v>12.888888888888889</c:v>
                </c:pt>
                <c:pt idx="4641">
                  <c:v>12.891666666666667</c:v>
                </c:pt>
                <c:pt idx="4642">
                  <c:v>12.894444444444444</c:v>
                </c:pt>
                <c:pt idx="4643">
                  <c:v>12.897222222222222</c:v>
                </c:pt>
                <c:pt idx="4644">
                  <c:v>12.9</c:v>
                </c:pt>
                <c:pt idx="4645">
                  <c:v>12.902777777777779</c:v>
                </c:pt>
                <c:pt idx="4646">
                  <c:v>12.905555555555555</c:v>
                </c:pt>
                <c:pt idx="4647">
                  <c:v>12.908333333333333</c:v>
                </c:pt>
                <c:pt idx="4648">
                  <c:v>12.911111111111111</c:v>
                </c:pt>
                <c:pt idx="4649">
                  <c:v>12.91388888888889</c:v>
                </c:pt>
                <c:pt idx="4650">
                  <c:v>12.916666666666666</c:v>
                </c:pt>
                <c:pt idx="4651">
                  <c:v>12.919444444444444</c:v>
                </c:pt>
                <c:pt idx="4652">
                  <c:v>12.922222222222222</c:v>
                </c:pt>
                <c:pt idx="4653">
                  <c:v>12.925000000000001</c:v>
                </c:pt>
                <c:pt idx="4654">
                  <c:v>12.927777777777777</c:v>
                </c:pt>
                <c:pt idx="4655">
                  <c:v>12.930555555555555</c:v>
                </c:pt>
                <c:pt idx="4656">
                  <c:v>12.933333333333334</c:v>
                </c:pt>
                <c:pt idx="4657">
                  <c:v>12.936111111111112</c:v>
                </c:pt>
                <c:pt idx="4658">
                  <c:v>12.938888888888888</c:v>
                </c:pt>
                <c:pt idx="4659">
                  <c:v>12.941666666666666</c:v>
                </c:pt>
                <c:pt idx="4660">
                  <c:v>12.944444444444445</c:v>
                </c:pt>
                <c:pt idx="4661">
                  <c:v>12.947222222222223</c:v>
                </c:pt>
                <c:pt idx="4662">
                  <c:v>12.95</c:v>
                </c:pt>
                <c:pt idx="4663">
                  <c:v>12.952777777777778</c:v>
                </c:pt>
                <c:pt idx="4664">
                  <c:v>12.955555555555556</c:v>
                </c:pt>
                <c:pt idx="4665">
                  <c:v>12.958333333333334</c:v>
                </c:pt>
                <c:pt idx="4666">
                  <c:v>12.96111111111111</c:v>
                </c:pt>
                <c:pt idx="4667">
                  <c:v>12.963888888888889</c:v>
                </c:pt>
                <c:pt idx="4668">
                  <c:v>12.966666666666667</c:v>
                </c:pt>
                <c:pt idx="4669">
                  <c:v>12.969444444444445</c:v>
                </c:pt>
                <c:pt idx="4670">
                  <c:v>12.972222222222221</c:v>
                </c:pt>
                <c:pt idx="4671">
                  <c:v>12.975</c:v>
                </c:pt>
                <c:pt idx="4672">
                  <c:v>12.977777777777778</c:v>
                </c:pt>
                <c:pt idx="4673">
                  <c:v>12.980555555555556</c:v>
                </c:pt>
                <c:pt idx="4674">
                  <c:v>12.983333333333333</c:v>
                </c:pt>
                <c:pt idx="4675">
                  <c:v>12.986111111111111</c:v>
                </c:pt>
                <c:pt idx="4676">
                  <c:v>12.988888888888889</c:v>
                </c:pt>
                <c:pt idx="4677">
                  <c:v>12.991666666666667</c:v>
                </c:pt>
                <c:pt idx="4678">
                  <c:v>12.994444444444444</c:v>
                </c:pt>
                <c:pt idx="4679">
                  <c:v>12.997222222222222</c:v>
                </c:pt>
                <c:pt idx="4680">
                  <c:v>13</c:v>
                </c:pt>
                <c:pt idx="4681">
                  <c:v>13.002777777777778</c:v>
                </c:pt>
                <c:pt idx="4682">
                  <c:v>13.005555555555556</c:v>
                </c:pt>
                <c:pt idx="4683">
                  <c:v>13.008333333333333</c:v>
                </c:pt>
                <c:pt idx="4684">
                  <c:v>13.011111111111111</c:v>
                </c:pt>
                <c:pt idx="4685">
                  <c:v>13.013888888888889</c:v>
                </c:pt>
                <c:pt idx="4686">
                  <c:v>13.016666666666667</c:v>
                </c:pt>
                <c:pt idx="4687">
                  <c:v>13.019444444444444</c:v>
                </c:pt>
                <c:pt idx="4688">
                  <c:v>13.022222222222222</c:v>
                </c:pt>
                <c:pt idx="4689">
                  <c:v>13.025</c:v>
                </c:pt>
                <c:pt idx="4690">
                  <c:v>13.027777777777779</c:v>
                </c:pt>
                <c:pt idx="4691">
                  <c:v>13.030555555555555</c:v>
                </c:pt>
                <c:pt idx="4692">
                  <c:v>13.033333333333333</c:v>
                </c:pt>
                <c:pt idx="4693">
                  <c:v>13.036111111111111</c:v>
                </c:pt>
                <c:pt idx="4694">
                  <c:v>13.03888888888889</c:v>
                </c:pt>
                <c:pt idx="4695">
                  <c:v>13.041666666666666</c:v>
                </c:pt>
                <c:pt idx="4696">
                  <c:v>13.044444444444444</c:v>
                </c:pt>
                <c:pt idx="4697">
                  <c:v>13.047222222222222</c:v>
                </c:pt>
                <c:pt idx="4698">
                  <c:v>13.05</c:v>
                </c:pt>
                <c:pt idx="4699">
                  <c:v>13.052777777777777</c:v>
                </c:pt>
                <c:pt idx="4700">
                  <c:v>13.055555555555555</c:v>
                </c:pt>
                <c:pt idx="4701">
                  <c:v>13.058333333333334</c:v>
                </c:pt>
                <c:pt idx="4702">
                  <c:v>13.061111111111112</c:v>
                </c:pt>
                <c:pt idx="4703">
                  <c:v>13.063888888888888</c:v>
                </c:pt>
                <c:pt idx="4704">
                  <c:v>13.066666666666666</c:v>
                </c:pt>
                <c:pt idx="4705">
                  <c:v>13.069444444444445</c:v>
                </c:pt>
                <c:pt idx="4706">
                  <c:v>13.072222222222223</c:v>
                </c:pt>
                <c:pt idx="4707">
                  <c:v>13.074999999999999</c:v>
                </c:pt>
                <c:pt idx="4708">
                  <c:v>13.077777777777778</c:v>
                </c:pt>
                <c:pt idx="4709">
                  <c:v>13.080555555555556</c:v>
                </c:pt>
                <c:pt idx="4710">
                  <c:v>13.083333333333334</c:v>
                </c:pt>
                <c:pt idx="4711">
                  <c:v>13.08611111111111</c:v>
                </c:pt>
                <c:pt idx="4712">
                  <c:v>13.088888888888889</c:v>
                </c:pt>
                <c:pt idx="4713">
                  <c:v>13.091666666666667</c:v>
                </c:pt>
                <c:pt idx="4714">
                  <c:v>13.094444444444445</c:v>
                </c:pt>
                <c:pt idx="4715">
                  <c:v>13.097222222222221</c:v>
                </c:pt>
                <c:pt idx="4716">
                  <c:v>13.1</c:v>
                </c:pt>
                <c:pt idx="4717">
                  <c:v>13.102777777777778</c:v>
                </c:pt>
                <c:pt idx="4718">
                  <c:v>13.105555555555556</c:v>
                </c:pt>
                <c:pt idx="4719">
                  <c:v>13.108333333333333</c:v>
                </c:pt>
                <c:pt idx="4720">
                  <c:v>13.111111111111111</c:v>
                </c:pt>
                <c:pt idx="4721">
                  <c:v>13.113888888888889</c:v>
                </c:pt>
                <c:pt idx="4722">
                  <c:v>13.116666666666667</c:v>
                </c:pt>
                <c:pt idx="4723">
                  <c:v>13.119444444444444</c:v>
                </c:pt>
                <c:pt idx="4724">
                  <c:v>13.122222222222222</c:v>
                </c:pt>
                <c:pt idx="4725">
                  <c:v>13.125</c:v>
                </c:pt>
                <c:pt idx="4726">
                  <c:v>13.127777777777778</c:v>
                </c:pt>
                <c:pt idx="4727">
                  <c:v>13.130555555555556</c:v>
                </c:pt>
                <c:pt idx="4728">
                  <c:v>13.133333333333333</c:v>
                </c:pt>
                <c:pt idx="4729">
                  <c:v>13.136111111111111</c:v>
                </c:pt>
                <c:pt idx="4730">
                  <c:v>13.138888888888889</c:v>
                </c:pt>
                <c:pt idx="4731">
                  <c:v>13.141666666666667</c:v>
                </c:pt>
                <c:pt idx="4732">
                  <c:v>13.144444444444444</c:v>
                </c:pt>
                <c:pt idx="4733">
                  <c:v>13.147222222222222</c:v>
                </c:pt>
                <c:pt idx="4734">
                  <c:v>13.15</c:v>
                </c:pt>
                <c:pt idx="4735">
                  <c:v>13.152777777777779</c:v>
                </c:pt>
                <c:pt idx="4736">
                  <c:v>13.155555555555555</c:v>
                </c:pt>
                <c:pt idx="4737">
                  <c:v>13.158333333333333</c:v>
                </c:pt>
                <c:pt idx="4738">
                  <c:v>13.161111111111111</c:v>
                </c:pt>
                <c:pt idx="4739">
                  <c:v>13.16388888888889</c:v>
                </c:pt>
                <c:pt idx="4740">
                  <c:v>13.166666666666666</c:v>
                </c:pt>
                <c:pt idx="4741">
                  <c:v>13.169444444444444</c:v>
                </c:pt>
                <c:pt idx="4742">
                  <c:v>13.172222222222222</c:v>
                </c:pt>
                <c:pt idx="4743">
                  <c:v>13.175000000000001</c:v>
                </c:pt>
                <c:pt idx="4744">
                  <c:v>13.177777777777777</c:v>
                </c:pt>
                <c:pt idx="4745">
                  <c:v>13.180555555555555</c:v>
                </c:pt>
                <c:pt idx="4746">
                  <c:v>13.183333333333334</c:v>
                </c:pt>
                <c:pt idx="4747">
                  <c:v>13.186111111111112</c:v>
                </c:pt>
                <c:pt idx="4748">
                  <c:v>13.188888888888888</c:v>
                </c:pt>
                <c:pt idx="4749">
                  <c:v>13.191666666666666</c:v>
                </c:pt>
                <c:pt idx="4750">
                  <c:v>13.194444444444445</c:v>
                </c:pt>
                <c:pt idx="4751">
                  <c:v>13.197222222222223</c:v>
                </c:pt>
                <c:pt idx="4752">
                  <c:v>13.2</c:v>
                </c:pt>
                <c:pt idx="4753">
                  <c:v>13.202777777777778</c:v>
                </c:pt>
                <c:pt idx="4754">
                  <c:v>13.205555555555556</c:v>
                </c:pt>
                <c:pt idx="4755">
                  <c:v>13.208333333333334</c:v>
                </c:pt>
                <c:pt idx="4756">
                  <c:v>13.21111111111111</c:v>
                </c:pt>
                <c:pt idx="4757">
                  <c:v>13.213888888888889</c:v>
                </c:pt>
                <c:pt idx="4758">
                  <c:v>13.216666666666667</c:v>
                </c:pt>
                <c:pt idx="4759">
                  <c:v>13.219444444444445</c:v>
                </c:pt>
                <c:pt idx="4760">
                  <c:v>13.222222222222221</c:v>
                </c:pt>
                <c:pt idx="4761">
                  <c:v>13.225</c:v>
                </c:pt>
                <c:pt idx="4762">
                  <c:v>13.227777777777778</c:v>
                </c:pt>
                <c:pt idx="4763">
                  <c:v>13.230555555555556</c:v>
                </c:pt>
                <c:pt idx="4764">
                  <c:v>13.233333333333333</c:v>
                </c:pt>
                <c:pt idx="4765">
                  <c:v>13.236111111111111</c:v>
                </c:pt>
                <c:pt idx="4766">
                  <c:v>13.238888888888889</c:v>
                </c:pt>
                <c:pt idx="4767">
                  <c:v>13.241666666666667</c:v>
                </c:pt>
                <c:pt idx="4768">
                  <c:v>13.244444444444444</c:v>
                </c:pt>
                <c:pt idx="4769">
                  <c:v>13.247222222222222</c:v>
                </c:pt>
                <c:pt idx="4770">
                  <c:v>13.25</c:v>
                </c:pt>
                <c:pt idx="4771">
                  <c:v>13.252777777777778</c:v>
                </c:pt>
                <c:pt idx="4772">
                  <c:v>13.255555555555556</c:v>
                </c:pt>
                <c:pt idx="4773">
                  <c:v>13.258333333333333</c:v>
                </c:pt>
                <c:pt idx="4774">
                  <c:v>13.261111111111111</c:v>
                </c:pt>
                <c:pt idx="4775">
                  <c:v>13.263888888888889</c:v>
                </c:pt>
                <c:pt idx="4776">
                  <c:v>13.266666666666667</c:v>
                </c:pt>
                <c:pt idx="4777">
                  <c:v>13.269444444444444</c:v>
                </c:pt>
                <c:pt idx="4778">
                  <c:v>13.272222222222222</c:v>
                </c:pt>
                <c:pt idx="4779">
                  <c:v>13.275</c:v>
                </c:pt>
                <c:pt idx="4780">
                  <c:v>13.277777777777779</c:v>
                </c:pt>
                <c:pt idx="4781">
                  <c:v>13.280555555555555</c:v>
                </c:pt>
                <c:pt idx="4782">
                  <c:v>13.283333333333333</c:v>
                </c:pt>
                <c:pt idx="4783">
                  <c:v>13.286111111111111</c:v>
                </c:pt>
                <c:pt idx="4784">
                  <c:v>13.28888888888889</c:v>
                </c:pt>
                <c:pt idx="4785">
                  <c:v>13.291666666666666</c:v>
                </c:pt>
                <c:pt idx="4786">
                  <c:v>13.294444444444444</c:v>
                </c:pt>
                <c:pt idx="4787">
                  <c:v>13.297222222222222</c:v>
                </c:pt>
                <c:pt idx="4788">
                  <c:v>13.3</c:v>
                </c:pt>
                <c:pt idx="4789">
                  <c:v>13.302777777777777</c:v>
                </c:pt>
                <c:pt idx="4790">
                  <c:v>13.305555555555555</c:v>
                </c:pt>
                <c:pt idx="4791">
                  <c:v>13.308333333333334</c:v>
                </c:pt>
                <c:pt idx="4792">
                  <c:v>13.311111111111112</c:v>
                </c:pt>
                <c:pt idx="4793">
                  <c:v>13.313888888888888</c:v>
                </c:pt>
                <c:pt idx="4794">
                  <c:v>13.316666666666666</c:v>
                </c:pt>
                <c:pt idx="4795">
                  <c:v>13.319444444444445</c:v>
                </c:pt>
                <c:pt idx="4796">
                  <c:v>13.322222222222223</c:v>
                </c:pt>
                <c:pt idx="4797">
                  <c:v>13.324999999999999</c:v>
                </c:pt>
                <c:pt idx="4798">
                  <c:v>13.327777777777778</c:v>
                </c:pt>
                <c:pt idx="4799">
                  <c:v>13.330555555555556</c:v>
                </c:pt>
                <c:pt idx="4800">
                  <c:v>13.333333333333334</c:v>
                </c:pt>
                <c:pt idx="4801">
                  <c:v>13.33611111111111</c:v>
                </c:pt>
                <c:pt idx="4802">
                  <c:v>13.338888888888889</c:v>
                </c:pt>
                <c:pt idx="4803">
                  <c:v>13.341666666666667</c:v>
                </c:pt>
                <c:pt idx="4804">
                  <c:v>13.344444444444445</c:v>
                </c:pt>
                <c:pt idx="4805">
                  <c:v>13.347222222222221</c:v>
                </c:pt>
                <c:pt idx="4806">
                  <c:v>13.35</c:v>
                </c:pt>
                <c:pt idx="4807">
                  <c:v>13.352777777777778</c:v>
                </c:pt>
                <c:pt idx="4808">
                  <c:v>13.355555555555556</c:v>
                </c:pt>
                <c:pt idx="4809">
                  <c:v>13.358333333333333</c:v>
                </c:pt>
                <c:pt idx="4810">
                  <c:v>13.361111111111111</c:v>
                </c:pt>
                <c:pt idx="4811">
                  <c:v>13.363888888888889</c:v>
                </c:pt>
                <c:pt idx="4812">
                  <c:v>13.366666666666667</c:v>
                </c:pt>
                <c:pt idx="4813">
                  <c:v>13.369444444444444</c:v>
                </c:pt>
                <c:pt idx="4814">
                  <c:v>13.372222222222222</c:v>
                </c:pt>
                <c:pt idx="4815">
                  <c:v>13.375</c:v>
                </c:pt>
                <c:pt idx="4816">
                  <c:v>13.377777777777778</c:v>
                </c:pt>
                <c:pt idx="4817">
                  <c:v>13.380555555555556</c:v>
                </c:pt>
                <c:pt idx="4818">
                  <c:v>13.383333333333333</c:v>
                </c:pt>
                <c:pt idx="4819">
                  <c:v>13.386111111111111</c:v>
                </c:pt>
                <c:pt idx="4820">
                  <c:v>13.388888888888889</c:v>
                </c:pt>
                <c:pt idx="4821">
                  <c:v>13.391666666666667</c:v>
                </c:pt>
                <c:pt idx="4822">
                  <c:v>13.394444444444444</c:v>
                </c:pt>
                <c:pt idx="4823">
                  <c:v>13.397222222222222</c:v>
                </c:pt>
                <c:pt idx="4824">
                  <c:v>13.4</c:v>
                </c:pt>
                <c:pt idx="4825">
                  <c:v>13.402777777777779</c:v>
                </c:pt>
                <c:pt idx="4826">
                  <c:v>13.405555555555555</c:v>
                </c:pt>
                <c:pt idx="4827">
                  <c:v>13.408333333333333</c:v>
                </c:pt>
                <c:pt idx="4828">
                  <c:v>13.411111111111111</c:v>
                </c:pt>
                <c:pt idx="4829">
                  <c:v>13.41388888888889</c:v>
                </c:pt>
                <c:pt idx="4830">
                  <c:v>13.416666666666666</c:v>
                </c:pt>
                <c:pt idx="4831">
                  <c:v>13.419444444444444</c:v>
                </c:pt>
                <c:pt idx="4832">
                  <c:v>13.422222222222222</c:v>
                </c:pt>
                <c:pt idx="4833">
                  <c:v>13.425000000000001</c:v>
                </c:pt>
                <c:pt idx="4834">
                  <c:v>13.427777777777777</c:v>
                </c:pt>
                <c:pt idx="4835">
                  <c:v>13.430555555555555</c:v>
                </c:pt>
                <c:pt idx="4836">
                  <c:v>13.433333333333334</c:v>
                </c:pt>
                <c:pt idx="4837">
                  <c:v>13.436111111111112</c:v>
                </c:pt>
                <c:pt idx="4838">
                  <c:v>13.438888888888888</c:v>
                </c:pt>
                <c:pt idx="4839">
                  <c:v>13.441666666666666</c:v>
                </c:pt>
                <c:pt idx="4840">
                  <c:v>13.444444444444445</c:v>
                </c:pt>
                <c:pt idx="4841">
                  <c:v>13.447222222222223</c:v>
                </c:pt>
                <c:pt idx="4842">
                  <c:v>13.45</c:v>
                </c:pt>
                <c:pt idx="4843">
                  <c:v>13.452777777777778</c:v>
                </c:pt>
                <c:pt idx="4844">
                  <c:v>13.455555555555556</c:v>
                </c:pt>
                <c:pt idx="4845">
                  <c:v>13.458333333333334</c:v>
                </c:pt>
                <c:pt idx="4846">
                  <c:v>13.46111111111111</c:v>
                </c:pt>
                <c:pt idx="4847">
                  <c:v>13.463888888888889</c:v>
                </c:pt>
                <c:pt idx="4848">
                  <c:v>13.466666666666667</c:v>
                </c:pt>
                <c:pt idx="4849">
                  <c:v>13.469444444444445</c:v>
                </c:pt>
                <c:pt idx="4850">
                  <c:v>13.472222222222221</c:v>
                </c:pt>
                <c:pt idx="4851">
                  <c:v>13.475</c:v>
                </c:pt>
                <c:pt idx="4852">
                  <c:v>13.477777777777778</c:v>
                </c:pt>
                <c:pt idx="4853">
                  <c:v>13.480555555555556</c:v>
                </c:pt>
                <c:pt idx="4854">
                  <c:v>13.483333333333333</c:v>
                </c:pt>
                <c:pt idx="4855">
                  <c:v>13.486111111111111</c:v>
                </c:pt>
                <c:pt idx="4856">
                  <c:v>13.488888888888889</c:v>
                </c:pt>
                <c:pt idx="4857">
                  <c:v>13.491666666666667</c:v>
                </c:pt>
                <c:pt idx="4858">
                  <c:v>13.494444444444444</c:v>
                </c:pt>
                <c:pt idx="4859">
                  <c:v>13.497222222222222</c:v>
                </c:pt>
                <c:pt idx="4860">
                  <c:v>13.5</c:v>
                </c:pt>
                <c:pt idx="4861">
                  <c:v>13.502777777777778</c:v>
                </c:pt>
                <c:pt idx="4862">
                  <c:v>13.505555555555556</c:v>
                </c:pt>
                <c:pt idx="4863">
                  <c:v>13.508333333333333</c:v>
                </c:pt>
                <c:pt idx="4864">
                  <c:v>13.511111111111111</c:v>
                </c:pt>
                <c:pt idx="4865">
                  <c:v>13.513888888888889</c:v>
                </c:pt>
                <c:pt idx="4866">
                  <c:v>13.516666666666667</c:v>
                </c:pt>
                <c:pt idx="4867">
                  <c:v>13.519444444444444</c:v>
                </c:pt>
                <c:pt idx="4868">
                  <c:v>13.522222222222222</c:v>
                </c:pt>
                <c:pt idx="4869">
                  <c:v>13.525</c:v>
                </c:pt>
                <c:pt idx="4870">
                  <c:v>13.527777777777779</c:v>
                </c:pt>
                <c:pt idx="4871">
                  <c:v>13.530555555555555</c:v>
                </c:pt>
                <c:pt idx="4872">
                  <c:v>13.533333333333333</c:v>
                </c:pt>
                <c:pt idx="4873">
                  <c:v>13.536111111111111</c:v>
                </c:pt>
                <c:pt idx="4874">
                  <c:v>13.53888888888889</c:v>
                </c:pt>
                <c:pt idx="4875">
                  <c:v>13.541666666666666</c:v>
                </c:pt>
                <c:pt idx="4876">
                  <c:v>13.544444444444444</c:v>
                </c:pt>
                <c:pt idx="4877">
                  <c:v>13.547222222222222</c:v>
                </c:pt>
                <c:pt idx="4878">
                  <c:v>13.55</c:v>
                </c:pt>
                <c:pt idx="4879">
                  <c:v>13.552777777777777</c:v>
                </c:pt>
                <c:pt idx="4880">
                  <c:v>13.555555555555555</c:v>
                </c:pt>
                <c:pt idx="4881">
                  <c:v>13.558333333333334</c:v>
                </c:pt>
                <c:pt idx="4882">
                  <c:v>13.561111111111112</c:v>
                </c:pt>
                <c:pt idx="4883">
                  <c:v>13.563888888888888</c:v>
                </c:pt>
                <c:pt idx="4884">
                  <c:v>13.566666666666666</c:v>
                </c:pt>
                <c:pt idx="4885">
                  <c:v>13.569444444444445</c:v>
                </c:pt>
                <c:pt idx="4886">
                  <c:v>13.572222222222223</c:v>
                </c:pt>
                <c:pt idx="4887">
                  <c:v>13.574999999999999</c:v>
                </c:pt>
                <c:pt idx="4888">
                  <c:v>13.577777777777778</c:v>
                </c:pt>
                <c:pt idx="4889">
                  <c:v>13.580555555555556</c:v>
                </c:pt>
                <c:pt idx="4890">
                  <c:v>13.583333333333334</c:v>
                </c:pt>
                <c:pt idx="4891">
                  <c:v>13.58611111111111</c:v>
                </c:pt>
                <c:pt idx="4892">
                  <c:v>13.588888888888889</c:v>
                </c:pt>
                <c:pt idx="4893">
                  <c:v>13.591666666666667</c:v>
                </c:pt>
                <c:pt idx="4894">
                  <c:v>13.594444444444445</c:v>
                </c:pt>
                <c:pt idx="4895">
                  <c:v>13.597222222222221</c:v>
                </c:pt>
                <c:pt idx="4896">
                  <c:v>13.6</c:v>
                </c:pt>
                <c:pt idx="4897">
                  <c:v>13.602777777777778</c:v>
                </c:pt>
                <c:pt idx="4898">
                  <c:v>13.605555555555556</c:v>
                </c:pt>
                <c:pt idx="4899">
                  <c:v>13.608333333333333</c:v>
                </c:pt>
                <c:pt idx="4900">
                  <c:v>13.611111111111111</c:v>
                </c:pt>
                <c:pt idx="4901">
                  <c:v>13.613888888888889</c:v>
                </c:pt>
                <c:pt idx="4902">
                  <c:v>13.616666666666667</c:v>
                </c:pt>
                <c:pt idx="4903">
                  <c:v>13.619444444444444</c:v>
                </c:pt>
                <c:pt idx="4904">
                  <c:v>13.622222222222222</c:v>
                </c:pt>
                <c:pt idx="4905">
                  <c:v>13.625</c:v>
                </c:pt>
                <c:pt idx="4906">
                  <c:v>13.627777777777778</c:v>
                </c:pt>
                <c:pt idx="4907">
                  <c:v>13.630555555555556</c:v>
                </c:pt>
                <c:pt idx="4908">
                  <c:v>13.633333333333333</c:v>
                </c:pt>
                <c:pt idx="4909">
                  <c:v>13.636111111111111</c:v>
                </c:pt>
                <c:pt idx="4910">
                  <c:v>13.638888888888889</c:v>
                </c:pt>
                <c:pt idx="4911">
                  <c:v>13.641666666666667</c:v>
                </c:pt>
                <c:pt idx="4912">
                  <c:v>13.644444444444444</c:v>
                </c:pt>
                <c:pt idx="4913">
                  <c:v>13.647222222222222</c:v>
                </c:pt>
                <c:pt idx="4914">
                  <c:v>13.65</c:v>
                </c:pt>
                <c:pt idx="4915">
                  <c:v>13.652777777777779</c:v>
                </c:pt>
                <c:pt idx="4916">
                  <c:v>13.655555555555555</c:v>
                </c:pt>
                <c:pt idx="4917">
                  <c:v>13.658333333333333</c:v>
                </c:pt>
                <c:pt idx="4918">
                  <c:v>13.661111111111111</c:v>
                </c:pt>
                <c:pt idx="4919">
                  <c:v>13.66388888888889</c:v>
                </c:pt>
                <c:pt idx="4920">
                  <c:v>13.666666666666666</c:v>
                </c:pt>
                <c:pt idx="4921">
                  <c:v>13.669444444444444</c:v>
                </c:pt>
                <c:pt idx="4922">
                  <c:v>13.672222222222222</c:v>
                </c:pt>
                <c:pt idx="4923">
                  <c:v>13.675000000000001</c:v>
                </c:pt>
                <c:pt idx="4924">
                  <c:v>13.677777777777777</c:v>
                </c:pt>
                <c:pt idx="4925">
                  <c:v>13.680555555555555</c:v>
                </c:pt>
                <c:pt idx="4926">
                  <c:v>13.683333333333334</c:v>
                </c:pt>
                <c:pt idx="4927">
                  <c:v>13.686111111111112</c:v>
                </c:pt>
                <c:pt idx="4928">
                  <c:v>13.688888888888888</c:v>
                </c:pt>
                <c:pt idx="4929">
                  <c:v>13.691666666666666</c:v>
                </c:pt>
                <c:pt idx="4930">
                  <c:v>13.694444444444445</c:v>
                </c:pt>
                <c:pt idx="4931">
                  <c:v>13.697222222222223</c:v>
                </c:pt>
                <c:pt idx="4932">
                  <c:v>13.7</c:v>
                </c:pt>
                <c:pt idx="4933">
                  <c:v>13.702777777777778</c:v>
                </c:pt>
                <c:pt idx="4934">
                  <c:v>13.705555555555556</c:v>
                </c:pt>
                <c:pt idx="4935">
                  <c:v>13.708333333333334</c:v>
                </c:pt>
                <c:pt idx="4936">
                  <c:v>13.71111111111111</c:v>
                </c:pt>
                <c:pt idx="4937">
                  <c:v>13.713888888888889</c:v>
                </c:pt>
                <c:pt idx="4938">
                  <c:v>13.716666666666667</c:v>
                </c:pt>
                <c:pt idx="4939">
                  <c:v>13.719444444444445</c:v>
                </c:pt>
                <c:pt idx="4940">
                  <c:v>13.722222222222221</c:v>
                </c:pt>
                <c:pt idx="4941">
                  <c:v>13.725</c:v>
                </c:pt>
                <c:pt idx="4942">
                  <c:v>13.727777777777778</c:v>
                </c:pt>
                <c:pt idx="4943">
                  <c:v>13.730555555555556</c:v>
                </c:pt>
                <c:pt idx="4944">
                  <c:v>13.733333333333333</c:v>
                </c:pt>
                <c:pt idx="4945">
                  <c:v>13.736111111111111</c:v>
                </c:pt>
                <c:pt idx="4946">
                  <c:v>13.738888888888889</c:v>
                </c:pt>
                <c:pt idx="4947">
                  <c:v>13.741666666666667</c:v>
                </c:pt>
                <c:pt idx="4948">
                  <c:v>13.744444444444444</c:v>
                </c:pt>
                <c:pt idx="4949">
                  <c:v>13.747222222222222</c:v>
                </c:pt>
                <c:pt idx="4950">
                  <c:v>13.75</c:v>
                </c:pt>
                <c:pt idx="4951">
                  <c:v>13.752777777777778</c:v>
                </c:pt>
                <c:pt idx="4952">
                  <c:v>13.755555555555556</c:v>
                </c:pt>
                <c:pt idx="4953">
                  <c:v>13.758333333333333</c:v>
                </c:pt>
                <c:pt idx="4954">
                  <c:v>13.761111111111111</c:v>
                </c:pt>
                <c:pt idx="4955">
                  <c:v>13.763888888888889</c:v>
                </c:pt>
                <c:pt idx="4956">
                  <c:v>13.766666666666667</c:v>
                </c:pt>
                <c:pt idx="4957">
                  <c:v>13.769444444444444</c:v>
                </c:pt>
                <c:pt idx="4958">
                  <c:v>13.772222222222222</c:v>
                </c:pt>
                <c:pt idx="4959">
                  <c:v>13.775</c:v>
                </c:pt>
                <c:pt idx="4960">
                  <c:v>13.777777777777779</c:v>
                </c:pt>
                <c:pt idx="4961">
                  <c:v>13.780555555555555</c:v>
                </c:pt>
                <c:pt idx="4962">
                  <c:v>13.783333333333333</c:v>
                </c:pt>
                <c:pt idx="4963">
                  <c:v>13.786111111111111</c:v>
                </c:pt>
                <c:pt idx="4964">
                  <c:v>13.78888888888889</c:v>
                </c:pt>
                <c:pt idx="4965">
                  <c:v>13.791666666666666</c:v>
                </c:pt>
                <c:pt idx="4966">
                  <c:v>13.794444444444444</c:v>
                </c:pt>
                <c:pt idx="4967">
                  <c:v>13.797222222222222</c:v>
                </c:pt>
                <c:pt idx="4968">
                  <c:v>13.8</c:v>
                </c:pt>
                <c:pt idx="4969">
                  <c:v>13.802777777777777</c:v>
                </c:pt>
                <c:pt idx="4970">
                  <c:v>13.805555555555555</c:v>
                </c:pt>
                <c:pt idx="4971">
                  <c:v>13.808333333333334</c:v>
                </c:pt>
                <c:pt idx="4972">
                  <c:v>13.811111111111112</c:v>
                </c:pt>
                <c:pt idx="4973">
                  <c:v>13.813888888888888</c:v>
                </c:pt>
                <c:pt idx="4974">
                  <c:v>13.816666666666666</c:v>
                </c:pt>
                <c:pt idx="4975">
                  <c:v>13.819444444444445</c:v>
                </c:pt>
                <c:pt idx="4976">
                  <c:v>13.822222222222223</c:v>
                </c:pt>
                <c:pt idx="4977">
                  <c:v>13.824999999999999</c:v>
                </c:pt>
                <c:pt idx="4978">
                  <c:v>13.827777777777778</c:v>
                </c:pt>
                <c:pt idx="4979">
                  <c:v>13.830555555555556</c:v>
                </c:pt>
                <c:pt idx="4980">
                  <c:v>13.833333333333334</c:v>
                </c:pt>
                <c:pt idx="4981">
                  <c:v>13.83611111111111</c:v>
                </c:pt>
                <c:pt idx="4982">
                  <c:v>13.838888888888889</c:v>
                </c:pt>
                <c:pt idx="4983">
                  <c:v>13.841666666666667</c:v>
                </c:pt>
                <c:pt idx="4984">
                  <c:v>13.844444444444445</c:v>
                </c:pt>
                <c:pt idx="4985">
                  <c:v>13.847222222222221</c:v>
                </c:pt>
                <c:pt idx="4986">
                  <c:v>13.85</c:v>
                </c:pt>
                <c:pt idx="4987">
                  <c:v>13.852777777777778</c:v>
                </c:pt>
                <c:pt idx="4988">
                  <c:v>13.855555555555556</c:v>
                </c:pt>
                <c:pt idx="4989">
                  <c:v>13.858333333333333</c:v>
                </c:pt>
                <c:pt idx="4990">
                  <c:v>13.861111111111111</c:v>
                </c:pt>
                <c:pt idx="4991">
                  <c:v>13.863888888888889</c:v>
                </c:pt>
                <c:pt idx="4992">
                  <c:v>13.866666666666667</c:v>
                </c:pt>
                <c:pt idx="4993">
                  <c:v>13.869444444444444</c:v>
                </c:pt>
                <c:pt idx="4994">
                  <c:v>13.872222222222222</c:v>
                </c:pt>
                <c:pt idx="4995">
                  <c:v>13.875</c:v>
                </c:pt>
                <c:pt idx="4996">
                  <c:v>13.877777777777778</c:v>
                </c:pt>
                <c:pt idx="4997">
                  <c:v>13.880555555555556</c:v>
                </c:pt>
                <c:pt idx="4998">
                  <c:v>13.883333333333333</c:v>
                </c:pt>
                <c:pt idx="4999">
                  <c:v>13.886111111111111</c:v>
                </c:pt>
                <c:pt idx="5000">
                  <c:v>13.888888888888889</c:v>
                </c:pt>
                <c:pt idx="5001">
                  <c:v>13.891666666666667</c:v>
                </c:pt>
                <c:pt idx="5002">
                  <c:v>13.894444444444444</c:v>
                </c:pt>
                <c:pt idx="5003">
                  <c:v>13.897222222222222</c:v>
                </c:pt>
                <c:pt idx="5004">
                  <c:v>13.9</c:v>
                </c:pt>
                <c:pt idx="5005">
                  <c:v>13.902777777777779</c:v>
                </c:pt>
                <c:pt idx="5006">
                  <c:v>13.905555555555555</c:v>
                </c:pt>
                <c:pt idx="5007">
                  <c:v>13.908333333333333</c:v>
                </c:pt>
                <c:pt idx="5008">
                  <c:v>13.911111111111111</c:v>
                </c:pt>
                <c:pt idx="5009">
                  <c:v>13.91388888888889</c:v>
                </c:pt>
                <c:pt idx="5010">
                  <c:v>13.916666666666666</c:v>
                </c:pt>
                <c:pt idx="5011">
                  <c:v>13.919444444444444</c:v>
                </c:pt>
                <c:pt idx="5012">
                  <c:v>13.922222222222222</c:v>
                </c:pt>
                <c:pt idx="5013">
                  <c:v>13.925000000000001</c:v>
                </c:pt>
                <c:pt idx="5014">
                  <c:v>13.927777777777777</c:v>
                </c:pt>
                <c:pt idx="5015">
                  <c:v>13.930555555555555</c:v>
                </c:pt>
                <c:pt idx="5016">
                  <c:v>13.933333333333334</c:v>
                </c:pt>
                <c:pt idx="5017">
                  <c:v>13.936111111111112</c:v>
                </c:pt>
                <c:pt idx="5018">
                  <c:v>13.938888888888888</c:v>
                </c:pt>
                <c:pt idx="5019">
                  <c:v>13.941666666666666</c:v>
                </c:pt>
                <c:pt idx="5020">
                  <c:v>13.944444444444445</c:v>
                </c:pt>
                <c:pt idx="5021">
                  <c:v>13.947222222222223</c:v>
                </c:pt>
                <c:pt idx="5022">
                  <c:v>13.95</c:v>
                </c:pt>
                <c:pt idx="5023">
                  <c:v>13.952777777777778</c:v>
                </c:pt>
                <c:pt idx="5024">
                  <c:v>13.955555555555556</c:v>
                </c:pt>
                <c:pt idx="5025">
                  <c:v>13.958333333333334</c:v>
                </c:pt>
                <c:pt idx="5026">
                  <c:v>13.96111111111111</c:v>
                </c:pt>
                <c:pt idx="5027">
                  <c:v>13.963888888888889</c:v>
                </c:pt>
                <c:pt idx="5028">
                  <c:v>13.966666666666667</c:v>
                </c:pt>
                <c:pt idx="5029">
                  <c:v>13.969444444444445</c:v>
                </c:pt>
                <c:pt idx="5030">
                  <c:v>13.972222222222221</c:v>
                </c:pt>
                <c:pt idx="5031">
                  <c:v>13.975</c:v>
                </c:pt>
                <c:pt idx="5032">
                  <c:v>13.977777777777778</c:v>
                </c:pt>
                <c:pt idx="5033">
                  <c:v>13.980555555555556</c:v>
                </c:pt>
                <c:pt idx="5034">
                  <c:v>13.983333333333333</c:v>
                </c:pt>
                <c:pt idx="5035">
                  <c:v>13.986111111111111</c:v>
                </c:pt>
                <c:pt idx="5036">
                  <c:v>13.988888888888889</c:v>
                </c:pt>
                <c:pt idx="5037">
                  <c:v>13.991666666666667</c:v>
                </c:pt>
                <c:pt idx="5038">
                  <c:v>13.994444444444444</c:v>
                </c:pt>
                <c:pt idx="5039">
                  <c:v>13.997222222222222</c:v>
                </c:pt>
                <c:pt idx="5040">
                  <c:v>14</c:v>
                </c:pt>
                <c:pt idx="5041">
                  <c:v>14.002777777777778</c:v>
                </c:pt>
                <c:pt idx="5042">
                  <c:v>14.005555555555556</c:v>
                </c:pt>
                <c:pt idx="5043">
                  <c:v>14.008333333333333</c:v>
                </c:pt>
                <c:pt idx="5044">
                  <c:v>14.011111111111111</c:v>
                </c:pt>
                <c:pt idx="5045">
                  <c:v>14.013888888888889</c:v>
                </c:pt>
                <c:pt idx="5046">
                  <c:v>14.016666666666667</c:v>
                </c:pt>
                <c:pt idx="5047">
                  <c:v>14.019444444444444</c:v>
                </c:pt>
                <c:pt idx="5048">
                  <c:v>14.022222222222222</c:v>
                </c:pt>
                <c:pt idx="5049">
                  <c:v>14.025</c:v>
                </c:pt>
                <c:pt idx="5050">
                  <c:v>14.027777777777779</c:v>
                </c:pt>
                <c:pt idx="5051">
                  <c:v>14.030555555555555</c:v>
                </c:pt>
                <c:pt idx="5052">
                  <c:v>14.033333333333333</c:v>
                </c:pt>
                <c:pt idx="5053">
                  <c:v>14.036111111111111</c:v>
                </c:pt>
                <c:pt idx="5054">
                  <c:v>14.03888888888889</c:v>
                </c:pt>
                <c:pt idx="5055">
                  <c:v>14.041666666666666</c:v>
                </c:pt>
                <c:pt idx="5056">
                  <c:v>14.044444444444444</c:v>
                </c:pt>
                <c:pt idx="5057">
                  <c:v>14.047222222222222</c:v>
                </c:pt>
                <c:pt idx="5058">
                  <c:v>14.05</c:v>
                </c:pt>
                <c:pt idx="5059">
                  <c:v>14.052777777777777</c:v>
                </c:pt>
                <c:pt idx="5060">
                  <c:v>14.055555555555555</c:v>
                </c:pt>
                <c:pt idx="5061">
                  <c:v>14.058333333333334</c:v>
                </c:pt>
                <c:pt idx="5062">
                  <c:v>14.061111111111112</c:v>
                </c:pt>
                <c:pt idx="5063">
                  <c:v>14.063888888888888</c:v>
                </c:pt>
                <c:pt idx="5064">
                  <c:v>14.066666666666666</c:v>
                </c:pt>
                <c:pt idx="5065">
                  <c:v>14.069444444444445</c:v>
                </c:pt>
                <c:pt idx="5066">
                  <c:v>14.072222222222223</c:v>
                </c:pt>
                <c:pt idx="5067">
                  <c:v>14.074999999999999</c:v>
                </c:pt>
                <c:pt idx="5068">
                  <c:v>14.077777777777778</c:v>
                </c:pt>
                <c:pt idx="5069">
                  <c:v>14.080555555555556</c:v>
                </c:pt>
                <c:pt idx="5070">
                  <c:v>14.083333333333334</c:v>
                </c:pt>
                <c:pt idx="5071">
                  <c:v>14.08611111111111</c:v>
                </c:pt>
                <c:pt idx="5072">
                  <c:v>14.088888888888889</c:v>
                </c:pt>
                <c:pt idx="5073">
                  <c:v>14.091666666666667</c:v>
                </c:pt>
                <c:pt idx="5074">
                  <c:v>14.094444444444445</c:v>
                </c:pt>
                <c:pt idx="5075">
                  <c:v>14.097222222222221</c:v>
                </c:pt>
                <c:pt idx="5076">
                  <c:v>14.1</c:v>
                </c:pt>
                <c:pt idx="5077">
                  <c:v>14.102777777777778</c:v>
                </c:pt>
                <c:pt idx="5078">
                  <c:v>14.105555555555556</c:v>
                </c:pt>
                <c:pt idx="5079">
                  <c:v>14.108333333333333</c:v>
                </c:pt>
                <c:pt idx="5080">
                  <c:v>14.111111111111111</c:v>
                </c:pt>
                <c:pt idx="5081">
                  <c:v>14.113888888888889</c:v>
                </c:pt>
                <c:pt idx="5082">
                  <c:v>14.116666666666667</c:v>
                </c:pt>
                <c:pt idx="5083">
                  <c:v>14.119444444444444</c:v>
                </c:pt>
                <c:pt idx="5084">
                  <c:v>14.122222222222222</c:v>
                </c:pt>
                <c:pt idx="5085">
                  <c:v>14.125</c:v>
                </c:pt>
                <c:pt idx="5086">
                  <c:v>14.127777777777778</c:v>
                </c:pt>
                <c:pt idx="5087">
                  <c:v>14.130555555555556</c:v>
                </c:pt>
                <c:pt idx="5088">
                  <c:v>14.133333333333333</c:v>
                </c:pt>
                <c:pt idx="5089">
                  <c:v>14.136111111111111</c:v>
                </c:pt>
                <c:pt idx="5090">
                  <c:v>14.138888888888889</c:v>
                </c:pt>
                <c:pt idx="5091">
                  <c:v>14.141666666666667</c:v>
                </c:pt>
                <c:pt idx="5092">
                  <c:v>14.144444444444444</c:v>
                </c:pt>
                <c:pt idx="5093">
                  <c:v>14.147222222222222</c:v>
                </c:pt>
                <c:pt idx="5094">
                  <c:v>14.15</c:v>
                </c:pt>
                <c:pt idx="5095">
                  <c:v>14.152777777777779</c:v>
                </c:pt>
                <c:pt idx="5096">
                  <c:v>14.155555555555555</c:v>
                </c:pt>
                <c:pt idx="5097">
                  <c:v>14.158333333333333</c:v>
                </c:pt>
                <c:pt idx="5098">
                  <c:v>14.161111111111111</c:v>
                </c:pt>
                <c:pt idx="5099">
                  <c:v>14.16388888888889</c:v>
                </c:pt>
                <c:pt idx="5100">
                  <c:v>14.166666666666666</c:v>
                </c:pt>
                <c:pt idx="5101">
                  <c:v>14.169444444444444</c:v>
                </c:pt>
                <c:pt idx="5102">
                  <c:v>14.172222222222222</c:v>
                </c:pt>
                <c:pt idx="5103">
                  <c:v>14.175000000000001</c:v>
                </c:pt>
                <c:pt idx="5104">
                  <c:v>14.177777777777777</c:v>
                </c:pt>
                <c:pt idx="5105">
                  <c:v>14.180555555555555</c:v>
                </c:pt>
                <c:pt idx="5106">
                  <c:v>14.183333333333334</c:v>
                </c:pt>
                <c:pt idx="5107">
                  <c:v>14.186111111111112</c:v>
                </c:pt>
                <c:pt idx="5108">
                  <c:v>14.188888888888888</c:v>
                </c:pt>
                <c:pt idx="5109">
                  <c:v>14.191666666666666</c:v>
                </c:pt>
                <c:pt idx="5110">
                  <c:v>14.194444444444445</c:v>
                </c:pt>
                <c:pt idx="5111">
                  <c:v>14.197222222222223</c:v>
                </c:pt>
                <c:pt idx="5112">
                  <c:v>14.2</c:v>
                </c:pt>
                <c:pt idx="5113">
                  <c:v>14.202777777777778</c:v>
                </c:pt>
                <c:pt idx="5114">
                  <c:v>14.205555555555556</c:v>
                </c:pt>
                <c:pt idx="5115">
                  <c:v>14.208333333333334</c:v>
                </c:pt>
                <c:pt idx="5116">
                  <c:v>14.21111111111111</c:v>
                </c:pt>
                <c:pt idx="5117">
                  <c:v>14.213888888888889</c:v>
                </c:pt>
                <c:pt idx="5118">
                  <c:v>14.216666666666667</c:v>
                </c:pt>
                <c:pt idx="5119">
                  <c:v>14.219444444444445</c:v>
                </c:pt>
                <c:pt idx="5120">
                  <c:v>14.222222222222221</c:v>
                </c:pt>
                <c:pt idx="5121">
                  <c:v>14.225</c:v>
                </c:pt>
                <c:pt idx="5122">
                  <c:v>14.227777777777778</c:v>
                </c:pt>
                <c:pt idx="5123">
                  <c:v>14.230555555555556</c:v>
                </c:pt>
                <c:pt idx="5124">
                  <c:v>14.233333333333333</c:v>
                </c:pt>
                <c:pt idx="5125">
                  <c:v>14.236111111111111</c:v>
                </c:pt>
                <c:pt idx="5126">
                  <c:v>14.238888888888889</c:v>
                </c:pt>
                <c:pt idx="5127">
                  <c:v>14.241666666666667</c:v>
                </c:pt>
                <c:pt idx="5128">
                  <c:v>14.244444444444444</c:v>
                </c:pt>
                <c:pt idx="5129">
                  <c:v>14.247222222222222</c:v>
                </c:pt>
                <c:pt idx="5130">
                  <c:v>14.25</c:v>
                </c:pt>
                <c:pt idx="5131">
                  <c:v>14.252777777777778</c:v>
                </c:pt>
                <c:pt idx="5132">
                  <c:v>14.255555555555556</c:v>
                </c:pt>
                <c:pt idx="5133">
                  <c:v>14.258333333333333</c:v>
                </c:pt>
                <c:pt idx="5134">
                  <c:v>14.261111111111111</c:v>
                </c:pt>
                <c:pt idx="5135">
                  <c:v>14.263888888888889</c:v>
                </c:pt>
                <c:pt idx="5136">
                  <c:v>14.266666666666667</c:v>
                </c:pt>
                <c:pt idx="5137">
                  <c:v>14.269444444444444</c:v>
                </c:pt>
                <c:pt idx="5138">
                  <c:v>14.272222222222222</c:v>
                </c:pt>
                <c:pt idx="5139">
                  <c:v>14.275</c:v>
                </c:pt>
                <c:pt idx="5140">
                  <c:v>14.277777777777779</c:v>
                </c:pt>
                <c:pt idx="5141">
                  <c:v>14.280555555555555</c:v>
                </c:pt>
                <c:pt idx="5142">
                  <c:v>14.283333333333333</c:v>
                </c:pt>
                <c:pt idx="5143">
                  <c:v>14.286111111111111</c:v>
                </c:pt>
                <c:pt idx="5144">
                  <c:v>14.28888888888889</c:v>
                </c:pt>
                <c:pt idx="5145">
                  <c:v>14.291666666666666</c:v>
                </c:pt>
                <c:pt idx="5146">
                  <c:v>14.294444444444444</c:v>
                </c:pt>
                <c:pt idx="5147">
                  <c:v>14.297222222222222</c:v>
                </c:pt>
                <c:pt idx="5148">
                  <c:v>14.3</c:v>
                </c:pt>
                <c:pt idx="5149">
                  <c:v>14.302777777777777</c:v>
                </c:pt>
                <c:pt idx="5150">
                  <c:v>14.305555555555555</c:v>
                </c:pt>
                <c:pt idx="5151">
                  <c:v>14.308333333333334</c:v>
                </c:pt>
                <c:pt idx="5152">
                  <c:v>14.311111111111112</c:v>
                </c:pt>
                <c:pt idx="5153">
                  <c:v>14.313888888888888</c:v>
                </c:pt>
                <c:pt idx="5154">
                  <c:v>14.316666666666666</c:v>
                </c:pt>
                <c:pt idx="5155">
                  <c:v>14.319444444444445</c:v>
                </c:pt>
                <c:pt idx="5156">
                  <c:v>14.322222222222223</c:v>
                </c:pt>
                <c:pt idx="5157">
                  <c:v>14.324999999999999</c:v>
                </c:pt>
                <c:pt idx="5158">
                  <c:v>14.327777777777778</c:v>
                </c:pt>
                <c:pt idx="5159">
                  <c:v>14.330555555555556</c:v>
                </c:pt>
                <c:pt idx="5160">
                  <c:v>14.333333333333334</c:v>
                </c:pt>
                <c:pt idx="5161">
                  <c:v>14.33611111111111</c:v>
                </c:pt>
                <c:pt idx="5162">
                  <c:v>14.338888888888889</c:v>
                </c:pt>
                <c:pt idx="5163">
                  <c:v>14.341666666666667</c:v>
                </c:pt>
                <c:pt idx="5164">
                  <c:v>14.344444444444445</c:v>
                </c:pt>
                <c:pt idx="5165">
                  <c:v>14.347222222222221</c:v>
                </c:pt>
                <c:pt idx="5166">
                  <c:v>14.35</c:v>
                </c:pt>
                <c:pt idx="5167">
                  <c:v>14.352777777777778</c:v>
                </c:pt>
                <c:pt idx="5168">
                  <c:v>14.355555555555556</c:v>
                </c:pt>
                <c:pt idx="5169">
                  <c:v>14.358333333333333</c:v>
                </c:pt>
                <c:pt idx="5170">
                  <c:v>14.361111111111111</c:v>
                </c:pt>
                <c:pt idx="5171">
                  <c:v>14.363888888888889</c:v>
                </c:pt>
                <c:pt idx="5172">
                  <c:v>14.366666666666667</c:v>
                </c:pt>
                <c:pt idx="5173">
                  <c:v>14.369444444444444</c:v>
                </c:pt>
                <c:pt idx="5174">
                  <c:v>14.372222222222222</c:v>
                </c:pt>
                <c:pt idx="5175">
                  <c:v>14.375</c:v>
                </c:pt>
                <c:pt idx="5176">
                  <c:v>14.377777777777778</c:v>
                </c:pt>
                <c:pt idx="5177">
                  <c:v>14.380555555555556</c:v>
                </c:pt>
                <c:pt idx="5178">
                  <c:v>14.383333333333333</c:v>
                </c:pt>
                <c:pt idx="5179">
                  <c:v>14.386111111111111</c:v>
                </c:pt>
                <c:pt idx="5180">
                  <c:v>14.388888888888889</c:v>
                </c:pt>
                <c:pt idx="5181">
                  <c:v>14.391666666666667</c:v>
                </c:pt>
                <c:pt idx="5182">
                  <c:v>14.394444444444444</c:v>
                </c:pt>
                <c:pt idx="5183">
                  <c:v>14.397222222222222</c:v>
                </c:pt>
                <c:pt idx="5184">
                  <c:v>14.4</c:v>
                </c:pt>
                <c:pt idx="5185">
                  <c:v>14.402777777777779</c:v>
                </c:pt>
                <c:pt idx="5186">
                  <c:v>14.405555555555555</c:v>
                </c:pt>
                <c:pt idx="5187">
                  <c:v>14.408333333333333</c:v>
                </c:pt>
                <c:pt idx="5188">
                  <c:v>14.411111111111111</c:v>
                </c:pt>
                <c:pt idx="5189">
                  <c:v>14.41388888888889</c:v>
                </c:pt>
                <c:pt idx="5190">
                  <c:v>14.416666666666666</c:v>
                </c:pt>
                <c:pt idx="5191">
                  <c:v>14.419444444444444</c:v>
                </c:pt>
                <c:pt idx="5192">
                  <c:v>14.422222222222222</c:v>
                </c:pt>
                <c:pt idx="5193">
                  <c:v>14.425000000000001</c:v>
                </c:pt>
                <c:pt idx="5194">
                  <c:v>14.427777777777777</c:v>
                </c:pt>
                <c:pt idx="5195">
                  <c:v>14.430555555555555</c:v>
                </c:pt>
                <c:pt idx="5196">
                  <c:v>14.433333333333334</c:v>
                </c:pt>
                <c:pt idx="5197">
                  <c:v>14.436111111111112</c:v>
                </c:pt>
                <c:pt idx="5198">
                  <c:v>14.438888888888888</c:v>
                </c:pt>
                <c:pt idx="5199">
                  <c:v>14.441666666666666</c:v>
                </c:pt>
                <c:pt idx="5200">
                  <c:v>14.444444444444445</c:v>
                </c:pt>
                <c:pt idx="5201">
                  <c:v>14.447222222222223</c:v>
                </c:pt>
                <c:pt idx="5202">
                  <c:v>14.45</c:v>
                </c:pt>
                <c:pt idx="5203">
                  <c:v>14.452777777777778</c:v>
                </c:pt>
                <c:pt idx="5204">
                  <c:v>14.455555555555556</c:v>
                </c:pt>
                <c:pt idx="5205">
                  <c:v>14.458333333333334</c:v>
                </c:pt>
                <c:pt idx="5206">
                  <c:v>14.46111111111111</c:v>
                </c:pt>
                <c:pt idx="5207">
                  <c:v>14.463888888888889</c:v>
                </c:pt>
                <c:pt idx="5208">
                  <c:v>14.466666666666667</c:v>
                </c:pt>
                <c:pt idx="5209">
                  <c:v>14.469444444444445</c:v>
                </c:pt>
                <c:pt idx="5210">
                  <c:v>14.472222222222221</c:v>
                </c:pt>
                <c:pt idx="5211">
                  <c:v>14.475</c:v>
                </c:pt>
                <c:pt idx="5212">
                  <c:v>14.477777777777778</c:v>
                </c:pt>
                <c:pt idx="5213">
                  <c:v>14.480555555555556</c:v>
                </c:pt>
                <c:pt idx="5214">
                  <c:v>14.483333333333333</c:v>
                </c:pt>
                <c:pt idx="5215">
                  <c:v>14.486111111111111</c:v>
                </c:pt>
                <c:pt idx="5216">
                  <c:v>14.488888888888889</c:v>
                </c:pt>
                <c:pt idx="5217">
                  <c:v>14.491666666666667</c:v>
                </c:pt>
                <c:pt idx="5218">
                  <c:v>14.494444444444444</c:v>
                </c:pt>
                <c:pt idx="5219">
                  <c:v>14.497222222222222</c:v>
                </c:pt>
                <c:pt idx="5220">
                  <c:v>14.5</c:v>
                </c:pt>
                <c:pt idx="5221">
                  <c:v>14.502777777777778</c:v>
                </c:pt>
                <c:pt idx="5222">
                  <c:v>14.505555555555556</c:v>
                </c:pt>
                <c:pt idx="5223">
                  <c:v>14.508333333333333</c:v>
                </c:pt>
                <c:pt idx="5224">
                  <c:v>14.511111111111111</c:v>
                </c:pt>
                <c:pt idx="5225">
                  <c:v>14.513888888888889</c:v>
                </c:pt>
                <c:pt idx="5226">
                  <c:v>14.516666666666667</c:v>
                </c:pt>
                <c:pt idx="5227">
                  <c:v>14.519444444444444</c:v>
                </c:pt>
                <c:pt idx="5228">
                  <c:v>14.522222222222222</c:v>
                </c:pt>
                <c:pt idx="5229">
                  <c:v>14.525</c:v>
                </c:pt>
                <c:pt idx="5230">
                  <c:v>14.527777777777779</c:v>
                </c:pt>
                <c:pt idx="5231">
                  <c:v>14.530555555555555</c:v>
                </c:pt>
                <c:pt idx="5232">
                  <c:v>14.533333333333333</c:v>
                </c:pt>
                <c:pt idx="5233">
                  <c:v>14.536111111111111</c:v>
                </c:pt>
                <c:pt idx="5234">
                  <c:v>14.53888888888889</c:v>
                </c:pt>
                <c:pt idx="5235">
                  <c:v>14.541666666666666</c:v>
                </c:pt>
                <c:pt idx="5236">
                  <c:v>14.544444444444444</c:v>
                </c:pt>
                <c:pt idx="5237">
                  <c:v>14.547222222222222</c:v>
                </c:pt>
                <c:pt idx="5238">
                  <c:v>14.55</c:v>
                </c:pt>
                <c:pt idx="5239">
                  <c:v>14.552777777777777</c:v>
                </c:pt>
                <c:pt idx="5240">
                  <c:v>14.555555555555555</c:v>
                </c:pt>
                <c:pt idx="5241">
                  <c:v>14.558333333333334</c:v>
                </c:pt>
                <c:pt idx="5242">
                  <c:v>14.561111111111112</c:v>
                </c:pt>
                <c:pt idx="5243">
                  <c:v>14.563888888888888</c:v>
                </c:pt>
                <c:pt idx="5244">
                  <c:v>14.566666666666666</c:v>
                </c:pt>
                <c:pt idx="5245">
                  <c:v>14.569444444444445</c:v>
                </c:pt>
                <c:pt idx="5246">
                  <c:v>14.572222222222223</c:v>
                </c:pt>
                <c:pt idx="5247">
                  <c:v>14.574999999999999</c:v>
                </c:pt>
                <c:pt idx="5248">
                  <c:v>14.577777777777778</c:v>
                </c:pt>
                <c:pt idx="5249">
                  <c:v>14.580555555555556</c:v>
                </c:pt>
                <c:pt idx="5250">
                  <c:v>14.583333333333334</c:v>
                </c:pt>
                <c:pt idx="5251">
                  <c:v>14.58611111111111</c:v>
                </c:pt>
                <c:pt idx="5252">
                  <c:v>14.588888888888889</c:v>
                </c:pt>
                <c:pt idx="5253">
                  <c:v>14.591666666666667</c:v>
                </c:pt>
                <c:pt idx="5254">
                  <c:v>14.594444444444445</c:v>
                </c:pt>
                <c:pt idx="5255">
                  <c:v>14.597222222222221</c:v>
                </c:pt>
                <c:pt idx="5256">
                  <c:v>14.6</c:v>
                </c:pt>
                <c:pt idx="5257">
                  <c:v>14.602777777777778</c:v>
                </c:pt>
                <c:pt idx="5258">
                  <c:v>14.605555555555556</c:v>
                </c:pt>
                <c:pt idx="5259">
                  <c:v>14.608333333333333</c:v>
                </c:pt>
                <c:pt idx="5260">
                  <c:v>14.611111111111111</c:v>
                </c:pt>
                <c:pt idx="5261">
                  <c:v>14.613888888888889</c:v>
                </c:pt>
                <c:pt idx="5262">
                  <c:v>14.616666666666667</c:v>
                </c:pt>
                <c:pt idx="5263">
                  <c:v>14.619444444444444</c:v>
                </c:pt>
                <c:pt idx="5264">
                  <c:v>14.622222222222222</c:v>
                </c:pt>
                <c:pt idx="5265">
                  <c:v>14.625</c:v>
                </c:pt>
                <c:pt idx="5266">
                  <c:v>14.627777777777778</c:v>
                </c:pt>
                <c:pt idx="5267">
                  <c:v>14.630555555555556</c:v>
                </c:pt>
                <c:pt idx="5268">
                  <c:v>14.633333333333333</c:v>
                </c:pt>
                <c:pt idx="5269">
                  <c:v>14.636111111111111</c:v>
                </c:pt>
                <c:pt idx="5270">
                  <c:v>14.638888888888889</c:v>
                </c:pt>
                <c:pt idx="5271">
                  <c:v>14.641666666666667</c:v>
                </c:pt>
                <c:pt idx="5272">
                  <c:v>14.644444444444444</c:v>
                </c:pt>
                <c:pt idx="5273">
                  <c:v>14.647222222222222</c:v>
                </c:pt>
                <c:pt idx="5274">
                  <c:v>14.65</c:v>
                </c:pt>
                <c:pt idx="5275">
                  <c:v>14.652777777777779</c:v>
                </c:pt>
                <c:pt idx="5276">
                  <c:v>14.655555555555555</c:v>
                </c:pt>
                <c:pt idx="5277">
                  <c:v>14.658333333333333</c:v>
                </c:pt>
                <c:pt idx="5278">
                  <c:v>14.661111111111111</c:v>
                </c:pt>
                <c:pt idx="5279">
                  <c:v>14.66388888888889</c:v>
                </c:pt>
                <c:pt idx="5280">
                  <c:v>14.666666666666666</c:v>
                </c:pt>
                <c:pt idx="5281">
                  <c:v>14.669444444444444</c:v>
                </c:pt>
                <c:pt idx="5282">
                  <c:v>14.672222222222222</c:v>
                </c:pt>
                <c:pt idx="5283">
                  <c:v>14.675000000000001</c:v>
                </c:pt>
                <c:pt idx="5284">
                  <c:v>14.677777777777777</c:v>
                </c:pt>
                <c:pt idx="5285">
                  <c:v>14.680555555555555</c:v>
                </c:pt>
                <c:pt idx="5286">
                  <c:v>14.683333333333334</c:v>
                </c:pt>
                <c:pt idx="5287">
                  <c:v>14.686111111111112</c:v>
                </c:pt>
                <c:pt idx="5288">
                  <c:v>14.688888888888888</c:v>
                </c:pt>
                <c:pt idx="5289">
                  <c:v>14.691666666666666</c:v>
                </c:pt>
                <c:pt idx="5290">
                  <c:v>14.694444444444445</c:v>
                </c:pt>
                <c:pt idx="5291">
                  <c:v>14.697222222222223</c:v>
                </c:pt>
                <c:pt idx="5292">
                  <c:v>14.7</c:v>
                </c:pt>
                <c:pt idx="5293">
                  <c:v>14.702777777777778</c:v>
                </c:pt>
                <c:pt idx="5294">
                  <c:v>14.705555555555556</c:v>
                </c:pt>
                <c:pt idx="5295">
                  <c:v>14.708333333333334</c:v>
                </c:pt>
                <c:pt idx="5296">
                  <c:v>14.71111111111111</c:v>
                </c:pt>
                <c:pt idx="5297">
                  <c:v>14.713888888888889</c:v>
                </c:pt>
                <c:pt idx="5298">
                  <c:v>14.716666666666667</c:v>
                </c:pt>
                <c:pt idx="5299">
                  <c:v>14.719444444444445</c:v>
                </c:pt>
                <c:pt idx="5300">
                  <c:v>14.722222222222221</c:v>
                </c:pt>
                <c:pt idx="5301">
                  <c:v>14.725</c:v>
                </c:pt>
                <c:pt idx="5302">
                  <c:v>14.727777777777778</c:v>
                </c:pt>
                <c:pt idx="5303">
                  <c:v>14.730555555555556</c:v>
                </c:pt>
                <c:pt idx="5304">
                  <c:v>14.733333333333333</c:v>
                </c:pt>
                <c:pt idx="5305">
                  <c:v>14.736111111111111</c:v>
                </c:pt>
                <c:pt idx="5306">
                  <c:v>14.738888888888889</c:v>
                </c:pt>
                <c:pt idx="5307">
                  <c:v>14.741666666666667</c:v>
                </c:pt>
                <c:pt idx="5308">
                  <c:v>14.744444444444444</c:v>
                </c:pt>
                <c:pt idx="5309">
                  <c:v>14.747222222222222</c:v>
                </c:pt>
                <c:pt idx="5310">
                  <c:v>14.75</c:v>
                </c:pt>
                <c:pt idx="5311">
                  <c:v>14.752777777777778</c:v>
                </c:pt>
                <c:pt idx="5312">
                  <c:v>14.755555555555556</c:v>
                </c:pt>
                <c:pt idx="5313">
                  <c:v>14.758333333333333</c:v>
                </c:pt>
                <c:pt idx="5314">
                  <c:v>14.761111111111111</c:v>
                </c:pt>
                <c:pt idx="5315">
                  <c:v>14.763888888888889</c:v>
                </c:pt>
                <c:pt idx="5316">
                  <c:v>14.766666666666667</c:v>
                </c:pt>
                <c:pt idx="5317">
                  <c:v>14.769444444444444</c:v>
                </c:pt>
                <c:pt idx="5318">
                  <c:v>14.772222222222222</c:v>
                </c:pt>
                <c:pt idx="5319">
                  <c:v>14.775</c:v>
                </c:pt>
                <c:pt idx="5320">
                  <c:v>14.777777777777779</c:v>
                </c:pt>
                <c:pt idx="5321">
                  <c:v>14.780555555555555</c:v>
                </c:pt>
                <c:pt idx="5322">
                  <c:v>14.783333333333333</c:v>
                </c:pt>
                <c:pt idx="5323">
                  <c:v>14.786111111111111</c:v>
                </c:pt>
                <c:pt idx="5324">
                  <c:v>14.78888888888889</c:v>
                </c:pt>
                <c:pt idx="5325">
                  <c:v>14.791666666666666</c:v>
                </c:pt>
                <c:pt idx="5326">
                  <c:v>14.794444444444444</c:v>
                </c:pt>
                <c:pt idx="5327">
                  <c:v>14.797222222222222</c:v>
                </c:pt>
                <c:pt idx="5328">
                  <c:v>14.8</c:v>
                </c:pt>
                <c:pt idx="5329">
                  <c:v>14.802777777777777</c:v>
                </c:pt>
                <c:pt idx="5330">
                  <c:v>14.805555555555555</c:v>
                </c:pt>
                <c:pt idx="5331">
                  <c:v>14.808333333333334</c:v>
                </c:pt>
                <c:pt idx="5332">
                  <c:v>14.811111111111112</c:v>
                </c:pt>
                <c:pt idx="5333">
                  <c:v>14.813888888888888</c:v>
                </c:pt>
                <c:pt idx="5334">
                  <c:v>14.816666666666666</c:v>
                </c:pt>
                <c:pt idx="5335">
                  <c:v>14.819444444444445</c:v>
                </c:pt>
                <c:pt idx="5336">
                  <c:v>14.822222222222223</c:v>
                </c:pt>
                <c:pt idx="5337">
                  <c:v>14.824999999999999</c:v>
                </c:pt>
                <c:pt idx="5338">
                  <c:v>14.827777777777778</c:v>
                </c:pt>
                <c:pt idx="5339">
                  <c:v>14.830555555555556</c:v>
                </c:pt>
                <c:pt idx="5340">
                  <c:v>14.833333333333334</c:v>
                </c:pt>
                <c:pt idx="5341">
                  <c:v>14.83611111111111</c:v>
                </c:pt>
                <c:pt idx="5342">
                  <c:v>14.838888888888889</c:v>
                </c:pt>
                <c:pt idx="5343">
                  <c:v>14.841666666666667</c:v>
                </c:pt>
                <c:pt idx="5344">
                  <c:v>14.844444444444445</c:v>
                </c:pt>
                <c:pt idx="5345">
                  <c:v>14.847222222222221</c:v>
                </c:pt>
                <c:pt idx="5346">
                  <c:v>14.85</c:v>
                </c:pt>
                <c:pt idx="5347">
                  <c:v>14.852777777777778</c:v>
                </c:pt>
                <c:pt idx="5348">
                  <c:v>14.855555555555556</c:v>
                </c:pt>
                <c:pt idx="5349">
                  <c:v>14.858333333333333</c:v>
                </c:pt>
                <c:pt idx="5350">
                  <c:v>14.861111111111111</c:v>
                </c:pt>
                <c:pt idx="5351">
                  <c:v>14.863888888888889</c:v>
                </c:pt>
                <c:pt idx="5352">
                  <c:v>14.866666666666667</c:v>
                </c:pt>
                <c:pt idx="5353">
                  <c:v>14.869444444444444</c:v>
                </c:pt>
                <c:pt idx="5354">
                  <c:v>14.872222222222222</c:v>
                </c:pt>
                <c:pt idx="5355">
                  <c:v>14.875</c:v>
                </c:pt>
                <c:pt idx="5356">
                  <c:v>14.877777777777778</c:v>
                </c:pt>
                <c:pt idx="5357">
                  <c:v>14.880555555555556</c:v>
                </c:pt>
                <c:pt idx="5358">
                  <c:v>14.883333333333333</c:v>
                </c:pt>
                <c:pt idx="5359">
                  <c:v>14.886111111111111</c:v>
                </c:pt>
                <c:pt idx="5360">
                  <c:v>14.888888888888889</c:v>
                </c:pt>
                <c:pt idx="5361">
                  <c:v>14.891666666666667</c:v>
                </c:pt>
                <c:pt idx="5362">
                  <c:v>14.894444444444444</c:v>
                </c:pt>
                <c:pt idx="5363">
                  <c:v>14.897222222222222</c:v>
                </c:pt>
                <c:pt idx="5364">
                  <c:v>14.9</c:v>
                </c:pt>
                <c:pt idx="5365">
                  <c:v>14.902777777777779</c:v>
                </c:pt>
                <c:pt idx="5366">
                  <c:v>14.905555555555555</c:v>
                </c:pt>
                <c:pt idx="5367">
                  <c:v>14.908333333333333</c:v>
                </c:pt>
                <c:pt idx="5368">
                  <c:v>14.911111111111111</c:v>
                </c:pt>
                <c:pt idx="5369">
                  <c:v>14.91388888888889</c:v>
                </c:pt>
                <c:pt idx="5370">
                  <c:v>14.916666666666666</c:v>
                </c:pt>
                <c:pt idx="5371">
                  <c:v>14.919444444444444</c:v>
                </c:pt>
                <c:pt idx="5372">
                  <c:v>14.922222222222222</c:v>
                </c:pt>
                <c:pt idx="5373">
                  <c:v>14.925000000000001</c:v>
                </c:pt>
                <c:pt idx="5374">
                  <c:v>14.927777777777777</c:v>
                </c:pt>
                <c:pt idx="5375">
                  <c:v>14.930555555555555</c:v>
                </c:pt>
                <c:pt idx="5376">
                  <c:v>14.933333333333334</c:v>
                </c:pt>
                <c:pt idx="5377">
                  <c:v>14.936111111111112</c:v>
                </c:pt>
                <c:pt idx="5378">
                  <c:v>14.938888888888888</c:v>
                </c:pt>
                <c:pt idx="5379">
                  <c:v>14.941666666666666</c:v>
                </c:pt>
                <c:pt idx="5380">
                  <c:v>14.944444444444445</c:v>
                </c:pt>
                <c:pt idx="5381">
                  <c:v>14.947222222222223</c:v>
                </c:pt>
                <c:pt idx="5382">
                  <c:v>14.95</c:v>
                </c:pt>
                <c:pt idx="5383">
                  <c:v>14.952777777777778</c:v>
                </c:pt>
                <c:pt idx="5384">
                  <c:v>14.955555555555556</c:v>
                </c:pt>
                <c:pt idx="5385">
                  <c:v>14.958333333333334</c:v>
                </c:pt>
                <c:pt idx="5386">
                  <c:v>14.96111111111111</c:v>
                </c:pt>
                <c:pt idx="5387">
                  <c:v>14.963888888888889</c:v>
                </c:pt>
                <c:pt idx="5388">
                  <c:v>14.966666666666667</c:v>
                </c:pt>
                <c:pt idx="5389">
                  <c:v>14.969444444444445</c:v>
                </c:pt>
                <c:pt idx="5390">
                  <c:v>14.972222222222221</c:v>
                </c:pt>
                <c:pt idx="5391">
                  <c:v>14.975</c:v>
                </c:pt>
                <c:pt idx="5392">
                  <c:v>14.977777777777778</c:v>
                </c:pt>
                <c:pt idx="5393">
                  <c:v>14.980555555555556</c:v>
                </c:pt>
                <c:pt idx="5394">
                  <c:v>14.983333333333333</c:v>
                </c:pt>
                <c:pt idx="5395">
                  <c:v>14.986111111111111</c:v>
                </c:pt>
                <c:pt idx="5396">
                  <c:v>14.988888888888889</c:v>
                </c:pt>
                <c:pt idx="5397">
                  <c:v>14.991666666666667</c:v>
                </c:pt>
                <c:pt idx="5398">
                  <c:v>14.994444444444444</c:v>
                </c:pt>
                <c:pt idx="5399">
                  <c:v>14.997222222222222</c:v>
                </c:pt>
                <c:pt idx="5400">
                  <c:v>15</c:v>
                </c:pt>
                <c:pt idx="5401">
                  <c:v>15.002777777777778</c:v>
                </c:pt>
                <c:pt idx="5402">
                  <c:v>15.005555555555556</c:v>
                </c:pt>
                <c:pt idx="5403">
                  <c:v>15.008333333333333</c:v>
                </c:pt>
                <c:pt idx="5404">
                  <c:v>15.011111111111111</c:v>
                </c:pt>
                <c:pt idx="5405">
                  <c:v>15.013888888888889</c:v>
                </c:pt>
                <c:pt idx="5406">
                  <c:v>15.016666666666667</c:v>
                </c:pt>
                <c:pt idx="5407">
                  <c:v>15.019444444444444</c:v>
                </c:pt>
                <c:pt idx="5408">
                  <c:v>15.022222222222222</c:v>
                </c:pt>
                <c:pt idx="5409">
                  <c:v>15.025</c:v>
                </c:pt>
                <c:pt idx="5410">
                  <c:v>15.027777777777779</c:v>
                </c:pt>
                <c:pt idx="5411">
                  <c:v>15.030555555555555</c:v>
                </c:pt>
                <c:pt idx="5412">
                  <c:v>15.033333333333333</c:v>
                </c:pt>
                <c:pt idx="5413">
                  <c:v>15.036111111111111</c:v>
                </c:pt>
                <c:pt idx="5414">
                  <c:v>15.03888888888889</c:v>
                </c:pt>
                <c:pt idx="5415">
                  <c:v>15.041666666666666</c:v>
                </c:pt>
                <c:pt idx="5416">
                  <c:v>15.044444444444444</c:v>
                </c:pt>
                <c:pt idx="5417">
                  <c:v>15.047222222222222</c:v>
                </c:pt>
                <c:pt idx="5418">
                  <c:v>15.05</c:v>
                </c:pt>
                <c:pt idx="5419">
                  <c:v>15.052777777777777</c:v>
                </c:pt>
                <c:pt idx="5420">
                  <c:v>15.055555555555555</c:v>
                </c:pt>
                <c:pt idx="5421">
                  <c:v>15.058333333333334</c:v>
                </c:pt>
                <c:pt idx="5422">
                  <c:v>15.061111111111112</c:v>
                </c:pt>
                <c:pt idx="5423">
                  <c:v>15.063888888888888</c:v>
                </c:pt>
                <c:pt idx="5424">
                  <c:v>15.066666666666666</c:v>
                </c:pt>
                <c:pt idx="5425">
                  <c:v>15.069444444444445</c:v>
                </c:pt>
                <c:pt idx="5426">
                  <c:v>15.072222222222223</c:v>
                </c:pt>
                <c:pt idx="5427">
                  <c:v>15.074999999999999</c:v>
                </c:pt>
                <c:pt idx="5428">
                  <c:v>15.077777777777778</c:v>
                </c:pt>
                <c:pt idx="5429">
                  <c:v>15.080555555555556</c:v>
                </c:pt>
                <c:pt idx="5430">
                  <c:v>15.083333333333334</c:v>
                </c:pt>
                <c:pt idx="5431">
                  <c:v>15.08611111111111</c:v>
                </c:pt>
                <c:pt idx="5432">
                  <c:v>15.088888888888889</c:v>
                </c:pt>
                <c:pt idx="5433">
                  <c:v>15.091666666666667</c:v>
                </c:pt>
                <c:pt idx="5434">
                  <c:v>15.094444444444445</c:v>
                </c:pt>
                <c:pt idx="5435">
                  <c:v>15.097222222222221</c:v>
                </c:pt>
                <c:pt idx="5436">
                  <c:v>15.1</c:v>
                </c:pt>
                <c:pt idx="5437">
                  <c:v>15.102777777777778</c:v>
                </c:pt>
                <c:pt idx="5438">
                  <c:v>15.105555555555556</c:v>
                </c:pt>
                <c:pt idx="5439">
                  <c:v>15.108333333333333</c:v>
                </c:pt>
                <c:pt idx="5440">
                  <c:v>15.111111111111111</c:v>
                </c:pt>
                <c:pt idx="5441">
                  <c:v>15.113888888888889</c:v>
                </c:pt>
                <c:pt idx="5442">
                  <c:v>15.116666666666667</c:v>
                </c:pt>
                <c:pt idx="5443">
                  <c:v>15.119444444444444</c:v>
                </c:pt>
                <c:pt idx="5444">
                  <c:v>15.122222222222222</c:v>
                </c:pt>
                <c:pt idx="5445">
                  <c:v>15.125</c:v>
                </c:pt>
                <c:pt idx="5446">
                  <c:v>15.127777777777778</c:v>
                </c:pt>
                <c:pt idx="5447">
                  <c:v>15.130555555555556</c:v>
                </c:pt>
                <c:pt idx="5448">
                  <c:v>15.133333333333333</c:v>
                </c:pt>
                <c:pt idx="5449">
                  <c:v>15.136111111111111</c:v>
                </c:pt>
                <c:pt idx="5450">
                  <c:v>15.138888888888889</c:v>
                </c:pt>
                <c:pt idx="5451">
                  <c:v>15.141666666666667</c:v>
                </c:pt>
                <c:pt idx="5452">
                  <c:v>15.144444444444444</c:v>
                </c:pt>
                <c:pt idx="5453">
                  <c:v>15.147222222222222</c:v>
                </c:pt>
                <c:pt idx="5454">
                  <c:v>15.15</c:v>
                </c:pt>
                <c:pt idx="5455">
                  <c:v>15.152777777777779</c:v>
                </c:pt>
                <c:pt idx="5456">
                  <c:v>15.155555555555555</c:v>
                </c:pt>
                <c:pt idx="5457">
                  <c:v>15.158333333333333</c:v>
                </c:pt>
                <c:pt idx="5458">
                  <c:v>15.161111111111111</c:v>
                </c:pt>
                <c:pt idx="5459">
                  <c:v>15.16388888888889</c:v>
                </c:pt>
                <c:pt idx="5460">
                  <c:v>15.166666666666666</c:v>
                </c:pt>
                <c:pt idx="5461">
                  <c:v>15.169444444444444</c:v>
                </c:pt>
                <c:pt idx="5462">
                  <c:v>15.172222222222222</c:v>
                </c:pt>
                <c:pt idx="5463">
                  <c:v>15.175000000000001</c:v>
                </c:pt>
                <c:pt idx="5464">
                  <c:v>15.177777777777777</c:v>
                </c:pt>
                <c:pt idx="5465">
                  <c:v>15.180555555555555</c:v>
                </c:pt>
                <c:pt idx="5466">
                  <c:v>15.183333333333334</c:v>
                </c:pt>
                <c:pt idx="5467">
                  <c:v>15.186111111111112</c:v>
                </c:pt>
                <c:pt idx="5468">
                  <c:v>15.188888888888888</c:v>
                </c:pt>
                <c:pt idx="5469">
                  <c:v>15.191666666666666</c:v>
                </c:pt>
                <c:pt idx="5470">
                  <c:v>15.194444444444445</c:v>
                </c:pt>
                <c:pt idx="5471">
                  <c:v>15.197222222222223</c:v>
                </c:pt>
                <c:pt idx="5472">
                  <c:v>15.2</c:v>
                </c:pt>
                <c:pt idx="5473">
                  <c:v>15.202777777777778</c:v>
                </c:pt>
                <c:pt idx="5474">
                  <c:v>15.205555555555556</c:v>
                </c:pt>
                <c:pt idx="5475">
                  <c:v>15.208333333333334</c:v>
                </c:pt>
                <c:pt idx="5476">
                  <c:v>15.21111111111111</c:v>
                </c:pt>
                <c:pt idx="5477">
                  <c:v>15.213888888888889</c:v>
                </c:pt>
                <c:pt idx="5478">
                  <c:v>15.216666666666667</c:v>
                </c:pt>
                <c:pt idx="5479">
                  <c:v>15.219444444444445</c:v>
                </c:pt>
                <c:pt idx="5480">
                  <c:v>15.222222222222221</c:v>
                </c:pt>
                <c:pt idx="5481">
                  <c:v>15.225</c:v>
                </c:pt>
                <c:pt idx="5482">
                  <c:v>15.227777777777778</c:v>
                </c:pt>
                <c:pt idx="5483">
                  <c:v>15.230555555555556</c:v>
                </c:pt>
                <c:pt idx="5484">
                  <c:v>15.233333333333333</c:v>
                </c:pt>
                <c:pt idx="5485">
                  <c:v>15.236111111111111</c:v>
                </c:pt>
                <c:pt idx="5486">
                  <c:v>15.238888888888889</c:v>
                </c:pt>
                <c:pt idx="5487">
                  <c:v>15.241666666666667</c:v>
                </c:pt>
                <c:pt idx="5488">
                  <c:v>15.244444444444444</c:v>
                </c:pt>
                <c:pt idx="5489">
                  <c:v>15.247222222222222</c:v>
                </c:pt>
                <c:pt idx="5490">
                  <c:v>15.25</c:v>
                </c:pt>
                <c:pt idx="5491">
                  <c:v>15.252777777777778</c:v>
                </c:pt>
                <c:pt idx="5492">
                  <c:v>15.255555555555556</c:v>
                </c:pt>
                <c:pt idx="5493">
                  <c:v>15.258333333333333</c:v>
                </c:pt>
                <c:pt idx="5494">
                  <c:v>15.261111111111111</c:v>
                </c:pt>
                <c:pt idx="5495">
                  <c:v>15.263888888888889</c:v>
                </c:pt>
                <c:pt idx="5496">
                  <c:v>15.266666666666667</c:v>
                </c:pt>
                <c:pt idx="5497">
                  <c:v>15.269444444444444</c:v>
                </c:pt>
                <c:pt idx="5498">
                  <c:v>15.272222222222222</c:v>
                </c:pt>
                <c:pt idx="5499">
                  <c:v>15.275</c:v>
                </c:pt>
                <c:pt idx="5500">
                  <c:v>15.277777777777779</c:v>
                </c:pt>
                <c:pt idx="5501">
                  <c:v>15.280555555555555</c:v>
                </c:pt>
                <c:pt idx="5502">
                  <c:v>15.283333333333333</c:v>
                </c:pt>
                <c:pt idx="5503">
                  <c:v>15.286111111111111</c:v>
                </c:pt>
                <c:pt idx="5504">
                  <c:v>15.28888888888889</c:v>
                </c:pt>
                <c:pt idx="5505">
                  <c:v>15.291666666666666</c:v>
                </c:pt>
                <c:pt idx="5506">
                  <c:v>15.294444444444444</c:v>
                </c:pt>
                <c:pt idx="5507">
                  <c:v>15.297222222222222</c:v>
                </c:pt>
                <c:pt idx="5508">
                  <c:v>15.3</c:v>
                </c:pt>
                <c:pt idx="5509">
                  <c:v>15.302777777777777</c:v>
                </c:pt>
                <c:pt idx="5510">
                  <c:v>15.305555555555555</c:v>
                </c:pt>
                <c:pt idx="5511">
                  <c:v>15.308333333333334</c:v>
                </c:pt>
                <c:pt idx="5512">
                  <c:v>15.311111111111112</c:v>
                </c:pt>
                <c:pt idx="5513">
                  <c:v>15.313888888888888</c:v>
                </c:pt>
                <c:pt idx="5514">
                  <c:v>15.316666666666666</c:v>
                </c:pt>
                <c:pt idx="5515">
                  <c:v>15.319444444444445</c:v>
                </c:pt>
                <c:pt idx="5516">
                  <c:v>15.322222222222223</c:v>
                </c:pt>
                <c:pt idx="5517">
                  <c:v>15.324999999999999</c:v>
                </c:pt>
                <c:pt idx="5518">
                  <c:v>15.327777777777778</c:v>
                </c:pt>
                <c:pt idx="5519">
                  <c:v>15.330555555555556</c:v>
                </c:pt>
                <c:pt idx="5520">
                  <c:v>15.333333333333334</c:v>
                </c:pt>
                <c:pt idx="5521">
                  <c:v>15.33611111111111</c:v>
                </c:pt>
                <c:pt idx="5522">
                  <c:v>15.338888888888889</c:v>
                </c:pt>
                <c:pt idx="5523">
                  <c:v>15.341666666666667</c:v>
                </c:pt>
                <c:pt idx="5524">
                  <c:v>15.344444444444445</c:v>
                </c:pt>
                <c:pt idx="5525">
                  <c:v>15.347222222222221</c:v>
                </c:pt>
                <c:pt idx="5526">
                  <c:v>15.35</c:v>
                </c:pt>
                <c:pt idx="5527">
                  <c:v>15.352777777777778</c:v>
                </c:pt>
                <c:pt idx="5528">
                  <c:v>15.355555555555556</c:v>
                </c:pt>
                <c:pt idx="5529">
                  <c:v>15.358333333333333</c:v>
                </c:pt>
                <c:pt idx="5530">
                  <c:v>15.361111111111111</c:v>
                </c:pt>
                <c:pt idx="5531">
                  <c:v>15.363888888888889</c:v>
                </c:pt>
                <c:pt idx="5532">
                  <c:v>15.366666666666667</c:v>
                </c:pt>
                <c:pt idx="5533">
                  <c:v>15.369444444444444</c:v>
                </c:pt>
                <c:pt idx="5534">
                  <c:v>15.372222222222222</c:v>
                </c:pt>
                <c:pt idx="5535">
                  <c:v>15.375</c:v>
                </c:pt>
                <c:pt idx="5536">
                  <c:v>15.377777777777778</c:v>
                </c:pt>
                <c:pt idx="5537">
                  <c:v>15.380555555555556</c:v>
                </c:pt>
                <c:pt idx="5538">
                  <c:v>15.383333333333333</c:v>
                </c:pt>
                <c:pt idx="5539">
                  <c:v>15.386111111111111</c:v>
                </c:pt>
                <c:pt idx="5540">
                  <c:v>15.388888888888889</c:v>
                </c:pt>
                <c:pt idx="5541">
                  <c:v>15.391666666666667</c:v>
                </c:pt>
                <c:pt idx="5542">
                  <c:v>15.394444444444444</c:v>
                </c:pt>
                <c:pt idx="5543">
                  <c:v>15.397222222222222</c:v>
                </c:pt>
                <c:pt idx="5544">
                  <c:v>15.4</c:v>
                </c:pt>
                <c:pt idx="5545">
                  <c:v>15.402777777777779</c:v>
                </c:pt>
                <c:pt idx="5546">
                  <c:v>15.405555555555555</c:v>
                </c:pt>
                <c:pt idx="5547">
                  <c:v>15.408333333333333</c:v>
                </c:pt>
                <c:pt idx="5548">
                  <c:v>15.411111111111111</c:v>
                </c:pt>
                <c:pt idx="5549">
                  <c:v>15.41388888888889</c:v>
                </c:pt>
                <c:pt idx="5550">
                  <c:v>15.416666666666666</c:v>
                </c:pt>
                <c:pt idx="5551">
                  <c:v>15.419444444444444</c:v>
                </c:pt>
                <c:pt idx="5552">
                  <c:v>15.422222222222222</c:v>
                </c:pt>
                <c:pt idx="5553">
                  <c:v>15.425000000000001</c:v>
                </c:pt>
                <c:pt idx="5554">
                  <c:v>15.427777777777777</c:v>
                </c:pt>
                <c:pt idx="5555">
                  <c:v>15.430555555555555</c:v>
                </c:pt>
                <c:pt idx="5556">
                  <c:v>15.433333333333334</c:v>
                </c:pt>
                <c:pt idx="5557">
                  <c:v>15.436111111111112</c:v>
                </c:pt>
                <c:pt idx="5558">
                  <c:v>15.438888888888888</c:v>
                </c:pt>
                <c:pt idx="5559">
                  <c:v>15.441666666666666</c:v>
                </c:pt>
                <c:pt idx="5560">
                  <c:v>15.444444444444445</c:v>
                </c:pt>
                <c:pt idx="5561">
                  <c:v>15.447222222222223</c:v>
                </c:pt>
                <c:pt idx="5562">
                  <c:v>15.45</c:v>
                </c:pt>
                <c:pt idx="5563">
                  <c:v>15.452777777777778</c:v>
                </c:pt>
                <c:pt idx="5564">
                  <c:v>15.455555555555556</c:v>
                </c:pt>
                <c:pt idx="5565">
                  <c:v>15.458333333333334</c:v>
                </c:pt>
                <c:pt idx="5566">
                  <c:v>15.46111111111111</c:v>
                </c:pt>
                <c:pt idx="5567">
                  <c:v>15.463888888888889</c:v>
                </c:pt>
                <c:pt idx="5568">
                  <c:v>15.466666666666667</c:v>
                </c:pt>
                <c:pt idx="5569">
                  <c:v>15.469444444444445</c:v>
                </c:pt>
                <c:pt idx="5570">
                  <c:v>15.472222222222221</c:v>
                </c:pt>
                <c:pt idx="5571">
                  <c:v>15.475</c:v>
                </c:pt>
                <c:pt idx="5572">
                  <c:v>15.477777777777778</c:v>
                </c:pt>
                <c:pt idx="5573">
                  <c:v>15.480555555555556</c:v>
                </c:pt>
                <c:pt idx="5574">
                  <c:v>15.483333333333333</c:v>
                </c:pt>
                <c:pt idx="5575">
                  <c:v>15.486111111111111</c:v>
                </c:pt>
                <c:pt idx="5576">
                  <c:v>15.488888888888889</c:v>
                </c:pt>
                <c:pt idx="5577">
                  <c:v>15.491666666666667</c:v>
                </c:pt>
                <c:pt idx="5578">
                  <c:v>15.494444444444444</c:v>
                </c:pt>
                <c:pt idx="5579">
                  <c:v>15.497222222222222</c:v>
                </c:pt>
                <c:pt idx="5580">
                  <c:v>15.5</c:v>
                </c:pt>
                <c:pt idx="5581">
                  <c:v>15.502777777777778</c:v>
                </c:pt>
                <c:pt idx="5582">
                  <c:v>15.505555555555556</c:v>
                </c:pt>
                <c:pt idx="5583">
                  <c:v>15.508333333333333</c:v>
                </c:pt>
                <c:pt idx="5584">
                  <c:v>15.511111111111111</c:v>
                </c:pt>
                <c:pt idx="5585">
                  <c:v>15.513888888888889</c:v>
                </c:pt>
                <c:pt idx="5586">
                  <c:v>15.516666666666667</c:v>
                </c:pt>
                <c:pt idx="5587">
                  <c:v>15.519444444444444</c:v>
                </c:pt>
                <c:pt idx="5588">
                  <c:v>15.522222222222222</c:v>
                </c:pt>
                <c:pt idx="5589">
                  <c:v>15.525</c:v>
                </c:pt>
                <c:pt idx="5590">
                  <c:v>15.527777777777779</c:v>
                </c:pt>
                <c:pt idx="5591">
                  <c:v>15.530555555555555</c:v>
                </c:pt>
                <c:pt idx="5592">
                  <c:v>15.533333333333333</c:v>
                </c:pt>
                <c:pt idx="5593">
                  <c:v>15.536111111111111</c:v>
                </c:pt>
                <c:pt idx="5594">
                  <c:v>15.53888888888889</c:v>
                </c:pt>
                <c:pt idx="5595">
                  <c:v>15.541666666666666</c:v>
                </c:pt>
                <c:pt idx="5596">
                  <c:v>15.544444444444444</c:v>
                </c:pt>
                <c:pt idx="5597">
                  <c:v>15.547222222222222</c:v>
                </c:pt>
                <c:pt idx="5598">
                  <c:v>15.55</c:v>
                </c:pt>
                <c:pt idx="5599">
                  <c:v>15.552777777777777</c:v>
                </c:pt>
                <c:pt idx="5600">
                  <c:v>15.555555555555555</c:v>
                </c:pt>
                <c:pt idx="5601">
                  <c:v>15.558333333333334</c:v>
                </c:pt>
                <c:pt idx="5602">
                  <c:v>15.561111111111112</c:v>
                </c:pt>
                <c:pt idx="5603">
                  <c:v>15.563888888888888</c:v>
                </c:pt>
                <c:pt idx="5604">
                  <c:v>15.566666666666666</c:v>
                </c:pt>
                <c:pt idx="5605">
                  <c:v>15.569444444444445</c:v>
                </c:pt>
                <c:pt idx="5606">
                  <c:v>15.572222222222223</c:v>
                </c:pt>
                <c:pt idx="5607">
                  <c:v>15.574999999999999</c:v>
                </c:pt>
                <c:pt idx="5608">
                  <c:v>15.577777777777778</c:v>
                </c:pt>
                <c:pt idx="5609">
                  <c:v>15.580555555555556</c:v>
                </c:pt>
                <c:pt idx="5610">
                  <c:v>15.583333333333334</c:v>
                </c:pt>
                <c:pt idx="5611">
                  <c:v>15.58611111111111</c:v>
                </c:pt>
                <c:pt idx="5612">
                  <c:v>15.588888888888889</c:v>
                </c:pt>
                <c:pt idx="5613">
                  <c:v>15.591666666666667</c:v>
                </c:pt>
                <c:pt idx="5614">
                  <c:v>15.594444444444445</c:v>
                </c:pt>
                <c:pt idx="5615">
                  <c:v>15.597222222222221</c:v>
                </c:pt>
                <c:pt idx="5616">
                  <c:v>15.6</c:v>
                </c:pt>
                <c:pt idx="5617">
                  <c:v>15.602777777777778</c:v>
                </c:pt>
                <c:pt idx="5618">
                  <c:v>15.605555555555556</c:v>
                </c:pt>
                <c:pt idx="5619">
                  <c:v>15.608333333333333</c:v>
                </c:pt>
                <c:pt idx="5620">
                  <c:v>15.611111111111111</c:v>
                </c:pt>
                <c:pt idx="5621">
                  <c:v>15.613888888888889</c:v>
                </c:pt>
                <c:pt idx="5622">
                  <c:v>15.616666666666667</c:v>
                </c:pt>
                <c:pt idx="5623">
                  <c:v>15.619444444444444</c:v>
                </c:pt>
                <c:pt idx="5624">
                  <c:v>15.622222222222222</c:v>
                </c:pt>
                <c:pt idx="5625">
                  <c:v>15.625</c:v>
                </c:pt>
                <c:pt idx="5626">
                  <c:v>15.627777777777778</c:v>
                </c:pt>
                <c:pt idx="5627">
                  <c:v>15.630555555555556</c:v>
                </c:pt>
                <c:pt idx="5628">
                  <c:v>15.633333333333333</c:v>
                </c:pt>
                <c:pt idx="5629">
                  <c:v>15.636111111111111</c:v>
                </c:pt>
                <c:pt idx="5630">
                  <c:v>15.638888888888889</c:v>
                </c:pt>
                <c:pt idx="5631">
                  <c:v>15.641666666666667</c:v>
                </c:pt>
                <c:pt idx="5632">
                  <c:v>15.644444444444444</c:v>
                </c:pt>
                <c:pt idx="5633">
                  <c:v>15.647222222222222</c:v>
                </c:pt>
                <c:pt idx="5634">
                  <c:v>15.65</c:v>
                </c:pt>
                <c:pt idx="5635">
                  <c:v>15.652777777777779</c:v>
                </c:pt>
                <c:pt idx="5636">
                  <c:v>15.655555555555555</c:v>
                </c:pt>
                <c:pt idx="5637">
                  <c:v>15.658333333333333</c:v>
                </c:pt>
                <c:pt idx="5638">
                  <c:v>15.661111111111111</c:v>
                </c:pt>
                <c:pt idx="5639">
                  <c:v>15.66388888888889</c:v>
                </c:pt>
                <c:pt idx="5640">
                  <c:v>15.666666666666666</c:v>
                </c:pt>
                <c:pt idx="5641">
                  <c:v>15.669444444444444</c:v>
                </c:pt>
                <c:pt idx="5642">
                  <c:v>15.672222222222222</c:v>
                </c:pt>
                <c:pt idx="5643">
                  <c:v>15.675000000000001</c:v>
                </c:pt>
                <c:pt idx="5644">
                  <c:v>15.677777777777777</c:v>
                </c:pt>
                <c:pt idx="5645">
                  <c:v>15.680555555555555</c:v>
                </c:pt>
                <c:pt idx="5646">
                  <c:v>15.683333333333334</c:v>
                </c:pt>
                <c:pt idx="5647">
                  <c:v>15.686111111111112</c:v>
                </c:pt>
                <c:pt idx="5648">
                  <c:v>15.688888888888888</c:v>
                </c:pt>
                <c:pt idx="5649">
                  <c:v>15.691666666666666</c:v>
                </c:pt>
                <c:pt idx="5650">
                  <c:v>15.694444444444445</c:v>
                </c:pt>
                <c:pt idx="5651">
                  <c:v>15.697222222222223</c:v>
                </c:pt>
                <c:pt idx="5652">
                  <c:v>15.7</c:v>
                </c:pt>
                <c:pt idx="5653">
                  <c:v>15.702777777777778</c:v>
                </c:pt>
                <c:pt idx="5654">
                  <c:v>15.705555555555556</c:v>
                </c:pt>
                <c:pt idx="5655">
                  <c:v>15.708333333333334</c:v>
                </c:pt>
                <c:pt idx="5656">
                  <c:v>15.71111111111111</c:v>
                </c:pt>
                <c:pt idx="5657">
                  <c:v>15.713888888888889</c:v>
                </c:pt>
                <c:pt idx="5658">
                  <c:v>15.716666666666667</c:v>
                </c:pt>
                <c:pt idx="5659">
                  <c:v>15.719444444444445</c:v>
                </c:pt>
                <c:pt idx="5660">
                  <c:v>15.722222222222221</c:v>
                </c:pt>
                <c:pt idx="5661">
                  <c:v>15.725</c:v>
                </c:pt>
                <c:pt idx="5662">
                  <c:v>15.727777777777778</c:v>
                </c:pt>
                <c:pt idx="5663">
                  <c:v>15.730555555555556</c:v>
                </c:pt>
                <c:pt idx="5664">
                  <c:v>15.733333333333333</c:v>
                </c:pt>
                <c:pt idx="5665">
                  <c:v>15.736111111111111</c:v>
                </c:pt>
                <c:pt idx="5666">
                  <c:v>15.738888888888889</c:v>
                </c:pt>
                <c:pt idx="5667">
                  <c:v>15.741666666666667</c:v>
                </c:pt>
                <c:pt idx="5668">
                  <c:v>15.744444444444444</c:v>
                </c:pt>
                <c:pt idx="5669">
                  <c:v>15.747222222222222</c:v>
                </c:pt>
                <c:pt idx="5670">
                  <c:v>15.75</c:v>
                </c:pt>
                <c:pt idx="5671">
                  <c:v>15.752777777777778</c:v>
                </c:pt>
                <c:pt idx="5672">
                  <c:v>15.755555555555556</c:v>
                </c:pt>
                <c:pt idx="5673">
                  <c:v>15.758333333333333</c:v>
                </c:pt>
                <c:pt idx="5674">
                  <c:v>15.761111111111111</c:v>
                </c:pt>
                <c:pt idx="5675">
                  <c:v>15.763888888888889</c:v>
                </c:pt>
                <c:pt idx="5676">
                  <c:v>15.766666666666667</c:v>
                </c:pt>
                <c:pt idx="5677">
                  <c:v>15.769444444444444</c:v>
                </c:pt>
                <c:pt idx="5678">
                  <c:v>15.772222222222222</c:v>
                </c:pt>
                <c:pt idx="5679">
                  <c:v>15.775</c:v>
                </c:pt>
                <c:pt idx="5680">
                  <c:v>15.777777777777779</c:v>
                </c:pt>
                <c:pt idx="5681">
                  <c:v>15.780555555555555</c:v>
                </c:pt>
                <c:pt idx="5682">
                  <c:v>15.783333333333333</c:v>
                </c:pt>
                <c:pt idx="5683">
                  <c:v>15.786111111111111</c:v>
                </c:pt>
                <c:pt idx="5684">
                  <c:v>15.78888888888889</c:v>
                </c:pt>
                <c:pt idx="5685">
                  <c:v>15.791666666666666</c:v>
                </c:pt>
                <c:pt idx="5686">
                  <c:v>15.794444444444444</c:v>
                </c:pt>
                <c:pt idx="5687">
                  <c:v>15.797222222222222</c:v>
                </c:pt>
                <c:pt idx="5688">
                  <c:v>15.8</c:v>
                </c:pt>
                <c:pt idx="5689">
                  <c:v>15.802777777777777</c:v>
                </c:pt>
                <c:pt idx="5690">
                  <c:v>15.805555555555555</c:v>
                </c:pt>
                <c:pt idx="5691">
                  <c:v>15.808333333333334</c:v>
                </c:pt>
                <c:pt idx="5692">
                  <c:v>15.811111111111112</c:v>
                </c:pt>
                <c:pt idx="5693">
                  <c:v>15.813888888888888</c:v>
                </c:pt>
                <c:pt idx="5694">
                  <c:v>15.816666666666666</c:v>
                </c:pt>
                <c:pt idx="5695">
                  <c:v>15.819444444444445</c:v>
                </c:pt>
                <c:pt idx="5696">
                  <c:v>15.822222222222223</c:v>
                </c:pt>
                <c:pt idx="5697">
                  <c:v>15.824999999999999</c:v>
                </c:pt>
                <c:pt idx="5698">
                  <c:v>15.827777777777778</c:v>
                </c:pt>
                <c:pt idx="5699">
                  <c:v>15.830555555555556</c:v>
                </c:pt>
                <c:pt idx="5700">
                  <c:v>15.833333333333334</c:v>
                </c:pt>
                <c:pt idx="5701">
                  <c:v>15.83611111111111</c:v>
                </c:pt>
                <c:pt idx="5702">
                  <c:v>15.838888888888889</c:v>
                </c:pt>
                <c:pt idx="5703">
                  <c:v>15.841666666666667</c:v>
                </c:pt>
                <c:pt idx="5704">
                  <c:v>15.844444444444445</c:v>
                </c:pt>
                <c:pt idx="5705">
                  <c:v>15.847222222222221</c:v>
                </c:pt>
                <c:pt idx="5706">
                  <c:v>15.85</c:v>
                </c:pt>
                <c:pt idx="5707">
                  <c:v>15.852777777777778</c:v>
                </c:pt>
                <c:pt idx="5708">
                  <c:v>15.855555555555556</c:v>
                </c:pt>
                <c:pt idx="5709">
                  <c:v>15.858333333333333</c:v>
                </c:pt>
                <c:pt idx="5710">
                  <c:v>15.861111111111111</c:v>
                </c:pt>
                <c:pt idx="5711">
                  <c:v>15.863888888888889</c:v>
                </c:pt>
                <c:pt idx="5712">
                  <c:v>15.866666666666667</c:v>
                </c:pt>
                <c:pt idx="5713">
                  <c:v>15.869444444444444</c:v>
                </c:pt>
                <c:pt idx="5714">
                  <c:v>15.872222222222222</c:v>
                </c:pt>
                <c:pt idx="5715">
                  <c:v>15.875</c:v>
                </c:pt>
                <c:pt idx="5716">
                  <c:v>15.877777777777778</c:v>
                </c:pt>
                <c:pt idx="5717">
                  <c:v>15.880555555555556</c:v>
                </c:pt>
                <c:pt idx="5718">
                  <c:v>15.883333333333333</c:v>
                </c:pt>
                <c:pt idx="5719">
                  <c:v>15.886111111111111</c:v>
                </c:pt>
                <c:pt idx="5720">
                  <c:v>15.888888888888889</c:v>
                </c:pt>
                <c:pt idx="5721">
                  <c:v>15.891666666666667</c:v>
                </c:pt>
                <c:pt idx="5722">
                  <c:v>15.894444444444444</c:v>
                </c:pt>
                <c:pt idx="5723">
                  <c:v>15.897222222222222</c:v>
                </c:pt>
                <c:pt idx="5724">
                  <c:v>15.9</c:v>
                </c:pt>
                <c:pt idx="5725">
                  <c:v>15.902777777777779</c:v>
                </c:pt>
                <c:pt idx="5726">
                  <c:v>15.905555555555555</c:v>
                </c:pt>
                <c:pt idx="5727">
                  <c:v>15.908333333333333</c:v>
                </c:pt>
                <c:pt idx="5728">
                  <c:v>15.911111111111111</c:v>
                </c:pt>
                <c:pt idx="5729">
                  <c:v>15.91388888888889</c:v>
                </c:pt>
                <c:pt idx="5730">
                  <c:v>15.916666666666666</c:v>
                </c:pt>
                <c:pt idx="5731">
                  <c:v>15.919444444444444</c:v>
                </c:pt>
                <c:pt idx="5732">
                  <c:v>15.922222222222222</c:v>
                </c:pt>
                <c:pt idx="5733">
                  <c:v>15.925000000000001</c:v>
                </c:pt>
                <c:pt idx="5734">
                  <c:v>15.927777777777777</c:v>
                </c:pt>
                <c:pt idx="5735">
                  <c:v>15.930555555555555</c:v>
                </c:pt>
                <c:pt idx="5736">
                  <c:v>15.933333333333334</c:v>
                </c:pt>
                <c:pt idx="5737">
                  <c:v>15.936111111111112</c:v>
                </c:pt>
                <c:pt idx="5738">
                  <c:v>15.938888888888888</c:v>
                </c:pt>
                <c:pt idx="5739">
                  <c:v>15.941666666666666</c:v>
                </c:pt>
                <c:pt idx="5740">
                  <c:v>15.944444444444445</c:v>
                </c:pt>
                <c:pt idx="5741">
                  <c:v>15.947222222222223</c:v>
                </c:pt>
                <c:pt idx="5742">
                  <c:v>15.95</c:v>
                </c:pt>
                <c:pt idx="5743">
                  <c:v>15.952777777777778</c:v>
                </c:pt>
                <c:pt idx="5744">
                  <c:v>15.955555555555556</c:v>
                </c:pt>
                <c:pt idx="5745">
                  <c:v>15.958333333333334</c:v>
                </c:pt>
                <c:pt idx="5746">
                  <c:v>15.96111111111111</c:v>
                </c:pt>
                <c:pt idx="5747">
                  <c:v>15.963888888888889</c:v>
                </c:pt>
                <c:pt idx="5748">
                  <c:v>15.966666666666667</c:v>
                </c:pt>
                <c:pt idx="5749">
                  <c:v>15.969444444444445</c:v>
                </c:pt>
                <c:pt idx="5750">
                  <c:v>15.972222222222221</c:v>
                </c:pt>
                <c:pt idx="5751">
                  <c:v>15.975</c:v>
                </c:pt>
                <c:pt idx="5752">
                  <c:v>15.977777777777778</c:v>
                </c:pt>
                <c:pt idx="5753">
                  <c:v>15.980555555555556</c:v>
                </c:pt>
                <c:pt idx="5754">
                  <c:v>15.983333333333333</c:v>
                </c:pt>
                <c:pt idx="5755">
                  <c:v>15.986111111111111</c:v>
                </c:pt>
                <c:pt idx="5756">
                  <c:v>15.988888888888889</c:v>
                </c:pt>
                <c:pt idx="5757">
                  <c:v>15.991666666666667</c:v>
                </c:pt>
                <c:pt idx="5758">
                  <c:v>15.994444444444444</c:v>
                </c:pt>
                <c:pt idx="5759">
                  <c:v>15.997222222222222</c:v>
                </c:pt>
                <c:pt idx="5760">
                  <c:v>16</c:v>
                </c:pt>
                <c:pt idx="5761">
                  <c:v>16.002777777777776</c:v>
                </c:pt>
                <c:pt idx="5762">
                  <c:v>16.005555555555556</c:v>
                </c:pt>
                <c:pt idx="5763">
                  <c:v>16.008333333333333</c:v>
                </c:pt>
                <c:pt idx="5764">
                  <c:v>16.011111111111113</c:v>
                </c:pt>
                <c:pt idx="5765">
                  <c:v>16.013888888888889</c:v>
                </c:pt>
                <c:pt idx="5766">
                  <c:v>16.016666666666666</c:v>
                </c:pt>
                <c:pt idx="5767">
                  <c:v>16.019444444444446</c:v>
                </c:pt>
                <c:pt idx="5768">
                  <c:v>16.022222222222222</c:v>
                </c:pt>
                <c:pt idx="5769">
                  <c:v>16.024999999999999</c:v>
                </c:pt>
                <c:pt idx="5770">
                  <c:v>16.027777777777779</c:v>
                </c:pt>
                <c:pt idx="5771">
                  <c:v>16.030555555555555</c:v>
                </c:pt>
                <c:pt idx="5772">
                  <c:v>16.033333333333335</c:v>
                </c:pt>
                <c:pt idx="5773">
                  <c:v>16.036111111111111</c:v>
                </c:pt>
                <c:pt idx="5774">
                  <c:v>16.038888888888888</c:v>
                </c:pt>
                <c:pt idx="5775">
                  <c:v>16.041666666666668</c:v>
                </c:pt>
                <c:pt idx="5776">
                  <c:v>16.044444444444444</c:v>
                </c:pt>
                <c:pt idx="5777">
                  <c:v>16.047222222222221</c:v>
                </c:pt>
                <c:pt idx="5778">
                  <c:v>16.05</c:v>
                </c:pt>
                <c:pt idx="5779">
                  <c:v>16.052777777777777</c:v>
                </c:pt>
                <c:pt idx="5780">
                  <c:v>16.055555555555557</c:v>
                </c:pt>
                <c:pt idx="5781">
                  <c:v>16.058333333333334</c:v>
                </c:pt>
                <c:pt idx="5782">
                  <c:v>16.06111111111111</c:v>
                </c:pt>
                <c:pt idx="5783">
                  <c:v>16.06388888888889</c:v>
                </c:pt>
                <c:pt idx="5784">
                  <c:v>16.066666666666666</c:v>
                </c:pt>
                <c:pt idx="5785">
                  <c:v>16.069444444444443</c:v>
                </c:pt>
                <c:pt idx="5786">
                  <c:v>16.072222222222223</c:v>
                </c:pt>
                <c:pt idx="5787">
                  <c:v>16.074999999999999</c:v>
                </c:pt>
                <c:pt idx="5788">
                  <c:v>16.077777777777779</c:v>
                </c:pt>
                <c:pt idx="5789">
                  <c:v>16.080555555555556</c:v>
                </c:pt>
                <c:pt idx="5790">
                  <c:v>16.083333333333332</c:v>
                </c:pt>
                <c:pt idx="5791">
                  <c:v>16.086111111111112</c:v>
                </c:pt>
                <c:pt idx="5792">
                  <c:v>16.088888888888889</c:v>
                </c:pt>
                <c:pt idx="5793">
                  <c:v>16.091666666666665</c:v>
                </c:pt>
                <c:pt idx="5794">
                  <c:v>16.094444444444445</c:v>
                </c:pt>
                <c:pt idx="5795">
                  <c:v>16.097222222222221</c:v>
                </c:pt>
                <c:pt idx="5796">
                  <c:v>16.100000000000001</c:v>
                </c:pt>
                <c:pt idx="5797">
                  <c:v>16.102777777777778</c:v>
                </c:pt>
                <c:pt idx="5798">
                  <c:v>16.105555555555554</c:v>
                </c:pt>
                <c:pt idx="5799">
                  <c:v>16.108333333333334</c:v>
                </c:pt>
                <c:pt idx="5800">
                  <c:v>16.111111111111111</c:v>
                </c:pt>
                <c:pt idx="5801">
                  <c:v>16.113888888888887</c:v>
                </c:pt>
                <c:pt idx="5802">
                  <c:v>16.116666666666667</c:v>
                </c:pt>
                <c:pt idx="5803">
                  <c:v>16.119444444444444</c:v>
                </c:pt>
                <c:pt idx="5804">
                  <c:v>16.122222222222224</c:v>
                </c:pt>
                <c:pt idx="5805">
                  <c:v>16.125</c:v>
                </c:pt>
                <c:pt idx="5806">
                  <c:v>16.127777777777776</c:v>
                </c:pt>
                <c:pt idx="5807">
                  <c:v>16.130555555555556</c:v>
                </c:pt>
                <c:pt idx="5808">
                  <c:v>16.133333333333333</c:v>
                </c:pt>
                <c:pt idx="5809">
                  <c:v>16.136111111111113</c:v>
                </c:pt>
                <c:pt idx="5810">
                  <c:v>16.138888888888889</c:v>
                </c:pt>
                <c:pt idx="5811">
                  <c:v>16.141666666666666</c:v>
                </c:pt>
                <c:pt idx="5812">
                  <c:v>16.144444444444446</c:v>
                </c:pt>
                <c:pt idx="5813">
                  <c:v>16.147222222222222</c:v>
                </c:pt>
                <c:pt idx="5814">
                  <c:v>16.149999999999999</c:v>
                </c:pt>
                <c:pt idx="5815">
                  <c:v>16.152777777777779</c:v>
                </c:pt>
                <c:pt idx="5816">
                  <c:v>16.155555555555555</c:v>
                </c:pt>
                <c:pt idx="5817">
                  <c:v>16.158333333333335</c:v>
                </c:pt>
                <c:pt idx="5818">
                  <c:v>16.161111111111111</c:v>
                </c:pt>
                <c:pt idx="5819">
                  <c:v>16.163888888888888</c:v>
                </c:pt>
                <c:pt idx="5820">
                  <c:v>16.166666666666668</c:v>
                </c:pt>
                <c:pt idx="5821">
                  <c:v>16.169444444444444</c:v>
                </c:pt>
                <c:pt idx="5822">
                  <c:v>16.172222222222221</c:v>
                </c:pt>
                <c:pt idx="5823">
                  <c:v>16.175000000000001</c:v>
                </c:pt>
                <c:pt idx="5824">
                  <c:v>16.177777777777777</c:v>
                </c:pt>
                <c:pt idx="5825">
                  <c:v>16.180555555555557</c:v>
                </c:pt>
                <c:pt idx="5826">
                  <c:v>16.183333333333334</c:v>
                </c:pt>
                <c:pt idx="5827">
                  <c:v>16.18611111111111</c:v>
                </c:pt>
                <c:pt idx="5828">
                  <c:v>16.18888888888889</c:v>
                </c:pt>
                <c:pt idx="5829">
                  <c:v>16.191666666666666</c:v>
                </c:pt>
                <c:pt idx="5830">
                  <c:v>16.194444444444443</c:v>
                </c:pt>
                <c:pt idx="5831">
                  <c:v>16.197222222222223</c:v>
                </c:pt>
                <c:pt idx="5832">
                  <c:v>16.2</c:v>
                </c:pt>
                <c:pt idx="5833">
                  <c:v>16.202777777777779</c:v>
                </c:pt>
                <c:pt idx="5834">
                  <c:v>16.205555555555556</c:v>
                </c:pt>
                <c:pt idx="5835">
                  <c:v>16.208333333333332</c:v>
                </c:pt>
                <c:pt idx="5836">
                  <c:v>16.211111111111112</c:v>
                </c:pt>
                <c:pt idx="5837">
                  <c:v>16.213888888888889</c:v>
                </c:pt>
                <c:pt idx="5838">
                  <c:v>16.216666666666665</c:v>
                </c:pt>
                <c:pt idx="5839">
                  <c:v>16.219444444444445</c:v>
                </c:pt>
                <c:pt idx="5840">
                  <c:v>16.222222222222221</c:v>
                </c:pt>
                <c:pt idx="5841">
                  <c:v>16.225000000000001</c:v>
                </c:pt>
                <c:pt idx="5842">
                  <c:v>16.227777777777778</c:v>
                </c:pt>
                <c:pt idx="5843">
                  <c:v>16.230555555555554</c:v>
                </c:pt>
                <c:pt idx="5844">
                  <c:v>16.233333333333334</c:v>
                </c:pt>
                <c:pt idx="5845">
                  <c:v>16.236111111111111</c:v>
                </c:pt>
                <c:pt idx="5846">
                  <c:v>16.238888888888887</c:v>
                </c:pt>
                <c:pt idx="5847">
                  <c:v>16.241666666666667</c:v>
                </c:pt>
                <c:pt idx="5848">
                  <c:v>16.244444444444444</c:v>
                </c:pt>
                <c:pt idx="5849">
                  <c:v>16.247222222222224</c:v>
                </c:pt>
                <c:pt idx="5850">
                  <c:v>16.25</c:v>
                </c:pt>
                <c:pt idx="5851">
                  <c:v>16.252777777777776</c:v>
                </c:pt>
                <c:pt idx="5852">
                  <c:v>16.255555555555556</c:v>
                </c:pt>
                <c:pt idx="5853">
                  <c:v>16.258333333333333</c:v>
                </c:pt>
                <c:pt idx="5854">
                  <c:v>16.261111111111113</c:v>
                </c:pt>
                <c:pt idx="5855">
                  <c:v>16.263888888888889</c:v>
                </c:pt>
                <c:pt idx="5856">
                  <c:v>16.266666666666666</c:v>
                </c:pt>
                <c:pt idx="5857">
                  <c:v>16.269444444444446</c:v>
                </c:pt>
                <c:pt idx="5858">
                  <c:v>16.272222222222222</c:v>
                </c:pt>
                <c:pt idx="5859">
                  <c:v>16.274999999999999</c:v>
                </c:pt>
                <c:pt idx="5860">
                  <c:v>16.277777777777779</c:v>
                </c:pt>
                <c:pt idx="5861">
                  <c:v>16.280555555555555</c:v>
                </c:pt>
                <c:pt idx="5862">
                  <c:v>16.283333333333335</c:v>
                </c:pt>
                <c:pt idx="5863">
                  <c:v>16.286111111111111</c:v>
                </c:pt>
                <c:pt idx="5864">
                  <c:v>16.288888888888888</c:v>
                </c:pt>
                <c:pt idx="5865">
                  <c:v>16.291666666666668</c:v>
                </c:pt>
                <c:pt idx="5866">
                  <c:v>16.294444444444444</c:v>
                </c:pt>
                <c:pt idx="5867">
                  <c:v>16.297222222222221</c:v>
                </c:pt>
                <c:pt idx="5868">
                  <c:v>16.3</c:v>
                </c:pt>
                <c:pt idx="5869">
                  <c:v>16.302777777777777</c:v>
                </c:pt>
                <c:pt idx="5870">
                  <c:v>16.305555555555557</c:v>
                </c:pt>
                <c:pt idx="5871">
                  <c:v>16.308333333333334</c:v>
                </c:pt>
                <c:pt idx="5872">
                  <c:v>16.31111111111111</c:v>
                </c:pt>
                <c:pt idx="5873">
                  <c:v>16.31388888888889</c:v>
                </c:pt>
                <c:pt idx="5874">
                  <c:v>16.316666666666666</c:v>
                </c:pt>
                <c:pt idx="5875">
                  <c:v>16.319444444444443</c:v>
                </c:pt>
                <c:pt idx="5876">
                  <c:v>16.322222222222223</c:v>
                </c:pt>
                <c:pt idx="5877">
                  <c:v>16.324999999999999</c:v>
                </c:pt>
                <c:pt idx="5878">
                  <c:v>16.327777777777779</c:v>
                </c:pt>
                <c:pt idx="5879">
                  <c:v>16.330555555555556</c:v>
                </c:pt>
                <c:pt idx="5880">
                  <c:v>16.333333333333332</c:v>
                </c:pt>
                <c:pt idx="5881">
                  <c:v>16.336111111111112</c:v>
                </c:pt>
                <c:pt idx="5882">
                  <c:v>16.338888888888889</c:v>
                </c:pt>
                <c:pt idx="5883">
                  <c:v>16.341666666666665</c:v>
                </c:pt>
                <c:pt idx="5884">
                  <c:v>16.344444444444445</c:v>
                </c:pt>
                <c:pt idx="5885">
                  <c:v>16.347222222222221</c:v>
                </c:pt>
                <c:pt idx="5886">
                  <c:v>16.350000000000001</c:v>
                </c:pt>
                <c:pt idx="5887">
                  <c:v>16.352777777777778</c:v>
                </c:pt>
                <c:pt idx="5888">
                  <c:v>16.355555555555554</c:v>
                </c:pt>
                <c:pt idx="5889">
                  <c:v>16.358333333333334</c:v>
                </c:pt>
                <c:pt idx="5890">
                  <c:v>16.361111111111111</c:v>
                </c:pt>
                <c:pt idx="5891">
                  <c:v>16.363888888888887</c:v>
                </c:pt>
                <c:pt idx="5892">
                  <c:v>16.366666666666667</c:v>
                </c:pt>
                <c:pt idx="5893">
                  <c:v>16.369444444444444</c:v>
                </c:pt>
                <c:pt idx="5894">
                  <c:v>16.372222222222224</c:v>
                </c:pt>
                <c:pt idx="5895">
                  <c:v>16.375</c:v>
                </c:pt>
                <c:pt idx="5896">
                  <c:v>16.377777777777776</c:v>
                </c:pt>
                <c:pt idx="5897">
                  <c:v>16.380555555555556</c:v>
                </c:pt>
                <c:pt idx="5898">
                  <c:v>16.383333333333333</c:v>
                </c:pt>
                <c:pt idx="5899">
                  <c:v>16.386111111111113</c:v>
                </c:pt>
                <c:pt idx="5900">
                  <c:v>16.388888888888889</c:v>
                </c:pt>
                <c:pt idx="5901">
                  <c:v>16.391666666666666</c:v>
                </c:pt>
                <c:pt idx="5902">
                  <c:v>16.394444444444446</c:v>
                </c:pt>
                <c:pt idx="5903">
                  <c:v>16.397222222222222</c:v>
                </c:pt>
                <c:pt idx="5904">
                  <c:v>16.399999999999999</c:v>
                </c:pt>
                <c:pt idx="5905">
                  <c:v>16.402777777777779</c:v>
                </c:pt>
                <c:pt idx="5906">
                  <c:v>16.405555555555555</c:v>
                </c:pt>
                <c:pt idx="5907">
                  <c:v>16.408333333333335</c:v>
                </c:pt>
                <c:pt idx="5908">
                  <c:v>16.411111111111111</c:v>
                </c:pt>
                <c:pt idx="5909">
                  <c:v>16.413888888888888</c:v>
                </c:pt>
                <c:pt idx="5910">
                  <c:v>16.416666666666668</c:v>
                </c:pt>
                <c:pt idx="5911">
                  <c:v>16.419444444444444</c:v>
                </c:pt>
                <c:pt idx="5912">
                  <c:v>16.422222222222221</c:v>
                </c:pt>
                <c:pt idx="5913">
                  <c:v>16.425000000000001</c:v>
                </c:pt>
                <c:pt idx="5914">
                  <c:v>16.427777777777777</c:v>
                </c:pt>
                <c:pt idx="5915">
                  <c:v>16.430555555555557</c:v>
                </c:pt>
                <c:pt idx="5916">
                  <c:v>16.433333333333334</c:v>
                </c:pt>
                <c:pt idx="5917">
                  <c:v>16.43611111111111</c:v>
                </c:pt>
                <c:pt idx="5918">
                  <c:v>16.43888888888889</c:v>
                </c:pt>
                <c:pt idx="5919">
                  <c:v>16.441666666666666</c:v>
                </c:pt>
                <c:pt idx="5920">
                  <c:v>16.444444444444443</c:v>
                </c:pt>
                <c:pt idx="5921">
                  <c:v>16.447222222222223</c:v>
                </c:pt>
                <c:pt idx="5922">
                  <c:v>16.45</c:v>
                </c:pt>
                <c:pt idx="5923">
                  <c:v>16.452777777777779</c:v>
                </c:pt>
                <c:pt idx="5924">
                  <c:v>16.455555555555556</c:v>
                </c:pt>
                <c:pt idx="5925">
                  <c:v>16.458333333333332</c:v>
                </c:pt>
                <c:pt idx="5926">
                  <c:v>16.461111111111112</c:v>
                </c:pt>
                <c:pt idx="5927">
                  <c:v>16.463888888888889</c:v>
                </c:pt>
                <c:pt idx="5928">
                  <c:v>16.466666666666665</c:v>
                </c:pt>
                <c:pt idx="5929">
                  <c:v>16.469444444444445</c:v>
                </c:pt>
                <c:pt idx="5930">
                  <c:v>16.472222222222221</c:v>
                </c:pt>
                <c:pt idx="5931">
                  <c:v>16.475000000000001</c:v>
                </c:pt>
                <c:pt idx="5932">
                  <c:v>16.477777777777778</c:v>
                </c:pt>
                <c:pt idx="5933">
                  <c:v>16.480555555555554</c:v>
                </c:pt>
                <c:pt idx="5934">
                  <c:v>16.483333333333334</c:v>
                </c:pt>
                <c:pt idx="5935">
                  <c:v>16.486111111111111</c:v>
                </c:pt>
                <c:pt idx="5936">
                  <c:v>16.488888888888887</c:v>
                </c:pt>
                <c:pt idx="5937">
                  <c:v>16.491666666666667</c:v>
                </c:pt>
                <c:pt idx="5938">
                  <c:v>16.494444444444444</c:v>
                </c:pt>
                <c:pt idx="5939">
                  <c:v>16.497222222222224</c:v>
                </c:pt>
                <c:pt idx="5940">
                  <c:v>16.5</c:v>
                </c:pt>
                <c:pt idx="5941">
                  <c:v>16.502777777777776</c:v>
                </c:pt>
                <c:pt idx="5942">
                  <c:v>16.505555555555556</c:v>
                </c:pt>
                <c:pt idx="5943">
                  <c:v>16.508333333333333</c:v>
                </c:pt>
                <c:pt idx="5944">
                  <c:v>16.511111111111113</c:v>
                </c:pt>
                <c:pt idx="5945">
                  <c:v>16.513888888888889</c:v>
                </c:pt>
                <c:pt idx="5946">
                  <c:v>16.516666666666666</c:v>
                </c:pt>
                <c:pt idx="5947">
                  <c:v>16.519444444444446</c:v>
                </c:pt>
                <c:pt idx="5948">
                  <c:v>16.522222222222222</c:v>
                </c:pt>
                <c:pt idx="5949">
                  <c:v>16.524999999999999</c:v>
                </c:pt>
                <c:pt idx="5950">
                  <c:v>16.527777777777779</c:v>
                </c:pt>
                <c:pt idx="5951">
                  <c:v>16.530555555555555</c:v>
                </c:pt>
                <c:pt idx="5952">
                  <c:v>16.533333333333335</c:v>
                </c:pt>
                <c:pt idx="5953">
                  <c:v>16.536111111111111</c:v>
                </c:pt>
                <c:pt idx="5954">
                  <c:v>16.538888888888888</c:v>
                </c:pt>
                <c:pt idx="5955">
                  <c:v>16.541666666666668</c:v>
                </c:pt>
                <c:pt idx="5956">
                  <c:v>16.544444444444444</c:v>
                </c:pt>
                <c:pt idx="5957">
                  <c:v>16.547222222222221</c:v>
                </c:pt>
                <c:pt idx="5958">
                  <c:v>16.55</c:v>
                </c:pt>
                <c:pt idx="5959">
                  <c:v>16.552777777777777</c:v>
                </c:pt>
                <c:pt idx="5960">
                  <c:v>16.555555555555557</c:v>
                </c:pt>
                <c:pt idx="5961">
                  <c:v>16.558333333333334</c:v>
                </c:pt>
                <c:pt idx="5962">
                  <c:v>16.56111111111111</c:v>
                </c:pt>
                <c:pt idx="5963">
                  <c:v>16.56388888888889</c:v>
                </c:pt>
                <c:pt idx="5964">
                  <c:v>16.566666666666666</c:v>
                </c:pt>
                <c:pt idx="5965">
                  <c:v>16.569444444444443</c:v>
                </c:pt>
                <c:pt idx="5966">
                  <c:v>16.572222222222223</c:v>
                </c:pt>
                <c:pt idx="5967">
                  <c:v>16.574999999999999</c:v>
                </c:pt>
                <c:pt idx="5968">
                  <c:v>16.577777777777779</c:v>
                </c:pt>
                <c:pt idx="5969">
                  <c:v>16.580555555555556</c:v>
                </c:pt>
                <c:pt idx="5970">
                  <c:v>16.583333333333332</c:v>
                </c:pt>
                <c:pt idx="5971">
                  <c:v>16.586111111111112</c:v>
                </c:pt>
                <c:pt idx="5972">
                  <c:v>16.588888888888889</c:v>
                </c:pt>
                <c:pt idx="5973">
                  <c:v>16.591666666666665</c:v>
                </c:pt>
                <c:pt idx="5974">
                  <c:v>16.594444444444445</c:v>
                </c:pt>
                <c:pt idx="5975">
                  <c:v>16.597222222222221</c:v>
                </c:pt>
                <c:pt idx="5976">
                  <c:v>16.600000000000001</c:v>
                </c:pt>
                <c:pt idx="5977">
                  <c:v>16.602777777777778</c:v>
                </c:pt>
                <c:pt idx="5978">
                  <c:v>16.605555555555554</c:v>
                </c:pt>
                <c:pt idx="5979">
                  <c:v>16.608333333333334</c:v>
                </c:pt>
                <c:pt idx="5980">
                  <c:v>16.611111111111111</c:v>
                </c:pt>
                <c:pt idx="5981">
                  <c:v>16.613888888888887</c:v>
                </c:pt>
                <c:pt idx="5982">
                  <c:v>16.616666666666667</c:v>
                </c:pt>
                <c:pt idx="5983">
                  <c:v>16.619444444444444</c:v>
                </c:pt>
                <c:pt idx="5984">
                  <c:v>16.622222222222224</c:v>
                </c:pt>
                <c:pt idx="5985">
                  <c:v>16.625</c:v>
                </c:pt>
                <c:pt idx="5986">
                  <c:v>16.627777777777776</c:v>
                </c:pt>
                <c:pt idx="5987">
                  <c:v>16.630555555555556</c:v>
                </c:pt>
                <c:pt idx="5988">
                  <c:v>16.633333333333333</c:v>
                </c:pt>
                <c:pt idx="5989">
                  <c:v>16.636111111111113</c:v>
                </c:pt>
                <c:pt idx="5990">
                  <c:v>16.638888888888889</c:v>
                </c:pt>
                <c:pt idx="5991">
                  <c:v>16.641666666666666</c:v>
                </c:pt>
                <c:pt idx="5992">
                  <c:v>16.644444444444446</c:v>
                </c:pt>
                <c:pt idx="5993">
                  <c:v>16.647222222222222</c:v>
                </c:pt>
                <c:pt idx="5994">
                  <c:v>16.649999999999999</c:v>
                </c:pt>
                <c:pt idx="5995">
                  <c:v>16.652777777777779</c:v>
                </c:pt>
                <c:pt idx="5996">
                  <c:v>16.655555555555555</c:v>
                </c:pt>
                <c:pt idx="5997">
                  <c:v>16.658333333333335</c:v>
                </c:pt>
                <c:pt idx="5998">
                  <c:v>16.661111111111111</c:v>
                </c:pt>
                <c:pt idx="5999">
                  <c:v>16.663888888888888</c:v>
                </c:pt>
                <c:pt idx="6000">
                  <c:v>16.666666666666668</c:v>
                </c:pt>
                <c:pt idx="6001">
                  <c:v>16.669444444444444</c:v>
                </c:pt>
                <c:pt idx="6002">
                  <c:v>16.672222222222221</c:v>
                </c:pt>
                <c:pt idx="6003">
                  <c:v>16.675000000000001</c:v>
                </c:pt>
                <c:pt idx="6004">
                  <c:v>16.677777777777777</c:v>
                </c:pt>
                <c:pt idx="6005">
                  <c:v>16.680555555555557</c:v>
                </c:pt>
                <c:pt idx="6006">
                  <c:v>16.683333333333334</c:v>
                </c:pt>
                <c:pt idx="6007">
                  <c:v>16.68611111111111</c:v>
                </c:pt>
                <c:pt idx="6008">
                  <c:v>16.68888888888889</c:v>
                </c:pt>
                <c:pt idx="6009">
                  <c:v>16.691666666666666</c:v>
                </c:pt>
                <c:pt idx="6010">
                  <c:v>16.694444444444443</c:v>
                </c:pt>
                <c:pt idx="6011">
                  <c:v>16.697222222222223</c:v>
                </c:pt>
                <c:pt idx="6012">
                  <c:v>16.7</c:v>
                </c:pt>
                <c:pt idx="6013">
                  <c:v>16.702777777777779</c:v>
                </c:pt>
                <c:pt idx="6014">
                  <c:v>16.705555555555556</c:v>
                </c:pt>
                <c:pt idx="6015">
                  <c:v>16.708333333333332</c:v>
                </c:pt>
                <c:pt idx="6016">
                  <c:v>16.711111111111112</c:v>
                </c:pt>
                <c:pt idx="6017">
                  <c:v>16.713888888888889</c:v>
                </c:pt>
                <c:pt idx="6018">
                  <c:v>16.716666666666665</c:v>
                </c:pt>
                <c:pt idx="6019">
                  <c:v>16.719444444444445</c:v>
                </c:pt>
                <c:pt idx="6020">
                  <c:v>16.722222222222221</c:v>
                </c:pt>
                <c:pt idx="6021">
                  <c:v>16.725000000000001</c:v>
                </c:pt>
                <c:pt idx="6022">
                  <c:v>16.727777777777778</c:v>
                </c:pt>
                <c:pt idx="6023">
                  <c:v>16.730555555555554</c:v>
                </c:pt>
                <c:pt idx="6024">
                  <c:v>16.733333333333334</c:v>
                </c:pt>
                <c:pt idx="6025">
                  <c:v>16.736111111111111</c:v>
                </c:pt>
                <c:pt idx="6026">
                  <c:v>16.738888888888887</c:v>
                </c:pt>
                <c:pt idx="6027">
                  <c:v>16.741666666666667</c:v>
                </c:pt>
                <c:pt idx="6028">
                  <c:v>16.744444444444444</c:v>
                </c:pt>
                <c:pt idx="6029">
                  <c:v>16.747222222222224</c:v>
                </c:pt>
                <c:pt idx="6030">
                  <c:v>16.75</c:v>
                </c:pt>
                <c:pt idx="6031">
                  <c:v>16.752777777777776</c:v>
                </c:pt>
                <c:pt idx="6032">
                  <c:v>16.755555555555556</c:v>
                </c:pt>
                <c:pt idx="6033">
                  <c:v>16.758333333333333</c:v>
                </c:pt>
                <c:pt idx="6034">
                  <c:v>16.761111111111113</c:v>
                </c:pt>
                <c:pt idx="6035">
                  <c:v>16.763888888888889</c:v>
                </c:pt>
                <c:pt idx="6036">
                  <c:v>16.766666666666666</c:v>
                </c:pt>
                <c:pt idx="6037">
                  <c:v>16.769444444444446</c:v>
                </c:pt>
                <c:pt idx="6038">
                  <c:v>16.772222222222222</c:v>
                </c:pt>
                <c:pt idx="6039">
                  <c:v>16.774999999999999</c:v>
                </c:pt>
                <c:pt idx="6040">
                  <c:v>16.777777777777779</c:v>
                </c:pt>
                <c:pt idx="6041">
                  <c:v>16.780555555555555</c:v>
                </c:pt>
                <c:pt idx="6042">
                  <c:v>16.783333333333335</c:v>
                </c:pt>
                <c:pt idx="6043">
                  <c:v>16.786111111111111</c:v>
                </c:pt>
                <c:pt idx="6044">
                  <c:v>16.788888888888888</c:v>
                </c:pt>
                <c:pt idx="6045">
                  <c:v>16.791666666666668</c:v>
                </c:pt>
                <c:pt idx="6046">
                  <c:v>16.794444444444444</c:v>
                </c:pt>
                <c:pt idx="6047">
                  <c:v>16.797222222222221</c:v>
                </c:pt>
                <c:pt idx="6048">
                  <c:v>16.8</c:v>
                </c:pt>
                <c:pt idx="6049">
                  <c:v>16.802777777777777</c:v>
                </c:pt>
                <c:pt idx="6050">
                  <c:v>16.805555555555557</c:v>
                </c:pt>
                <c:pt idx="6051">
                  <c:v>16.808333333333334</c:v>
                </c:pt>
                <c:pt idx="6052">
                  <c:v>16.81111111111111</c:v>
                </c:pt>
                <c:pt idx="6053">
                  <c:v>16.81388888888889</c:v>
                </c:pt>
                <c:pt idx="6054">
                  <c:v>16.816666666666666</c:v>
                </c:pt>
                <c:pt idx="6055">
                  <c:v>16.819444444444443</c:v>
                </c:pt>
                <c:pt idx="6056">
                  <c:v>16.822222222222223</c:v>
                </c:pt>
                <c:pt idx="6057">
                  <c:v>16.824999999999999</c:v>
                </c:pt>
                <c:pt idx="6058">
                  <c:v>16.827777777777779</c:v>
                </c:pt>
                <c:pt idx="6059">
                  <c:v>16.830555555555556</c:v>
                </c:pt>
                <c:pt idx="6060">
                  <c:v>16.833333333333332</c:v>
                </c:pt>
                <c:pt idx="6061">
                  <c:v>16.836111111111112</c:v>
                </c:pt>
                <c:pt idx="6062">
                  <c:v>16.838888888888889</c:v>
                </c:pt>
                <c:pt idx="6063">
                  <c:v>16.841666666666665</c:v>
                </c:pt>
                <c:pt idx="6064">
                  <c:v>16.844444444444445</c:v>
                </c:pt>
                <c:pt idx="6065">
                  <c:v>16.847222222222221</c:v>
                </c:pt>
                <c:pt idx="6066">
                  <c:v>16.850000000000001</c:v>
                </c:pt>
                <c:pt idx="6067">
                  <c:v>16.852777777777778</c:v>
                </c:pt>
                <c:pt idx="6068">
                  <c:v>16.855555555555554</c:v>
                </c:pt>
                <c:pt idx="6069">
                  <c:v>16.858333333333334</c:v>
                </c:pt>
                <c:pt idx="6070">
                  <c:v>16.861111111111111</c:v>
                </c:pt>
                <c:pt idx="6071">
                  <c:v>16.863888888888887</c:v>
                </c:pt>
                <c:pt idx="6072">
                  <c:v>16.866666666666667</c:v>
                </c:pt>
                <c:pt idx="6073">
                  <c:v>16.869444444444444</c:v>
                </c:pt>
                <c:pt idx="6074">
                  <c:v>16.872222222222224</c:v>
                </c:pt>
                <c:pt idx="6075">
                  <c:v>16.875</c:v>
                </c:pt>
                <c:pt idx="6076">
                  <c:v>16.877777777777776</c:v>
                </c:pt>
                <c:pt idx="6077">
                  <c:v>16.880555555555556</c:v>
                </c:pt>
                <c:pt idx="6078">
                  <c:v>16.883333333333333</c:v>
                </c:pt>
                <c:pt idx="6079">
                  <c:v>16.886111111111113</c:v>
                </c:pt>
                <c:pt idx="6080">
                  <c:v>16.888888888888889</c:v>
                </c:pt>
                <c:pt idx="6081">
                  <c:v>16.891666666666666</c:v>
                </c:pt>
                <c:pt idx="6082">
                  <c:v>16.894444444444446</c:v>
                </c:pt>
                <c:pt idx="6083">
                  <c:v>16.897222222222222</c:v>
                </c:pt>
                <c:pt idx="6084">
                  <c:v>16.899999999999999</c:v>
                </c:pt>
                <c:pt idx="6085">
                  <c:v>16.902777777777779</c:v>
                </c:pt>
                <c:pt idx="6086">
                  <c:v>16.905555555555555</c:v>
                </c:pt>
                <c:pt idx="6087">
                  <c:v>16.908333333333335</c:v>
                </c:pt>
                <c:pt idx="6088">
                  <c:v>16.911111111111111</c:v>
                </c:pt>
                <c:pt idx="6089">
                  <c:v>16.913888888888888</c:v>
                </c:pt>
                <c:pt idx="6090">
                  <c:v>16.916666666666668</c:v>
                </c:pt>
                <c:pt idx="6091">
                  <c:v>16.919444444444444</c:v>
                </c:pt>
                <c:pt idx="6092">
                  <c:v>16.922222222222221</c:v>
                </c:pt>
                <c:pt idx="6093">
                  <c:v>16.925000000000001</c:v>
                </c:pt>
                <c:pt idx="6094">
                  <c:v>16.927777777777777</c:v>
                </c:pt>
                <c:pt idx="6095">
                  <c:v>16.930555555555557</c:v>
                </c:pt>
                <c:pt idx="6096">
                  <c:v>16.933333333333334</c:v>
                </c:pt>
                <c:pt idx="6097">
                  <c:v>16.93611111111111</c:v>
                </c:pt>
                <c:pt idx="6098">
                  <c:v>16.93888888888889</c:v>
                </c:pt>
                <c:pt idx="6099">
                  <c:v>16.941666666666666</c:v>
                </c:pt>
                <c:pt idx="6100">
                  <c:v>16.944444444444443</c:v>
                </c:pt>
                <c:pt idx="6101">
                  <c:v>16.947222222222223</c:v>
                </c:pt>
                <c:pt idx="6102">
                  <c:v>16.95</c:v>
                </c:pt>
                <c:pt idx="6103">
                  <c:v>16.952777777777779</c:v>
                </c:pt>
                <c:pt idx="6104">
                  <c:v>16.955555555555556</c:v>
                </c:pt>
                <c:pt idx="6105">
                  <c:v>16.958333333333332</c:v>
                </c:pt>
                <c:pt idx="6106">
                  <c:v>16.961111111111112</c:v>
                </c:pt>
                <c:pt idx="6107">
                  <c:v>16.963888888888889</c:v>
                </c:pt>
                <c:pt idx="6108">
                  <c:v>16.966666666666665</c:v>
                </c:pt>
                <c:pt idx="6109">
                  <c:v>16.969444444444445</c:v>
                </c:pt>
                <c:pt idx="6110">
                  <c:v>16.972222222222221</c:v>
                </c:pt>
                <c:pt idx="6111">
                  <c:v>16.975000000000001</c:v>
                </c:pt>
                <c:pt idx="6112">
                  <c:v>16.977777777777778</c:v>
                </c:pt>
                <c:pt idx="6113">
                  <c:v>16.980555555555554</c:v>
                </c:pt>
                <c:pt idx="6114">
                  <c:v>16.983333333333334</c:v>
                </c:pt>
                <c:pt idx="6115">
                  <c:v>16.986111111111111</c:v>
                </c:pt>
                <c:pt idx="6116">
                  <c:v>16.988888888888887</c:v>
                </c:pt>
                <c:pt idx="6117">
                  <c:v>16.991666666666667</c:v>
                </c:pt>
                <c:pt idx="6118">
                  <c:v>16.994444444444444</c:v>
                </c:pt>
                <c:pt idx="6119">
                  <c:v>16.997222222222224</c:v>
                </c:pt>
                <c:pt idx="6120">
                  <c:v>17</c:v>
                </c:pt>
                <c:pt idx="6121">
                  <c:v>17.002777777777776</c:v>
                </c:pt>
                <c:pt idx="6122">
                  <c:v>17.005555555555556</c:v>
                </c:pt>
                <c:pt idx="6123">
                  <c:v>17.008333333333333</c:v>
                </c:pt>
                <c:pt idx="6124">
                  <c:v>17.011111111111113</c:v>
                </c:pt>
                <c:pt idx="6125">
                  <c:v>17.013888888888889</c:v>
                </c:pt>
                <c:pt idx="6126">
                  <c:v>17.016666666666666</c:v>
                </c:pt>
                <c:pt idx="6127">
                  <c:v>17.019444444444446</c:v>
                </c:pt>
                <c:pt idx="6128">
                  <c:v>17.022222222222222</c:v>
                </c:pt>
                <c:pt idx="6129">
                  <c:v>17.024999999999999</c:v>
                </c:pt>
                <c:pt idx="6130">
                  <c:v>17.027777777777779</c:v>
                </c:pt>
                <c:pt idx="6131">
                  <c:v>17.030555555555555</c:v>
                </c:pt>
                <c:pt idx="6132">
                  <c:v>17.033333333333335</c:v>
                </c:pt>
                <c:pt idx="6133">
                  <c:v>17.036111111111111</c:v>
                </c:pt>
                <c:pt idx="6134">
                  <c:v>17.038888888888888</c:v>
                </c:pt>
                <c:pt idx="6135">
                  <c:v>17.041666666666668</c:v>
                </c:pt>
                <c:pt idx="6136">
                  <c:v>17.044444444444444</c:v>
                </c:pt>
                <c:pt idx="6137">
                  <c:v>17.047222222222221</c:v>
                </c:pt>
                <c:pt idx="6138">
                  <c:v>17.05</c:v>
                </c:pt>
                <c:pt idx="6139">
                  <c:v>17.052777777777777</c:v>
                </c:pt>
                <c:pt idx="6140">
                  <c:v>17.055555555555557</c:v>
                </c:pt>
                <c:pt idx="6141">
                  <c:v>17.058333333333334</c:v>
                </c:pt>
                <c:pt idx="6142">
                  <c:v>17.06111111111111</c:v>
                </c:pt>
                <c:pt idx="6143">
                  <c:v>17.06388888888889</c:v>
                </c:pt>
                <c:pt idx="6144">
                  <c:v>17.066666666666666</c:v>
                </c:pt>
                <c:pt idx="6145">
                  <c:v>17.069444444444443</c:v>
                </c:pt>
                <c:pt idx="6146">
                  <c:v>17.072222222222223</c:v>
                </c:pt>
                <c:pt idx="6147">
                  <c:v>17.074999999999999</c:v>
                </c:pt>
                <c:pt idx="6148">
                  <c:v>17.077777777777779</c:v>
                </c:pt>
                <c:pt idx="6149">
                  <c:v>17.080555555555556</c:v>
                </c:pt>
                <c:pt idx="6150">
                  <c:v>17.083333333333332</c:v>
                </c:pt>
                <c:pt idx="6151">
                  <c:v>17.086111111111112</c:v>
                </c:pt>
                <c:pt idx="6152">
                  <c:v>17.088888888888889</c:v>
                </c:pt>
                <c:pt idx="6153">
                  <c:v>17.091666666666665</c:v>
                </c:pt>
                <c:pt idx="6154">
                  <c:v>17.094444444444445</c:v>
                </c:pt>
                <c:pt idx="6155">
                  <c:v>17.097222222222221</c:v>
                </c:pt>
                <c:pt idx="6156">
                  <c:v>17.100000000000001</c:v>
                </c:pt>
                <c:pt idx="6157">
                  <c:v>17.102777777777778</c:v>
                </c:pt>
                <c:pt idx="6158">
                  <c:v>17.105555555555554</c:v>
                </c:pt>
                <c:pt idx="6159">
                  <c:v>17.108333333333334</c:v>
                </c:pt>
                <c:pt idx="6160">
                  <c:v>17.111111111111111</c:v>
                </c:pt>
                <c:pt idx="6161">
                  <c:v>17.113888888888887</c:v>
                </c:pt>
                <c:pt idx="6162">
                  <c:v>17.116666666666667</c:v>
                </c:pt>
                <c:pt idx="6163">
                  <c:v>17.119444444444444</c:v>
                </c:pt>
                <c:pt idx="6164">
                  <c:v>17.122222222222224</c:v>
                </c:pt>
                <c:pt idx="6165">
                  <c:v>17.125</c:v>
                </c:pt>
                <c:pt idx="6166">
                  <c:v>17.127777777777776</c:v>
                </c:pt>
                <c:pt idx="6167">
                  <c:v>17.130555555555556</c:v>
                </c:pt>
                <c:pt idx="6168">
                  <c:v>17.133333333333333</c:v>
                </c:pt>
                <c:pt idx="6169">
                  <c:v>17.136111111111113</c:v>
                </c:pt>
                <c:pt idx="6170">
                  <c:v>17.138888888888889</c:v>
                </c:pt>
                <c:pt idx="6171">
                  <c:v>17.141666666666666</c:v>
                </c:pt>
                <c:pt idx="6172">
                  <c:v>17.144444444444446</c:v>
                </c:pt>
                <c:pt idx="6173">
                  <c:v>17.147222222222222</c:v>
                </c:pt>
                <c:pt idx="6174">
                  <c:v>17.149999999999999</c:v>
                </c:pt>
                <c:pt idx="6175">
                  <c:v>17.152777777777779</c:v>
                </c:pt>
                <c:pt idx="6176">
                  <c:v>17.155555555555555</c:v>
                </c:pt>
                <c:pt idx="6177">
                  <c:v>17.158333333333335</c:v>
                </c:pt>
                <c:pt idx="6178">
                  <c:v>17.161111111111111</c:v>
                </c:pt>
                <c:pt idx="6179">
                  <c:v>17.163888888888888</c:v>
                </c:pt>
                <c:pt idx="6180">
                  <c:v>17.166666666666668</c:v>
                </c:pt>
                <c:pt idx="6181">
                  <c:v>17.169444444444444</c:v>
                </c:pt>
                <c:pt idx="6182">
                  <c:v>17.172222222222221</c:v>
                </c:pt>
                <c:pt idx="6183">
                  <c:v>17.175000000000001</c:v>
                </c:pt>
                <c:pt idx="6184">
                  <c:v>17.177777777777777</c:v>
                </c:pt>
                <c:pt idx="6185">
                  <c:v>17.180555555555557</c:v>
                </c:pt>
                <c:pt idx="6186">
                  <c:v>17.183333333333334</c:v>
                </c:pt>
                <c:pt idx="6187">
                  <c:v>17.18611111111111</c:v>
                </c:pt>
                <c:pt idx="6188">
                  <c:v>17.18888888888889</c:v>
                </c:pt>
                <c:pt idx="6189">
                  <c:v>17.191666666666666</c:v>
                </c:pt>
                <c:pt idx="6190">
                  <c:v>17.194444444444443</c:v>
                </c:pt>
                <c:pt idx="6191">
                  <c:v>17.197222222222223</c:v>
                </c:pt>
                <c:pt idx="6192">
                  <c:v>17.2</c:v>
                </c:pt>
                <c:pt idx="6193">
                  <c:v>17.202777777777779</c:v>
                </c:pt>
                <c:pt idx="6194">
                  <c:v>17.205555555555556</c:v>
                </c:pt>
                <c:pt idx="6195">
                  <c:v>17.208333333333332</c:v>
                </c:pt>
                <c:pt idx="6196">
                  <c:v>17.211111111111112</c:v>
                </c:pt>
                <c:pt idx="6197">
                  <c:v>17.213888888888889</c:v>
                </c:pt>
                <c:pt idx="6198">
                  <c:v>17.216666666666665</c:v>
                </c:pt>
                <c:pt idx="6199">
                  <c:v>17.219444444444445</c:v>
                </c:pt>
                <c:pt idx="6200">
                  <c:v>17.222222222222221</c:v>
                </c:pt>
                <c:pt idx="6201">
                  <c:v>17.225000000000001</c:v>
                </c:pt>
                <c:pt idx="6202">
                  <c:v>17.227777777777778</c:v>
                </c:pt>
                <c:pt idx="6203">
                  <c:v>17.230555555555554</c:v>
                </c:pt>
                <c:pt idx="6204">
                  <c:v>17.233333333333334</c:v>
                </c:pt>
                <c:pt idx="6205">
                  <c:v>17.236111111111111</c:v>
                </c:pt>
                <c:pt idx="6206">
                  <c:v>17.238888888888887</c:v>
                </c:pt>
                <c:pt idx="6207">
                  <c:v>17.241666666666667</c:v>
                </c:pt>
                <c:pt idx="6208">
                  <c:v>17.244444444444444</c:v>
                </c:pt>
                <c:pt idx="6209">
                  <c:v>17.247222222222224</c:v>
                </c:pt>
                <c:pt idx="6210">
                  <c:v>17.25</c:v>
                </c:pt>
                <c:pt idx="6211">
                  <c:v>17.252777777777776</c:v>
                </c:pt>
                <c:pt idx="6212">
                  <c:v>17.255555555555556</c:v>
                </c:pt>
                <c:pt idx="6213">
                  <c:v>17.258333333333333</c:v>
                </c:pt>
                <c:pt idx="6214">
                  <c:v>17.261111111111113</c:v>
                </c:pt>
                <c:pt idx="6215">
                  <c:v>17.263888888888889</c:v>
                </c:pt>
                <c:pt idx="6216">
                  <c:v>17.266666666666666</c:v>
                </c:pt>
                <c:pt idx="6217">
                  <c:v>17.269444444444446</c:v>
                </c:pt>
                <c:pt idx="6218">
                  <c:v>17.272222222222222</c:v>
                </c:pt>
                <c:pt idx="6219">
                  <c:v>17.274999999999999</c:v>
                </c:pt>
                <c:pt idx="6220">
                  <c:v>17.277777777777779</c:v>
                </c:pt>
                <c:pt idx="6221">
                  <c:v>17.280555555555555</c:v>
                </c:pt>
                <c:pt idx="6222">
                  <c:v>17.283333333333335</c:v>
                </c:pt>
                <c:pt idx="6223">
                  <c:v>17.286111111111111</c:v>
                </c:pt>
                <c:pt idx="6224">
                  <c:v>17.288888888888888</c:v>
                </c:pt>
                <c:pt idx="6225">
                  <c:v>17.291666666666668</c:v>
                </c:pt>
                <c:pt idx="6226">
                  <c:v>17.294444444444444</c:v>
                </c:pt>
                <c:pt idx="6227">
                  <c:v>17.297222222222221</c:v>
                </c:pt>
                <c:pt idx="6228">
                  <c:v>17.3</c:v>
                </c:pt>
                <c:pt idx="6229">
                  <c:v>17.302777777777777</c:v>
                </c:pt>
                <c:pt idx="6230">
                  <c:v>17.305555555555557</c:v>
                </c:pt>
                <c:pt idx="6231">
                  <c:v>17.308333333333334</c:v>
                </c:pt>
                <c:pt idx="6232">
                  <c:v>17.31111111111111</c:v>
                </c:pt>
                <c:pt idx="6233">
                  <c:v>17.31388888888889</c:v>
                </c:pt>
                <c:pt idx="6234">
                  <c:v>17.316666666666666</c:v>
                </c:pt>
                <c:pt idx="6235">
                  <c:v>17.319444444444443</c:v>
                </c:pt>
                <c:pt idx="6236">
                  <c:v>17.322222222222223</c:v>
                </c:pt>
                <c:pt idx="6237">
                  <c:v>17.324999999999999</c:v>
                </c:pt>
                <c:pt idx="6238">
                  <c:v>17.327777777777779</c:v>
                </c:pt>
                <c:pt idx="6239">
                  <c:v>17.330555555555556</c:v>
                </c:pt>
                <c:pt idx="6240">
                  <c:v>17.333333333333332</c:v>
                </c:pt>
                <c:pt idx="6241">
                  <c:v>17.336111111111112</c:v>
                </c:pt>
                <c:pt idx="6242">
                  <c:v>17.338888888888889</c:v>
                </c:pt>
                <c:pt idx="6243">
                  <c:v>17.341666666666665</c:v>
                </c:pt>
                <c:pt idx="6244">
                  <c:v>17.344444444444445</c:v>
                </c:pt>
                <c:pt idx="6245">
                  <c:v>17.347222222222221</c:v>
                </c:pt>
                <c:pt idx="6246">
                  <c:v>17.350000000000001</c:v>
                </c:pt>
                <c:pt idx="6247">
                  <c:v>17.352777777777778</c:v>
                </c:pt>
                <c:pt idx="6248">
                  <c:v>17.355555555555554</c:v>
                </c:pt>
                <c:pt idx="6249">
                  <c:v>17.358333333333334</c:v>
                </c:pt>
                <c:pt idx="6250">
                  <c:v>17.361111111111111</c:v>
                </c:pt>
                <c:pt idx="6251">
                  <c:v>17.363888888888887</c:v>
                </c:pt>
                <c:pt idx="6252">
                  <c:v>17.366666666666667</c:v>
                </c:pt>
                <c:pt idx="6253">
                  <c:v>17.369444444444444</c:v>
                </c:pt>
                <c:pt idx="6254">
                  <c:v>17.372222222222224</c:v>
                </c:pt>
                <c:pt idx="6255">
                  <c:v>17.375</c:v>
                </c:pt>
                <c:pt idx="6256">
                  <c:v>17.377777777777776</c:v>
                </c:pt>
                <c:pt idx="6257">
                  <c:v>17.380555555555556</c:v>
                </c:pt>
                <c:pt idx="6258">
                  <c:v>17.383333333333333</c:v>
                </c:pt>
                <c:pt idx="6259">
                  <c:v>17.386111111111113</c:v>
                </c:pt>
                <c:pt idx="6260">
                  <c:v>17.388888888888889</c:v>
                </c:pt>
                <c:pt idx="6261">
                  <c:v>17.391666666666666</c:v>
                </c:pt>
                <c:pt idx="6262">
                  <c:v>17.394444444444446</c:v>
                </c:pt>
                <c:pt idx="6263">
                  <c:v>17.397222222222222</c:v>
                </c:pt>
                <c:pt idx="6264">
                  <c:v>17.399999999999999</c:v>
                </c:pt>
                <c:pt idx="6265">
                  <c:v>17.402777777777779</c:v>
                </c:pt>
                <c:pt idx="6266">
                  <c:v>17.405555555555555</c:v>
                </c:pt>
                <c:pt idx="6267">
                  <c:v>17.408333333333335</c:v>
                </c:pt>
                <c:pt idx="6268">
                  <c:v>17.411111111111111</c:v>
                </c:pt>
                <c:pt idx="6269">
                  <c:v>17.413888888888888</c:v>
                </c:pt>
                <c:pt idx="6270">
                  <c:v>17.416666666666668</c:v>
                </c:pt>
                <c:pt idx="6271">
                  <c:v>17.419444444444444</c:v>
                </c:pt>
                <c:pt idx="6272">
                  <c:v>17.422222222222221</c:v>
                </c:pt>
                <c:pt idx="6273">
                  <c:v>17.425000000000001</c:v>
                </c:pt>
                <c:pt idx="6274">
                  <c:v>17.427777777777777</c:v>
                </c:pt>
                <c:pt idx="6275">
                  <c:v>17.430555555555557</c:v>
                </c:pt>
                <c:pt idx="6276">
                  <c:v>17.433333333333334</c:v>
                </c:pt>
                <c:pt idx="6277">
                  <c:v>17.43611111111111</c:v>
                </c:pt>
                <c:pt idx="6278">
                  <c:v>17.43888888888889</c:v>
                </c:pt>
                <c:pt idx="6279">
                  <c:v>17.441666666666666</c:v>
                </c:pt>
                <c:pt idx="6280">
                  <c:v>17.444444444444443</c:v>
                </c:pt>
                <c:pt idx="6281">
                  <c:v>17.447222222222223</c:v>
                </c:pt>
                <c:pt idx="6282">
                  <c:v>17.45</c:v>
                </c:pt>
                <c:pt idx="6283">
                  <c:v>17.452777777777779</c:v>
                </c:pt>
                <c:pt idx="6284">
                  <c:v>17.455555555555556</c:v>
                </c:pt>
                <c:pt idx="6285">
                  <c:v>17.458333333333332</c:v>
                </c:pt>
                <c:pt idx="6286">
                  <c:v>17.461111111111112</c:v>
                </c:pt>
                <c:pt idx="6287">
                  <c:v>17.463888888888889</c:v>
                </c:pt>
                <c:pt idx="6288">
                  <c:v>17.466666666666665</c:v>
                </c:pt>
                <c:pt idx="6289">
                  <c:v>17.469444444444445</c:v>
                </c:pt>
                <c:pt idx="6290">
                  <c:v>17.472222222222221</c:v>
                </c:pt>
                <c:pt idx="6291">
                  <c:v>17.475000000000001</c:v>
                </c:pt>
                <c:pt idx="6292">
                  <c:v>17.477777777777778</c:v>
                </c:pt>
                <c:pt idx="6293">
                  <c:v>17.480555555555554</c:v>
                </c:pt>
                <c:pt idx="6294">
                  <c:v>17.483333333333334</c:v>
                </c:pt>
                <c:pt idx="6295">
                  <c:v>17.486111111111111</c:v>
                </c:pt>
                <c:pt idx="6296">
                  <c:v>17.488888888888887</c:v>
                </c:pt>
                <c:pt idx="6297">
                  <c:v>17.491666666666667</c:v>
                </c:pt>
                <c:pt idx="6298">
                  <c:v>17.494444444444444</c:v>
                </c:pt>
                <c:pt idx="6299">
                  <c:v>17.497222222222224</c:v>
                </c:pt>
                <c:pt idx="6300">
                  <c:v>17.5</c:v>
                </c:pt>
                <c:pt idx="6301">
                  <c:v>17.502777777777776</c:v>
                </c:pt>
                <c:pt idx="6302">
                  <c:v>17.505555555555556</c:v>
                </c:pt>
                <c:pt idx="6303">
                  <c:v>17.508333333333333</c:v>
                </c:pt>
                <c:pt idx="6304">
                  <c:v>17.511111111111113</c:v>
                </c:pt>
                <c:pt idx="6305">
                  <c:v>17.513888888888889</c:v>
                </c:pt>
                <c:pt idx="6306">
                  <c:v>17.516666666666666</c:v>
                </c:pt>
                <c:pt idx="6307">
                  <c:v>17.519444444444446</c:v>
                </c:pt>
                <c:pt idx="6308">
                  <c:v>17.522222222222222</c:v>
                </c:pt>
                <c:pt idx="6309">
                  <c:v>17.524999999999999</c:v>
                </c:pt>
                <c:pt idx="6310">
                  <c:v>17.527777777777779</c:v>
                </c:pt>
                <c:pt idx="6311">
                  <c:v>17.530555555555555</c:v>
                </c:pt>
                <c:pt idx="6312">
                  <c:v>17.533333333333335</c:v>
                </c:pt>
                <c:pt idx="6313">
                  <c:v>17.536111111111111</c:v>
                </c:pt>
                <c:pt idx="6314">
                  <c:v>17.538888888888888</c:v>
                </c:pt>
                <c:pt idx="6315">
                  <c:v>17.541666666666668</c:v>
                </c:pt>
                <c:pt idx="6316">
                  <c:v>17.544444444444444</c:v>
                </c:pt>
                <c:pt idx="6317">
                  <c:v>17.547222222222221</c:v>
                </c:pt>
                <c:pt idx="6318">
                  <c:v>17.55</c:v>
                </c:pt>
                <c:pt idx="6319">
                  <c:v>17.552777777777777</c:v>
                </c:pt>
                <c:pt idx="6320">
                  <c:v>17.555555555555557</c:v>
                </c:pt>
                <c:pt idx="6321">
                  <c:v>17.558333333333334</c:v>
                </c:pt>
                <c:pt idx="6322">
                  <c:v>17.56111111111111</c:v>
                </c:pt>
                <c:pt idx="6323">
                  <c:v>17.56388888888889</c:v>
                </c:pt>
                <c:pt idx="6324">
                  <c:v>17.566666666666666</c:v>
                </c:pt>
                <c:pt idx="6325">
                  <c:v>17.569444444444443</c:v>
                </c:pt>
                <c:pt idx="6326">
                  <c:v>17.572222222222223</c:v>
                </c:pt>
                <c:pt idx="6327">
                  <c:v>17.574999999999999</c:v>
                </c:pt>
                <c:pt idx="6328">
                  <c:v>17.577777777777779</c:v>
                </c:pt>
                <c:pt idx="6329">
                  <c:v>17.580555555555556</c:v>
                </c:pt>
                <c:pt idx="6330">
                  <c:v>17.583333333333332</c:v>
                </c:pt>
                <c:pt idx="6331">
                  <c:v>17.586111111111112</c:v>
                </c:pt>
                <c:pt idx="6332">
                  <c:v>17.588888888888889</c:v>
                </c:pt>
                <c:pt idx="6333">
                  <c:v>17.591666666666665</c:v>
                </c:pt>
                <c:pt idx="6334">
                  <c:v>17.594444444444445</c:v>
                </c:pt>
                <c:pt idx="6335">
                  <c:v>17.597222222222221</c:v>
                </c:pt>
                <c:pt idx="6336">
                  <c:v>17.600000000000001</c:v>
                </c:pt>
                <c:pt idx="6337">
                  <c:v>17.602777777777778</c:v>
                </c:pt>
                <c:pt idx="6338">
                  <c:v>17.605555555555554</c:v>
                </c:pt>
                <c:pt idx="6339">
                  <c:v>17.608333333333334</c:v>
                </c:pt>
                <c:pt idx="6340">
                  <c:v>17.611111111111111</c:v>
                </c:pt>
                <c:pt idx="6341">
                  <c:v>17.613888888888887</c:v>
                </c:pt>
                <c:pt idx="6342">
                  <c:v>17.616666666666667</c:v>
                </c:pt>
                <c:pt idx="6343">
                  <c:v>17.619444444444444</c:v>
                </c:pt>
                <c:pt idx="6344">
                  <c:v>17.622222222222224</c:v>
                </c:pt>
                <c:pt idx="6345">
                  <c:v>17.625</c:v>
                </c:pt>
                <c:pt idx="6346">
                  <c:v>17.627777777777776</c:v>
                </c:pt>
                <c:pt idx="6347">
                  <c:v>17.630555555555556</c:v>
                </c:pt>
                <c:pt idx="6348">
                  <c:v>17.633333333333333</c:v>
                </c:pt>
                <c:pt idx="6349">
                  <c:v>17.636111111111113</c:v>
                </c:pt>
                <c:pt idx="6350">
                  <c:v>17.638888888888889</c:v>
                </c:pt>
                <c:pt idx="6351">
                  <c:v>17.641666666666666</c:v>
                </c:pt>
                <c:pt idx="6352">
                  <c:v>17.644444444444446</c:v>
                </c:pt>
                <c:pt idx="6353">
                  <c:v>17.647222222222222</c:v>
                </c:pt>
                <c:pt idx="6354">
                  <c:v>17.649999999999999</c:v>
                </c:pt>
                <c:pt idx="6355">
                  <c:v>17.652777777777779</c:v>
                </c:pt>
                <c:pt idx="6356">
                  <c:v>17.655555555555555</c:v>
                </c:pt>
                <c:pt idx="6357">
                  <c:v>17.658333333333335</c:v>
                </c:pt>
                <c:pt idx="6358">
                  <c:v>17.661111111111111</c:v>
                </c:pt>
                <c:pt idx="6359">
                  <c:v>17.663888888888888</c:v>
                </c:pt>
                <c:pt idx="6360">
                  <c:v>17.666666666666668</c:v>
                </c:pt>
                <c:pt idx="6361">
                  <c:v>17.669444444444444</c:v>
                </c:pt>
                <c:pt idx="6362">
                  <c:v>17.672222222222221</c:v>
                </c:pt>
                <c:pt idx="6363">
                  <c:v>17.675000000000001</c:v>
                </c:pt>
                <c:pt idx="6364">
                  <c:v>17.677777777777777</c:v>
                </c:pt>
                <c:pt idx="6365">
                  <c:v>17.680555555555557</c:v>
                </c:pt>
                <c:pt idx="6366">
                  <c:v>17.683333333333334</c:v>
                </c:pt>
                <c:pt idx="6367">
                  <c:v>17.68611111111111</c:v>
                </c:pt>
                <c:pt idx="6368">
                  <c:v>17.68888888888889</c:v>
                </c:pt>
                <c:pt idx="6369">
                  <c:v>17.691666666666666</c:v>
                </c:pt>
                <c:pt idx="6370">
                  <c:v>17.694444444444443</c:v>
                </c:pt>
                <c:pt idx="6371">
                  <c:v>17.697222222222223</c:v>
                </c:pt>
                <c:pt idx="6372">
                  <c:v>17.7</c:v>
                </c:pt>
                <c:pt idx="6373">
                  <c:v>17.702777777777779</c:v>
                </c:pt>
                <c:pt idx="6374">
                  <c:v>17.705555555555556</c:v>
                </c:pt>
                <c:pt idx="6375">
                  <c:v>17.708333333333332</c:v>
                </c:pt>
                <c:pt idx="6376">
                  <c:v>17.711111111111112</c:v>
                </c:pt>
                <c:pt idx="6377">
                  <c:v>17.713888888888889</c:v>
                </c:pt>
                <c:pt idx="6378">
                  <c:v>17.716666666666665</c:v>
                </c:pt>
                <c:pt idx="6379">
                  <c:v>17.719444444444445</c:v>
                </c:pt>
                <c:pt idx="6380">
                  <c:v>17.722222222222221</c:v>
                </c:pt>
                <c:pt idx="6381">
                  <c:v>17.725000000000001</c:v>
                </c:pt>
                <c:pt idx="6382">
                  <c:v>17.727777777777778</c:v>
                </c:pt>
                <c:pt idx="6383">
                  <c:v>17.730555555555554</c:v>
                </c:pt>
                <c:pt idx="6384">
                  <c:v>17.733333333333334</c:v>
                </c:pt>
                <c:pt idx="6385">
                  <c:v>17.736111111111111</c:v>
                </c:pt>
                <c:pt idx="6386">
                  <c:v>17.738888888888887</c:v>
                </c:pt>
                <c:pt idx="6387">
                  <c:v>17.741666666666667</c:v>
                </c:pt>
                <c:pt idx="6388">
                  <c:v>17.744444444444444</c:v>
                </c:pt>
                <c:pt idx="6389">
                  <c:v>17.747222222222224</c:v>
                </c:pt>
                <c:pt idx="6390">
                  <c:v>17.75</c:v>
                </c:pt>
                <c:pt idx="6391">
                  <c:v>17.752777777777776</c:v>
                </c:pt>
                <c:pt idx="6392">
                  <c:v>17.755555555555556</c:v>
                </c:pt>
                <c:pt idx="6393">
                  <c:v>17.758333333333333</c:v>
                </c:pt>
                <c:pt idx="6394">
                  <c:v>17.761111111111113</c:v>
                </c:pt>
                <c:pt idx="6395">
                  <c:v>17.763888888888889</c:v>
                </c:pt>
                <c:pt idx="6396">
                  <c:v>17.766666666666666</c:v>
                </c:pt>
                <c:pt idx="6397">
                  <c:v>17.769444444444446</c:v>
                </c:pt>
                <c:pt idx="6398">
                  <c:v>17.772222222222222</c:v>
                </c:pt>
                <c:pt idx="6399">
                  <c:v>17.774999999999999</c:v>
                </c:pt>
                <c:pt idx="6400">
                  <c:v>17.777777777777779</c:v>
                </c:pt>
                <c:pt idx="6401">
                  <c:v>17.780555555555555</c:v>
                </c:pt>
                <c:pt idx="6402">
                  <c:v>17.783333333333335</c:v>
                </c:pt>
                <c:pt idx="6403">
                  <c:v>17.786111111111111</c:v>
                </c:pt>
                <c:pt idx="6404">
                  <c:v>17.788888888888888</c:v>
                </c:pt>
                <c:pt idx="6405">
                  <c:v>17.791666666666668</c:v>
                </c:pt>
                <c:pt idx="6406">
                  <c:v>17.794444444444444</c:v>
                </c:pt>
                <c:pt idx="6407">
                  <c:v>17.797222222222221</c:v>
                </c:pt>
                <c:pt idx="6408">
                  <c:v>17.8</c:v>
                </c:pt>
                <c:pt idx="6409">
                  <c:v>17.802777777777777</c:v>
                </c:pt>
                <c:pt idx="6410">
                  <c:v>17.805555555555557</c:v>
                </c:pt>
                <c:pt idx="6411">
                  <c:v>17.808333333333334</c:v>
                </c:pt>
                <c:pt idx="6412">
                  <c:v>17.81111111111111</c:v>
                </c:pt>
                <c:pt idx="6413">
                  <c:v>17.81388888888889</c:v>
                </c:pt>
                <c:pt idx="6414">
                  <c:v>17.816666666666666</c:v>
                </c:pt>
                <c:pt idx="6415">
                  <c:v>17.819444444444443</c:v>
                </c:pt>
                <c:pt idx="6416">
                  <c:v>17.822222222222223</c:v>
                </c:pt>
                <c:pt idx="6417">
                  <c:v>17.824999999999999</c:v>
                </c:pt>
                <c:pt idx="6418">
                  <c:v>17.827777777777779</c:v>
                </c:pt>
                <c:pt idx="6419">
                  <c:v>17.830555555555556</c:v>
                </c:pt>
                <c:pt idx="6420">
                  <c:v>17.833333333333332</c:v>
                </c:pt>
                <c:pt idx="6421">
                  <c:v>17.836111111111112</c:v>
                </c:pt>
                <c:pt idx="6422">
                  <c:v>17.838888888888889</c:v>
                </c:pt>
                <c:pt idx="6423">
                  <c:v>17.841666666666665</c:v>
                </c:pt>
                <c:pt idx="6424">
                  <c:v>17.844444444444445</c:v>
                </c:pt>
                <c:pt idx="6425">
                  <c:v>17.847222222222221</c:v>
                </c:pt>
                <c:pt idx="6426">
                  <c:v>17.850000000000001</c:v>
                </c:pt>
                <c:pt idx="6427">
                  <c:v>17.852777777777778</c:v>
                </c:pt>
                <c:pt idx="6428">
                  <c:v>17.855555555555554</c:v>
                </c:pt>
                <c:pt idx="6429">
                  <c:v>17.858333333333334</c:v>
                </c:pt>
                <c:pt idx="6430">
                  <c:v>17.861111111111111</c:v>
                </c:pt>
                <c:pt idx="6431">
                  <c:v>17.863888888888887</c:v>
                </c:pt>
                <c:pt idx="6432">
                  <c:v>17.866666666666667</c:v>
                </c:pt>
                <c:pt idx="6433">
                  <c:v>17.869444444444444</c:v>
                </c:pt>
                <c:pt idx="6434">
                  <c:v>17.872222222222224</c:v>
                </c:pt>
                <c:pt idx="6435">
                  <c:v>17.875</c:v>
                </c:pt>
                <c:pt idx="6436">
                  <c:v>17.877777777777776</c:v>
                </c:pt>
                <c:pt idx="6437">
                  <c:v>17.880555555555556</c:v>
                </c:pt>
                <c:pt idx="6438">
                  <c:v>17.883333333333333</c:v>
                </c:pt>
                <c:pt idx="6439">
                  <c:v>17.886111111111113</c:v>
                </c:pt>
                <c:pt idx="6440">
                  <c:v>17.888888888888889</c:v>
                </c:pt>
                <c:pt idx="6441">
                  <c:v>17.891666666666666</c:v>
                </c:pt>
                <c:pt idx="6442">
                  <c:v>17.894444444444446</c:v>
                </c:pt>
                <c:pt idx="6443">
                  <c:v>17.897222222222222</c:v>
                </c:pt>
                <c:pt idx="6444">
                  <c:v>17.899999999999999</c:v>
                </c:pt>
                <c:pt idx="6445">
                  <c:v>17.902777777777779</c:v>
                </c:pt>
                <c:pt idx="6446">
                  <c:v>17.905555555555555</c:v>
                </c:pt>
                <c:pt idx="6447">
                  <c:v>17.908333333333335</c:v>
                </c:pt>
                <c:pt idx="6448">
                  <c:v>17.911111111111111</c:v>
                </c:pt>
                <c:pt idx="6449">
                  <c:v>17.913888888888888</c:v>
                </c:pt>
                <c:pt idx="6450">
                  <c:v>17.916666666666668</c:v>
                </c:pt>
                <c:pt idx="6451">
                  <c:v>17.919444444444444</c:v>
                </c:pt>
                <c:pt idx="6452">
                  <c:v>17.922222222222221</c:v>
                </c:pt>
                <c:pt idx="6453">
                  <c:v>17.925000000000001</c:v>
                </c:pt>
                <c:pt idx="6454">
                  <c:v>17.927777777777777</c:v>
                </c:pt>
                <c:pt idx="6455">
                  <c:v>17.930555555555557</c:v>
                </c:pt>
                <c:pt idx="6456">
                  <c:v>17.933333333333334</c:v>
                </c:pt>
                <c:pt idx="6457">
                  <c:v>17.93611111111111</c:v>
                </c:pt>
                <c:pt idx="6458">
                  <c:v>17.93888888888889</c:v>
                </c:pt>
                <c:pt idx="6459">
                  <c:v>17.941666666666666</c:v>
                </c:pt>
                <c:pt idx="6460">
                  <c:v>17.944444444444443</c:v>
                </c:pt>
                <c:pt idx="6461">
                  <c:v>17.947222222222223</c:v>
                </c:pt>
                <c:pt idx="6462">
                  <c:v>17.95</c:v>
                </c:pt>
                <c:pt idx="6463">
                  <c:v>17.952777777777779</c:v>
                </c:pt>
                <c:pt idx="6464">
                  <c:v>17.955555555555556</c:v>
                </c:pt>
                <c:pt idx="6465">
                  <c:v>17.958333333333332</c:v>
                </c:pt>
                <c:pt idx="6466">
                  <c:v>17.961111111111112</c:v>
                </c:pt>
                <c:pt idx="6467">
                  <c:v>17.963888888888889</c:v>
                </c:pt>
                <c:pt idx="6468">
                  <c:v>17.966666666666665</c:v>
                </c:pt>
                <c:pt idx="6469">
                  <c:v>17.969444444444445</c:v>
                </c:pt>
                <c:pt idx="6470">
                  <c:v>17.972222222222221</c:v>
                </c:pt>
                <c:pt idx="6471">
                  <c:v>17.975000000000001</c:v>
                </c:pt>
                <c:pt idx="6472">
                  <c:v>17.977777777777778</c:v>
                </c:pt>
                <c:pt idx="6473">
                  <c:v>17.980555555555554</c:v>
                </c:pt>
                <c:pt idx="6474">
                  <c:v>17.983333333333334</c:v>
                </c:pt>
                <c:pt idx="6475">
                  <c:v>17.986111111111111</c:v>
                </c:pt>
                <c:pt idx="6476">
                  <c:v>17.988888888888887</c:v>
                </c:pt>
                <c:pt idx="6477">
                  <c:v>17.991666666666667</c:v>
                </c:pt>
                <c:pt idx="6478">
                  <c:v>17.994444444444444</c:v>
                </c:pt>
                <c:pt idx="6479">
                  <c:v>17.997222222222224</c:v>
                </c:pt>
                <c:pt idx="6480">
                  <c:v>18</c:v>
                </c:pt>
                <c:pt idx="6481">
                  <c:v>18.002777777777776</c:v>
                </c:pt>
                <c:pt idx="6482">
                  <c:v>18.005555555555556</c:v>
                </c:pt>
                <c:pt idx="6483">
                  <c:v>18.008333333333333</c:v>
                </c:pt>
                <c:pt idx="6484">
                  <c:v>18.011111111111113</c:v>
                </c:pt>
                <c:pt idx="6485">
                  <c:v>18.013888888888889</c:v>
                </c:pt>
                <c:pt idx="6486">
                  <c:v>18.016666666666666</c:v>
                </c:pt>
                <c:pt idx="6487">
                  <c:v>18.019444444444446</c:v>
                </c:pt>
                <c:pt idx="6488">
                  <c:v>18.022222222222222</c:v>
                </c:pt>
                <c:pt idx="6489">
                  <c:v>18.024999999999999</c:v>
                </c:pt>
                <c:pt idx="6490">
                  <c:v>18.027777777777779</c:v>
                </c:pt>
                <c:pt idx="6491">
                  <c:v>18.030555555555555</c:v>
                </c:pt>
                <c:pt idx="6492">
                  <c:v>18.033333333333335</c:v>
                </c:pt>
                <c:pt idx="6493">
                  <c:v>18.036111111111111</c:v>
                </c:pt>
                <c:pt idx="6494">
                  <c:v>18.038888888888888</c:v>
                </c:pt>
                <c:pt idx="6495">
                  <c:v>18.041666666666668</c:v>
                </c:pt>
                <c:pt idx="6496">
                  <c:v>18.044444444444444</c:v>
                </c:pt>
                <c:pt idx="6497">
                  <c:v>18.047222222222221</c:v>
                </c:pt>
                <c:pt idx="6498">
                  <c:v>18.05</c:v>
                </c:pt>
                <c:pt idx="6499">
                  <c:v>18.052777777777777</c:v>
                </c:pt>
                <c:pt idx="6500">
                  <c:v>18.055555555555557</c:v>
                </c:pt>
                <c:pt idx="6501">
                  <c:v>18.058333333333334</c:v>
                </c:pt>
                <c:pt idx="6502">
                  <c:v>18.06111111111111</c:v>
                </c:pt>
                <c:pt idx="6503">
                  <c:v>18.06388888888889</c:v>
                </c:pt>
                <c:pt idx="6504">
                  <c:v>18.066666666666666</c:v>
                </c:pt>
                <c:pt idx="6505">
                  <c:v>18.069444444444443</c:v>
                </c:pt>
                <c:pt idx="6506">
                  <c:v>18.072222222222223</c:v>
                </c:pt>
                <c:pt idx="6507">
                  <c:v>18.074999999999999</c:v>
                </c:pt>
                <c:pt idx="6508">
                  <c:v>18.077777777777779</c:v>
                </c:pt>
                <c:pt idx="6509">
                  <c:v>18.080555555555556</c:v>
                </c:pt>
                <c:pt idx="6510">
                  <c:v>18.083333333333332</c:v>
                </c:pt>
                <c:pt idx="6511">
                  <c:v>18.086111111111112</c:v>
                </c:pt>
                <c:pt idx="6512">
                  <c:v>18.088888888888889</c:v>
                </c:pt>
                <c:pt idx="6513">
                  <c:v>18.091666666666665</c:v>
                </c:pt>
                <c:pt idx="6514">
                  <c:v>18.094444444444445</c:v>
                </c:pt>
                <c:pt idx="6515">
                  <c:v>18.097222222222221</c:v>
                </c:pt>
                <c:pt idx="6516">
                  <c:v>18.100000000000001</c:v>
                </c:pt>
                <c:pt idx="6517">
                  <c:v>18.102777777777778</c:v>
                </c:pt>
                <c:pt idx="6518">
                  <c:v>18.105555555555554</c:v>
                </c:pt>
                <c:pt idx="6519">
                  <c:v>18.108333333333334</c:v>
                </c:pt>
                <c:pt idx="6520">
                  <c:v>18.111111111111111</c:v>
                </c:pt>
                <c:pt idx="6521">
                  <c:v>18.113888888888887</c:v>
                </c:pt>
                <c:pt idx="6522">
                  <c:v>18.116666666666667</c:v>
                </c:pt>
                <c:pt idx="6523">
                  <c:v>18.119444444444444</c:v>
                </c:pt>
                <c:pt idx="6524">
                  <c:v>18.122222222222224</c:v>
                </c:pt>
                <c:pt idx="6525">
                  <c:v>18.125</c:v>
                </c:pt>
                <c:pt idx="6526">
                  <c:v>18.127777777777776</c:v>
                </c:pt>
                <c:pt idx="6527">
                  <c:v>18.130555555555556</c:v>
                </c:pt>
                <c:pt idx="6528">
                  <c:v>18.133333333333333</c:v>
                </c:pt>
                <c:pt idx="6529">
                  <c:v>18.136111111111113</c:v>
                </c:pt>
                <c:pt idx="6530">
                  <c:v>18.138888888888889</c:v>
                </c:pt>
                <c:pt idx="6531">
                  <c:v>18.141666666666666</c:v>
                </c:pt>
                <c:pt idx="6532">
                  <c:v>18.144444444444446</c:v>
                </c:pt>
                <c:pt idx="6533">
                  <c:v>18.147222222222222</c:v>
                </c:pt>
                <c:pt idx="6534">
                  <c:v>18.149999999999999</c:v>
                </c:pt>
                <c:pt idx="6535">
                  <c:v>18.152777777777779</c:v>
                </c:pt>
                <c:pt idx="6536">
                  <c:v>18.155555555555555</c:v>
                </c:pt>
                <c:pt idx="6537">
                  <c:v>18.158333333333335</c:v>
                </c:pt>
                <c:pt idx="6538">
                  <c:v>18.161111111111111</c:v>
                </c:pt>
                <c:pt idx="6539">
                  <c:v>18.163888888888888</c:v>
                </c:pt>
                <c:pt idx="6540">
                  <c:v>18.166666666666668</c:v>
                </c:pt>
                <c:pt idx="6541">
                  <c:v>18.169444444444444</c:v>
                </c:pt>
                <c:pt idx="6542">
                  <c:v>18.172222222222221</c:v>
                </c:pt>
                <c:pt idx="6543">
                  <c:v>18.175000000000001</c:v>
                </c:pt>
                <c:pt idx="6544">
                  <c:v>18.177777777777777</c:v>
                </c:pt>
                <c:pt idx="6545">
                  <c:v>18.180555555555557</c:v>
                </c:pt>
                <c:pt idx="6546">
                  <c:v>18.183333333333334</c:v>
                </c:pt>
                <c:pt idx="6547">
                  <c:v>18.18611111111111</c:v>
                </c:pt>
                <c:pt idx="6548">
                  <c:v>18.18888888888889</c:v>
                </c:pt>
                <c:pt idx="6549">
                  <c:v>18.191666666666666</c:v>
                </c:pt>
                <c:pt idx="6550">
                  <c:v>18.194444444444443</c:v>
                </c:pt>
                <c:pt idx="6551">
                  <c:v>18.197222222222223</c:v>
                </c:pt>
                <c:pt idx="6552">
                  <c:v>18.2</c:v>
                </c:pt>
                <c:pt idx="6553">
                  <c:v>18.202777777777779</c:v>
                </c:pt>
                <c:pt idx="6554">
                  <c:v>18.205555555555556</c:v>
                </c:pt>
                <c:pt idx="6555">
                  <c:v>18.208333333333332</c:v>
                </c:pt>
                <c:pt idx="6556">
                  <c:v>18.211111111111112</c:v>
                </c:pt>
                <c:pt idx="6557">
                  <c:v>18.213888888888889</c:v>
                </c:pt>
                <c:pt idx="6558">
                  <c:v>18.216666666666665</c:v>
                </c:pt>
                <c:pt idx="6559">
                  <c:v>18.219444444444445</c:v>
                </c:pt>
                <c:pt idx="6560">
                  <c:v>18.222222222222221</c:v>
                </c:pt>
                <c:pt idx="6561">
                  <c:v>18.225000000000001</c:v>
                </c:pt>
                <c:pt idx="6562">
                  <c:v>18.227777777777778</c:v>
                </c:pt>
                <c:pt idx="6563">
                  <c:v>18.230555555555554</c:v>
                </c:pt>
                <c:pt idx="6564">
                  <c:v>18.233333333333334</c:v>
                </c:pt>
                <c:pt idx="6565">
                  <c:v>18.236111111111111</c:v>
                </c:pt>
                <c:pt idx="6566">
                  <c:v>18.238888888888887</c:v>
                </c:pt>
                <c:pt idx="6567">
                  <c:v>18.241666666666667</c:v>
                </c:pt>
                <c:pt idx="6568">
                  <c:v>18.244444444444444</c:v>
                </c:pt>
                <c:pt idx="6569">
                  <c:v>18.247222222222224</c:v>
                </c:pt>
                <c:pt idx="6570">
                  <c:v>18.25</c:v>
                </c:pt>
                <c:pt idx="6571">
                  <c:v>18.252777777777776</c:v>
                </c:pt>
                <c:pt idx="6572">
                  <c:v>18.255555555555556</c:v>
                </c:pt>
                <c:pt idx="6573">
                  <c:v>18.258333333333333</c:v>
                </c:pt>
                <c:pt idx="6574">
                  <c:v>18.261111111111113</c:v>
                </c:pt>
                <c:pt idx="6575">
                  <c:v>18.263888888888889</c:v>
                </c:pt>
                <c:pt idx="6576">
                  <c:v>18.266666666666666</c:v>
                </c:pt>
                <c:pt idx="6577">
                  <c:v>18.269444444444446</c:v>
                </c:pt>
                <c:pt idx="6578">
                  <c:v>18.272222222222222</c:v>
                </c:pt>
                <c:pt idx="6579">
                  <c:v>18.274999999999999</c:v>
                </c:pt>
                <c:pt idx="6580">
                  <c:v>18.277777777777779</c:v>
                </c:pt>
                <c:pt idx="6581">
                  <c:v>18.280555555555555</c:v>
                </c:pt>
                <c:pt idx="6582">
                  <c:v>18.283333333333335</c:v>
                </c:pt>
                <c:pt idx="6583">
                  <c:v>18.286111111111111</c:v>
                </c:pt>
                <c:pt idx="6584">
                  <c:v>18.288888888888888</c:v>
                </c:pt>
                <c:pt idx="6585">
                  <c:v>18.291666666666668</c:v>
                </c:pt>
                <c:pt idx="6586">
                  <c:v>18.294444444444444</c:v>
                </c:pt>
                <c:pt idx="6587">
                  <c:v>18.297222222222221</c:v>
                </c:pt>
                <c:pt idx="6588">
                  <c:v>18.3</c:v>
                </c:pt>
                <c:pt idx="6589">
                  <c:v>18.302777777777777</c:v>
                </c:pt>
                <c:pt idx="6590">
                  <c:v>18.305555555555557</c:v>
                </c:pt>
                <c:pt idx="6591">
                  <c:v>18.308333333333334</c:v>
                </c:pt>
                <c:pt idx="6592">
                  <c:v>18.31111111111111</c:v>
                </c:pt>
                <c:pt idx="6593">
                  <c:v>18.31388888888889</c:v>
                </c:pt>
                <c:pt idx="6594">
                  <c:v>18.316666666666666</c:v>
                </c:pt>
                <c:pt idx="6595">
                  <c:v>18.319444444444443</c:v>
                </c:pt>
                <c:pt idx="6596">
                  <c:v>18.322222222222223</c:v>
                </c:pt>
                <c:pt idx="6597">
                  <c:v>18.324999999999999</c:v>
                </c:pt>
                <c:pt idx="6598">
                  <c:v>18.327777777777779</c:v>
                </c:pt>
                <c:pt idx="6599">
                  <c:v>18.330555555555556</c:v>
                </c:pt>
                <c:pt idx="6600">
                  <c:v>18.333333333333332</c:v>
                </c:pt>
                <c:pt idx="6601">
                  <c:v>18.336111111111112</c:v>
                </c:pt>
                <c:pt idx="6602">
                  <c:v>18.338888888888889</c:v>
                </c:pt>
                <c:pt idx="6603">
                  <c:v>18.341666666666665</c:v>
                </c:pt>
                <c:pt idx="6604">
                  <c:v>18.344444444444445</c:v>
                </c:pt>
                <c:pt idx="6605">
                  <c:v>18.347222222222221</c:v>
                </c:pt>
                <c:pt idx="6606">
                  <c:v>18.350000000000001</c:v>
                </c:pt>
                <c:pt idx="6607">
                  <c:v>18.352777777777778</c:v>
                </c:pt>
                <c:pt idx="6608">
                  <c:v>18.355555555555554</c:v>
                </c:pt>
                <c:pt idx="6609">
                  <c:v>18.358333333333334</c:v>
                </c:pt>
                <c:pt idx="6610">
                  <c:v>18.361111111111111</c:v>
                </c:pt>
                <c:pt idx="6611">
                  <c:v>18.363888888888887</c:v>
                </c:pt>
                <c:pt idx="6612">
                  <c:v>18.366666666666667</c:v>
                </c:pt>
                <c:pt idx="6613">
                  <c:v>18.369444444444444</c:v>
                </c:pt>
                <c:pt idx="6614">
                  <c:v>18.372222222222224</c:v>
                </c:pt>
                <c:pt idx="6615">
                  <c:v>18.375</c:v>
                </c:pt>
                <c:pt idx="6616">
                  <c:v>18.377777777777776</c:v>
                </c:pt>
                <c:pt idx="6617">
                  <c:v>18.380555555555556</c:v>
                </c:pt>
                <c:pt idx="6618">
                  <c:v>18.383333333333333</c:v>
                </c:pt>
                <c:pt idx="6619">
                  <c:v>18.386111111111113</c:v>
                </c:pt>
                <c:pt idx="6620">
                  <c:v>18.388888888888889</c:v>
                </c:pt>
                <c:pt idx="6621">
                  <c:v>18.391666666666666</c:v>
                </c:pt>
                <c:pt idx="6622">
                  <c:v>18.394444444444446</c:v>
                </c:pt>
                <c:pt idx="6623">
                  <c:v>18.397222222222222</c:v>
                </c:pt>
                <c:pt idx="6624">
                  <c:v>18.399999999999999</c:v>
                </c:pt>
                <c:pt idx="6625">
                  <c:v>18.402777777777779</c:v>
                </c:pt>
                <c:pt idx="6626">
                  <c:v>18.405555555555555</c:v>
                </c:pt>
                <c:pt idx="6627">
                  <c:v>18.408333333333335</c:v>
                </c:pt>
                <c:pt idx="6628">
                  <c:v>18.411111111111111</c:v>
                </c:pt>
                <c:pt idx="6629">
                  <c:v>18.413888888888888</c:v>
                </c:pt>
                <c:pt idx="6630">
                  <c:v>18.416666666666668</c:v>
                </c:pt>
                <c:pt idx="6631">
                  <c:v>18.419444444444444</c:v>
                </c:pt>
                <c:pt idx="6632">
                  <c:v>18.422222222222221</c:v>
                </c:pt>
                <c:pt idx="6633">
                  <c:v>18.425000000000001</c:v>
                </c:pt>
                <c:pt idx="6634">
                  <c:v>18.427777777777777</c:v>
                </c:pt>
                <c:pt idx="6635">
                  <c:v>18.430555555555557</c:v>
                </c:pt>
                <c:pt idx="6636">
                  <c:v>18.433333333333334</c:v>
                </c:pt>
                <c:pt idx="6637">
                  <c:v>18.43611111111111</c:v>
                </c:pt>
                <c:pt idx="6638">
                  <c:v>18.43888888888889</c:v>
                </c:pt>
                <c:pt idx="6639">
                  <c:v>18.441666666666666</c:v>
                </c:pt>
                <c:pt idx="6640">
                  <c:v>18.444444444444443</c:v>
                </c:pt>
                <c:pt idx="6641">
                  <c:v>18.447222222222223</c:v>
                </c:pt>
                <c:pt idx="6642">
                  <c:v>18.45</c:v>
                </c:pt>
                <c:pt idx="6643">
                  <c:v>18.452777777777779</c:v>
                </c:pt>
                <c:pt idx="6644">
                  <c:v>18.455555555555556</c:v>
                </c:pt>
                <c:pt idx="6645">
                  <c:v>18.458333333333332</c:v>
                </c:pt>
                <c:pt idx="6646">
                  <c:v>18.461111111111112</c:v>
                </c:pt>
                <c:pt idx="6647">
                  <c:v>18.463888888888889</c:v>
                </c:pt>
                <c:pt idx="6648">
                  <c:v>18.466666666666665</c:v>
                </c:pt>
                <c:pt idx="6649">
                  <c:v>18.469444444444445</c:v>
                </c:pt>
                <c:pt idx="6650">
                  <c:v>18.472222222222221</c:v>
                </c:pt>
                <c:pt idx="6651">
                  <c:v>18.475000000000001</c:v>
                </c:pt>
                <c:pt idx="6652">
                  <c:v>18.477777777777778</c:v>
                </c:pt>
                <c:pt idx="6653">
                  <c:v>18.480555555555554</c:v>
                </c:pt>
                <c:pt idx="6654">
                  <c:v>18.483333333333334</c:v>
                </c:pt>
                <c:pt idx="6655">
                  <c:v>18.486111111111111</c:v>
                </c:pt>
                <c:pt idx="6656">
                  <c:v>18.488888888888887</c:v>
                </c:pt>
                <c:pt idx="6657">
                  <c:v>18.491666666666667</c:v>
                </c:pt>
                <c:pt idx="6658">
                  <c:v>18.494444444444444</c:v>
                </c:pt>
                <c:pt idx="6659">
                  <c:v>18.497222222222224</c:v>
                </c:pt>
                <c:pt idx="6660">
                  <c:v>18.5</c:v>
                </c:pt>
                <c:pt idx="6661">
                  <c:v>18.502777777777776</c:v>
                </c:pt>
                <c:pt idx="6662">
                  <c:v>18.505555555555556</c:v>
                </c:pt>
                <c:pt idx="6663">
                  <c:v>18.508333333333333</c:v>
                </c:pt>
                <c:pt idx="6664">
                  <c:v>18.511111111111113</c:v>
                </c:pt>
                <c:pt idx="6665">
                  <c:v>18.513888888888889</c:v>
                </c:pt>
                <c:pt idx="6666">
                  <c:v>18.516666666666666</c:v>
                </c:pt>
                <c:pt idx="6667">
                  <c:v>18.519444444444446</c:v>
                </c:pt>
                <c:pt idx="6668">
                  <c:v>18.522222222222222</c:v>
                </c:pt>
                <c:pt idx="6669">
                  <c:v>18.524999999999999</c:v>
                </c:pt>
                <c:pt idx="6670">
                  <c:v>18.527777777777779</c:v>
                </c:pt>
                <c:pt idx="6671">
                  <c:v>18.530555555555555</c:v>
                </c:pt>
                <c:pt idx="6672">
                  <c:v>18.533333333333335</c:v>
                </c:pt>
                <c:pt idx="6673">
                  <c:v>18.536111111111111</c:v>
                </c:pt>
                <c:pt idx="6674">
                  <c:v>18.538888888888888</c:v>
                </c:pt>
                <c:pt idx="6675">
                  <c:v>18.541666666666668</c:v>
                </c:pt>
                <c:pt idx="6676">
                  <c:v>18.544444444444444</c:v>
                </c:pt>
                <c:pt idx="6677">
                  <c:v>18.547222222222221</c:v>
                </c:pt>
                <c:pt idx="6678">
                  <c:v>18.55</c:v>
                </c:pt>
                <c:pt idx="6679">
                  <c:v>18.552777777777777</c:v>
                </c:pt>
                <c:pt idx="6680">
                  <c:v>18.555555555555557</c:v>
                </c:pt>
                <c:pt idx="6681">
                  <c:v>18.558333333333334</c:v>
                </c:pt>
                <c:pt idx="6682">
                  <c:v>18.56111111111111</c:v>
                </c:pt>
                <c:pt idx="6683">
                  <c:v>18.56388888888889</c:v>
                </c:pt>
                <c:pt idx="6684">
                  <c:v>18.566666666666666</c:v>
                </c:pt>
                <c:pt idx="6685">
                  <c:v>18.569444444444443</c:v>
                </c:pt>
                <c:pt idx="6686">
                  <c:v>18.572222222222223</c:v>
                </c:pt>
                <c:pt idx="6687">
                  <c:v>18.574999999999999</c:v>
                </c:pt>
                <c:pt idx="6688">
                  <c:v>18.577777777777779</c:v>
                </c:pt>
                <c:pt idx="6689">
                  <c:v>18.580555555555556</c:v>
                </c:pt>
                <c:pt idx="6690">
                  <c:v>18.583333333333332</c:v>
                </c:pt>
                <c:pt idx="6691">
                  <c:v>18.586111111111112</c:v>
                </c:pt>
                <c:pt idx="6692">
                  <c:v>18.588888888888889</c:v>
                </c:pt>
                <c:pt idx="6693">
                  <c:v>18.591666666666665</c:v>
                </c:pt>
                <c:pt idx="6694">
                  <c:v>18.594444444444445</c:v>
                </c:pt>
                <c:pt idx="6695">
                  <c:v>18.597222222222221</c:v>
                </c:pt>
                <c:pt idx="6696">
                  <c:v>18.600000000000001</c:v>
                </c:pt>
                <c:pt idx="6697">
                  <c:v>18.602777777777778</c:v>
                </c:pt>
                <c:pt idx="6698">
                  <c:v>18.605555555555554</c:v>
                </c:pt>
                <c:pt idx="6699">
                  <c:v>18.608333333333334</c:v>
                </c:pt>
                <c:pt idx="6700">
                  <c:v>18.611111111111111</c:v>
                </c:pt>
                <c:pt idx="6701">
                  <c:v>18.613888888888887</c:v>
                </c:pt>
                <c:pt idx="6702">
                  <c:v>18.616666666666667</c:v>
                </c:pt>
                <c:pt idx="6703">
                  <c:v>18.619444444444444</c:v>
                </c:pt>
                <c:pt idx="6704">
                  <c:v>18.622222222222224</c:v>
                </c:pt>
                <c:pt idx="6705">
                  <c:v>18.625</c:v>
                </c:pt>
                <c:pt idx="6706">
                  <c:v>18.627777777777776</c:v>
                </c:pt>
                <c:pt idx="6707">
                  <c:v>18.630555555555556</c:v>
                </c:pt>
                <c:pt idx="6708">
                  <c:v>18.633333333333333</c:v>
                </c:pt>
                <c:pt idx="6709">
                  <c:v>18.636111111111113</c:v>
                </c:pt>
                <c:pt idx="6710">
                  <c:v>18.638888888888889</c:v>
                </c:pt>
                <c:pt idx="6711">
                  <c:v>18.641666666666666</c:v>
                </c:pt>
                <c:pt idx="6712">
                  <c:v>18.644444444444446</c:v>
                </c:pt>
                <c:pt idx="6713">
                  <c:v>18.647222222222222</c:v>
                </c:pt>
                <c:pt idx="6714">
                  <c:v>18.649999999999999</c:v>
                </c:pt>
                <c:pt idx="6715">
                  <c:v>18.652777777777779</c:v>
                </c:pt>
                <c:pt idx="6716">
                  <c:v>18.655555555555555</c:v>
                </c:pt>
                <c:pt idx="6717">
                  <c:v>18.658333333333335</c:v>
                </c:pt>
                <c:pt idx="6718">
                  <c:v>18.661111111111111</c:v>
                </c:pt>
                <c:pt idx="6719">
                  <c:v>18.663888888888888</c:v>
                </c:pt>
                <c:pt idx="6720">
                  <c:v>18.666666666666668</c:v>
                </c:pt>
                <c:pt idx="6721">
                  <c:v>18.669444444444444</c:v>
                </c:pt>
                <c:pt idx="6722">
                  <c:v>18.672222222222221</c:v>
                </c:pt>
                <c:pt idx="6723">
                  <c:v>18.675000000000001</c:v>
                </c:pt>
                <c:pt idx="6724">
                  <c:v>18.677777777777777</c:v>
                </c:pt>
                <c:pt idx="6725">
                  <c:v>18.680555555555557</c:v>
                </c:pt>
                <c:pt idx="6726">
                  <c:v>18.683333333333334</c:v>
                </c:pt>
                <c:pt idx="6727">
                  <c:v>18.68611111111111</c:v>
                </c:pt>
                <c:pt idx="6728">
                  <c:v>18.68888888888889</c:v>
                </c:pt>
                <c:pt idx="6729">
                  <c:v>18.691666666666666</c:v>
                </c:pt>
                <c:pt idx="6730">
                  <c:v>18.694444444444443</c:v>
                </c:pt>
                <c:pt idx="6731">
                  <c:v>18.697222222222223</c:v>
                </c:pt>
                <c:pt idx="6732">
                  <c:v>18.7</c:v>
                </c:pt>
                <c:pt idx="6733">
                  <c:v>18.702777777777779</c:v>
                </c:pt>
                <c:pt idx="6734">
                  <c:v>18.705555555555556</c:v>
                </c:pt>
                <c:pt idx="6735">
                  <c:v>18.708333333333332</c:v>
                </c:pt>
                <c:pt idx="6736">
                  <c:v>18.711111111111112</c:v>
                </c:pt>
                <c:pt idx="6737">
                  <c:v>18.713888888888889</c:v>
                </c:pt>
                <c:pt idx="6738">
                  <c:v>18.716666666666665</c:v>
                </c:pt>
                <c:pt idx="6739">
                  <c:v>18.719444444444445</c:v>
                </c:pt>
                <c:pt idx="6740">
                  <c:v>18.722222222222221</c:v>
                </c:pt>
                <c:pt idx="6741">
                  <c:v>18.725000000000001</c:v>
                </c:pt>
                <c:pt idx="6742">
                  <c:v>18.727777777777778</c:v>
                </c:pt>
                <c:pt idx="6743">
                  <c:v>18.730555555555554</c:v>
                </c:pt>
                <c:pt idx="6744">
                  <c:v>18.733333333333334</c:v>
                </c:pt>
                <c:pt idx="6745">
                  <c:v>18.736111111111111</c:v>
                </c:pt>
                <c:pt idx="6746">
                  <c:v>18.738888888888887</c:v>
                </c:pt>
                <c:pt idx="6747">
                  <c:v>18.741666666666667</c:v>
                </c:pt>
                <c:pt idx="6748">
                  <c:v>18.744444444444444</c:v>
                </c:pt>
                <c:pt idx="6749">
                  <c:v>18.747222222222224</c:v>
                </c:pt>
                <c:pt idx="6750">
                  <c:v>18.75</c:v>
                </c:pt>
                <c:pt idx="6751">
                  <c:v>18.752777777777776</c:v>
                </c:pt>
                <c:pt idx="6752">
                  <c:v>18.755555555555556</c:v>
                </c:pt>
                <c:pt idx="6753">
                  <c:v>18.758333333333333</c:v>
                </c:pt>
                <c:pt idx="6754">
                  <c:v>18.761111111111113</c:v>
                </c:pt>
                <c:pt idx="6755">
                  <c:v>18.763888888888889</c:v>
                </c:pt>
                <c:pt idx="6756">
                  <c:v>18.766666666666666</c:v>
                </c:pt>
                <c:pt idx="6757">
                  <c:v>18.769444444444446</c:v>
                </c:pt>
                <c:pt idx="6758">
                  <c:v>18.772222222222222</c:v>
                </c:pt>
                <c:pt idx="6759">
                  <c:v>18.774999999999999</c:v>
                </c:pt>
                <c:pt idx="6760">
                  <c:v>18.777777777777779</c:v>
                </c:pt>
                <c:pt idx="6761">
                  <c:v>18.780555555555555</c:v>
                </c:pt>
                <c:pt idx="6762">
                  <c:v>18.783333333333335</c:v>
                </c:pt>
                <c:pt idx="6763">
                  <c:v>18.786111111111111</c:v>
                </c:pt>
                <c:pt idx="6764">
                  <c:v>18.788888888888888</c:v>
                </c:pt>
                <c:pt idx="6765">
                  <c:v>18.791666666666668</c:v>
                </c:pt>
                <c:pt idx="6766">
                  <c:v>18.794444444444444</c:v>
                </c:pt>
                <c:pt idx="6767">
                  <c:v>18.797222222222221</c:v>
                </c:pt>
                <c:pt idx="6768">
                  <c:v>18.8</c:v>
                </c:pt>
                <c:pt idx="6769">
                  <c:v>18.802777777777777</c:v>
                </c:pt>
                <c:pt idx="6770">
                  <c:v>18.805555555555557</c:v>
                </c:pt>
                <c:pt idx="6771">
                  <c:v>18.808333333333334</c:v>
                </c:pt>
                <c:pt idx="6772">
                  <c:v>18.81111111111111</c:v>
                </c:pt>
                <c:pt idx="6773">
                  <c:v>18.81388888888889</c:v>
                </c:pt>
                <c:pt idx="6774">
                  <c:v>18.816666666666666</c:v>
                </c:pt>
                <c:pt idx="6775">
                  <c:v>18.819444444444443</c:v>
                </c:pt>
                <c:pt idx="6776">
                  <c:v>18.822222222222223</c:v>
                </c:pt>
                <c:pt idx="6777">
                  <c:v>18.824999999999999</c:v>
                </c:pt>
                <c:pt idx="6778">
                  <c:v>18.827777777777779</c:v>
                </c:pt>
                <c:pt idx="6779">
                  <c:v>18.830555555555556</c:v>
                </c:pt>
                <c:pt idx="6780">
                  <c:v>18.833333333333332</c:v>
                </c:pt>
                <c:pt idx="6781">
                  <c:v>18.836111111111112</c:v>
                </c:pt>
                <c:pt idx="6782">
                  <c:v>18.838888888888889</c:v>
                </c:pt>
                <c:pt idx="6783">
                  <c:v>18.841666666666665</c:v>
                </c:pt>
                <c:pt idx="6784">
                  <c:v>18.844444444444445</c:v>
                </c:pt>
                <c:pt idx="6785">
                  <c:v>18.847222222222221</c:v>
                </c:pt>
                <c:pt idx="6786">
                  <c:v>18.850000000000001</c:v>
                </c:pt>
                <c:pt idx="6787">
                  <c:v>18.852777777777778</c:v>
                </c:pt>
                <c:pt idx="6788">
                  <c:v>18.855555555555554</c:v>
                </c:pt>
                <c:pt idx="6789">
                  <c:v>18.858333333333334</c:v>
                </c:pt>
                <c:pt idx="6790">
                  <c:v>18.861111111111111</c:v>
                </c:pt>
                <c:pt idx="6791">
                  <c:v>18.863888888888887</c:v>
                </c:pt>
                <c:pt idx="6792">
                  <c:v>18.866666666666667</c:v>
                </c:pt>
                <c:pt idx="6793">
                  <c:v>18.869444444444444</c:v>
                </c:pt>
                <c:pt idx="6794">
                  <c:v>18.872222222222224</c:v>
                </c:pt>
                <c:pt idx="6795">
                  <c:v>18.875</c:v>
                </c:pt>
                <c:pt idx="6796">
                  <c:v>18.877777777777776</c:v>
                </c:pt>
                <c:pt idx="6797">
                  <c:v>18.880555555555556</c:v>
                </c:pt>
                <c:pt idx="6798">
                  <c:v>18.883333333333333</c:v>
                </c:pt>
                <c:pt idx="6799">
                  <c:v>18.886111111111113</c:v>
                </c:pt>
                <c:pt idx="6800">
                  <c:v>18.888888888888889</c:v>
                </c:pt>
                <c:pt idx="6801">
                  <c:v>18.891666666666666</c:v>
                </c:pt>
                <c:pt idx="6802">
                  <c:v>18.894444444444446</c:v>
                </c:pt>
                <c:pt idx="6803">
                  <c:v>18.897222222222222</c:v>
                </c:pt>
                <c:pt idx="6804">
                  <c:v>18.899999999999999</c:v>
                </c:pt>
                <c:pt idx="6805">
                  <c:v>18.902777777777779</c:v>
                </c:pt>
                <c:pt idx="6806">
                  <c:v>18.905555555555555</c:v>
                </c:pt>
                <c:pt idx="6807">
                  <c:v>18.908333333333335</c:v>
                </c:pt>
                <c:pt idx="6808">
                  <c:v>18.911111111111111</c:v>
                </c:pt>
                <c:pt idx="6809">
                  <c:v>18.913888888888888</c:v>
                </c:pt>
                <c:pt idx="6810">
                  <c:v>18.916666666666668</c:v>
                </c:pt>
                <c:pt idx="6811">
                  <c:v>18.919444444444444</c:v>
                </c:pt>
                <c:pt idx="6812">
                  <c:v>18.922222222222221</c:v>
                </c:pt>
                <c:pt idx="6813">
                  <c:v>18.925000000000001</c:v>
                </c:pt>
                <c:pt idx="6814">
                  <c:v>18.927777777777777</c:v>
                </c:pt>
                <c:pt idx="6815">
                  <c:v>18.930555555555557</c:v>
                </c:pt>
                <c:pt idx="6816">
                  <c:v>18.933333333333334</c:v>
                </c:pt>
                <c:pt idx="6817">
                  <c:v>18.93611111111111</c:v>
                </c:pt>
                <c:pt idx="6818">
                  <c:v>18.93888888888889</c:v>
                </c:pt>
                <c:pt idx="6819">
                  <c:v>18.941666666666666</c:v>
                </c:pt>
                <c:pt idx="6820">
                  <c:v>18.944444444444443</c:v>
                </c:pt>
                <c:pt idx="6821">
                  <c:v>18.947222222222223</c:v>
                </c:pt>
                <c:pt idx="6822">
                  <c:v>18.95</c:v>
                </c:pt>
                <c:pt idx="6823">
                  <c:v>18.952777777777779</c:v>
                </c:pt>
                <c:pt idx="6824">
                  <c:v>18.955555555555556</c:v>
                </c:pt>
                <c:pt idx="6825">
                  <c:v>18.958333333333332</c:v>
                </c:pt>
                <c:pt idx="6826">
                  <c:v>18.961111111111112</c:v>
                </c:pt>
                <c:pt idx="6827">
                  <c:v>18.963888888888889</c:v>
                </c:pt>
                <c:pt idx="6828">
                  <c:v>18.966666666666665</c:v>
                </c:pt>
                <c:pt idx="6829">
                  <c:v>18.969444444444445</c:v>
                </c:pt>
                <c:pt idx="6830">
                  <c:v>18.972222222222221</c:v>
                </c:pt>
                <c:pt idx="6831">
                  <c:v>18.975000000000001</c:v>
                </c:pt>
                <c:pt idx="6832">
                  <c:v>18.977777777777778</c:v>
                </c:pt>
                <c:pt idx="6833">
                  <c:v>18.980555555555554</c:v>
                </c:pt>
                <c:pt idx="6834">
                  <c:v>18.983333333333334</c:v>
                </c:pt>
                <c:pt idx="6835">
                  <c:v>18.986111111111111</c:v>
                </c:pt>
                <c:pt idx="6836">
                  <c:v>18.988888888888887</c:v>
                </c:pt>
                <c:pt idx="6837">
                  <c:v>18.991666666666667</c:v>
                </c:pt>
                <c:pt idx="6838">
                  <c:v>18.994444444444444</c:v>
                </c:pt>
                <c:pt idx="6839">
                  <c:v>18.997222222222224</c:v>
                </c:pt>
                <c:pt idx="6840">
                  <c:v>19</c:v>
                </c:pt>
                <c:pt idx="6841">
                  <c:v>19.002777777777776</c:v>
                </c:pt>
                <c:pt idx="6842">
                  <c:v>19.005555555555556</c:v>
                </c:pt>
                <c:pt idx="6843">
                  <c:v>19.008333333333333</c:v>
                </c:pt>
                <c:pt idx="6844">
                  <c:v>19.011111111111113</c:v>
                </c:pt>
                <c:pt idx="6845">
                  <c:v>19.013888888888889</c:v>
                </c:pt>
                <c:pt idx="6846">
                  <c:v>19.016666666666666</c:v>
                </c:pt>
                <c:pt idx="6847">
                  <c:v>19.019444444444446</c:v>
                </c:pt>
                <c:pt idx="6848">
                  <c:v>19.022222222222222</c:v>
                </c:pt>
                <c:pt idx="6849">
                  <c:v>19.024999999999999</c:v>
                </c:pt>
                <c:pt idx="6850">
                  <c:v>19.027777777777779</c:v>
                </c:pt>
                <c:pt idx="6851">
                  <c:v>19.030555555555555</c:v>
                </c:pt>
                <c:pt idx="6852">
                  <c:v>19.033333333333335</c:v>
                </c:pt>
                <c:pt idx="6853">
                  <c:v>19.036111111111111</c:v>
                </c:pt>
                <c:pt idx="6854">
                  <c:v>19.038888888888888</c:v>
                </c:pt>
                <c:pt idx="6855">
                  <c:v>19.041666666666668</c:v>
                </c:pt>
                <c:pt idx="6856">
                  <c:v>19.044444444444444</c:v>
                </c:pt>
                <c:pt idx="6857">
                  <c:v>19.047222222222221</c:v>
                </c:pt>
                <c:pt idx="6858">
                  <c:v>19.05</c:v>
                </c:pt>
                <c:pt idx="6859">
                  <c:v>19.052777777777777</c:v>
                </c:pt>
                <c:pt idx="6860">
                  <c:v>19.055555555555557</c:v>
                </c:pt>
                <c:pt idx="6861">
                  <c:v>19.058333333333334</c:v>
                </c:pt>
                <c:pt idx="6862">
                  <c:v>19.06111111111111</c:v>
                </c:pt>
                <c:pt idx="6863">
                  <c:v>19.06388888888889</c:v>
                </c:pt>
                <c:pt idx="6864">
                  <c:v>19.066666666666666</c:v>
                </c:pt>
                <c:pt idx="6865">
                  <c:v>19.069444444444443</c:v>
                </c:pt>
                <c:pt idx="6866">
                  <c:v>19.072222222222223</c:v>
                </c:pt>
                <c:pt idx="6867">
                  <c:v>19.074999999999999</c:v>
                </c:pt>
                <c:pt idx="6868">
                  <c:v>19.077777777777779</c:v>
                </c:pt>
                <c:pt idx="6869">
                  <c:v>19.080555555555556</c:v>
                </c:pt>
                <c:pt idx="6870">
                  <c:v>19.083333333333332</c:v>
                </c:pt>
                <c:pt idx="6871">
                  <c:v>19.086111111111112</c:v>
                </c:pt>
                <c:pt idx="6872">
                  <c:v>19.088888888888889</c:v>
                </c:pt>
                <c:pt idx="6873">
                  <c:v>19.091666666666665</c:v>
                </c:pt>
                <c:pt idx="6874">
                  <c:v>19.094444444444445</c:v>
                </c:pt>
                <c:pt idx="6875">
                  <c:v>19.097222222222221</c:v>
                </c:pt>
                <c:pt idx="6876">
                  <c:v>19.100000000000001</c:v>
                </c:pt>
                <c:pt idx="6877">
                  <c:v>19.102777777777778</c:v>
                </c:pt>
                <c:pt idx="6878">
                  <c:v>19.105555555555554</c:v>
                </c:pt>
                <c:pt idx="6879">
                  <c:v>19.108333333333334</c:v>
                </c:pt>
                <c:pt idx="6880">
                  <c:v>19.111111111111111</c:v>
                </c:pt>
                <c:pt idx="6881">
                  <c:v>19.113888888888887</c:v>
                </c:pt>
                <c:pt idx="6882">
                  <c:v>19.116666666666667</c:v>
                </c:pt>
                <c:pt idx="6883">
                  <c:v>19.119444444444444</c:v>
                </c:pt>
                <c:pt idx="6884">
                  <c:v>19.122222222222224</c:v>
                </c:pt>
                <c:pt idx="6885">
                  <c:v>19.125</c:v>
                </c:pt>
                <c:pt idx="6886">
                  <c:v>19.127777777777776</c:v>
                </c:pt>
                <c:pt idx="6887">
                  <c:v>19.130555555555556</c:v>
                </c:pt>
                <c:pt idx="6888">
                  <c:v>19.133333333333333</c:v>
                </c:pt>
                <c:pt idx="6889">
                  <c:v>19.136111111111113</c:v>
                </c:pt>
                <c:pt idx="6890">
                  <c:v>19.138888888888889</c:v>
                </c:pt>
                <c:pt idx="6891">
                  <c:v>19.141666666666666</c:v>
                </c:pt>
                <c:pt idx="6892">
                  <c:v>19.144444444444446</c:v>
                </c:pt>
                <c:pt idx="6893">
                  <c:v>19.147222222222222</c:v>
                </c:pt>
                <c:pt idx="6894">
                  <c:v>19.149999999999999</c:v>
                </c:pt>
                <c:pt idx="6895">
                  <c:v>19.152777777777779</c:v>
                </c:pt>
                <c:pt idx="6896">
                  <c:v>19.155555555555555</c:v>
                </c:pt>
                <c:pt idx="6897">
                  <c:v>19.158333333333335</c:v>
                </c:pt>
                <c:pt idx="6898">
                  <c:v>19.161111111111111</c:v>
                </c:pt>
                <c:pt idx="6899">
                  <c:v>19.163888888888888</c:v>
                </c:pt>
                <c:pt idx="6900">
                  <c:v>19.166666666666668</c:v>
                </c:pt>
                <c:pt idx="6901">
                  <c:v>19.169444444444444</c:v>
                </c:pt>
                <c:pt idx="6902">
                  <c:v>19.172222222222221</c:v>
                </c:pt>
                <c:pt idx="6903">
                  <c:v>19.175000000000001</c:v>
                </c:pt>
                <c:pt idx="6904">
                  <c:v>19.177777777777777</c:v>
                </c:pt>
                <c:pt idx="6905">
                  <c:v>19.180555555555557</c:v>
                </c:pt>
                <c:pt idx="6906">
                  <c:v>19.183333333333334</c:v>
                </c:pt>
                <c:pt idx="6907">
                  <c:v>19.18611111111111</c:v>
                </c:pt>
                <c:pt idx="6908">
                  <c:v>19.18888888888889</c:v>
                </c:pt>
                <c:pt idx="6909">
                  <c:v>19.191666666666666</c:v>
                </c:pt>
                <c:pt idx="6910">
                  <c:v>19.194444444444443</c:v>
                </c:pt>
                <c:pt idx="6911">
                  <c:v>19.197222222222223</c:v>
                </c:pt>
                <c:pt idx="6912">
                  <c:v>19.2</c:v>
                </c:pt>
                <c:pt idx="6913">
                  <c:v>19.202777777777779</c:v>
                </c:pt>
                <c:pt idx="6914">
                  <c:v>19.205555555555556</c:v>
                </c:pt>
                <c:pt idx="6915">
                  <c:v>19.208333333333332</c:v>
                </c:pt>
                <c:pt idx="6916">
                  <c:v>19.211111111111112</c:v>
                </c:pt>
                <c:pt idx="6917">
                  <c:v>19.213888888888889</c:v>
                </c:pt>
                <c:pt idx="6918">
                  <c:v>19.216666666666665</c:v>
                </c:pt>
                <c:pt idx="6919">
                  <c:v>19.219444444444445</c:v>
                </c:pt>
                <c:pt idx="6920">
                  <c:v>19.222222222222221</c:v>
                </c:pt>
                <c:pt idx="6921">
                  <c:v>19.225000000000001</c:v>
                </c:pt>
                <c:pt idx="6922">
                  <c:v>19.227777777777778</c:v>
                </c:pt>
                <c:pt idx="6923">
                  <c:v>19.230555555555554</c:v>
                </c:pt>
                <c:pt idx="6924">
                  <c:v>19.233333333333334</c:v>
                </c:pt>
                <c:pt idx="6925">
                  <c:v>19.236111111111111</c:v>
                </c:pt>
                <c:pt idx="6926">
                  <c:v>19.238888888888887</c:v>
                </c:pt>
                <c:pt idx="6927">
                  <c:v>19.241666666666667</c:v>
                </c:pt>
                <c:pt idx="6928">
                  <c:v>19.244444444444444</c:v>
                </c:pt>
                <c:pt idx="6929">
                  <c:v>19.247222222222224</c:v>
                </c:pt>
                <c:pt idx="6930">
                  <c:v>19.25</c:v>
                </c:pt>
                <c:pt idx="6931">
                  <c:v>19.252777777777776</c:v>
                </c:pt>
                <c:pt idx="6932">
                  <c:v>19.255555555555556</c:v>
                </c:pt>
                <c:pt idx="6933">
                  <c:v>19.258333333333333</c:v>
                </c:pt>
                <c:pt idx="6934">
                  <c:v>19.261111111111113</c:v>
                </c:pt>
                <c:pt idx="6935">
                  <c:v>19.263888888888889</c:v>
                </c:pt>
                <c:pt idx="6936">
                  <c:v>19.266666666666666</c:v>
                </c:pt>
                <c:pt idx="6937">
                  <c:v>19.269444444444446</c:v>
                </c:pt>
                <c:pt idx="6938">
                  <c:v>19.272222222222222</c:v>
                </c:pt>
                <c:pt idx="6939">
                  <c:v>19.274999999999999</c:v>
                </c:pt>
                <c:pt idx="6940">
                  <c:v>19.277777777777779</c:v>
                </c:pt>
                <c:pt idx="6941">
                  <c:v>19.280555555555555</c:v>
                </c:pt>
                <c:pt idx="6942">
                  <c:v>19.283333333333335</c:v>
                </c:pt>
                <c:pt idx="6943">
                  <c:v>19.286111111111111</c:v>
                </c:pt>
                <c:pt idx="6944">
                  <c:v>19.288888888888888</c:v>
                </c:pt>
                <c:pt idx="6945">
                  <c:v>19.291666666666668</c:v>
                </c:pt>
                <c:pt idx="6946">
                  <c:v>19.294444444444444</c:v>
                </c:pt>
                <c:pt idx="6947">
                  <c:v>19.297222222222221</c:v>
                </c:pt>
                <c:pt idx="6948">
                  <c:v>19.3</c:v>
                </c:pt>
                <c:pt idx="6949">
                  <c:v>19.302777777777777</c:v>
                </c:pt>
                <c:pt idx="6950">
                  <c:v>19.305555555555557</c:v>
                </c:pt>
                <c:pt idx="6951">
                  <c:v>19.308333333333334</c:v>
                </c:pt>
                <c:pt idx="6952">
                  <c:v>19.31111111111111</c:v>
                </c:pt>
                <c:pt idx="6953">
                  <c:v>19.31388888888889</c:v>
                </c:pt>
                <c:pt idx="6954">
                  <c:v>19.316666666666666</c:v>
                </c:pt>
                <c:pt idx="6955">
                  <c:v>19.319444444444443</c:v>
                </c:pt>
                <c:pt idx="6956">
                  <c:v>19.322222222222223</c:v>
                </c:pt>
                <c:pt idx="6957">
                  <c:v>19.324999999999999</c:v>
                </c:pt>
                <c:pt idx="6958">
                  <c:v>19.327777777777779</c:v>
                </c:pt>
                <c:pt idx="6959">
                  <c:v>19.330555555555556</c:v>
                </c:pt>
                <c:pt idx="6960">
                  <c:v>19.333333333333332</c:v>
                </c:pt>
                <c:pt idx="6961">
                  <c:v>19.336111111111112</c:v>
                </c:pt>
                <c:pt idx="6962">
                  <c:v>19.338888888888889</c:v>
                </c:pt>
                <c:pt idx="6963">
                  <c:v>19.341666666666665</c:v>
                </c:pt>
                <c:pt idx="6964">
                  <c:v>19.344444444444445</c:v>
                </c:pt>
                <c:pt idx="6965">
                  <c:v>19.347222222222221</c:v>
                </c:pt>
                <c:pt idx="6966">
                  <c:v>19.350000000000001</c:v>
                </c:pt>
                <c:pt idx="6967">
                  <c:v>19.352777777777778</c:v>
                </c:pt>
                <c:pt idx="6968">
                  <c:v>19.355555555555554</c:v>
                </c:pt>
                <c:pt idx="6969">
                  <c:v>19.358333333333334</c:v>
                </c:pt>
                <c:pt idx="6970">
                  <c:v>19.361111111111111</c:v>
                </c:pt>
                <c:pt idx="6971">
                  <c:v>19.363888888888887</c:v>
                </c:pt>
                <c:pt idx="6972">
                  <c:v>19.366666666666667</c:v>
                </c:pt>
                <c:pt idx="6973">
                  <c:v>19.369444444444444</c:v>
                </c:pt>
                <c:pt idx="6974">
                  <c:v>19.372222222222224</c:v>
                </c:pt>
                <c:pt idx="6975">
                  <c:v>19.375</c:v>
                </c:pt>
                <c:pt idx="6976">
                  <c:v>19.377777777777776</c:v>
                </c:pt>
                <c:pt idx="6977">
                  <c:v>19.380555555555556</c:v>
                </c:pt>
                <c:pt idx="6978">
                  <c:v>19.383333333333333</c:v>
                </c:pt>
                <c:pt idx="6979">
                  <c:v>19.386111111111113</c:v>
                </c:pt>
                <c:pt idx="6980">
                  <c:v>19.388888888888889</c:v>
                </c:pt>
                <c:pt idx="6981">
                  <c:v>19.391666666666666</c:v>
                </c:pt>
                <c:pt idx="6982">
                  <c:v>19.394444444444446</c:v>
                </c:pt>
                <c:pt idx="6983">
                  <c:v>19.397222222222222</c:v>
                </c:pt>
                <c:pt idx="6984">
                  <c:v>19.399999999999999</c:v>
                </c:pt>
                <c:pt idx="6985">
                  <c:v>19.402777777777779</c:v>
                </c:pt>
                <c:pt idx="6986">
                  <c:v>19.405555555555555</c:v>
                </c:pt>
                <c:pt idx="6987">
                  <c:v>19.408333333333335</c:v>
                </c:pt>
                <c:pt idx="6988">
                  <c:v>19.411111111111111</c:v>
                </c:pt>
                <c:pt idx="6989">
                  <c:v>19.413888888888888</c:v>
                </c:pt>
                <c:pt idx="6990">
                  <c:v>19.416666666666668</c:v>
                </c:pt>
                <c:pt idx="6991">
                  <c:v>19.419444444444444</c:v>
                </c:pt>
                <c:pt idx="6992">
                  <c:v>19.422222222222221</c:v>
                </c:pt>
                <c:pt idx="6993">
                  <c:v>19.425000000000001</c:v>
                </c:pt>
                <c:pt idx="6994">
                  <c:v>19.427777777777777</c:v>
                </c:pt>
                <c:pt idx="6995">
                  <c:v>19.430555555555557</c:v>
                </c:pt>
                <c:pt idx="6996">
                  <c:v>19.433333333333334</c:v>
                </c:pt>
                <c:pt idx="6997">
                  <c:v>19.43611111111111</c:v>
                </c:pt>
                <c:pt idx="6998">
                  <c:v>19.43888888888889</c:v>
                </c:pt>
                <c:pt idx="6999">
                  <c:v>19.441666666666666</c:v>
                </c:pt>
                <c:pt idx="7000">
                  <c:v>19.444444444444443</c:v>
                </c:pt>
                <c:pt idx="7001">
                  <c:v>19.447222222222223</c:v>
                </c:pt>
                <c:pt idx="7002">
                  <c:v>19.45</c:v>
                </c:pt>
                <c:pt idx="7003">
                  <c:v>19.452777777777779</c:v>
                </c:pt>
                <c:pt idx="7004">
                  <c:v>19.455555555555556</c:v>
                </c:pt>
                <c:pt idx="7005">
                  <c:v>19.458333333333332</c:v>
                </c:pt>
                <c:pt idx="7006">
                  <c:v>19.461111111111112</c:v>
                </c:pt>
                <c:pt idx="7007">
                  <c:v>19.463888888888889</c:v>
                </c:pt>
                <c:pt idx="7008">
                  <c:v>19.466666666666665</c:v>
                </c:pt>
                <c:pt idx="7009">
                  <c:v>19.469444444444445</c:v>
                </c:pt>
                <c:pt idx="7010">
                  <c:v>19.472222222222221</c:v>
                </c:pt>
                <c:pt idx="7011">
                  <c:v>19.475000000000001</c:v>
                </c:pt>
                <c:pt idx="7012">
                  <c:v>19.477777777777778</c:v>
                </c:pt>
                <c:pt idx="7013">
                  <c:v>19.480555555555554</c:v>
                </c:pt>
                <c:pt idx="7014">
                  <c:v>19.483333333333334</c:v>
                </c:pt>
                <c:pt idx="7015">
                  <c:v>19.486111111111111</c:v>
                </c:pt>
                <c:pt idx="7016">
                  <c:v>19.488888888888887</c:v>
                </c:pt>
                <c:pt idx="7017">
                  <c:v>19.491666666666667</c:v>
                </c:pt>
                <c:pt idx="7018">
                  <c:v>19.494444444444444</c:v>
                </c:pt>
                <c:pt idx="7019">
                  <c:v>19.497222222222224</c:v>
                </c:pt>
                <c:pt idx="7020">
                  <c:v>19.5</c:v>
                </c:pt>
                <c:pt idx="7021">
                  <c:v>19.502777777777776</c:v>
                </c:pt>
                <c:pt idx="7022">
                  <c:v>19.505555555555556</c:v>
                </c:pt>
                <c:pt idx="7023">
                  <c:v>19.508333333333333</c:v>
                </c:pt>
                <c:pt idx="7024">
                  <c:v>19.511111111111113</c:v>
                </c:pt>
                <c:pt idx="7025">
                  <c:v>19.513888888888889</c:v>
                </c:pt>
                <c:pt idx="7026">
                  <c:v>19.516666666666666</c:v>
                </c:pt>
                <c:pt idx="7027">
                  <c:v>19.519444444444446</c:v>
                </c:pt>
                <c:pt idx="7028">
                  <c:v>19.522222222222222</c:v>
                </c:pt>
                <c:pt idx="7029">
                  <c:v>19.524999999999999</c:v>
                </c:pt>
                <c:pt idx="7030">
                  <c:v>19.527777777777779</c:v>
                </c:pt>
                <c:pt idx="7031">
                  <c:v>19.530555555555555</c:v>
                </c:pt>
                <c:pt idx="7032">
                  <c:v>19.533333333333335</c:v>
                </c:pt>
                <c:pt idx="7033">
                  <c:v>19.536111111111111</c:v>
                </c:pt>
                <c:pt idx="7034">
                  <c:v>19.538888888888888</c:v>
                </c:pt>
                <c:pt idx="7035">
                  <c:v>19.541666666666668</c:v>
                </c:pt>
                <c:pt idx="7036">
                  <c:v>19.544444444444444</c:v>
                </c:pt>
                <c:pt idx="7037">
                  <c:v>19.547222222222221</c:v>
                </c:pt>
                <c:pt idx="7038">
                  <c:v>19.55</c:v>
                </c:pt>
                <c:pt idx="7039">
                  <c:v>19.552777777777777</c:v>
                </c:pt>
                <c:pt idx="7040">
                  <c:v>19.555555555555557</c:v>
                </c:pt>
                <c:pt idx="7041">
                  <c:v>19.558333333333334</c:v>
                </c:pt>
                <c:pt idx="7042">
                  <c:v>19.56111111111111</c:v>
                </c:pt>
                <c:pt idx="7043">
                  <c:v>19.56388888888889</c:v>
                </c:pt>
                <c:pt idx="7044">
                  <c:v>19.566666666666666</c:v>
                </c:pt>
                <c:pt idx="7045">
                  <c:v>19.569444444444443</c:v>
                </c:pt>
                <c:pt idx="7046">
                  <c:v>19.572222222222223</c:v>
                </c:pt>
                <c:pt idx="7047">
                  <c:v>19.574999999999999</c:v>
                </c:pt>
                <c:pt idx="7048">
                  <c:v>19.577777777777779</c:v>
                </c:pt>
                <c:pt idx="7049">
                  <c:v>19.580555555555556</c:v>
                </c:pt>
                <c:pt idx="7050">
                  <c:v>19.583333333333332</c:v>
                </c:pt>
                <c:pt idx="7051">
                  <c:v>19.586111111111112</c:v>
                </c:pt>
                <c:pt idx="7052">
                  <c:v>19.588888888888889</c:v>
                </c:pt>
                <c:pt idx="7053">
                  <c:v>19.591666666666665</c:v>
                </c:pt>
                <c:pt idx="7054">
                  <c:v>19.594444444444445</c:v>
                </c:pt>
                <c:pt idx="7055">
                  <c:v>19.597222222222221</c:v>
                </c:pt>
                <c:pt idx="7056">
                  <c:v>19.600000000000001</c:v>
                </c:pt>
                <c:pt idx="7057">
                  <c:v>19.602777777777778</c:v>
                </c:pt>
                <c:pt idx="7058">
                  <c:v>19.605555555555554</c:v>
                </c:pt>
                <c:pt idx="7059">
                  <c:v>19.608333333333334</c:v>
                </c:pt>
                <c:pt idx="7060">
                  <c:v>19.611111111111111</c:v>
                </c:pt>
                <c:pt idx="7061">
                  <c:v>19.613888888888887</c:v>
                </c:pt>
                <c:pt idx="7062">
                  <c:v>19.616666666666667</c:v>
                </c:pt>
                <c:pt idx="7063">
                  <c:v>19.619444444444444</c:v>
                </c:pt>
                <c:pt idx="7064">
                  <c:v>19.622222222222224</c:v>
                </c:pt>
                <c:pt idx="7065">
                  <c:v>19.625</c:v>
                </c:pt>
                <c:pt idx="7066">
                  <c:v>19.627777777777776</c:v>
                </c:pt>
                <c:pt idx="7067">
                  <c:v>19.630555555555556</c:v>
                </c:pt>
                <c:pt idx="7068">
                  <c:v>19.633333333333333</c:v>
                </c:pt>
                <c:pt idx="7069">
                  <c:v>19.636111111111113</c:v>
                </c:pt>
                <c:pt idx="7070">
                  <c:v>19.638888888888889</c:v>
                </c:pt>
                <c:pt idx="7071">
                  <c:v>19.641666666666666</c:v>
                </c:pt>
                <c:pt idx="7072">
                  <c:v>19.644444444444446</c:v>
                </c:pt>
                <c:pt idx="7073">
                  <c:v>19.647222222222222</c:v>
                </c:pt>
                <c:pt idx="7074">
                  <c:v>19.649999999999999</c:v>
                </c:pt>
                <c:pt idx="7075">
                  <c:v>19.652777777777779</c:v>
                </c:pt>
                <c:pt idx="7076">
                  <c:v>19.655555555555555</c:v>
                </c:pt>
                <c:pt idx="7077">
                  <c:v>19.658333333333335</c:v>
                </c:pt>
                <c:pt idx="7078">
                  <c:v>19.661111111111111</c:v>
                </c:pt>
                <c:pt idx="7079">
                  <c:v>19.663888888888888</c:v>
                </c:pt>
                <c:pt idx="7080">
                  <c:v>19.666666666666668</c:v>
                </c:pt>
                <c:pt idx="7081">
                  <c:v>19.669444444444444</c:v>
                </c:pt>
                <c:pt idx="7082">
                  <c:v>19.672222222222221</c:v>
                </c:pt>
                <c:pt idx="7083">
                  <c:v>19.675000000000001</c:v>
                </c:pt>
                <c:pt idx="7084">
                  <c:v>19.677777777777777</c:v>
                </c:pt>
                <c:pt idx="7085">
                  <c:v>19.680555555555557</c:v>
                </c:pt>
                <c:pt idx="7086">
                  <c:v>19.683333333333334</c:v>
                </c:pt>
                <c:pt idx="7087">
                  <c:v>19.68611111111111</c:v>
                </c:pt>
                <c:pt idx="7088">
                  <c:v>19.68888888888889</c:v>
                </c:pt>
                <c:pt idx="7089">
                  <c:v>19.691666666666666</c:v>
                </c:pt>
                <c:pt idx="7090">
                  <c:v>19.694444444444443</c:v>
                </c:pt>
                <c:pt idx="7091">
                  <c:v>19.697222222222223</c:v>
                </c:pt>
                <c:pt idx="7092">
                  <c:v>19.7</c:v>
                </c:pt>
                <c:pt idx="7093">
                  <c:v>19.702777777777779</c:v>
                </c:pt>
                <c:pt idx="7094">
                  <c:v>19.705555555555556</c:v>
                </c:pt>
                <c:pt idx="7095">
                  <c:v>19.708333333333332</c:v>
                </c:pt>
                <c:pt idx="7096">
                  <c:v>19.711111111111112</c:v>
                </c:pt>
                <c:pt idx="7097">
                  <c:v>19.713888888888889</c:v>
                </c:pt>
                <c:pt idx="7098">
                  <c:v>19.716666666666665</c:v>
                </c:pt>
                <c:pt idx="7099">
                  <c:v>19.719444444444445</c:v>
                </c:pt>
                <c:pt idx="7100">
                  <c:v>19.722222222222221</c:v>
                </c:pt>
                <c:pt idx="7101">
                  <c:v>19.725000000000001</c:v>
                </c:pt>
                <c:pt idx="7102">
                  <c:v>19.727777777777778</c:v>
                </c:pt>
                <c:pt idx="7103">
                  <c:v>19.730555555555554</c:v>
                </c:pt>
                <c:pt idx="7104">
                  <c:v>19.733333333333334</c:v>
                </c:pt>
                <c:pt idx="7105">
                  <c:v>19.736111111111111</c:v>
                </c:pt>
                <c:pt idx="7106">
                  <c:v>19.738888888888887</c:v>
                </c:pt>
                <c:pt idx="7107">
                  <c:v>19.741666666666667</c:v>
                </c:pt>
                <c:pt idx="7108">
                  <c:v>19.744444444444444</c:v>
                </c:pt>
                <c:pt idx="7109">
                  <c:v>19.747222222222224</c:v>
                </c:pt>
                <c:pt idx="7110">
                  <c:v>19.75</c:v>
                </c:pt>
                <c:pt idx="7111">
                  <c:v>19.752777777777776</c:v>
                </c:pt>
                <c:pt idx="7112">
                  <c:v>19.755555555555556</c:v>
                </c:pt>
                <c:pt idx="7113">
                  <c:v>19.758333333333333</c:v>
                </c:pt>
                <c:pt idx="7114">
                  <c:v>19.761111111111113</c:v>
                </c:pt>
                <c:pt idx="7115">
                  <c:v>19.763888888888889</c:v>
                </c:pt>
                <c:pt idx="7116">
                  <c:v>19.766666666666666</c:v>
                </c:pt>
                <c:pt idx="7117">
                  <c:v>19.769444444444446</c:v>
                </c:pt>
                <c:pt idx="7118">
                  <c:v>19.772222222222222</c:v>
                </c:pt>
                <c:pt idx="7119">
                  <c:v>19.774999999999999</c:v>
                </c:pt>
                <c:pt idx="7120">
                  <c:v>19.777777777777779</c:v>
                </c:pt>
                <c:pt idx="7121">
                  <c:v>19.780555555555555</c:v>
                </c:pt>
                <c:pt idx="7122">
                  <c:v>19.783333333333335</c:v>
                </c:pt>
                <c:pt idx="7123">
                  <c:v>19.786111111111111</c:v>
                </c:pt>
                <c:pt idx="7124">
                  <c:v>19.788888888888888</c:v>
                </c:pt>
                <c:pt idx="7125">
                  <c:v>19.791666666666668</c:v>
                </c:pt>
                <c:pt idx="7126">
                  <c:v>19.794444444444444</c:v>
                </c:pt>
                <c:pt idx="7127">
                  <c:v>19.797222222222221</c:v>
                </c:pt>
                <c:pt idx="7128">
                  <c:v>19.8</c:v>
                </c:pt>
                <c:pt idx="7129">
                  <c:v>19.802777777777777</c:v>
                </c:pt>
                <c:pt idx="7130">
                  <c:v>19.805555555555557</c:v>
                </c:pt>
                <c:pt idx="7131">
                  <c:v>19.808333333333334</c:v>
                </c:pt>
                <c:pt idx="7132">
                  <c:v>19.81111111111111</c:v>
                </c:pt>
                <c:pt idx="7133">
                  <c:v>19.81388888888889</c:v>
                </c:pt>
                <c:pt idx="7134">
                  <c:v>19.816666666666666</c:v>
                </c:pt>
                <c:pt idx="7135">
                  <c:v>19.819444444444443</c:v>
                </c:pt>
                <c:pt idx="7136">
                  <c:v>19.822222222222223</c:v>
                </c:pt>
                <c:pt idx="7137">
                  <c:v>19.824999999999999</c:v>
                </c:pt>
                <c:pt idx="7138">
                  <c:v>19.827777777777779</c:v>
                </c:pt>
                <c:pt idx="7139">
                  <c:v>19.830555555555556</c:v>
                </c:pt>
                <c:pt idx="7140">
                  <c:v>19.833333333333332</c:v>
                </c:pt>
                <c:pt idx="7141">
                  <c:v>19.836111111111112</c:v>
                </c:pt>
                <c:pt idx="7142">
                  <c:v>19.838888888888889</c:v>
                </c:pt>
                <c:pt idx="7143">
                  <c:v>19.841666666666665</c:v>
                </c:pt>
                <c:pt idx="7144">
                  <c:v>19.844444444444445</c:v>
                </c:pt>
                <c:pt idx="7145">
                  <c:v>19.847222222222221</c:v>
                </c:pt>
                <c:pt idx="7146">
                  <c:v>19.850000000000001</c:v>
                </c:pt>
                <c:pt idx="7147">
                  <c:v>19.852777777777778</c:v>
                </c:pt>
                <c:pt idx="7148">
                  <c:v>19.855555555555554</c:v>
                </c:pt>
                <c:pt idx="7149">
                  <c:v>19.858333333333334</c:v>
                </c:pt>
                <c:pt idx="7150">
                  <c:v>19.861111111111111</c:v>
                </c:pt>
                <c:pt idx="7151">
                  <c:v>19.863888888888887</c:v>
                </c:pt>
                <c:pt idx="7152">
                  <c:v>19.866666666666667</c:v>
                </c:pt>
                <c:pt idx="7153">
                  <c:v>19.869444444444444</c:v>
                </c:pt>
                <c:pt idx="7154">
                  <c:v>19.872222222222224</c:v>
                </c:pt>
                <c:pt idx="7155">
                  <c:v>19.875</c:v>
                </c:pt>
                <c:pt idx="7156">
                  <c:v>19.877777777777776</c:v>
                </c:pt>
                <c:pt idx="7157">
                  <c:v>19.880555555555556</c:v>
                </c:pt>
                <c:pt idx="7158">
                  <c:v>19.883333333333333</c:v>
                </c:pt>
                <c:pt idx="7159">
                  <c:v>19.886111111111113</c:v>
                </c:pt>
                <c:pt idx="7160">
                  <c:v>19.888888888888889</c:v>
                </c:pt>
                <c:pt idx="7161">
                  <c:v>19.891666666666666</c:v>
                </c:pt>
                <c:pt idx="7162">
                  <c:v>19.894444444444446</c:v>
                </c:pt>
                <c:pt idx="7163">
                  <c:v>19.897222222222222</c:v>
                </c:pt>
                <c:pt idx="7164">
                  <c:v>19.899999999999999</c:v>
                </c:pt>
                <c:pt idx="7165">
                  <c:v>19.902777777777779</c:v>
                </c:pt>
                <c:pt idx="7166">
                  <c:v>19.905555555555555</c:v>
                </c:pt>
                <c:pt idx="7167">
                  <c:v>19.908333333333335</c:v>
                </c:pt>
                <c:pt idx="7168">
                  <c:v>19.911111111111111</c:v>
                </c:pt>
                <c:pt idx="7169">
                  <c:v>19.913888888888888</c:v>
                </c:pt>
                <c:pt idx="7170">
                  <c:v>19.916666666666668</c:v>
                </c:pt>
                <c:pt idx="7171">
                  <c:v>19.919444444444444</c:v>
                </c:pt>
                <c:pt idx="7172">
                  <c:v>19.922222222222221</c:v>
                </c:pt>
                <c:pt idx="7173">
                  <c:v>19.925000000000001</c:v>
                </c:pt>
                <c:pt idx="7174">
                  <c:v>19.927777777777777</c:v>
                </c:pt>
                <c:pt idx="7175">
                  <c:v>19.930555555555557</c:v>
                </c:pt>
                <c:pt idx="7176">
                  <c:v>19.933333333333334</c:v>
                </c:pt>
                <c:pt idx="7177">
                  <c:v>19.93611111111111</c:v>
                </c:pt>
                <c:pt idx="7178">
                  <c:v>19.93888888888889</c:v>
                </c:pt>
                <c:pt idx="7179">
                  <c:v>19.941666666666666</c:v>
                </c:pt>
                <c:pt idx="7180">
                  <c:v>19.944444444444443</c:v>
                </c:pt>
                <c:pt idx="7181">
                  <c:v>19.947222222222223</c:v>
                </c:pt>
                <c:pt idx="7182">
                  <c:v>19.95</c:v>
                </c:pt>
                <c:pt idx="7183">
                  <c:v>19.952777777777779</c:v>
                </c:pt>
                <c:pt idx="7184">
                  <c:v>19.955555555555556</c:v>
                </c:pt>
                <c:pt idx="7185">
                  <c:v>19.958333333333332</c:v>
                </c:pt>
                <c:pt idx="7186">
                  <c:v>19.961111111111112</c:v>
                </c:pt>
                <c:pt idx="7187">
                  <c:v>19.963888888888889</c:v>
                </c:pt>
                <c:pt idx="7188">
                  <c:v>19.966666666666665</c:v>
                </c:pt>
                <c:pt idx="7189">
                  <c:v>19.969444444444445</c:v>
                </c:pt>
                <c:pt idx="7190">
                  <c:v>19.972222222222221</c:v>
                </c:pt>
                <c:pt idx="7191">
                  <c:v>19.975000000000001</c:v>
                </c:pt>
                <c:pt idx="7192">
                  <c:v>19.977777777777778</c:v>
                </c:pt>
                <c:pt idx="7193">
                  <c:v>19.980555555555554</c:v>
                </c:pt>
                <c:pt idx="7194">
                  <c:v>19.983333333333334</c:v>
                </c:pt>
                <c:pt idx="7195">
                  <c:v>19.986111111111111</c:v>
                </c:pt>
                <c:pt idx="7196">
                  <c:v>19.988888888888887</c:v>
                </c:pt>
                <c:pt idx="7197">
                  <c:v>19.991666666666667</c:v>
                </c:pt>
                <c:pt idx="7198">
                  <c:v>19.994444444444444</c:v>
                </c:pt>
                <c:pt idx="7199">
                  <c:v>19.997222222222224</c:v>
                </c:pt>
                <c:pt idx="7200">
                  <c:v>20</c:v>
                </c:pt>
                <c:pt idx="7201">
                  <c:v>20.002777777777776</c:v>
                </c:pt>
                <c:pt idx="7202">
                  <c:v>20.005555555555556</c:v>
                </c:pt>
                <c:pt idx="7203">
                  <c:v>20.008333333333333</c:v>
                </c:pt>
                <c:pt idx="7204">
                  <c:v>20.011111111111113</c:v>
                </c:pt>
                <c:pt idx="7205">
                  <c:v>20.013888888888889</c:v>
                </c:pt>
                <c:pt idx="7206">
                  <c:v>20.016666666666666</c:v>
                </c:pt>
                <c:pt idx="7207">
                  <c:v>20.019444444444446</c:v>
                </c:pt>
                <c:pt idx="7208">
                  <c:v>20.022222222222222</c:v>
                </c:pt>
                <c:pt idx="7209">
                  <c:v>20.024999999999999</c:v>
                </c:pt>
                <c:pt idx="7210">
                  <c:v>20.027777777777779</c:v>
                </c:pt>
                <c:pt idx="7211">
                  <c:v>20.030555555555555</c:v>
                </c:pt>
                <c:pt idx="7212">
                  <c:v>20.033333333333335</c:v>
                </c:pt>
                <c:pt idx="7213">
                  <c:v>20.036111111111111</c:v>
                </c:pt>
                <c:pt idx="7214">
                  <c:v>20.038888888888888</c:v>
                </c:pt>
                <c:pt idx="7215">
                  <c:v>20.041666666666668</c:v>
                </c:pt>
                <c:pt idx="7216">
                  <c:v>20.044444444444444</c:v>
                </c:pt>
                <c:pt idx="7217">
                  <c:v>20.047222222222221</c:v>
                </c:pt>
                <c:pt idx="7218">
                  <c:v>20.05</c:v>
                </c:pt>
                <c:pt idx="7219">
                  <c:v>20.052777777777777</c:v>
                </c:pt>
                <c:pt idx="7220">
                  <c:v>20.055555555555557</c:v>
                </c:pt>
                <c:pt idx="7221">
                  <c:v>20.058333333333334</c:v>
                </c:pt>
                <c:pt idx="7222">
                  <c:v>20.06111111111111</c:v>
                </c:pt>
                <c:pt idx="7223">
                  <c:v>20.06388888888889</c:v>
                </c:pt>
                <c:pt idx="7224">
                  <c:v>20.066666666666666</c:v>
                </c:pt>
                <c:pt idx="7225">
                  <c:v>20.069444444444443</c:v>
                </c:pt>
                <c:pt idx="7226">
                  <c:v>20.072222222222223</c:v>
                </c:pt>
                <c:pt idx="7227">
                  <c:v>20.074999999999999</c:v>
                </c:pt>
                <c:pt idx="7228">
                  <c:v>20.077777777777779</c:v>
                </c:pt>
                <c:pt idx="7229">
                  <c:v>20.080555555555556</c:v>
                </c:pt>
                <c:pt idx="7230">
                  <c:v>20.083333333333332</c:v>
                </c:pt>
                <c:pt idx="7231">
                  <c:v>20.086111111111112</c:v>
                </c:pt>
                <c:pt idx="7232">
                  <c:v>20.088888888888889</c:v>
                </c:pt>
                <c:pt idx="7233">
                  <c:v>20.091666666666665</c:v>
                </c:pt>
                <c:pt idx="7234">
                  <c:v>20.094444444444445</c:v>
                </c:pt>
                <c:pt idx="7235">
                  <c:v>20.097222222222221</c:v>
                </c:pt>
                <c:pt idx="7236">
                  <c:v>20.100000000000001</c:v>
                </c:pt>
                <c:pt idx="7237">
                  <c:v>20.102777777777778</c:v>
                </c:pt>
                <c:pt idx="7238">
                  <c:v>20.105555555555554</c:v>
                </c:pt>
                <c:pt idx="7239">
                  <c:v>20.108333333333334</c:v>
                </c:pt>
                <c:pt idx="7240">
                  <c:v>20.111111111111111</c:v>
                </c:pt>
                <c:pt idx="7241">
                  <c:v>20.113888888888887</c:v>
                </c:pt>
                <c:pt idx="7242">
                  <c:v>20.116666666666667</c:v>
                </c:pt>
                <c:pt idx="7243">
                  <c:v>20.119444444444444</c:v>
                </c:pt>
                <c:pt idx="7244">
                  <c:v>20.122222222222224</c:v>
                </c:pt>
                <c:pt idx="7245">
                  <c:v>20.125</c:v>
                </c:pt>
                <c:pt idx="7246">
                  <c:v>20.127777777777776</c:v>
                </c:pt>
                <c:pt idx="7247">
                  <c:v>20.130555555555556</c:v>
                </c:pt>
                <c:pt idx="7248">
                  <c:v>20.133333333333333</c:v>
                </c:pt>
                <c:pt idx="7249">
                  <c:v>20.136111111111113</c:v>
                </c:pt>
                <c:pt idx="7250">
                  <c:v>20.138888888888889</c:v>
                </c:pt>
                <c:pt idx="7251">
                  <c:v>20.141666666666666</c:v>
                </c:pt>
                <c:pt idx="7252">
                  <c:v>20.144444444444446</c:v>
                </c:pt>
                <c:pt idx="7253">
                  <c:v>20.147222222222222</c:v>
                </c:pt>
                <c:pt idx="7254">
                  <c:v>20.149999999999999</c:v>
                </c:pt>
                <c:pt idx="7255">
                  <c:v>20.152777777777779</c:v>
                </c:pt>
                <c:pt idx="7256">
                  <c:v>20.155555555555555</c:v>
                </c:pt>
                <c:pt idx="7257">
                  <c:v>20.158333333333335</c:v>
                </c:pt>
                <c:pt idx="7258">
                  <c:v>20.161111111111111</c:v>
                </c:pt>
                <c:pt idx="7259">
                  <c:v>20.163888888888888</c:v>
                </c:pt>
                <c:pt idx="7260">
                  <c:v>20.166666666666668</c:v>
                </c:pt>
                <c:pt idx="7261">
                  <c:v>20.169444444444444</c:v>
                </c:pt>
                <c:pt idx="7262">
                  <c:v>20.172222222222221</c:v>
                </c:pt>
                <c:pt idx="7263">
                  <c:v>20.175000000000001</c:v>
                </c:pt>
                <c:pt idx="7264">
                  <c:v>20.177777777777777</c:v>
                </c:pt>
                <c:pt idx="7265">
                  <c:v>20.180555555555557</c:v>
                </c:pt>
                <c:pt idx="7266">
                  <c:v>20.183333333333334</c:v>
                </c:pt>
                <c:pt idx="7267">
                  <c:v>20.18611111111111</c:v>
                </c:pt>
                <c:pt idx="7268">
                  <c:v>20.18888888888889</c:v>
                </c:pt>
                <c:pt idx="7269">
                  <c:v>20.191666666666666</c:v>
                </c:pt>
                <c:pt idx="7270">
                  <c:v>20.194444444444443</c:v>
                </c:pt>
                <c:pt idx="7271">
                  <c:v>20.197222222222223</c:v>
                </c:pt>
                <c:pt idx="7272">
                  <c:v>20.2</c:v>
                </c:pt>
                <c:pt idx="7273">
                  <c:v>20.202777777777779</c:v>
                </c:pt>
                <c:pt idx="7274">
                  <c:v>20.205555555555556</c:v>
                </c:pt>
                <c:pt idx="7275">
                  <c:v>20.208333333333332</c:v>
                </c:pt>
                <c:pt idx="7276">
                  <c:v>20.211111111111112</c:v>
                </c:pt>
                <c:pt idx="7277">
                  <c:v>20.213888888888889</c:v>
                </c:pt>
                <c:pt idx="7278">
                  <c:v>20.216666666666665</c:v>
                </c:pt>
                <c:pt idx="7279">
                  <c:v>20.219444444444445</c:v>
                </c:pt>
                <c:pt idx="7280">
                  <c:v>20.222222222222221</c:v>
                </c:pt>
                <c:pt idx="7281">
                  <c:v>20.225000000000001</c:v>
                </c:pt>
                <c:pt idx="7282">
                  <c:v>20.227777777777778</c:v>
                </c:pt>
                <c:pt idx="7283">
                  <c:v>20.230555555555554</c:v>
                </c:pt>
                <c:pt idx="7284">
                  <c:v>20.233333333333334</c:v>
                </c:pt>
                <c:pt idx="7285">
                  <c:v>20.236111111111111</c:v>
                </c:pt>
                <c:pt idx="7286">
                  <c:v>20.238888888888887</c:v>
                </c:pt>
                <c:pt idx="7287">
                  <c:v>20.241666666666667</c:v>
                </c:pt>
                <c:pt idx="7288">
                  <c:v>20.244444444444444</c:v>
                </c:pt>
                <c:pt idx="7289">
                  <c:v>20.247222222222224</c:v>
                </c:pt>
                <c:pt idx="7290">
                  <c:v>20.25</c:v>
                </c:pt>
                <c:pt idx="7291">
                  <c:v>20.252777777777776</c:v>
                </c:pt>
                <c:pt idx="7292">
                  <c:v>20.255555555555556</c:v>
                </c:pt>
                <c:pt idx="7293">
                  <c:v>20.258333333333333</c:v>
                </c:pt>
                <c:pt idx="7294">
                  <c:v>20.261111111111113</c:v>
                </c:pt>
                <c:pt idx="7295">
                  <c:v>20.263888888888889</c:v>
                </c:pt>
                <c:pt idx="7296">
                  <c:v>20.266666666666666</c:v>
                </c:pt>
                <c:pt idx="7297">
                  <c:v>20.269444444444446</c:v>
                </c:pt>
                <c:pt idx="7298">
                  <c:v>20.272222222222222</c:v>
                </c:pt>
                <c:pt idx="7299">
                  <c:v>20.274999999999999</c:v>
                </c:pt>
                <c:pt idx="7300">
                  <c:v>20.277777777777779</c:v>
                </c:pt>
                <c:pt idx="7301">
                  <c:v>20.280555555555555</c:v>
                </c:pt>
                <c:pt idx="7302">
                  <c:v>20.283333333333335</c:v>
                </c:pt>
                <c:pt idx="7303">
                  <c:v>20.286111111111111</c:v>
                </c:pt>
                <c:pt idx="7304">
                  <c:v>20.288888888888888</c:v>
                </c:pt>
                <c:pt idx="7305">
                  <c:v>20.291666666666668</c:v>
                </c:pt>
                <c:pt idx="7306">
                  <c:v>20.294444444444444</c:v>
                </c:pt>
                <c:pt idx="7307">
                  <c:v>20.297222222222221</c:v>
                </c:pt>
                <c:pt idx="7308">
                  <c:v>20.3</c:v>
                </c:pt>
                <c:pt idx="7309">
                  <c:v>20.302777777777777</c:v>
                </c:pt>
                <c:pt idx="7310">
                  <c:v>20.305555555555557</c:v>
                </c:pt>
                <c:pt idx="7311">
                  <c:v>20.308333333333334</c:v>
                </c:pt>
                <c:pt idx="7312">
                  <c:v>20.31111111111111</c:v>
                </c:pt>
                <c:pt idx="7313">
                  <c:v>20.31388888888889</c:v>
                </c:pt>
                <c:pt idx="7314">
                  <c:v>20.316666666666666</c:v>
                </c:pt>
                <c:pt idx="7315">
                  <c:v>20.319444444444443</c:v>
                </c:pt>
                <c:pt idx="7316">
                  <c:v>20.322222222222223</c:v>
                </c:pt>
                <c:pt idx="7317">
                  <c:v>20.324999999999999</c:v>
                </c:pt>
                <c:pt idx="7318">
                  <c:v>20.327777777777779</c:v>
                </c:pt>
                <c:pt idx="7319">
                  <c:v>20.330555555555556</c:v>
                </c:pt>
                <c:pt idx="7320">
                  <c:v>20.333333333333332</c:v>
                </c:pt>
                <c:pt idx="7321">
                  <c:v>20.336111111111112</c:v>
                </c:pt>
                <c:pt idx="7322">
                  <c:v>20.338888888888889</c:v>
                </c:pt>
                <c:pt idx="7323">
                  <c:v>20.341666666666665</c:v>
                </c:pt>
                <c:pt idx="7324">
                  <c:v>20.344444444444445</c:v>
                </c:pt>
                <c:pt idx="7325">
                  <c:v>20.347222222222221</c:v>
                </c:pt>
                <c:pt idx="7326">
                  <c:v>20.350000000000001</c:v>
                </c:pt>
                <c:pt idx="7327">
                  <c:v>20.352777777777778</c:v>
                </c:pt>
                <c:pt idx="7328">
                  <c:v>20.355555555555554</c:v>
                </c:pt>
                <c:pt idx="7329">
                  <c:v>20.358333333333334</c:v>
                </c:pt>
                <c:pt idx="7330">
                  <c:v>20.361111111111111</c:v>
                </c:pt>
                <c:pt idx="7331">
                  <c:v>20.363888888888887</c:v>
                </c:pt>
                <c:pt idx="7332">
                  <c:v>20.366666666666667</c:v>
                </c:pt>
                <c:pt idx="7333">
                  <c:v>20.369444444444444</c:v>
                </c:pt>
                <c:pt idx="7334">
                  <c:v>20.372222222222224</c:v>
                </c:pt>
                <c:pt idx="7335">
                  <c:v>20.375</c:v>
                </c:pt>
                <c:pt idx="7336">
                  <c:v>20.377777777777776</c:v>
                </c:pt>
                <c:pt idx="7337">
                  <c:v>20.380555555555556</c:v>
                </c:pt>
                <c:pt idx="7338">
                  <c:v>20.383333333333333</c:v>
                </c:pt>
                <c:pt idx="7339">
                  <c:v>20.386111111111113</c:v>
                </c:pt>
                <c:pt idx="7340">
                  <c:v>20.388888888888889</c:v>
                </c:pt>
                <c:pt idx="7341">
                  <c:v>20.391666666666666</c:v>
                </c:pt>
                <c:pt idx="7342">
                  <c:v>20.394444444444446</c:v>
                </c:pt>
                <c:pt idx="7343">
                  <c:v>20.397222222222222</c:v>
                </c:pt>
                <c:pt idx="7344">
                  <c:v>20.399999999999999</c:v>
                </c:pt>
                <c:pt idx="7345">
                  <c:v>20.402777777777779</c:v>
                </c:pt>
                <c:pt idx="7346">
                  <c:v>20.405555555555555</c:v>
                </c:pt>
                <c:pt idx="7347">
                  <c:v>20.408333333333335</c:v>
                </c:pt>
                <c:pt idx="7348">
                  <c:v>20.411111111111111</c:v>
                </c:pt>
                <c:pt idx="7349">
                  <c:v>20.413888888888888</c:v>
                </c:pt>
                <c:pt idx="7350">
                  <c:v>20.416666666666668</c:v>
                </c:pt>
                <c:pt idx="7351">
                  <c:v>20.419444444444444</c:v>
                </c:pt>
                <c:pt idx="7352">
                  <c:v>20.422222222222221</c:v>
                </c:pt>
                <c:pt idx="7353">
                  <c:v>20.425000000000001</c:v>
                </c:pt>
                <c:pt idx="7354">
                  <c:v>20.427777777777777</c:v>
                </c:pt>
                <c:pt idx="7355">
                  <c:v>20.430555555555557</c:v>
                </c:pt>
                <c:pt idx="7356">
                  <c:v>20.433333333333334</c:v>
                </c:pt>
                <c:pt idx="7357">
                  <c:v>20.43611111111111</c:v>
                </c:pt>
                <c:pt idx="7358">
                  <c:v>20.43888888888889</c:v>
                </c:pt>
                <c:pt idx="7359">
                  <c:v>20.441666666666666</c:v>
                </c:pt>
                <c:pt idx="7360">
                  <c:v>20.444444444444443</c:v>
                </c:pt>
                <c:pt idx="7361">
                  <c:v>20.447222222222223</c:v>
                </c:pt>
                <c:pt idx="7362">
                  <c:v>20.45</c:v>
                </c:pt>
                <c:pt idx="7363">
                  <c:v>20.452777777777779</c:v>
                </c:pt>
                <c:pt idx="7364">
                  <c:v>20.455555555555556</c:v>
                </c:pt>
                <c:pt idx="7365">
                  <c:v>20.458333333333332</c:v>
                </c:pt>
                <c:pt idx="7366">
                  <c:v>20.461111111111112</c:v>
                </c:pt>
                <c:pt idx="7367">
                  <c:v>20.463888888888889</c:v>
                </c:pt>
                <c:pt idx="7368">
                  <c:v>20.466666666666665</c:v>
                </c:pt>
                <c:pt idx="7369">
                  <c:v>20.469444444444445</c:v>
                </c:pt>
                <c:pt idx="7370">
                  <c:v>20.472222222222221</c:v>
                </c:pt>
                <c:pt idx="7371">
                  <c:v>20.475000000000001</c:v>
                </c:pt>
                <c:pt idx="7372">
                  <c:v>20.477777777777778</c:v>
                </c:pt>
                <c:pt idx="7373">
                  <c:v>20.480555555555554</c:v>
                </c:pt>
                <c:pt idx="7374">
                  <c:v>20.483333333333334</c:v>
                </c:pt>
                <c:pt idx="7375">
                  <c:v>20.486111111111111</c:v>
                </c:pt>
                <c:pt idx="7376">
                  <c:v>20.488888888888887</c:v>
                </c:pt>
                <c:pt idx="7377">
                  <c:v>20.491666666666667</c:v>
                </c:pt>
                <c:pt idx="7378">
                  <c:v>20.494444444444444</c:v>
                </c:pt>
                <c:pt idx="7379">
                  <c:v>20.497222222222224</c:v>
                </c:pt>
                <c:pt idx="7380">
                  <c:v>20.5</c:v>
                </c:pt>
                <c:pt idx="7381">
                  <c:v>20.502777777777776</c:v>
                </c:pt>
                <c:pt idx="7382">
                  <c:v>20.505555555555556</c:v>
                </c:pt>
                <c:pt idx="7383">
                  <c:v>20.508333333333333</c:v>
                </c:pt>
                <c:pt idx="7384">
                  <c:v>20.511111111111113</c:v>
                </c:pt>
                <c:pt idx="7385">
                  <c:v>20.513888888888889</c:v>
                </c:pt>
                <c:pt idx="7386">
                  <c:v>20.516666666666666</c:v>
                </c:pt>
                <c:pt idx="7387">
                  <c:v>20.519444444444446</c:v>
                </c:pt>
                <c:pt idx="7388">
                  <c:v>20.522222222222222</c:v>
                </c:pt>
                <c:pt idx="7389">
                  <c:v>20.524999999999999</c:v>
                </c:pt>
                <c:pt idx="7390">
                  <c:v>20.527777777777779</c:v>
                </c:pt>
                <c:pt idx="7391">
                  <c:v>20.530555555555555</c:v>
                </c:pt>
                <c:pt idx="7392">
                  <c:v>20.533333333333335</c:v>
                </c:pt>
                <c:pt idx="7393">
                  <c:v>20.536111111111111</c:v>
                </c:pt>
                <c:pt idx="7394">
                  <c:v>20.538888888888888</c:v>
                </c:pt>
                <c:pt idx="7395">
                  <c:v>20.541666666666668</c:v>
                </c:pt>
                <c:pt idx="7396">
                  <c:v>20.544444444444444</c:v>
                </c:pt>
                <c:pt idx="7397">
                  <c:v>20.547222222222221</c:v>
                </c:pt>
                <c:pt idx="7398">
                  <c:v>20.55</c:v>
                </c:pt>
                <c:pt idx="7399">
                  <c:v>20.552777777777777</c:v>
                </c:pt>
                <c:pt idx="7400">
                  <c:v>20.555555555555557</c:v>
                </c:pt>
                <c:pt idx="7401">
                  <c:v>20.558333333333334</c:v>
                </c:pt>
                <c:pt idx="7402">
                  <c:v>20.56111111111111</c:v>
                </c:pt>
                <c:pt idx="7403">
                  <c:v>20.56388888888889</c:v>
                </c:pt>
                <c:pt idx="7404">
                  <c:v>20.566666666666666</c:v>
                </c:pt>
                <c:pt idx="7405">
                  <c:v>20.569444444444443</c:v>
                </c:pt>
                <c:pt idx="7406">
                  <c:v>20.572222222222223</c:v>
                </c:pt>
                <c:pt idx="7407">
                  <c:v>20.574999999999999</c:v>
                </c:pt>
                <c:pt idx="7408">
                  <c:v>20.577777777777779</c:v>
                </c:pt>
                <c:pt idx="7409">
                  <c:v>20.580555555555556</c:v>
                </c:pt>
                <c:pt idx="7410">
                  <c:v>20.583333333333332</c:v>
                </c:pt>
                <c:pt idx="7411">
                  <c:v>20.586111111111112</c:v>
                </c:pt>
                <c:pt idx="7412">
                  <c:v>20.588888888888889</c:v>
                </c:pt>
                <c:pt idx="7413">
                  <c:v>20.591666666666665</c:v>
                </c:pt>
                <c:pt idx="7414">
                  <c:v>20.594444444444445</c:v>
                </c:pt>
                <c:pt idx="7415">
                  <c:v>20.597222222222221</c:v>
                </c:pt>
                <c:pt idx="7416">
                  <c:v>20.6</c:v>
                </c:pt>
                <c:pt idx="7417">
                  <c:v>20.602777777777778</c:v>
                </c:pt>
                <c:pt idx="7418">
                  <c:v>20.605555555555554</c:v>
                </c:pt>
                <c:pt idx="7419">
                  <c:v>20.608333333333334</c:v>
                </c:pt>
                <c:pt idx="7420">
                  <c:v>20.611111111111111</c:v>
                </c:pt>
                <c:pt idx="7421">
                  <c:v>20.613888888888887</c:v>
                </c:pt>
                <c:pt idx="7422">
                  <c:v>20.616666666666667</c:v>
                </c:pt>
                <c:pt idx="7423">
                  <c:v>20.619444444444444</c:v>
                </c:pt>
                <c:pt idx="7424">
                  <c:v>20.622222222222224</c:v>
                </c:pt>
                <c:pt idx="7425">
                  <c:v>20.625</c:v>
                </c:pt>
                <c:pt idx="7426">
                  <c:v>20.627777777777776</c:v>
                </c:pt>
                <c:pt idx="7427">
                  <c:v>20.630555555555556</c:v>
                </c:pt>
                <c:pt idx="7428">
                  <c:v>20.633333333333333</c:v>
                </c:pt>
                <c:pt idx="7429">
                  <c:v>20.636111111111113</c:v>
                </c:pt>
                <c:pt idx="7430">
                  <c:v>20.638888888888889</c:v>
                </c:pt>
                <c:pt idx="7431">
                  <c:v>20.641666666666666</c:v>
                </c:pt>
                <c:pt idx="7432">
                  <c:v>20.644444444444446</c:v>
                </c:pt>
                <c:pt idx="7433">
                  <c:v>20.647222222222222</c:v>
                </c:pt>
                <c:pt idx="7434">
                  <c:v>20.65</c:v>
                </c:pt>
                <c:pt idx="7435">
                  <c:v>20.652777777777779</c:v>
                </c:pt>
                <c:pt idx="7436">
                  <c:v>20.655555555555555</c:v>
                </c:pt>
                <c:pt idx="7437">
                  <c:v>20.658333333333335</c:v>
                </c:pt>
                <c:pt idx="7438">
                  <c:v>20.661111111111111</c:v>
                </c:pt>
                <c:pt idx="7439">
                  <c:v>20.663888888888888</c:v>
                </c:pt>
                <c:pt idx="7440">
                  <c:v>20.666666666666668</c:v>
                </c:pt>
                <c:pt idx="7441">
                  <c:v>20.669444444444444</c:v>
                </c:pt>
                <c:pt idx="7442">
                  <c:v>20.672222222222221</c:v>
                </c:pt>
                <c:pt idx="7443">
                  <c:v>20.675000000000001</c:v>
                </c:pt>
                <c:pt idx="7444">
                  <c:v>20.677777777777777</c:v>
                </c:pt>
                <c:pt idx="7445">
                  <c:v>20.680555555555557</c:v>
                </c:pt>
                <c:pt idx="7446">
                  <c:v>20.683333333333334</c:v>
                </c:pt>
                <c:pt idx="7447">
                  <c:v>20.68611111111111</c:v>
                </c:pt>
                <c:pt idx="7448">
                  <c:v>20.68888888888889</c:v>
                </c:pt>
                <c:pt idx="7449">
                  <c:v>20.691666666666666</c:v>
                </c:pt>
                <c:pt idx="7450">
                  <c:v>20.694444444444443</c:v>
                </c:pt>
                <c:pt idx="7451">
                  <c:v>20.697222222222223</c:v>
                </c:pt>
                <c:pt idx="7452">
                  <c:v>20.7</c:v>
                </c:pt>
                <c:pt idx="7453">
                  <c:v>20.702777777777779</c:v>
                </c:pt>
                <c:pt idx="7454">
                  <c:v>20.705555555555556</c:v>
                </c:pt>
                <c:pt idx="7455">
                  <c:v>20.708333333333332</c:v>
                </c:pt>
                <c:pt idx="7456">
                  <c:v>20.711111111111112</c:v>
                </c:pt>
                <c:pt idx="7457">
                  <c:v>20.713888888888889</c:v>
                </c:pt>
                <c:pt idx="7458">
                  <c:v>20.716666666666665</c:v>
                </c:pt>
                <c:pt idx="7459">
                  <c:v>20.719444444444445</c:v>
                </c:pt>
                <c:pt idx="7460">
                  <c:v>20.722222222222221</c:v>
                </c:pt>
                <c:pt idx="7461">
                  <c:v>20.725000000000001</c:v>
                </c:pt>
                <c:pt idx="7462">
                  <c:v>20.727777777777778</c:v>
                </c:pt>
                <c:pt idx="7463">
                  <c:v>20.730555555555554</c:v>
                </c:pt>
                <c:pt idx="7464">
                  <c:v>20.733333333333334</c:v>
                </c:pt>
                <c:pt idx="7465">
                  <c:v>20.736111111111111</c:v>
                </c:pt>
                <c:pt idx="7466">
                  <c:v>20.738888888888887</c:v>
                </c:pt>
                <c:pt idx="7467">
                  <c:v>20.741666666666667</c:v>
                </c:pt>
                <c:pt idx="7468">
                  <c:v>20.744444444444444</c:v>
                </c:pt>
                <c:pt idx="7469">
                  <c:v>20.747222222222224</c:v>
                </c:pt>
                <c:pt idx="7470">
                  <c:v>20.75</c:v>
                </c:pt>
                <c:pt idx="7471">
                  <c:v>20.752777777777776</c:v>
                </c:pt>
                <c:pt idx="7472">
                  <c:v>20.755555555555556</c:v>
                </c:pt>
                <c:pt idx="7473">
                  <c:v>20.758333333333333</c:v>
                </c:pt>
                <c:pt idx="7474">
                  <c:v>20.761111111111113</c:v>
                </c:pt>
                <c:pt idx="7475">
                  <c:v>20.763888888888889</c:v>
                </c:pt>
                <c:pt idx="7476">
                  <c:v>20.766666666666666</c:v>
                </c:pt>
                <c:pt idx="7477">
                  <c:v>20.769444444444446</c:v>
                </c:pt>
                <c:pt idx="7478">
                  <c:v>20.772222222222222</c:v>
                </c:pt>
                <c:pt idx="7479">
                  <c:v>20.774999999999999</c:v>
                </c:pt>
                <c:pt idx="7480">
                  <c:v>20.777777777777779</c:v>
                </c:pt>
                <c:pt idx="7481">
                  <c:v>20.780555555555555</c:v>
                </c:pt>
                <c:pt idx="7482">
                  <c:v>20.783333333333335</c:v>
                </c:pt>
                <c:pt idx="7483">
                  <c:v>20.786111111111111</c:v>
                </c:pt>
                <c:pt idx="7484">
                  <c:v>20.788888888888888</c:v>
                </c:pt>
                <c:pt idx="7485">
                  <c:v>20.791666666666668</c:v>
                </c:pt>
                <c:pt idx="7486">
                  <c:v>20.794444444444444</c:v>
                </c:pt>
                <c:pt idx="7487">
                  <c:v>20.797222222222221</c:v>
                </c:pt>
                <c:pt idx="7488">
                  <c:v>20.8</c:v>
                </c:pt>
                <c:pt idx="7489">
                  <c:v>20.802777777777777</c:v>
                </c:pt>
                <c:pt idx="7490">
                  <c:v>20.805555555555557</c:v>
                </c:pt>
                <c:pt idx="7491">
                  <c:v>20.808333333333334</c:v>
                </c:pt>
                <c:pt idx="7492">
                  <c:v>20.81111111111111</c:v>
                </c:pt>
                <c:pt idx="7493">
                  <c:v>20.81388888888889</c:v>
                </c:pt>
                <c:pt idx="7494">
                  <c:v>20.816666666666666</c:v>
                </c:pt>
                <c:pt idx="7495">
                  <c:v>20.819444444444443</c:v>
                </c:pt>
                <c:pt idx="7496">
                  <c:v>20.822222222222223</c:v>
                </c:pt>
                <c:pt idx="7497">
                  <c:v>20.824999999999999</c:v>
                </c:pt>
                <c:pt idx="7498">
                  <c:v>20.827777777777779</c:v>
                </c:pt>
                <c:pt idx="7499">
                  <c:v>20.830555555555556</c:v>
                </c:pt>
                <c:pt idx="7500">
                  <c:v>20.833333333333332</c:v>
                </c:pt>
                <c:pt idx="7501">
                  <c:v>20.836111111111112</c:v>
                </c:pt>
                <c:pt idx="7502">
                  <c:v>20.838888888888889</c:v>
                </c:pt>
                <c:pt idx="7503">
                  <c:v>20.841666666666665</c:v>
                </c:pt>
                <c:pt idx="7504">
                  <c:v>20.844444444444445</c:v>
                </c:pt>
                <c:pt idx="7505">
                  <c:v>20.847222222222221</c:v>
                </c:pt>
                <c:pt idx="7506">
                  <c:v>20.85</c:v>
                </c:pt>
                <c:pt idx="7507">
                  <c:v>20.852777777777778</c:v>
                </c:pt>
                <c:pt idx="7508">
                  <c:v>20.855555555555554</c:v>
                </c:pt>
                <c:pt idx="7509">
                  <c:v>20.858333333333334</c:v>
                </c:pt>
                <c:pt idx="7510">
                  <c:v>20.861111111111111</c:v>
                </c:pt>
                <c:pt idx="7511">
                  <c:v>20.863888888888887</c:v>
                </c:pt>
                <c:pt idx="7512">
                  <c:v>20.866666666666667</c:v>
                </c:pt>
                <c:pt idx="7513">
                  <c:v>20.869444444444444</c:v>
                </c:pt>
                <c:pt idx="7514">
                  <c:v>20.872222222222224</c:v>
                </c:pt>
                <c:pt idx="7515">
                  <c:v>20.875</c:v>
                </c:pt>
                <c:pt idx="7516">
                  <c:v>20.877777777777776</c:v>
                </c:pt>
                <c:pt idx="7517">
                  <c:v>20.880555555555556</c:v>
                </c:pt>
                <c:pt idx="7518">
                  <c:v>20.883333333333333</c:v>
                </c:pt>
                <c:pt idx="7519">
                  <c:v>20.886111111111113</c:v>
                </c:pt>
                <c:pt idx="7520">
                  <c:v>20.888888888888889</c:v>
                </c:pt>
                <c:pt idx="7521">
                  <c:v>20.891666666666666</c:v>
                </c:pt>
                <c:pt idx="7522">
                  <c:v>20.894444444444446</c:v>
                </c:pt>
                <c:pt idx="7523">
                  <c:v>20.897222222222222</c:v>
                </c:pt>
                <c:pt idx="7524">
                  <c:v>20.9</c:v>
                </c:pt>
                <c:pt idx="7525">
                  <c:v>20.902777777777779</c:v>
                </c:pt>
                <c:pt idx="7526">
                  <c:v>20.905555555555555</c:v>
                </c:pt>
                <c:pt idx="7527">
                  <c:v>20.908333333333335</c:v>
                </c:pt>
                <c:pt idx="7528">
                  <c:v>20.911111111111111</c:v>
                </c:pt>
                <c:pt idx="7529">
                  <c:v>20.913888888888888</c:v>
                </c:pt>
                <c:pt idx="7530">
                  <c:v>20.916666666666668</c:v>
                </c:pt>
                <c:pt idx="7531">
                  <c:v>20.919444444444444</c:v>
                </c:pt>
                <c:pt idx="7532">
                  <c:v>20.922222222222221</c:v>
                </c:pt>
                <c:pt idx="7533">
                  <c:v>20.925000000000001</c:v>
                </c:pt>
                <c:pt idx="7534">
                  <c:v>20.927777777777777</c:v>
                </c:pt>
                <c:pt idx="7535">
                  <c:v>20.930555555555557</c:v>
                </c:pt>
                <c:pt idx="7536">
                  <c:v>20.933333333333334</c:v>
                </c:pt>
                <c:pt idx="7537">
                  <c:v>20.93611111111111</c:v>
                </c:pt>
                <c:pt idx="7538">
                  <c:v>20.93888888888889</c:v>
                </c:pt>
                <c:pt idx="7539">
                  <c:v>20.941666666666666</c:v>
                </c:pt>
                <c:pt idx="7540">
                  <c:v>20.944444444444443</c:v>
                </c:pt>
                <c:pt idx="7541">
                  <c:v>20.947222222222223</c:v>
                </c:pt>
                <c:pt idx="7542">
                  <c:v>20.95</c:v>
                </c:pt>
                <c:pt idx="7543">
                  <c:v>20.952777777777779</c:v>
                </c:pt>
                <c:pt idx="7544">
                  <c:v>20.955555555555556</c:v>
                </c:pt>
                <c:pt idx="7545">
                  <c:v>20.958333333333332</c:v>
                </c:pt>
                <c:pt idx="7546">
                  <c:v>20.961111111111112</c:v>
                </c:pt>
                <c:pt idx="7547">
                  <c:v>20.963888888888889</c:v>
                </c:pt>
                <c:pt idx="7548">
                  <c:v>20.966666666666665</c:v>
                </c:pt>
                <c:pt idx="7549">
                  <c:v>20.969444444444445</c:v>
                </c:pt>
                <c:pt idx="7550">
                  <c:v>20.972222222222221</c:v>
                </c:pt>
                <c:pt idx="7551">
                  <c:v>20.975000000000001</c:v>
                </c:pt>
                <c:pt idx="7552">
                  <c:v>20.977777777777778</c:v>
                </c:pt>
                <c:pt idx="7553">
                  <c:v>20.980555555555554</c:v>
                </c:pt>
                <c:pt idx="7554">
                  <c:v>20.983333333333334</c:v>
                </c:pt>
                <c:pt idx="7555">
                  <c:v>20.986111111111111</c:v>
                </c:pt>
                <c:pt idx="7556">
                  <c:v>20.988888888888887</c:v>
                </c:pt>
                <c:pt idx="7557">
                  <c:v>20.991666666666667</c:v>
                </c:pt>
                <c:pt idx="7558">
                  <c:v>20.994444444444444</c:v>
                </c:pt>
                <c:pt idx="7559">
                  <c:v>20.997222222222224</c:v>
                </c:pt>
                <c:pt idx="7560">
                  <c:v>21</c:v>
                </c:pt>
                <c:pt idx="7561">
                  <c:v>21.002777777777776</c:v>
                </c:pt>
                <c:pt idx="7562">
                  <c:v>21.005555555555556</c:v>
                </c:pt>
                <c:pt idx="7563">
                  <c:v>21.008333333333333</c:v>
                </c:pt>
                <c:pt idx="7564">
                  <c:v>21.011111111111113</c:v>
                </c:pt>
                <c:pt idx="7565">
                  <c:v>21.013888888888889</c:v>
                </c:pt>
                <c:pt idx="7566">
                  <c:v>21.016666666666666</c:v>
                </c:pt>
                <c:pt idx="7567">
                  <c:v>21.019444444444446</c:v>
                </c:pt>
                <c:pt idx="7568">
                  <c:v>21.022222222222222</c:v>
                </c:pt>
                <c:pt idx="7569">
                  <c:v>21.024999999999999</c:v>
                </c:pt>
                <c:pt idx="7570">
                  <c:v>21.027777777777779</c:v>
                </c:pt>
                <c:pt idx="7571">
                  <c:v>21.030555555555555</c:v>
                </c:pt>
                <c:pt idx="7572">
                  <c:v>21.033333333333335</c:v>
                </c:pt>
                <c:pt idx="7573">
                  <c:v>21.036111111111111</c:v>
                </c:pt>
                <c:pt idx="7574">
                  <c:v>21.038888888888888</c:v>
                </c:pt>
                <c:pt idx="7575">
                  <c:v>21.041666666666668</c:v>
                </c:pt>
                <c:pt idx="7576">
                  <c:v>21.044444444444444</c:v>
                </c:pt>
                <c:pt idx="7577">
                  <c:v>21.047222222222221</c:v>
                </c:pt>
                <c:pt idx="7578">
                  <c:v>21.05</c:v>
                </c:pt>
                <c:pt idx="7579">
                  <c:v>21.052777777777777</c:v>
                </c:pt>
                <c:pt idx="7580">
                  <c:v>21.055555555555557</c:v>
                </c:pt>
                <c:pt idx="7581">
                  <c:v>21.058333333333334</c:v>
                </c:pt>
                <c:pt idx="7582">
                  <c:v>21.06111111111111</c:v>
                </c:pt>
                <c:pt idx="7583">
                  <c:v>21.06388888888889</c:v>
                </c:pt>
                <c:pt idx="7584">
                  <c:v>21.066666666666666</c:v>
                </c:pt>
                <c:pt idx="7585">
                  <c:v>21.069444444444443</c:v>
                </c:pt>
                <c:pt idx="7586">
                  <c:v>21.072222222222223</c:v>
                </c:pt>
                <c:pt idx="7587">
                  <c:v>21.074999999999999</c:v>
                </c:pt>
                <c:pt idx="7588">
                  <c:v>21.077777777777779</c:v>
                </c:pt>
                <c:pt idx="7589">
                  <c:v>21.080555555555556</c:v>
                </c:pt>
                <c:pt idx="7590">
                  <c:v>21.083333333333332</c:v>
                </c:pt>
                <c:pt idx="7591">
                  <c:v>21.086111111111112</c:v>
                </c:pt>
                <c:pt idx="7592">
                  <c:v>21.088888888888889</c:v>
                </c:pt>
                <c:pt idx="7593">
                  <c:v>21.091666666666665</c:v>
                </c:pt>
                <c:pt idx="7594">
                  <c:v>21.094444444444445</c:v>
                </c:pt>
                <c:pt idx="7595">
                  <c:v>21.097222222222221</c:v>
                </c:pt>
                <c:pt idx="7596">
                  <c:v>21.1</c:v>
                </c:pt>
                <c:pt idx="7597">
                  <c:v>21.102777777777778</c:v>
                </c:pt>
                <c:pt idx="7598">
                  <c:v>21.105555555555554</c:v>
                </c:pt>
                <c:pt idx="7599">
                  <c:v>21.108333333333334</c:v>
                </c:pt>
                <c:pt idx="7600">
                  <c:v>21.111111111111111</c:v>
                </c:pt>
                <c:pt idx="7601">
                  <c:v>21.113888888888887</c:v>
                </c:pt>
                <c:pt idx="7602">
                  <c:v>21.116666666666667</c:v>
                </c:pt>
                <c:pt idx="7603">
                  <c:v>21.119444444444444</c:v>
                </c:pt>
                <c:pt idx="7604">
                  <c:v>21.122222222222224</c:v>
                </c:pt>
                <c:pt idx="7605">
                  <c:v>21.125</c:v>
                </c:pt>
                <c:pt idx="7606">
                  <c:v>21.127777777777776</c:v>
                </c:pt>
                <c:pt idx="7607">
                  <c:v>21.130555555555556</c:v>
                </c:pt>
                <c:pt idx="7608">
                  <c:v>21.133333333333333</c:v>
                </c:pt>
                <c:pt idx="7609">
                  <c:v>21.136111111111113</c:v>
                </c:pt>
                <c:pt idx="7610">
                  <c:v>21.138888888888889</c:v>
                </c:pt>
                <c:pt idx="7611">
                  <c:v>21.141666666666666</c:v>
                </c:pt>
                <c:pt idx="7612">
                  <c:v>21.144444444444446</c:v>
                </c:pt>
                <c:pt idx="7613">
                  <c:v>21.147222222222222</c:v>
                </c:pt>
                <c:pt idx="7614">
                  <c:v>21.15</c:v>
                </c:pt>
                <c:pt idx="7615">
                  <c:v>21.152777777777779</c:v>
                </c:pt>
                <c:pt idx="7616">
                  <c:v>21.155555555555555</c:v>
                </c:pt>
                <c:pt idx="7617">
                  <c:v>21.158333333333335</c:v>
                </c:pt>
                <c:pt idx="7618">
                  <c:v>21.161111111111111</c:v>
                </c:pt>
                <c:pt idx="7619">
                  <c:v>21.163888888888888</c:v>
                </c:pt>
                <c:pt idx="7620">
                  <c:v>21.166666666666668</c:v>
                </c:pt>
                <c:pt idx="7621">
                  <c:v>21.169444444444444</c:v>
                </c:pt>
                <c:pt idx="7622">
                  <c:v>21.172222222222221</c:v>
                </c:pt>
                <c:pt idx="7623">
                  <c:v>21.175000000000001</c:v>
                </c:pt>
                <c:pt idx="7624">
                  <c:v>21.177777777777777</c:v>
                </c:pt>
                <c:pt idx="7625">
                  <c:v>21.180555555555557</c:v>
                </c:pt>
                <c:pt idx="7626">
                  <c:v>21.183333333333334</c:v>
                </c:pt>
                <c:pt idx="7627">
                  <c:v>21.18611111111111</c:v>
                </c:pt>
                <c:pt idx="7628">
                  <c:v>21.18888888888889</c:v>
                </c:pt>
                <c:pt idx="7629">
                  <c:v>21.191666666666666</c:v>
                </c:pt>
                <c:pt idx="7630">
                  <c:v>21.194444444444443</c:v>
                </c:pt>
                <c:pt idx="7631">
                  <c:v>21.197222222222223</c:v>
                </c:pt>
                <c:pt idx="7632">
                  <c:v>21.2</c:v>
                </c:pt>
                <c:pt idx="7633">
                  <c:v>21.202777777777779</c:v>
                </c:pt>
                <c:pt idx="7634">
                  <c:v>21.205555555555556</c:v>
                </c:pt>
                <c:pt idx="7635">
                  <c:v>21.208333333333332</c:v>
                </c:pt>
                <c:pt idx="7636">
                  <c:v>21.211111111111112</c:v>
                </c:pt>
                <c:pt idx="7637">
                  <c:v>21.213888888888889</c:v>
                </c:pt>
                <c:pt idx="7638">
                  <c:v>21.216666666666665</c:v>
                </c:pt>
                <c:pt idx="7639">
                  <c:v>21.219444444444445</c:v>
                </c:pt>
                <c:pt idx="7640">
                  <c:v>21.222222222222221</c:v>
                </c:pt>
                <c:pt idx="7641">
                  <c:v>21.225000000000001</c:v>
                </c:pt>
                <c:pt idx="7642">
                  <c:v>21.227777777777778</c:v>
                </c:pt>
                <c:pt idx="7643">
                  <c:v>21.230555555555554</c:v>
                </c:pt>
                <c:pt idx="7644">
                  <c:v>21.233333333333334</c:v>
                </c:pt>
                <c:pt idx="7645">
                  <c:v>21.236111111111111</c:v>
                </c:pt>
                <c:pt idx="7646">
                  <c:v>21.238888888888887</c:v>
                </c:pt>
                <c:pt idx="7647">
                  <c:v>21.241666666666667</c:v>
                </c:pt>
                <c:pt idx="7648">
                  <c:v>21.244444444444444</c:v>
                </c:pt>
                <c:pt idx="7649">
                  <c:v>21.247222222222224</c:v>
                </c:pt>
                <c:pt idx="7650">
                  <c:v>21.25</c:v>
                </c:pt>
                <c:pt idx="7651">
                  <c:v>21.252777777777776</c:v>
                </c:pt>
                <c:pt idx="7652">
                  <c:v>21.255555555555556</c:v>
                </c:pt>
                <c:pt idx="7653">
                  <c:v>21.258333333333333</c:v>
                </c:pt>
                <c:pt idx="7654">
                  <c:v>21.261111111111113</c:v>
                </c:pt>
                <c:pt idx="7655">
                  <c:v>21.263888888888889</c:v>
                </c:pt>
                <c:pt idx="7656">
                  <c:v>21.266666666666666</c:v>
                </c:pt>
                <c:pt idx="7657">
                  <c:v>21.269444444444446</c:v>
                </c:pt>
                <c:pt idx="7658">
                  <c:v>21.272222222222222</c:v>
                </c:pt>
                <c:pt idx="7659">
                  <c:v>21.274999999999999</c:v>
                </c:pt>
                <c:pt idx="7660">
                  <c:v>21.277777777777779</c:v>
                </c:pt>
                <c:pt idx="7661">
                  <c:v>21.280555555555555</c:v>
                </c:pt>
                <c:pt idx="7662">
                  <c:v>21.283333333333335</c:v>
                </c:pt>
                <c:pt idx="7663">
                  <c:v>21.286111111111111</c:v>
                </c:pt>
                <c:pt idx="7664">
                  <c:v>21.288888888888888</c:v>
                </c:pt>
                <c:pt idx="7665">
                  <c:v>21.291666666666668</c:v>
                </c:pt>
                <c:pt idx="7666">
                  <c:v>21.294444444444444</c:v>
                </c:pt>
                <c:pt idx="7667">
                  <c:v>21.297222222222221</c:v>
                </c:pt>
                <c:pt idx="7668">
                  <c:v>21.3</c:v>
                </c:pt>
                <c:pt idx="7669">
                  <c:v>21.302777777777777</c:v>
                </c:pt>
                <c:pt idx="7670">
                  <c:v>21.305555555555557</c:v>
                </c:pt>
                <c:pt idx="7671">
                  <c:v>21.308333333333334</c:v>
                </c:pt>
                <c:pt idx="7672">
                  <c:v>21.31111111111111</c:v>
                </c:pt>
                <c:pt idx="7673">
                  <c:v>21.31388888888889</c:v>
                </c:pt>
                <c:pt idx="7674">
                  <c:v>21.316666666666666</c:v>
                </c:pt>
                <c:pt idx="7675">
                  <c:v>21.319444444444443</c:v>
                </c:pt>
                <c:pt idx="7676">
                  <c:v>21.322222222222223</c:v>
                </c:pt>
                <c:pt idx="7677">
                  <c:v>21.324999999999999</c:v>
                </c:pt>
                <c:pt idx="7678">
                  <c:v>21.327777777777779</c:v>
                </c:pt>
                <c:pt idx="7679">
                  <c:v>21.330555555555556</c:v>
                </c:pt>
                <c:pt idx="7680">
                  <c:v>21.333333333333332</c:v>
                </c:pt>
                <c:pt idx="7681">
                  <c:v>21.336111111111112</c:v>
                </c:pt>
                <c:pt idx="7682">
                  <c:v>21.338888888888889</c:v>
                </c:pt>
                <c:pt idx="7683">
                  <c:v>21.341666666666665</c:v>
                </c:pt>
                <c:pt idx="7684">
                  <c:v>21.344444444444445</c:v>
                </c:pt>
                <c:pt idx="7685">
                  <c:v>21.347222222222221</c:v>
                </c:pt>
                <c:pt idx="7686">
                  <c:v>21.35</c:v>
                </c:pt>
                <c:pt idx="7687">
                  <c:v>21.352777777777778</c:v>
                </c:pt>
                <c:pt idx="7688">
                  <c:v>21.355555555555554</c:v>
                </c:pt>
                <c:pt idx="7689">
                  <c:v>21.358333333333334</c:v>
                </c:pt>
                <c:pt idx="7690">
                  <c:v>21.361111111111111</c:v>
                </c:pt>
                <c:pt idx="7691">
                  <c:v>21.363888888888887</c:v>
                </c:pt>
                <c:pt idx="7692">
                  <c:v>21.366666666666667</c:v>
                </c:pt>
                <c:pt idx="7693">
                  <c:v>21.369444444444444</c:v>
                </c:pt>
                <c:pt idx="7694">
                  <c:v>21.372222222222224</c:v>
                </c:pt>
                <c:pt idx="7695">
                  <c:v>21.375</c:v>
                </c:pt>
                <c:pt idx="7696">
                  <c:v>21.377777777777776</c:v>
                </c:pt>
                <c:pt idx="7697">
                  <c:v>21.380555555555556</c:v>
                </c:pt>
                <c:pt idx="7698">
                  <c:v>21.383333333333333</c:v>
                </c:pt>
                <c:pt idx="7699">
                  <c:v>21.386111111111113</c:v>
                </c:pt>
                <c:pt idx="7700">
                  <c:v>21.388888888888889</c:v>
                </c:pt>
                <c:pt idx="7701">
                  <c:v>21.391666666666666</c:v>
                </c:pt>
                <c:pt idx="7702">
                  <c:v>21.394444444444446</c:v>
                </c:pt>
                <c:pt idx="7703">
                  <c:v>21.397222222222222</c:v>
                </c:pt>
                <c:pt idx="7704">
                  <c:v>21.4</c:v>
                </c:pt>
                <c:pt idx="7705">
                  <c:v>21.402777777777779</c:v>
                </c:pt>
                <c:pt idx="7706">
                  <c:v>21.405555555555555</c:v>
                </c:pt>
                <c:pt idx="7707">
                  <c:v>21.408333333333335</c:v>
                </c:pt>
                <c:pt idx="7708">
                  <c:v>21.411111111111111</c:v>
                </c:pt>
                <c:pt idx="7709">
                  <c:v>21.413888888888888</c:v>
                </c:pt>
                <c:pt idx="7710">
                  <c:v>21.416666666666668</c:v>
                </c:pt>
                <c:pt idx="7711">
                  <c:v>21.419444444444444</c:v>
                </c:pt>
                <c:pt idx="7712">
                  <c:v>21.422222222222221</c:v>
                </c:pt>
                <c:pt idx="7713">
                  <c:v>21.425000000000001</c:v>
                </c:pt>
                <c:pt idx="7714">
                  <c:v>21.427777777777777</c:v>
                </c:pt>
                <c:pt idx="7715">
                  <c:v>21.430555555555557</c:v>
                </c:pt>
                <c:pt idx="7716">
                  <c:v>21.433333333333334</c:v>
                </c:pt>
                <c:pt idx="7717">
                  <c:v>21.43611111111111</c:v>
                </c:pt>
                <c:pt idx="7718">
                  <c:v>21.43888888888889</c:v>
                </c:pt>
                <c:pt idx="7719">
                  <c:v>21.441666666666666</c:v>
                </c:pt>
                <c:pt idx="7720">
                  <c:v>21.444444444444443</c:v>
                </c:pt>
                <c:pt idx="7721">
                  <c:v>21.447222222222223</c:v>
                </c:pt>
                <c:pt idx="7722">
                  <c:v>21.45</c:v>
                </c:pt>
                <c:pt idx="7723">
                  <c:v>21.452777777777779</c:v>
                </c:pt>
                <c:pt idx="7724">
                  <c:v>21.455555555555556</c:v>
                </c:pt>
                <c:pt idx="7725">
                  <c:v>21.458333333333332</c:v>
                </c:pt>
                <c:pt idx="7726">
                  <c:v>21.461111111111112</c:v>
                </c:pt>
                <c:pt idx="7727">
                  <c:v>21.463888888888889</c:v>
                </c:pt>
                <c:pt idx="7728">
                  <c:v>21.466666666666665</c:v>
                </c:pt>
                <c:pt idx="7729">
                  <c:v>21.469444444444445</c:v>
                </c:pt>
                <c:pt idx="7730">
                  <c:v>21.472222222222221</c:v>
                </c:pt>
                <c:pt idx="7731">
                  <c:v>21.475000000000001</c:v>
                </c:pt>
                <c:pt idx="7732">
                  <c:v>21.477777777777778</c:v>
                </c:pt>
                <c:pt idx="7733">
                  <c:v>21.480555555555554</c:v>
                </c:pt>
                <c:pt idx="7734">
                  <c:v>21.483333333333334</c:v>
                </c:pt>
                <c:pt idx="7735">
                  <c:v>21.486111111111111</c:v>
                </c:pt>
                <c:pt idx="7736">
                  <c:v>21.488888888888887</c:v>
                </c:pt>
                <c:pt idx="7737">
                  <c:v>21.491666666666667</c:v>
                </c:pt>
                <c:pt idx="7738">
                  <c:v>21.494444444444444</c:v>
                </c:pt>
                <c:pt idx="7739">
                  <c:v>21.497222222222224</c:v>
                </c:pt>
                <c:pt idx="7740">
                  <c:v>21.5</c:v>
                </c:pt>
                <c:pt idx="7741">
                  <c:v>21.502777777777776</c:v>
                </c:pt>
                <c:pt idx="7742">
                  <c:v>21.505555555555556</c:v>
                </c:pt>
                <c:pt idx="7743">
                  <c:v>21.508333333333333</c:v>
                </c:pt>
                <c:pt idx="7744">
                  <c:v>21.511111111111113</c:v>
                </c:pt>
                <c:pt idx="7745">
                  <c:v>21.513888888888889</c:v>
                </c:pt>
                <c:pt idx="7746">
                  <c:v>21.516666666666666</c:v>
                </c:pt>
                <c:pt idx="7747">
                  <c:v>21.519444444444446</c:v>
                </c:pt>
                <c:pt idx="7748">
                  <c:v>21.522222222222222</c:v>
                </c:pt>
                <c:pt idx="7749">
                  <c:v>21.524999999999999</c:v>
                </c:pt>
                <c:pt idx="7750">
                  <c:v>21.527777777777779</c:v>
                </c:pt>
                <c:pt idx="7751">
                  <c:v>21.530555555555555</c:v>
                </c:pt>
                <c:pt idx="7752">
                  <c:v>21.533333333333335</c:v>
                </c:pt>
                <c:pt idx="7753">
                  <c:v>21.536111111111111</c:v>
                </c:pt>
                <c:pt idx="7754">
                  <c:v>21.538888888888888</c:v>
                </c:pt>
                <c:pt idx="7755">
                  <c:v>21.541666666666668</c:v>
                </c:pt>
                <c:pt idx="7756">
                  <c:v>21.544444444444444</c:v>
                </c:pt>
                <c:pt idx="7757">
                  <c:v>21.547222222222221</c:v>
                </c:pt>
                <c:pt idx="7758">
                  <c:v>21.55</c:v>
                </c:pt>
                <c:pt idx="7759">
                  <c:v>21.552777777777777</c:v>
                </c:pt>
                <c:pt idx="7760">
                  <c:v>21.555555555555557</c:v>
                </c:pt>
                <c:pt idx="7761">
                  <c:v>21.558333333333334</c:v>
                </c:pt>
                <c:pt idx="7762">
                  <c:v>21.56111111111111</c:v>
                </c:pt>
                <c:pt idx="7763">
                  <c:v>21.56388888888889</c:v>
                </c:pt>
                <c:pt idx="7764">
                  <c:v>21.566666666666666</c:v>
                </c:pt>
                <c:pt idx="7765">
                  <c:v>21.569444444444443</c:v>
                </c:pt>
                <c:pt idx="7766">
                  <c:v>21.572222222222223</c:v>
                </c:pt>
                <c:pt idx="7767">
                  <c:v>21.574999999999999</c:v>
                </c:pt>
                <c:pt idx="7768">
                  <c:v>21.577777777777779</c:v>
                </c:pt>
                <c:pt idx="7769">
                  <c:v>21.580555555555556</c:v>
                </c:pt>
                <c:pt idx="7770">
                  <c:v>21.583333333333332</c:v>
                </c:pt>
                <c:pt idx="7771">
                  <c:v>21.586111111111112</c:v>
                </c:pt>
                <c:pt idx="7772">
                  <c:v>21.588888888888889</c:v>
                </c:pt>
                <c:pt idx="7773">
                  <c:v>21.591666666666665</c:v>
                </c:pt>
                <c:pt idx="7774">
                  <c:v>21.594444444444445</c:v>
                </c:pt>
                <c:pt idx="7775">
                  <c:v>21.597222222222221</c:v>
                </c:pt>
                <c:pt idx="7776">
                  <c:v>21.6</c:v>
                </c:pt>
                <c:pt idx="7777">
                  <c:v>21.602777777777778</c:v>
                </c:pt>
                <c:pt idx="7778">
                  <c:v>21.605555555555554</c:v>
                </c:pt>
                <c:pt idx="7779">
                  <c:v>21.608333333333334</c:v>
                </c:pt>
                <c:pt idx="7780">
                  <c:v>21.611111111111111</c:v>
                </c:pt>
                <c:pt idx="7781">
                  <c:v>21.613888888888887</c:v>
                </c:pt>
                <c:pt idx="7782">
                  <c:v>21.616666666666667</c:v>
                </c:pt>
                <c:pt idx="7783">
                  <c:v>21.619444444444444</c:v>
                </c:pt>
                <c:pt idx="7784">
                  <c:v>21.622222222222224</c:v>
                </c:pt>
                <c:pt idx="7785">
                  <c:v>21.625</c:v>
                </c:pt>
                <c:pt idx="7786">
                  <c:v>21.627777777777776</c:v>
                </c:pt>
                <c:pt idx="7787">
                  <c:v>21.630555555555556</c:v>
                </c:pt>
                <c:pt idx="7788">
                  <c:v>21.633333333333333</c:v>
                </c:pt>
                <c:pt idx="7789">
                  <c:v>21.636111111111113</c:v>
                </c:pt>
                <c:pt idx="7790">
                  <c:v>21.638888888888889</c:v>
                </c:pt>
                <c:pt idx="7791">
                  <c:v>21.641666666666666</c:v>
                </c:pt>
                <c:pt idx="7792">
                  <c:v>21.644444444444446</c:v>
                </c:pt>
                <c:pt idx="7793">
                  <c:v>21.647222222222222</c:v>
                </c:pt>
                <c:pt idx="7794">
                  <c:v>21.65</c:v>
                </c:pt>
                <c:pt idx="7795">
                  <c:v>21.652777777777779</c:v>
                </c:pt>
                <c:pt idx="7796">
                  <c:v>21.655555555555555</c:v>
                </c:pt>
                <c:pt idx="7797">
                  <c:v>21.658333333333335</c:v>
                </c:pt>
                <c:pt idx="7798">
                  <c:v>21.661111111111111</c:v>
                </c:pt>
                <c:pt idx="7799">
                  <c:v>21.663888888888888</c:v>
                </c:pt>
                <c:pt idx="7800">
                  <c:v>21.666666666666668</c:v>
                </c:pt>
                <c:pt idx="7801">
                  <c:v>21.669444444444444</c:v>
                </c:pt>
                <c:pt idx="7802">
                  <c:v>21.672222222222221</c:v>
                </c:pt>
                <c:pt idx="7803">
                  <c:v>21.675000000000001</c:v>
                </c:pt>
                <c:pt idx="7804">
                  <c:v>21.677777777777777</c:v>
                </c:pt>
                <c:pt idx="7805">
                  <c:v>21.680555555555557</c:v>
                </c:pt>
                <c:pt idx="7806">
                  <c:v>21.683333333333334</c:v>
                </c:pt>
                <c:pt idx="7807">
                  <c:v>21.68611111111111</c:v>
                </c:pt>
                <c:pt idx="7808">
                  <c:v>21.68888888888889</c:v>
                </c:pt>
                <c:pt idx="7809">
                  <c:v>21.691666666666666</c:v>
                </c:pt>
                <c:pt idx="7810">
                  <c:v>21.694444444444443</c:v>
                </c:pt>
                <c:pt idx="7811">
                  <c:v>21.697222222222223</c:v>
                </c:pt>
                <c:pt idx="7812">
                  <c:v>21.7</c:v>
                </c:pt>
                <c:pt idx="7813">
                  <c:v>21.702777777777779</c:v>
                </c:pt>
                <c:pt idx="7814">
                  <c:v>21.705555555555556</c:v>
                </c:pt>
                <c:pt idx="7815">
                  <c:v>21.708333333333332</c:v>
                </c:pt>
                <c:pt idx="7816">
                  <c:v>21.711111111111112</c:v>
                </c:pt>
                <c:pt idx="7817">
                  <c:v>21.713888888888889</c:v>
                </c:pt>
                <c:pt idx="7818">
                  <c:v>21.716666666666665</c:v>
                </c:pt>
                <c:pt idx="7819">
                  <c:v>21.719444444444445</c:v>
                </c:pt>
                <c:pt idx="7820">
                  <c:v>21.722222222222221</c:v>
                </c:pt>
                <c:pt idx="7821">
                  <c:v>21.725000000000001</c:v>
                </c:pt>
                <c:pt idx="7822">
                  <c:v>21.727777777777778</c:v>
                </c:pt>
                <c:pt idx="7823">
                  <c:v>21.730555555555554</c:v>
                </c:pt>
                <c:pt idx="7824">
                  <c:v>21.733333333333334</c:v>
                </c:pt>
                <c:pt idx="7825">
                  <c:v>21.736111111111111</c:v>
                </c:pt>
                <c:pt idx="7826">
                  <c:v>21.738888888888887</c:v>
                </c:pt>
                <c:pt idx="7827">
                  <c:v>21.741666666666667</c:v>
                </c:pt>
                <c:pt idx="7828">
                  <c:v>21.744444444444444</c:v>
                </c:pt>
                <c:pt idx="7829">
                  <c:v>21.747222222222224</c:v>
                </c:pt>
                <c:pt idx="7830">
                  <c:v>21.75</c:v>
                </c:pt>
                <c:pt idx="7831">
                  <c:v>21.752777777777776</c:v>
                </c:pt>
                <c:pt idx="7832">
                  <c:v>21.755555555555556</c:v>
                </c:pt>
                <c:pt idx="7833">
                  <c:v>21.758333333333333</c:v>
                </c:pt>
                <c:pt idx="7834">
                  <c:v>21.761111111111113</c:v>
                </c:pt>
                <c:pt idx="7835">
                  <c:v>21.763888888888889</c:v>
                </c:pt>
                <c:pt idx="7836">
                  <c:v>21.766666666666666</c:v>
                </c:pt>
                <c:pt idx="7837">
                  <c:v>21.769444444444446</c:v>
                </c:pt>
                <c:pt idx="7838">
                  <c:v>21.772222222222222</c:v>
                </c:pt>
                <c:pt idx="7839">
                  <c:v>21.774999999999999</c:v>
                </c:pt>
                <c:pt idx="7840">
                  <c:v>21.777777777777779</c:v>
                </c:pt>
                <c:pt idx="7841">
                  <c:v>21.780555555555555</c:v>
                </c:pt>
                <c:pt idx="7842">
                  <c:v>21.783333333333335</c:v>
                </c:pt>
                <c:pt idx="7843">
                  <c:v>21.786111111111111</c:v>
                </c:pt>
                <c:pt idx="7844">
                  <c:v>21.788888888888888</c:v>
                </c:pt>
                <c:pt idx="7845">
                  <c:v>21.791666666666668</c:v>
                </c:pt>
                <c:pt idx="7846">
                  <c:v>21.794444444444444</c:v>
                </c:pt>
                <c:pt idx="7847">
                  <c:v>21.797222222222221</c:v>
                </c:pt>
                <c:pt idx="7848">
                  <c:v>21.8</c:v>
                </c:pt>
                <c:pt idx="7849">
                  <c:v>21.802777777777777</c:v>
                </c:pt>
                <c:pt idx="7850">
                  <c:v>21.805555555555557</c:v>
                </c:pt>
                <c:pt idx="7851">
                  <c:v>21.808333333333334</c:v>
                </c:pt>
                <c:pt idx="7852">
                  <c:v>21.81111111111111</c:v>
                </c:pt>
                <c:pt idx="7853">
                  <c:v>21.81388888888889</c:v>
                </c:pt>
                <c:pt idx="7854">
                  <c:v>21.816666666666666</c:v>
                </c:pt>
                <c:pt idx="7855">
                  <c:v>21.819444444444443</c:v>
                </c:pt>
                <c:pt idx="7856">
                  <c:v>21.822222222222223</c:v>
                </c:pt>
                <c:pt idx="7857">
                  <c:v>21.824999999999999</c:v>
                </c:pt>
                <c:pt idx="7858">
                  <c:v>21.827777777777779</c:v>
                </c:pt>
                <c:pt idx="7859">
                  <c:v>21.830555555555556</c:v>
                </c:pt>
                <c:pt idx="7860">
                  <c:v>21.833333333333332</c:v>
                </c:pt>
                <c:pt idx="7861">
                  <c:v>21.836111111111112</c:v>
                </c:pt>
                <c:pt idx="7862">
                  <c:v>21.838888888888889</c:v>
                </c:pt>
                <c:pt idx="7863">
                  <c:v>21.841666666666665</c:v>
                </c:pt>
                <c:pt idx="7864">
                  <c:v>21.844444444444445</c:v>
                </c:pt>
                <c:pt idx="7865">
                  <c:v>21.847222222222221</c:v>
                </c:pt>
                <c:pt idx="7866">
                  <c:v>21.85</c:v>
                </c:pt>
                <c:pt idx="7867">
                  <c:v>21.852777777777778</c:v>
                </c:pt>
                <c:pt idx="7868">
                  <c:v>21.855555555555554</c:v>
                </c:pt>
                <c:pt idx="7869">
                  <c:v>21.858333333333334</c:v>
                </c:pt>
                <c:pt idx="7870">
                  <c:v>21.861111111111111</c:v>
                </c:pt>
                <c:pt idx="7871">
                  <c:v>21.863888888888887</c:v>
                </c:pt>
                <c:pt idx="7872">
                  <c:v>21.866666666666667</c:v>
                </c:pt>
                <c:pt idx="7873">
                  <c:v>21.869444444444444</c:v>
                </c:pt>
                <c:pt idx="7874">
                  <c:v>21.872222222222224</c:v>
                </c:pt>
                <c:pt idx="7875">
                  <c:v>21.875</c:v>
                </c:pt>
                <c:pt idx="7876">
                  <c:v>21.877777777777776</c:v>
                </c:pt>
                <c:pt idx="7877">
                  <c:v>21.880555555555556</c:v>
                </c:pt>
                <c:pt idx="7878">
                  <c:v>21.883333333333333</c:v>
                </c:pt>
                <c:pt idx="7879">
                  <c:v>21.886111111111113</c:v>
                </c:pt>
                <c:pt idx="7880">
                  <c:v>21.888888888888889</c:v>
                </c:pt>
                <c:pt idx="7881">
                  <c:v>21.891666666666666</c:v>
                </c:pt>
                <c:pt idx="7882">
                  <c:v>21.894444444444446</c:v>
                </c:pt>
                <c:pt idx="7883">
                  <c:v>21.897222222222222</c:v>
                </c:pt>
                <c:pt idx="7884">
                  <c:v>21.9</c:v>
                </c:pt>
                <c:pt idx="7885">
                  <c:v>21.902777777777779</c:v>
                </c:pt>
                <c:pt idx="7886">
                  <c:v>21.905555555555555</c:v>
                </c:pt>
                <c:pt idx="7887">
                  <c:v>21.908333333333335</c:v>
                </c:pt>
                <c:pt idx="7888">
                  <c:v>21.911111111111111</c:v>
                </c:pt>
                <c:pt idx="7889">
                  <c:v>21.913888888888888</c:v>
                </c:pt>
                <c:pt idx="7890">
                  <c:v>21.916666666666668</c:v>
                </c:pt>
                <c:pt idx="7891">
                  <c:v>21.919444444444444</c:v>
                </c:pt>
                <c:pt idx="7892">
                  <c:v>21.922222222222221</c:v>
                </c:pt>
                <c:pt idx="7893">
                  <c:v>21.925000000000001</c:v>
                </c:pt>
                <c:pt idx="7894">
                  <c:v>21.927777777777777</c:v>
                </c:pt>
                <c:pt idx="7895">
                  <c:v>21.930555555555557</c:v>
                </c:pt>
                <c:pt idx="7896">
                  <c:v>21.933333333333334</c:v>
                </c:pt>
                <c:pt idx="7897">
                  <c:v>21.93611111111111</c:v>
                </c:pt>
                <c:pt idx="7898">
                  <c:v>21.93888888888889</c:v>
                </c:pt>
                <c:pt idx="7899">
                  <c:v>21.941666666666666</c:v>
                </c:pt>
                <c:pt idx="7900">
                  <c:v>21.944444444444443</c:v>
                </c:pt>
                <c:pt idx="7901">
                  <c:v>21.947222222222223</c:v>
                </c:pt>
                <c:pt idx="7902">
                  <c:v>21.95</c:v>
                </c:pt>
                <c:pt idx="7903">
                  <c:v>21.952777777777779</c:v>
                </c:pt>
                <c:pt idx="7904">
                  <c:v>21.955555555555556</c:v>
                </c:pt>
                <c:pt idx="7905">
                  <c:v>21.958333333333332</c:v>
                </c:pt>
                <c:pt idx="7906">
                  <c:v>21.961111111111112</c:v>
                </c:pt>
                <c:pt idx="7907">
                  <c:v>21.963888888888889</c:v>
                </c:pt>
                <c:pt idx="7908">
                  <c:v>21.966666666666665</c:v>
                </c:pt>
                <c:pt idx="7909">
                  <c:v>21.969444444444445</c:v>
                </c:pt>
                <c:pt idx="7910">
                  <c:v>21.972222222222221</c:v>
                </c:pt>
                <c:pt idx="7911">
                  <c:v>21.975000000000001</c:v>
                </c:pt>
                <c:pt idx="7912">
                  <c:v>21.977777777777778</c:v>
                </c:pt>
                <c:pt idx="7913">
                  <c:v>21.980555555555554</c:v>
                </c:pt>
                <c:pt idx="7914">
                  <c:v>21.983333333333334</c:v>
                </c:pt>
                <c:pt idx="7915">
                  <c:v>21.986111111111111</c:v>
                </c:pt>
                <c:pt idx="7916">
                  <c:v>21.988888888888887</c:v>
                </c:pt>
                <c:pt idx="7917">
                  <c:v>21.991666666666667</c:v>
                </c:pt>
                <c:pt idx="7918">
                  <c:v>21.994444444444444</c:v>
                </c:pt>
                <c:pt idx="7919">
                  <c:v>21.997222222222224</c:v>
                </c:pt>
                <c:pt idx="7920">
                  <c:v>22</c:v>
                </c:pt>
                <c:pt idx="7921">
                  <c:v>22.002777777777776</c:v>
                </c:pt>
                <c:pt idx="7922">
                  <c:v>22.005555555555556</c:v>
                </c:pt>
                <c:pt idx="7923">
                  <c:v>22.008333333333333</c:v>
                </c:pt>
                <c:pt idx="7924">
                  <c:v>22.011111111111113</c:v>
                </c:pt>
                <c:pt idx="7925">
                  <c:v>22.013888888888889</c:v>
                </c:pt>
                <c:pt idx="7926">
                  <c:v>22.016666666666666</c:v>
                </c:pt>
                <c:pt idx="7927">
                  <c:v>22.019444444444446</c:v>
                </c:pt>
                <c:pt idx="7928">
                  <c:v>22.022222222222222</c:v>
                </c:pt>
                <c:pt idx="7929">
                  <c:v>22.024999999999999</c:v>
                </c:pt>
                <c:pt idx="7930">
                  <c:v>22.027777777777779</c:v>
                </c:pt>
                <c:pt idx="7931">
                  <c:v>22.030555555555555</c:v>
                </c:pt>
                <c:pt idx="7932">
                  <c:v>22.033333333333335</c:v>
                </c:pt>
                <c:pt idx="7933">
                  <c:v>22.036111111111111</c:v>
                </c:pt>
                <c:pt idx="7934">
                  <c:v>22.038888888888888</c:v>
                </c:pt>
                <c:pt idx="7935">
                  <c:v>22.041666666666668</c:v>
                </c:pt>
                <c:pt idx="7936">
                  <c:v>22.044444444444444</c:v>
                </c:pt>
                <c:pt idx="7937">
                  <c:v>22.047222222222221</c:v>
                </c:pt>
                <c:pt idx="7938">
                  <c:v>22.05</c:v>
                </c:pt>
                <c:pt idx="7939">
                  <c:v>22.052777777777777</c:v>
                </c:pt>
                <c:pt idx="7940">
                  <c:v>22.055555555555557</c:v>
                </c:pt>
                <c:pt idx="7941">
                  <c:v>22.058333333333334</c:v>
                </c:pt>
                <c:pt idx="7942">
                  <c:v>22.06111111111111</c:v>
                </c:pt>
                <c:pt idx="7943">
                  <c:v>22.06388888888889</c:v>
                </c:pt>
                <c:pt idx="7944">
                  <c:v>22.066666666666666</c:v>
                </c:pt>
                <c:pt idx="7945">
                  <c:v>22.069444444444443</c:v>
                </c:pt>
                <c:pt idx="7946">
                  <c:v>22.072222222222223</c:v>
                </c:pt>
                <c:pt idx="7947">
                  <c:v>22.074999999999999</c:v>
                </c:pt>
                <c:pt idx="7948">
                  <c:v>22.077777777777779</c:v>
                </c:pt>
                <c:pt idx="7949">
                  <c:v>22.080555555555556</c:v>
                </c:pt>
                <c:pt idx="7950">
                  <c:v>22.083333333333332</c:v>
                </c:pt>
                <c:pt idx="7951">
                  <c:v>22.086111111111112</c:v>
                </c:pt>
                <c:pt idx="7952">
                  <c:v>22.088888888888889</c:v>
                </c:pt>
                <c:pt idx="7953">
                  <c:v>22.091666666666665</c:v>
                </c:pt>
                <c:pt idx="7954">
                  <c:v>22.094444444444445</c:v>
                </c:pt>
                <c:pt idx="7955">
                  <c:v>22.097222222222221</c:v>
                </c:pt>
                <c:pt idx="7956">
                  <c:v>22.1</c:v>
                </c:pt>
                <c:pt idx="7957">
                  <c:v>22.102777777777778</c:v>
                </c:pt>
                <c:pt idx="7958">
                  <c:v>22.105555555555554</c:v>
                </c:pt>
                <c:pt idx="7959">
                  <c:v>22.108333333333334</c:v>
                </c:pt>
                <c:pt idx="7960">
                  <c:v>22.111111111111111</c:v>
                </c:pt>
                <c:pt idx="7961">
                  <c:v>22.113888888888887</c:v>
                </c:pt>
                <c:pt idx="7962">
                  <c:v>22.116666666666667</c:v>
                </c:pt>
                <c:pt idx="7963">
                  <c:v>22.119444444444444</c:v>
                </c:pt>
                <c:pt idx="7964">
                  <c:v>22.122222222222224</c:v>
                </c:pt>
                <c:pt idx="7965">
                  <c:v>22.125</c:v>
                </c:pt>
                <c:pt idx="7966">
                  <c:v>22.127777777777776</c:v>
                </c:pt>
                <c:pt idx="7967">
                  <c:v>22.130555555555556</c:v>
                </c:pt>
                <c:pt idx="7968">
                  <c:v>22.133333333333333</c:v>
                </c:pt>
                <c:pt idx="7969">
                  <c:v>22.136111111111113</c:v>
                </c:pt>
                <c:pt idx="7970">
                  <c:v>22.138888888888889</c:v>
                </c:pt>
                <c:pt idx="7971">
                  <c:v>22.141666666666666</c:v>
                </c:pt>
                <c:pt idx="7972">
                  <c:v>22.144444444444446</c:v>
                </c:pt>
                <c:pt idx="7973">
                  <c:v>22.147222222222222</c:v>
                </c:pt>
                <c:pt idx="7974">
                  <c:v>22.15</c:v>
                </c:pt>
                <c:pt idx="7975">
                  <c:v>22.152777777777779</c:v>
                </c:pt>
                <c:pt idx="7976">
                  <c:v>22.155555555555555</c:v>
                </c:pt>
                <c:pt idx="7977">
                  <c:v>22.158333333333335</c:v>
                </c:pt>
                <c:pt idx="7978">
                  <c:v>22.161111111111111</c:v>
                </c:pt>
                <c:pt idx="7979">
                  <c:v>22.163888888888888</c:v>
                </c:pt>
                <c:pt idx="7980">
                  <c:v>22.166666666666668</c:v>
                </c:pt>
                <c:pt idx="7981">
                  <c:v>22.169444444444444</c:v>
                </c:pt>
                <c:pt idx="7982">
                  <c:v>22.172222222222221</c:v>
                </c:pt>
                <c:pt idx="7983">
                  <c:v>22.175000000000001</c:v>
                </c:pt>
                <c:pt idx="7984">
                  <c:v>22.177777777777777</c:v>
                </c:pt>
                <c:pt idx="7985">
                  <c:v>22.180555555555557</c:v>
                </c:pt>
                <c:pt idx="7986">
                  <c:v>22.183333333333334</c:v>
                </c:pt>
                <c:pt idx="7987">
                  <c:v>22.18611111111111</c:v>
                </c:pt>
                <c:pt idx="7988">
                  <c:v>22.18888888888889</c:v>
                </c:pt>
                <c:pt idx="7989">
                  <c:v>22.191666666666666</c:v>
                </c:pt>
                <c:pt idx="7990">
                  <c:v>22.194444444444443</c:v>
                </c:pt>
                <c:pt idx="7991">
                  <c:v>22.197222222222223</c:v>
                </c:pt>
                <c:pt idx="7992">
                  <c:v>22.2</c:v>
                </c:pt>
                <c:pt idx="7993">
                  <c:v>22.202777777777779</c:v>
                </c:pt>
                <c:pt idx="7994">
                  <c:v>22.205555555555556</c:v>
                </c:pt>
                <c:pt idx="7995">
                  <c:v>22.208333333333332</c:v>
                </c:pt>
                <c:pt idx="7996">
                  <c:v>22.211111111111112</c:v>
                </c:pt>
                <c:pt idx="7997">
                  <c:v>22.213888888888889</c:v>
                </c:pt>
                <c:pt idx="7998">
                  <c:v>22.216666666666665</c:v>
                </c:pt>
                <c:pt idx="7999">
                  <c:v>22.219444444444445</c:v>
                </c:pt>
                <c:pt idx="8000">
                  <c:v>22.222222222222221</c:v>
                </c:pt>
                <c:pt idx="8001">
                  <c:v>22.225000000000001</c:v>
                </c:pt>
                <c:pt idx="8002">
                  <c:v>22.227777777777778</c:v>
                </c:pt>
                <c:pt idx="8003">
                  <c:v>22.230555555555554</c:v>
                </c:pt>
                <c:pt idx="8004">
                  <c:v>22.233333333333334</c:v>
                </c:pt>
                <c:pt idx="8005">
                  <c:v>22.236111111111111</c:v>
                </c:pt>
                <c:pt idx="8006">
                  <c:v>22.238888888888887</c:v>
                </c:pt>
                <c:pt idx="8007">
                  <c:v>22.241666666666667</c:v>
                </c:pt>
                <c:pt idx="8008">
                  <c:v>22.244444444444444</c:v>
                </c:pt>
                <c:pt idx="8009">
                  <c:v>22.247222222222224</c:v>
                </c:pt>
                <c:pt idx="8010">
                  <c:v>22.25</c:v>
                </c:pt>
                <c:pt idx="8011">
                  <c:v>22.252777777777776</c:v>
                </c:pt>
                <c:pt idx="8012">
                  <c:v>22.255555555555556</c:v>
                </c:pt>
                <c:pt idx="8013">
                  <c:v>22.258333333333333</c:v>
                </c:pt>
                <c:pt idx="8014">
                  <c:v>22.261111111111113</c:v>
                </c:pt>
                <c:pt idx="8015">
                  <c:v>22.263888888888889</c:v>
                </c:pt>
                <c:pt idx="8016">
                  <c:v>22.266666666666666</c:v>
                </c:pt>
                <c:pt idx="8017">
                  <c:v>22.269444444444446</c:v>
                </c:pt>
                <c:pt idx="8018">
                  <c:v>22.272222222222222</c:v>
                </c:pt>
                <c:pt idx="8019">
                  <c:v>22.274999999999999</c:v>
                </c:pt>
                <c:pt idx="8020">
                  <c:v>22.277777777777779</c:v>
                </c:pt>
                <c:pt idx="8021">
                  <c:v>22.280555555555555</c:v>
                </c:pt>
                <c:pt idx="8022">
                  <c:v>22.283333333333335</c:v>
                </c:pt>
                <c:pt idx="8023">
                  <c:v>22.286111111111111</c:v>
                </c:pt>
                <c:pt idx="8024">
                  <c:v>22.288888888888888</c:v>
                </c:pt>
                <c:pt idx="8025">
                  <c:v>22.291666666666668</c:v>
                </c:pt>
                <c:pt idx="8026">
                  <c:v>22.294444444444444</c:v>
                </c:pt>
                <c:pt idx="8027">
                  <c:v>22.297222222222221</c:v>
                </c:pt>
                <c:pt idx="8028">
                  <c:v>22.3</c:v>
                </c:pt>
                <c:pt idx="8029">
                  <c:v>22.302777777777777</c:v>
                </c:pt>
                <c:pt idx="8030">
                  <c:v>22.305555555555557</c:v>
                </c:pt>
                <c:pt idx="8031">
                  <c:v>22.308333333333334</c:v>
                </c:pt>
                <c:pt idx="8032">
                  <c:v>22.31111111111111</c:v>
                </c:pt>
                <c:pt idx="8033">
                  <c:v>22.31388888888889</c:v>
                </c:pt>
                <c:pt idx="8034">
                  <c:v>22.316666666666666</c:v>
                </c:pt>
                <c:pt idx="8035">
                  <c:v>22.319444444444443</c:v>
                </c:pt>
                <c:pt idx="8036">
                  <c:v>22.322222222222223</c:v>
                </c:pt>
                <c:pt idx="8037">
                  <c:v>22.324999999999999</c:v>
                </c:pt>
                <c:pt idx="8038">
                  <c:v>22.327777777777779</c:v>
                </c:pt>
                <c:pt idx="8039">
                  <c:v>22.330555555555556</c:v>
                </c:pt>
                <c:pt idx="8040">
                  <c:v>22.333333333333332</c:v>
                </c:pt>
                <c:pt idx="8041">
                  <c:v>22.336111111111112</c:v>
                </c:pt>
                <c:pt idx="8042">
                  <c:v>22.338888888888889</c:v>
                </c:pt>
                <c:pt idx="8043">
                  <c:v>22.341666666666665</c:v>
                </c:pt>
                <c:pt idx="8044">
                  <c:v>22.344444444444445</c:v>
                </c:pt>
                <c:pt idx="8045">
                  <c:v>22.347222222222221</c:v>
                </c:pt>
                <c:pt idx="8046">
                  <c:v>22.35</c:v>
                </c:pt>
                <c:pt idx="8047">
                  <c:v>22.352777777777778</c:v>
                </c:pt>
                <c:pt idx="8048">
                  <c:v>22.355555555555554</c:v>
                </c:pt>
                <c:pt idx="8049">
                  <c:v>22.358333333333334</c:v>
                </c:pt>
                <c:pt idx="8050">
                  <c:v>22.361111111111111</c:v>
                </c:pt>
                <c:pt idx="8051">
                  <c:v>22.363888888888887</c:v>
                </c:pt>
                <c:pt idx="8052">
                  <c:v>22.366666666666667</c:v>
                </c:pt>
                <c:pt idx="8053">
                  <c:v>22.369444444444444</c:v>
                </c:pt>
                <c:pt idx="8054">
                  <c:v>22.372222222222224</c:v>
                </c:pt>
                <c:pt idx="8055">
                  <c:v>22.375</c:v>
                </c:pt>
                <c:pt idx="8056">
                  <c:v>22.377777777777776</c:v>
                </c:pt>
                <c:pt idx="8057">
                  <c:v>22.380555555555556</c:v>
                </c:pt>
                <c:pt idx="8058">
                  <c:v>22.383333333333333</c:v>
                </c:pt>
                <c:pt idx="8059">
                  <c:v>22.386111111111113</c:v>
                </c:pt>
                <c:pt idx="8060">
                  <c:v>22.388888888888889</c:v>
                </c:pt>
                <c:pt idx="8061">
                  <c:v>22.391666666666666</c:v>
                </c:pt>
                <c:pt idx="8062">
                  <c:v>22.394444444444446</c:v>
                </c:pt>
                <c:pt idx="8063">
                  <c:v>22.397222222222222</c:v>
                </c:pt>
                <c:pt idx="8064">
                  <c:v>22.4</c:v>
                </c:pt>
                <c:pt idx="8065">
                  <c:v>22.402777777777779</c:v>
                </c:pt>
                <c:pt idx="8066">
                  <c:v>22.405555555555555</c:v>
                </c:pt>
                <c:pt idx="8067">
                  <c:v>22.408333333333335</c:v>
                </c:pt>
                <c:pt idx="8068">
                  <c:v>22.411111111111111</c:v>
                </c:pt>
                <c:pt idx="8069">
                  <c:v>22.413888888888888</c:v>
                </c:pt>
                <c:pt idx="8070">
                  <c:v>22.416666666666668</c:v>
                </c:pt>
                <c:pt idx="8071">
                  <c:v>22.419444444444444</c:v>
                </c:pt>
                <c:pt idx="8072">
                  <c:v>22.422222222222221</c:v>
                </c:pt>
                <c:pt idx="8073">
                  <c:v>22.425000000000001</c:v>
                </c:pt>
                <c:pt idx="8074">
                  <c:v>22.427777777777777</c:v>
                </c:pt>
                <c:pt idx="8075">
                  <c:v>22.430555555555557</c:v>
                </c:pt>
                <c:pt idx="8076">
                  <c:v>22.433333333333334</c:v>
                </c:pt>
                <c:pt idx="8077">
                  <c:v>22.43611111111111</c:v>
                </c:pt>
                <c:pt idx="8078">
                  <c:v>22.43888888888889</c:v>
                </c:pt>
                <c:pt idx="8079">
                  <c:v>22.441666666666666</c:v>
                </c:pt>
                <c:pt idx="8080">
                  <c:v>22.444444444444443</c:v>
                </c:pt>
                <c:pt idx="8081">
                  <c:v>22.447222222222223</c:v>
                </c:pt>
                <c:pt idx="8082">
                  <c:v>22.45</c:v>
                </c:pt>
                <c:pt idx="8083">
                  <c:v>22.452777777777779</c:v>
                </c:pt>
                <c:pt idx="8084">
                  <c:v>22.455555555555556</c:v>
                </c:pt>
                <c:pt idx="8085">
                  <c:v>22.458333333333332</c:v>
                </c:pt>
                <c:pt idx="8086">
                  <c:v>22.461111111111112</c:v>
                </c:pt>
                <c:pt idx="8087">
                  <c:v>22.463888888888889</c:v>
                </c:pt>
                <c:pt idx="8088">
                  <c:v>22.466666666666665</c:v>
                </c:pt>
                <c:pt idx="8089">
                  <c:v>22.469444444444445</c:v>
                </c:pt>
                <c:pt idx="8090">
                  <c:v>22.472222222222221</c:v>
                </c:pt>
                <c:pt idx="8091">
                  <c:v>22.475000000000001</c:v>
                </c:pt>
                <c:pt idx="8092">
                  <c:v>22.477777777777778</c:v>
                </c:pt>
                <c:pt idx="8093">
                  <c:v>22.480555555555554</c:v>
                </c:pt>
                <c:pt idx="8094">
                  <c:v>22.483333333333334</c:v>
                </c:pt>
                <c:pt idx="8095">
                  <c:v>22.486111111111111</c:v>
                </c:pt>
                <c:pt idx="8096">
                  <c:v>22.488888888888887</c:v>
                </c:pt>
                <c:pt idx="8097">
                  <c:v>22.491666666666667</c:v>
                </c:pt>
                <c:pt idx="8098">
                  <c:v>22.494444444444444</c:v>
                </c:pt>
                <c:pt idx="8099">
                  <c:v>22.497222222222224</c:v>
                </c:pt>
                <c:pt idx="8100">
                  <c:v>22.5</c:v>
                </c:pt>
                <c:pt idx="8101">
                  <c:v>22.502777777777776</c:v>
                </c:pt>
                <c:pt idx="8102">
                  <c:v>22.505555555555556</c:v>
                </c:pt>
                <c:pt idx="8103">
                  <c:v>22.508333333333333</c:v>
                </c:pt>
                <c:pt idx="8104">
                  <c:v>22.511111111111113</c:v>
                </c:pt>
                <c:pt idx="8105">
                  <c:v>22.513888888888889</c:v>
                </c:pt>
                <c:pt idx="8106">
                  <c:v>22.516666666666666</c:v>
                </c:pt>
                <c:pt idx="8107">
                  <c:v>22.519444444444446</c:v>
                </c:pt>
                <c:pt idx="8108">
                  <c:v>22.522222222222222</c:v>
                </c:pt>
                <c:pt idx="8109">
                  <c:v>22.524999999999999</c:v>
                </c:pt>
                <c:pt idx="8110">
                  <c:v>22.527777777777779</c:v>
                </c:pt>
                <c:pt idx="8111">
                  <c:v>22.530555555555555</c:v>
                </c:pt>
                <c:pt idx="8112">
                  <c:v>22.533333333333335</c:v>
                </c:pt>
                <c:pt idx="8113">
                  <c:v>22.536111111111111</c:v>
                </c:pt>
                <c:pt idx="8114">
                  <c:v>22.538888888888888</c:v>
                </c:pt>
                <c:pt idx="8115">
                  <c:v>22.541666666666668</c:v>
                </c:pt>
                <c:pt idx="8116">
                  <c:v>22.544444444444444</c:v>
                </c:pt>
                <c:pt idx="8117">
                  <c:v>22.547222222222221</c:v>
                </c:pt>
                <c:pt idx="8118">
                  <c:v>22.55</c:v>
                </c:pt>
                <c:pt idx="8119">
                  <c:v>22.552777777777777</c:v>
                </c:pt>
                <c:pt idx="8120">
                  <c:v>22.555555555555557</c:v>
                </c:pt>
                <c:pt idx="8121">
                  <c:v>22.558333333333334</c:v>
                </c:pt>
                <c:pt idx="8122">
                  <c:v>22.56111111111111</c:v>
                </c:pt>
                <c:pt idx="8123">
                  <c:v>22.56388888888889</c:v>
                </c:pt>
                <c:pt idx="8124">
                  <c:v>22.566666666666666</c:v>
                </c:pt>
                <c:pt idx="8125">
                  <c:v>22.569444444444443</c:v>
                </c:pt>
                <c:pt idx="8126">
                  <c:v>22.572222222222223</c:v>
                </c:pt>
                <c:pt idx="8127">
                  <c:v>22.574999999999999</c:v>
                </c:pt>
                <c:pt idx="8128">
                  <c:v>22.577777777777779</c:v>
                </c:pt>
                <c:pt idx="8129">
                  <c:v>22.580555555555556</c:v>
                </c:pt>
                <c:pt idx="8130">
                  <c:v>22.583333333333332</c:v>
                </c:pt>
                <c:pt idx="8131">
                  <c:v>22.586111111111112</c:v>
                </c:pt>
                <c:pt idx="8132">
                  <c:v>22.588888888888889</c:v>
                </c:pt>
                <c:pt idx="8133">
                  <c:v>22.591666666666665</c:v>
                </c:pt>
                <c:pt idx="8134">
                  <c:v>22.594444444444445</c:v>
                </c:pt>
                <c:pt idx="8135">
                  <c:v>22.597222222222221</c:v>
                </c:pt>
                <c:pt idx="8136">
                  <c:v>22.6</c:v>
                </c:pt>
                <c:pt idx="8137">
                  <c:v>22.602777777777778</c:v>
                </c:pt>
                <c:pt idx="8138">
                  <c:v>22.605555555555554</c:v>
                </c:pt>
                <c:pt idx="8139">
                  <c:v>22.608333333333334</c:v>
                </c:pt>
                <c:pt idx="8140">
                  <c:v>22.611111111111111</c:v>
                </c:pt>
                <c:pt idx="8141">
                  <c:v>22.613888888888887</c:v>
                </c:pt>
                <c:pt idx="8142">
                  <c:v>22.616666666666667</c:v>
                </c:pt>
                <c:pt idx="8143">
                  <c:v>22.619444444444444</c:v>
                </c:pt>
                <c:pt idx="8144">
                  <c:v>22.622222222222224</c:v>
                </c:pt>
                <c:pt idx="8145">
                  <c:v>22.625</c:v>
                </c:pt>
                <c:pt idx="8146">
                  <c:v>22.627777777777776</c:v>
                </c:pt>
                <c:pt idx="8147">
                  <c:v>22.630555555555556</c:v>
                </c:pt>
                <c:pt idx="8148">
                  <c:v>22.633333333333333</c:v>
                </c:pt>
                <c:pt idx="8149">
                  <c:v>22.636111111111113</c:v>
                </c:pt>
                <c:pt idx="8150">
                  <c:v>22.638888888888889</c:v>
                </c:pt>
                <c:pt idx="8151">
                  <c:v>22.641666666666666</c:v>
                </c:pt>
                <c:pt idx="8152">
                  <c:v>22.644444444444446</c:v>
                </c:pt>
                <c:pt idx="8153">
                  <c:v>22.647222222222222</c:v>
                </c:pt>
                <c:pt idx="8154">
                  <c:v>22.65</c:v>
                </c:pt>
                <c:pt idx="8155">
                  <c:v>22.652777777777779</c:v>
                </c:pt>
                <c:pt idx="8156">
                  <c:v>22.655555555555555</c:v>
                </c:pt>
                <c:pt idx="8157">
                  <c:v>22.658333333333335</c:v>
                </c:pt>
                <c:pt idx="8158">
                  <c:v>22.661111111111111</c:v>
                </c:pt>
                <c:pt idx="8159">
                  <c:v>22.663888888888888</c:v>
                </c:pt>
                <c:pt idx="8160">
                  <c:v>22.666666666666668</c:v>
                </c:pt>
                <c:pt idx="8161">
                  <c:v>22.669444444444444</c:v>
                </c:pt>
                <c:pt idx="8162">
                  <c:v>22.672222222222221</c:v>
                </c:pt>
                <c:pt idx="8163">
                  <c:v>22.675000000000001</c:v>
                </c:pt>
                <c:pt idx="8164">
                  <c:v>22.677777777777777</c:v>
                </c:pt>
                <c:pt idx="8165">
                  <c:v>22.680555555555557</c:v>
                </c:pt>
                <c:pt idx="8166">
                  <c:v>22.683333333333334</c:v>
                </c:pt>
                <c:pt idx="8167">
                  <c:v>22.68611111111111</c:v>
                </c:pt>
                <c:pt idx="8168">
                  <c:v>22.68888888888889</c:v>
                </c:pt>
                <c:pt idx="8169">
                  <c:v>22.691666666666666</c:v>
                </c:pt>
                <c:pt idx="8170">
                  <c:v>22.694444444444443</c:v>
                </c:pt>
                <c:pt idx="8171">
                  <c:v>22.697222222222223</c:v>
                </c:pt>
                <c:pt idx="8172">
                  <c:v>22.7</c:v>
                </c:pt>
                <c:pt idx="8173">
                  <c:v>22.702777777777779</c:v>
                </c:pt>
                <c:pt idx="8174">
                  <c:v>22.705555555555556</c:v>
                </c:pt>
                <c:pt idx="8175">
                  <c:v>22.708333333333332</c:v>
                </c:pt>
                <c:pt idx="8176">
                  <c:v>22.711111111111112</c:v>
                </c:pt>
                <c:pt idx="8177">
                  <c:v>22.713888888888889</c:v>
                </c:pt>
                <c:pt idx="8178">
                  <c:v>22.716666666666665</c:v>
                </c:pt>
                <c:pt idx="8179">
                  <c:v>22.719444444444445</c:v>
                </c:pt>
                <c:pt idx="8180">
                  <c:v>22.722222222222221</c:v>
                </c:pt>
                <c:pt idx="8181">
                  <c:v>22.725000000000001</c:v>
                </c:pt>
                <c:pt idx="8182">
                  <c:v>22.727777777777778</c:v>
                </c:pt>
                <c:pt idx="8183">
                  <c:v>22.730555555555554</c:v>
                </c:pt>
                <c:pt idx="8184">
                  <c:v>22.733333333333334</c:v>
                </c:pt>
                <c:pt idx="8185">
                  <c:v>22.736111111111111</c:v>
                </c:pt>
                <c:pt idx="8186">
                  <c:v>22.738888888888887</c:v>
                </c:pt>
                <c:pt idx="8187">
                  <c:v>22.741666666666667</c:v>
                </c:pt>
                <c:pt idx="8188">
                  <c:v>22.744444444444444</c:v>
                </c:pt>
                <c:pt idx="8189">
                  <c:v>22.747222222222224</c:v>
                </c:pt>
                <c:pt idx="8190">
                  <c:v>22.75</c:v>
                </c:pt>
                <c:pt idx="8191">
                  <c:v>22.752777777777776</c:v>
                </c:pt>
                <c:pt idx="8192">
                  <c:v>22.755555555555556</c:v>
                </c:pt>
                <c:pt idx="8193">
                  <c:v>22.758333333333333</c:v>
                </c:pt>
                <c:pt idx="8194">
                  <c:v>22.761111111111113</c:v>
                </c:pt>
                <c:pt idx="8195">
                  <c:v>22.763888888888889</c:v>
                </c:pt>
                <c:pt idx="8196">
                  <c:v>22.766666666666666</c:v>
                </c:pt>
                <c:pt idx="8197">
                  <c:v>22.769444444444446</c:v>
                </c:pt>
                <c:pt idx="8198">
                  <c:v>22.772222222222222</c:v>
                </c:pt>
                <c:pt idx="8199">
                  <c:v>22.774999999999999</c:v>
                </c:pt>
                <c:pt idx="8200">
                  <c:v>22.777777777777779</c:v>
                </c:pt>
                <c:pt idx="8201">
                  <c:v>22.780555555555555</c:v>
                </c:pt>
                <c:pt idx="8202">
                  <c:v>22.783333333333335</c:v>
                </c:pt>
                <c:pt idx="8203">
                  <c:v>22.786111111111111</c:v>
                </c:pt>
                <c:pt idx="8204">
                  <c:v>22.788888888888888</c:v>
                </c:pt>
                <c:pt idx="8205">
                  <c:v>22.791666666666668</c:v>
                </c:pt>
                <c:pt idx="8206">
                  <c:v>22.794444444444444</c:v>
                </c:pt>
                <c:pt idx="8207">
                  <c:v>22.797222222222221</c:v>
                </c:pt>
                <c:pt idx="8208">
                  <c:v>22.8</c:v>
                </c:pt>
                <c:pt idx="8209">
                  <c:v>22.802777777777777</c:v>
                </c:pt>
                <c:pt idx="8210">
                  <c:v>22.805555555555557</c:v>
                </c:pt>
                <c:pt idx="8211">
                  <c:v>22.808333333333334</c:v>
                </c:pt>
                <c:pt idx="8212">
                  <c:v>22.81111111111111</c:v>
                </c:pt>
                <c:pt idx="8213">
                  <c:v>22.81388888888889</c:v>
                </c:pt>
                <c:pt idx="8214">
                  <c:v>22.816666666666666</c:v>
                </c:pt>
                <c:pt idx="8215">
                  <c:v>22.819444444444443</c:v>
                </c:pt>
                <c:pt idx="8216">
                  <c:v>22.822222222222223</c:v>
                </c:pt>
                <c:pt idx="8217">
                  <c:v>22.824999999999999</c:v>
                </c:pt>
                <c:pt idx="8218">
                  <c:v>22.827777777777779</c:v>
                </c:pt>
                <c:pt idx="8219">
                  <c:v>22.830555555555556</c:v>
                </c:pt>
                <c:pt idx="8220">
                  <c:v>22.833333333333332</c:v>
                </c:pt>
                <c:pt idx="8221">
                  <c:v>22.836111111111112</c:v>
                </c:pt>
                <c:pt idx="8222">
                  <c:v>22.838888888888889</c:v>
                </c:pt>
                <c:pt idx="8223">
                  <c:v>22.841666666666665</c:v>
                </c:pt>
                <c:pt idx="8224">
                  <c:v>22.844444444444445</c:v>
                </c:pt>
                <c:pt idx="8225">
                  <c:v>22.847222222222221</c:v>
                </c:pt>
                <c:pt idx="8226">
                  <c:v>22.85</c:v>
                </c:pt>
                <c:pt idx="8227">
                  <c:v>22.852777777777778</c:v>
                </c:pt>
                <c:pt idx="8228">
                  <c:v>22.855555555555554</c:v>
                </c:pt>
                <c:pt idx="8229">
                  <c:v>22.858333333333334</c:v>
                </c:pt>
                <c:pt idx="8230">
                  <c:v>22.861111111111111</c:v>
                </c:pt>
                <c:pt idx="8231">
                  <c:v>22.863888888888887</c:v>
                </c:pt>
                <c:pt idx="8232">
                  <c:v>22.866666666666667</c:v>
                </c:pt>
                <c:pt idx="8233">
                  <c:v>22.869444444444444</c:v>
                </c:pt>
                <c:pt idx="8234">
                  <c:v>22.872222222222224</c:v>
                </c:pt>
                <c:pt idx="8235">
                  <c:v>22.875</c:v>
                </c:pt>
                <c:pt idx="8236">
                  <c:v>22.877777777777776</c:v>
                </c:pt>
                <c:pt idx="8237">
                  <c:v>22.880555555555556</c:v>
                </c:pt>
                <c:pt idx="8238">
                  <c:v>22.883333333333333</c:v>
                </c:pt>
                <c:pt idx="8239">
                  <c:v>22.886111111111113</c:v>
                </c:pt>
                <c:pt idx="8240">
                  <c:v>22.888888888888889</c:v>
                </c:pt>
                <c:pt idx="8241">
                  <c:v>22.891666666666666</c:v>
                </c:pt>
                <c:pt idx="8242">
                  <c:v>22.894444444444446</c:v>
                </c:pt>
                <c:pt idx="8243">
                  <c:v>22.897222222222222</c:v>
                </c:pt>
                <c:pt idx="8244">
                  <c:v>22.9</c:v>
                </c:pt>
                <c:pt idx="8245">
                  <c:v>22.902777777777779</c:v>
                </c:pt>
                <c:pt idx="8246">
                  <c:v>22.905555555555555</c:v>
                </c:pt>
                <c:pt idx="8247">
                  <c:v>22.908333333333335</c:v>
                </c:pt>
                <c:pt idx="8248">
                  <c:v>22.911111111111111</c:v>
                </c:pt>
                <c:pt idx="8249">
                  <c:v>22.913888888888888</c:v>
                </c:pt>
                <c:pt idx="8250">
                  <c:v>22.916666666666668</c:v>
                </c:pt>
                <c:pt idx="8251">
                  <c:v>22.919444444444444</c:v>
                </c:pt>
                <c:pt idx="8252">
                  <c:v>22.922222222222221</c:v>
                </c:pt>
                <c:pt idx="8253">
                  <c:v>22.925000000000001</c:v>
                </c:pt>
                <c:pt idx="8254">
                  <c:v>22.927777777777777</c:v>
                </c:pt>
                <c:pt idx="8255">
                  <c:v>22.930555555555557</c:v>
                </c:pt>
                <c:pt idx="8256">
                  <c:v>22.933333333333334</c:v>
                </c:pt>
                <c:pt idx="8257">
                  <c:v>22.93611111111111</c:v>
                </c:pt>
                <c:pt idx="8258">
                  <c:v>22.93888888888889</c:v>
                </c:pt>
                <c:pt idx="8259">
                  <c:v>22.941666666666666</c:v>
                </c:pt>
                <c:pt idx="8260">
                  <c:v>22.944444444444443</c:v>
                </c:pt>
                <c:pt idx="8261">
                  <c:v>22.947222222222223</c:v>
                </c:pt>
                <c:pt idx="8262">
                  <c:v>22.95</c:v>
                </c:pt>
                <c:pt idx="8263">
                  <c:v>22.952777777777779</c:v>
                </c:pt>
                <c:pt idx="8264">
                  <c:v>22.955555555555556</c:v>
                </c:pt>
                <c:pt idx="8265">
                  <c:v>22.958333333333332</c:v>
                </c:pt>
                <c:pt idx="8266">
                  <c:v>22.961111111111112</c:v>
                </c:pt>
                <c:pt idx="8267">
                  <c:v>22.963888888888889</c:v>
                </c:pt>
                <c:pt idx="8268">
                  <c:v>22.966666666666665</c:v>
                </c:pt>
                <c:pt idx="8269">
                  <c:v>22.969444444444445</c:v>
                </c:pt>
                <c:pt idx="8270">
                  <c:v>22.972222222222221</c:v>
                </c:pt>
                <c:pt idx="8271">
                  <c:v>22.975000000000001</c:v>
                </c:pt>
                <c:pt idx="8272">
                  <c:v>22.977777777777778</c:v>
                </c:pt>
                <c:pt idx="8273">
                  <c:v>22.980555555555554</c:v>
                </c:pt>
                <c:pt idx="8274">
                  <c:v>22.983333333333334</c:v>
                </c:pt>
                <c:pt idx="8275">
                  <c:v>22.986111111111111</c:v>
                </c:pt>
                <c:pt idx="8276">
                  <c:v>22.988888888888887</c:v>
                </c:pt>
                <c:pt idx="8277">
                  <c:v>22.991666666666667</c:v>
                </c:pt>
                <c:pt idx="8278">
                  <c:v>22.994444444444444</c:v>
                </c:pt>
                <c:pt idx="8279">
                  <c:v>22.997222222222224</c:v>
                </c:pt>
                <c:pt idx="8280">
                  <c:v>23</c:v>
                </c:pt>
                <c:pt idx="8281">
                  <c:v>23.002777777777776</c:v>
                </c:pt>
                <c:pt idx="8282">
                  <c:v>23.005555555555556</c:v>
                </c:pt>
                <c:pt idx="8283">
                  <c:v>23.008333333333333</c:v>
                </c:pt>
                <c:pt idx="8284">
                  <c:v>23.011111111111113</c:v>
                </c:pt>
                <c:pt idx="8285">
                  <c:v>23.013888888888889</c:v>
                </c:pt>
                <c:pt idx="8286">
                  <c:v>23.016666666666666</c:v>
                </c:pt>
                <c:pt idx="8287">
                  <c:v>23.019444444444446</c:v>
                </c:pt>
                <c:pt idx="8288">
                  <c:v>23.022222222222222</c:v>
                </c:pt>
                <c:pt idx="8289">
                  <c:v>23.024999999999999</c:v>
                </c:pt>
                <c:pt idx="8290">
                  <c:v>23.027777777777779</c:v>
                </c:pt>
                <c:pt idx="8291">
                  <c:v>23.030555555555555</c:v>
                </c:pt>
                <c:pt idx="8292">
                  <c:v>23.033333333333335</c:v>
                </c:pt>
                <c:pt idx="8293">
                  <c:v>23.036111111111111</c:v>
                </c:pt>
                <c:pt idx="8294">
                  <c:v>23.038888888888888</c:v>
                </c:pt>
                <c:pt idx="8295">
                  <c:v>23.041666666666668</c:v>
                </c:pt>
                <c:pt idx="8296">
                  <c:v>23.044444444444444</c:v>
                </c:pt>
                <c:pt idx="8297">
                  <c:v>23.047222222222221</c:v>
                </c:pt>
                <c:pt idx="8298">
                  <c:v>23.05</c:v>
                </c:pt>
                <c:pt idx="8299">
                  <c:v>23.052777777777777</c:v>
                </c:pt>
                <c:pt idx="8300">
                  <c:v>23.055555555555557</c:v>
                </c:pt>
                <c:pt idx="8301">
                  <c:v>23.058333333333334</c:v>
                </c:pt>
                <c:pt idx="8302">
                  <c:v>23.06111111111111</c:v>
                </c:pt>
                <c:pt idx="8303">
                  <c:v>23.06388888888889</c:v>
                </c:pt>
                <c:pt idx="8304">
                  <c:v>23.066666666666666</c:v>
                </c:pt>
                <c:pt idx="8305">
                  <c:v>23.069444444444443</c:v>
                </c:pt>
                <c:pt idx="8306">
                  <c:v>23.072222222222223</c:v>
                </c:pt>
                <c:pt idx="8307">
                  <c:v>23.074999999999999</c:v>
                </c:pt>
                <c:pt idx="8308">
                  <c:v>23.077777777777779</c:v>
                </c:pt>
                <c:pt idx="8309">
                  <c:v>23.080555555555556</c:v>
                </c:pt>
                <c:pt idx="8310">
                  <c:v>23.083333333333332</c:v>
                </c:pt>
                <c:pt idx="8311">
                  <c:v>23.086111111111112</c:v>
                </c:pt>
                <c:pt idx="8312">
                  <c:v>23.088888888888889</c:v>
                </c:pt>
                <c:pt idx="8313">
                  <c:v>23.091666666666665</c:v>
                </c:pt>
                <c:pt idx="8314">
                  <c:v>23.094444444444445</c:v>
                </c:pt>
                <c:pt idx="8315">
                  <c:v>23.097222222222221</c:v>
                </c:pt>
                <c:pt idx="8316">
                  <c:v>23.1</c:v>
                </c:pt>
                <c:pt idx="8317">
                  <c:v>23.102777777777778</c:v>
                </c:pt>
                <c:pt idx="8318">
                  <c:v>23.105555555555554</c:v>
                </c:pt>
                <c:pt idx="8319">
                  <c:v>23.108333333333334</c:v>
                </c:pt>
                <c:pt idx="8320">
                  <c:v>23.111111111111111</c:v>
                </c:pt>
                <c:pt idx="8321">
                  <c:v>23.113888888888887</c:v>
                </c:pt>
                <c:pt idx="8322">
                  <c:v>23.116666666666667</c:v>
                </c:pt>
                <c:pt idx="8323">
                  <c:v>23.119444444444444</c:v>
                </c:pt>
                <c:pt idx="8324">
                  <c:v>23.122222222222224</c:v>
                </c:pt>
                <c:pt idx="8325">
                  <c:v>23.125</c:v>
                </c:pt>
                <c:pt idx="8326">
                  <c:v>23.127777777777776</c:v>
                </c:pt>
                <c:pt idx="8327">
                  <c:v>23.130555555555556</c:v>
                </c:pt>
                <c:pt idx="8328">
                  <c:v>23.133333333333333</c:v>
                </c:pt>
                <c:pt idx="8329">
                  <c:v>23.136111111111113</c:v>
                </c:pt>
                <c:pt idx="8330">
                  <c:v>23.138888888888889</c:v>
                </c:pt>
                <c:pt idx="8331">
                  <c:v>23.141666666666666</c:v>
                </c:pt>
                <c:pt idx="8332">
                  <c:v>23.144444444444446</c:v>
                </c:pt>
                <c:pt idx="8333">
                  <c:v>23.147222222222222</c:v>
                </c:pt>
                <c:pt idx="8334">
                  <c:v>23.15</c:v>
                </c:pt>
                <c:pt idx="8335">
                  <c:v>23.152777777777779</c:v>
                </c:pt>
                <c:pt idx="8336">
                  <c:v>23.155555555555555</c:v>
                </c:pt>
                <c:pt idx="8337">
                  <c:v>23.158333333333335</c:v>
                </c:pt>
                <c:pt idx="8338">
                  <c:v>23.161111111111111</c:v>
                </c:pt>
                <c:pt idx="8339">
                  <c:v>23.163888888888888</c:v>
                </c:pt>
                <c:pt idx="8340">
                  <c:v>23.166666666666668</c:v>
                </c:pt>
                <c:pt idx="8341">
                  <c:v>23.169444444444444</c:v>
                </c:pt>
                <c:pt idx="8342">
                  <c:v>23.172222222222221</c:v>
                </c:pt>
                <c:pt idx="8343">
                  <c:v>23.175000000000001</c:v>
                </c:pt>
                <c:pt idx="8344">
                  <c:v>23.177777777777777</c:v>
                </c:pt>
                <c:pt idx="8345">
                  <c:v>23.180555555555557</c:v>
                </c:pt>
                <c:pt idx="8346">
                  <c:v>23.183333333333334</c:v>
                </c:pt>
                <c:pt idx="8347">
                  <c:v>23.18611111111111</c:v>
                </c:pt>
                <c:pt idx="8348">
                  <c:v>23.18888888888889</c:v>
                </c:pt>
                <c:pt idx="8349">
                  <c:v>23.191666666666666</c:v>
                </c:pt>
                <c:pt idx="8350">
                  <c:v>23.194444444444443</c:v>
                </c:pt>
                <c:pt idx="8351">
                  <c:v>23.197222222222223</c:v>
                </c:pt>
                <c:pt idx="8352">
                  <c:v>23.2</c:v>
                </c:pt>
                <c:pt idx="8353">
                  <c:v>23.202777777777779</c:v>
                </c:pt>
                <c:pt idx="8354">
                  <c:v>23.205555555555556</c:v>
                </c:pt>
                <c:pt idx="8355">
                  <c:v>23.208333333333332</c:v>
                </c:pt>
                <c:pt idx="8356">
                  <c:v>23.211111111111112</c:v>
                </c:pt>
                <c:pt idx="8357">
                  <c:v>23.213888888888889</c:v>
                </c:pt>
                <c:pt idx="8358">
                  <c:v>23.216666666666665</c:v>
                </c:pt>
                <c:pt idx="8359">
                  <c:v>23.219444444444445</c:v>
                </c:pt>
                <c:pt idx="8360">
                  <c:v>23.222222222222221</c:v>
                </c:pt>
                <c:pt idx="8361">
                  <c:v>23.225000000000001</c:v>
                </c:pt>
                <c:pt idx="8362">
                  <c:v>23.227777777777778</c:v>
                </c:pt>
                <c:pt idx="8363">
                  <c:v>23.230555555555554</c:v>
                </c:pt>
                <c:pt idx="8364">
                  <c:v>23.233333333333334</c:v>
                </c:pt>
                <c:pt idx="8365">
                  <c:v>23.236111111111111</c:v>
                </c:pt>
                <c:pt idx="8366">
                  <c:v>23.238888888888887</c:v>
                </c:pt>
                <c:pt idx="8367">
                  <c:v>23.241666666666667</c:v>
                </c:pt>
                <c:pt idx="8368">
                  <c:v>23.244444444444444</c:v>
                </c:pt>
                <c:pt idx="8369">
                  <c:v>23.247222222222224</c:v>
                </c:pt>
                <c:pt idx="8370">
                  <c:v>23.25</c:v>
                </c:pt>
                <c:pt idx="8371">
                  <c:v>23.252777777777776</c:v>
                </c:pt>
                <c:pt idx="8372">
                  <c:v>23.255555555555556</c:v>
                </c:pt>
                <c:pt idx="8373">
                  <c:v>23.258333333333333</c:v>
                </c:pt>
                <c:pt idx="8374">
                  <c:v>23.261111111111113</c:v>
                </c:pt>
                <c:pt idx="8375">
                  <c:v>23.263888888888889</c:v>
                </c:pt>
                <c:pt idx="8376">
                  <c:v>23.266666666666666</c:v>
                </c:pt>
                <c:pt idx="8377">
                  <c:v>23.269444444444446</c:v>
                </c:pt>
                <c:pt idx="8378">
                  <c:v>23.272222222222222</c:v>
                </c:pt>
                <c:pt idx="8379">
                  <c:v>23.274999999999999</c:v>
                </c:pt>
                <c:pt idx="8380">
                  <c:v>23.277777777777779</c:v>
                </c:pt>
                <c:pt idx="8381">
                  <c:v>23.280555555555555</c:v>
                </c:pt>
                <c:pt idx="8382">
                  <c:v>23.283333333333335</c:v>
                </c:pt>
                <c:pt idx="8383">
                  <c:v>23.286111111111111</c:v>
                </c:pt>
                <c:pt idx="8384">
                  <c:v>23.288888888888888</c:v>
                </c:pt>
                <c:pt idx="8385">
                  <c:v>23.291666666666668</c:v>
                </c:pt>
                <c:pt idx="8386">
                  <c:v>23.294444444444444</c:v>
                </c:pt>
                <c:pt idx="8387">
                  <c:v>23.297222222222221</c:v>
                </c:pt>
                <c:pt idx="8388">
                  <c:v>23.3</c:v>
                </c:pt>
                <c:pt idx="8389">
                  <c:v>23.302777777777777</c:v>
                </c:pt>
                <c:pt idx="8390">
                  <c:v>23.305555555555557</c:v>
                </c:pt>
                <c:pt idx="8391">
                  <c:v>23.308333333333334</c:v>
                </c:pt>
                <c:pt idx="8392">
                  <c:v>23.31111111111111</c:v>
                </c:pt>
                <c:pt idx="8393">
                  <c:v>23.31388888888889</c:v>
                </c:pt>
                <c:pt idx="8394">
                  <c:v>23.316666666666666</c:v>
                </c:pt>
                <c:pt idx="8395">
                  <c:v>23.319444444444443</c:v>
                </c:pt>
                <c:pt idx="8396">
                  <c:v>23.322222222222223</c:v>
                </c:pt>
                <c:pt idx="8397">
                  <c:v>23.324999999999999</c:v>
                </c:pt>
                <c:pt idx="8398">
                  <c:v>23.327777777777779</c:v>
                </c:pt>
                <c:pt idx="8399">
                  <c:v>23.330555555555556</c:v>
                </c:pt>
                <c:pt idx="8400">
                  <c:v>23.333333333333332</c:v>
                </c:pt>
                <c:pt idx="8401">
                  <c:v>23.336111111111112</c:v>
                </c:pt>
                <c:pt idx="8402">
                  <c:v>23.338888888888889</c:v>
                </c:pt>
                <c:pt idx="8403">
                  <c:v>23.341666666666665</c:v>
                </c:pt>
                <c:pt idx="8404">
                  <c:v>23.344444444444445</c:v>
                </c:pt>
                <c:pt idx="8405">
                  <c:v>23.347222222222221</c:v>
                </c:pt>
                <c:pt idx="8406">
                  <c:v>23.35</c:v>
                </c:pt>
                <c:pt idx="8407">
                  <c:v>23.352777777777778</c:v>
                </c:pt>
                <c:pt idx="8408">
                  <c:v>23.355555555555554</c:v>
                </c:pt>
                <c:pt idx="8409">
                  <c:v>23.358333333333334</c:v>
                </c:pt>
                <c:pt idx="8410">
                  <c:v>23.361111111111111</c:v>
                </c:pt>
                <c:pt idx="8411">
                  <c:v>23.363888888888887</c:v>
                </c:pt>
                <c:pt idx="8412">
                  <c:v>23.366666666666667</c:v>
                </c:pt>
                <c:pt idx="8413">
                  <c:v>23.369444444444444</c:v>
                </c:pt>
                <c:pt idx="8414">
                  <c:v>23.372222222222224</c:v>
                </c:pt>
                <c:pt idx="8415">
                  <c:v>23.375</c:v>
                </c:pt>
                <c:pt idx="8416">
                  <c:v>23.377777777777776</c:v>
                </c:pt>
                <c:pt idx="8417">
                  <c:v>23.380555555555556</c:v>
                </c:pt>
                <c:pt idx="8418">
                  <c:v>23.383333333333333</c:v>
                </c:pt>
                <c:pt idx="8419">
                  <c:v>23.386111111111113</c:v>
                </c:pt>
                <c:pt idx="8420">
                  <c:v>23.388888888888889</c:v>
                </c:pt>
                <c:pt idx="8421">
                  <c:v>23.391666666666666</c:v>
                </c:pt>
                <c:pt idx="8422">
                  <c:v>23.394444444444446</c:v>
                </c:pt>
                <c:pt idx="8423">
                  <c:v>23.397222222222222</c:v>
                </c:pt>
                <c:pt idx="8424">
                  <c:v>23.4</c:v>
                </c:pt>
                <c:pt idx="8425">
                  <c:v>23.402777777777779</c:v>
                </c:pt>
                <c:pt idx="8426">
                  <c:v>23.405555555555555</c:v>
                </c:pt>
                <c:pt idx="8427">
                  <c:v>23.408333333333335</c:v>
                </c:pt>
                <c:pt idx="8428">
                  <c:v>23.411111111111111</c:v>
                </c:pt>
                <c:pt idx="8429">
                  <c:v>23.413888888888888</c:v>
                </c:pt>
                <c:pt idx="8430">
                  <c:v>23.416666666666668</c:v>
                </c:pt>
                <c:pt idx="8431">
                  <c:v>23.419444444444444</c:v>
                </c:pt>
                <c:pt idx="8432">
                  <c:v>23.422222222222221</c:v>
                </c:pt>
                <c:pt idx="8433">
                  <c:v>23.425000000000001</c:v>
                </c:pt>
                <c:pt idx="8434">
                  <c:v>23.427777777777777</c:v>
                </c:pt>
                <c:pt idx="8435">
                  <c:v>23.430555555555557</c:v>
                </c:pt>
                <c:pt idx="8436">
                  <c:v>23.433333333333334</c:v>
                </c:pt>
                <c:pt idx="8437">
                  <c:v>23.43611111111111</c:v>
                </c:pt>
                <c:pt idx="8438">
                  <c:v>23.43888888888889</c:v>
                </c:pt>
                <c:pt idx="8439">
                  <c:v>23.441666666666666</c:v>
                </c:pt>
                <c:pt idx="8440">
                  <c:v>23.444444444444443</c:v>
                </c:pt>
                <c:pt idx="8441">
                  <c:v>23.447222222222223</c:v>
                </c:pt>
                <c:pt idx="8442">
                  <c:v>23.45</c:v>
                </c:pt>
                <c:pt idx="8443">
                  <c:v>23.452777777777779</c:v>
                </c:pt>
                <c:pt idx="8444">
                  <c:v>23.455555555555556</c:v>
                </c:pt>
                <c:pt idx="8445">
                  <c:v>23.458333333333332</c:v>
                </c:pt>
                <c:pt idx="8446">
                  <c:v>23.461111111111112</c:v>
                </c:pt>
                <c:pt idx="8447">
                  <c:v>23.463888888888889</c:v>
                </c:pt>
                <c:pt idx="8448">
                  <c:v>23.466666666666665</c:v>
                </c:pt>
                <c:pt idx="8449">
                  <c:v>23.469444444444445</c:v>
                </c:pt>
                <c:pt idx="8450">
                  <c:v>23.472222222222221</c:v>
                </c:pt>
                <c:pt idx="8451">
                  <c:v>23.475000000000001</c:v>
                </c:pt>
                <c:pt idx="8452">
                  <c:v>23.477777777777778</c:v>
                </c:pt>
                <c:pt idx="8453">
                  <c:v>23.480555555555554</c:v>
                </c:pt>
                <c:pt idx="8454">
                  <c:v>23.483333333333334</c:v>
                </c:pt>
                <c:pt idx="8455">
                  <c:v>23.486111111111111</c:v>
                </c:pt>
                <c:pt idx="8456">
                  <c:v>23.488888888888887</c:v>
                </c:pt>
                <c:pt idx="8457">
                  <c:v>23.491666666666667</c:v>
                </c:pt>
                <c:pt idx="8458">
                  <c:v>23.494444444444444</c:v>
                </c:pt>
                <c:pt idx="8459">
                  <c:v>23.497222222222224</c:v>
                </c:pt>
                <c:pt idx="8460">
                  <c:v>23.5</c:v>
                </c:pt>
                <c:pt idx="8461">
                  <c:v>23.502777777777776</c:v>
                </c:pt>
                <c:pt idx="8462">
                  <c:v>23.505555555555556</c:v>
                </c:pt>
                <c:pt idx="8463">
                  <c:v>23.508333333333333</c:v>
                </c:pt>
                <c:pt idx="8464">
                  <c:v>23.511111111111113</c:v>
                </c:pt>
                <c:pt idx="8465">
                  <c:v>23.513888888888889</c:v>
                </c:pt>
                <c:pt idx="8466">
                  <c:v>23.516666666666666</c:v>
                </c:pt>
                <c:pt idx="8467">
                  <c:v>23.519444444444446</c:v>
                </c:pt>
                <c:pt idx="8468">
                  <c:v>23.522222222222222</c:v>
                </c:pt>
                <c:pt idx="8469">
                  <c:v>23.524999999999999</c:v>
                </c:pt>
                <c:pt idx="8470">
                  <c:v>23.527777777777779</c:v>
                </c:pt>
                <c:pt idx="8471">
                  <c:v>23.530555555555555</c:v>
                </c:pt>
                <c:pt idx="8472">
                  <c:v>23.533333333333335</c:v>
                </c:pt>
                <c:pt idx="8473">
                  <c:v>23.536111111111111</c:v>
                </c:pt>
                <c:pt idx="8474">
                  <c:v>23.538888888888888</c:v>
                </c:pt>
                <c:pt idx="8475">
                  <c:v>23.541666666666668</c:v>
                </c:pt>
                <c:pt idx="8476">
                  <c:v>23.544444444444444</c:v>
                </c:pt>
                <c:pt idx="8477">
                  <c:v>23.547222222222221</c:v>
                </c:pt>
                <c:pt idx="8478">
                  <c:v>23.55</c:v>
                </c:pt>
                <c:pt idx="8479">
                  <c:v>23.552777777777777</c:v>
                </c:pt>
                <c:pt idx="8480">
                  <c:v>23.555555555555557</c:v>
                </c:pt>
                <c:pt idx="8481">
                  <c:v>23.558333333333334</c:v>
                </c:pt>
                <c:pt idx="8482">
                  <c:v>23.56111111111111</c:v>
                </c:pt>
                <c:pt idx="8483">
                  <c:v>23.56388888888889</c:v>
                </c:pt>
                <c:pt idx="8484">
                  <c:v>23.566666666666666</c:v>
                </c:pt>
                <c:pt idx="8485">
                  <c:v>23.569444444444443</c:v>
                </c:pt>
                <c:pt idx="8486">
                  <c:v>23.572222222222223</c:v>
                </c:pt>
                <c:pt idx="8487">
                  <c:v>23.574999999999999</c:v>
                </c:pt>
                <c:pt idx="8488">
                  <c:v>23.577777777777779</c:v>
                </c:pt>
                <c:pt idx="8489">
                  <c:v>23.580555555555556</c:v>
                </c:pt>
                <c:pt idx="8490">
                  <c:v>23.583333333333332</c:v>
                </c:pt>
                <c:pt idx="8491">
                  <c:v>23.586111111111112</c:v>
                </c:pt>
                <c:pt idx="8492">
                  <c:v>23.588888888888889</c:v>
                </c:pt>
                <c:pt idx="8493">
                  <c:v>23.591666666666665</c:v>
                </c:pt>
                <c:pt idx="8494">
                  <c:v>23.594444444444445</c:v>
                </c:pt>
                <c:pt idx="8495">
                  <c:v>23.597222222222221</c:v>
                </c:pt>
                <c:pt idx="8496">
                  <c:v>23.6</c:v>
                </c:pt>
                <c:pt idx="8497">
                  <c:v>23.602777777777778</c:v>
                </c:pt>
                <c:pt idx="8498">
                  <c:v>23.605555555555554</c:v>
                </c:pt>
                <c:pt idx="8499">
                  <c:v>23.608333333333334</c:v>
                </c:pt>
                <c:pt idx="8500">
                  <c:v>23.611111111111111</c:v>
                </c:pt>
                <c:pt idx="8501">
                  <c:v>23.613888888888887</c:v>
                </c:pt>
                <c:pt idx="8502">
                  <c:v>23.616666666666667</c:v>
                </c:pt>
                <c:pt idx="8503">
                  <c:v>23.619444444444444</c:v>
                </c:pt>
                <c:pt idx="8504">
                  <c:v>23.622222222222224</c:v>
                </c:pt>
                <c:pt idx="8505">
                  <c:v>23.625</c:v>
                </c:pt>
                <c:pt idx="8506">
                  <c:v>23.627777777777776</c:v>
                </c:pt>
                <c:pt idx="8507">
                  <c:v>23.630555555555556</c:v>
                </c:pt>
                <c:pt idx="8508">
                  <c:v>23.633333333333333</c:v>
                </c:pt>
                <c:pt idx="8509">
                  <c:v>23.636111111111113</c:v>
                </c:pt>
                <c:pt idx="8510">
                  <c:v>23.638888888888889</c:v>
                </c:pt>
                <c:pt idx="8511">
                  <c:v>23.641666666666666</c:v>
                </c:pt>
                <c:pt idx="8512">
                  <c:v>23.644444444444446</c:v>
                </c:pt>
                <c:pt idx="8513">
                  <c:v>23.647222222222222</c:v>
                </c:pt>
                <c:pt idx="8514">
                  <c:v>23.65</c:v>
                </c:pt>
                <c:pt idx="8515">
                  <c:v>23.652777777777779</c:v>
                </c:pt>
                <c:pt idx="8516">
                  <c:v>23.655555555555555</c:v>
                </c:pt>
                <c:pt idx="8517">
                  <c:v>23.658333333333335</c:v>
                </c:pt>
                <c:pt idx="8518">
                  <c:v>23.661111111111111</c:v>
                </c:pt>
                <c:pt idx="8519">
                  <c:v>23.663888888888888</c:v>
                </c:pt>
                <c:pt idx="8520">
                  <c:v>23.666666666666668</c:v>
                </c:pt>
                <c:pt idx="8521">
                  <c:v>23.669444444444444</c:v>
                </c:pt>
                <c:pt idx="8522">
                  <c:v>23.672222222222221</c:v>
                </c:pt>
                <c:pt idx="8523">
                  <c:v>23.675000000000001</c:v>
                </c:pt>
                <c:pt idx="8524">
                  <c:v>23.677777777777777</c:v>
                </c:pt>
                <c:pt idx="8525">
                  <c:v>23.680555555555557</c:v>
                </c:pt>
                <c:pt idx="8526">
                  <c:v>23.683333333333334</c:v>
                </c:pt>
                <c:pt idx="8527">
                  <c:v>23.68611111111111</c:v>
                </c:pt>
                <c:pt idx="8528">
                  <c:v>23.68888888888889</c:v>
                </c:pt>
                <c:pt idx="8529">
                  <c:v>23.691666666666666</c:v>
                </c:pt>
                <c:pt idx="8530">
                  <c:v>23.694444444444443</c:v>
                </c:pt>
                <c:pt idx="8531">
                  <c:v>23.697222222222223</c:v>
                </c:pt>
                <c:pt idx="8532">
                  <c:v>23.7</c:v>
                </c:pt>
                <c:pt idx="8533">
                  <c:v>23.702777777777779</c:v>
                </c:pt>
                <c:pt idx="8534">
                  <c:v>23.705555555555556</c:v>
                </c:pt>
                <c:pt idx="8535">
                  <c:v>23.708333333333332</c:v>
                </c:pt>
                <c:pt idx="8536">
                  <c:v>23.711111111111112</c:v>
                </c:pt>
                <c:pt idx="8537">
                  <c:v>23.713888888888889</c:v>
                </c:pt>
                <c:pt idx="8538">
                  <c:v>23.716666666666665</c:v>
                </c:pt>
                <c:pt idx="8539">
                  <c:v>23.719444444444445</c:v>
                </c:pt>
                <c:pt idx="8540">
                  <c:v>23.722222222222221</c:v>
                </c:pt>
                <c:pt idx="8541">
                  <c:v>23.725000000000001</c:v>
                </c:pt>
                <c:pt idx="8542">
                  <c:v>23.727777777777778</c:v>
                </c:pt>
                <c:pt idx="8543">
                  <c:v>23.730555555555554</c:v>
                </c:pt>
                <c:pt idx="8544">
                  <c:v>23.733333333333334</c:v>
                </c:pt>
                <c:pt idx="8545">
                  <c:v>23.736111111111111</c:v>
                </c:pt>
                <c:pt idx="8546">
                  <c:v>23.738888888888887</c:v>
                </c:pt>
                <c:pt idx="8547">
                  <c:v>23.741666666666667</c:v>
                </c:pt>
                <c:pt idx="8548">
                  <c:v>23.744444444444444</c:v>
                </c:pt>
                <c:pt idx="8549">
                  <c:v>23.747222222222224</c:v>
                </c:pt>
                <c:pt idx="8550">
                  <c:v>23.75</c:v>
                </c:pt>
                <c:pt idx="8551">
                  <c:v>23.752777777777776</c:v>
                </c:pt>
                <c:pt idx="8552">
                  <c:v>23.755555555555556</c:v>
                </c:pt>
                <c:pt idx="8553">
                  <c:v>23.758333333333333</c:v>
                </c:pt>
                <c:pt idx="8554">
                  <c:v>23.761111111111113</c:v>
                </c:pt>
                <c:pt idx="8555">
                  <c:v>23.763888888888889</c:v>
                </c:pt>
                <c:pt idx="8556">
                  <c:v>23.766666666666666</c:v>
                </c:pt>
                <c:pt idx="8557">
                  <c:v>23.769444444444446</c:v>
                </c:pt>
                <c:pt idx="8558">
                  <c:v>23.772222222222222</c:v>
                </c:pt>
                <c:pt idx="8559">
                  <c:v>23.774999999999999</c:v>
                </c:pt>
                <c:pt idx="8560">
                  <c:v>23.777777777777779</c:v>
                </c:pt>
                <c:pt idx="8561">
                  <c:v>23.780555555555555</c:v>
                </c:pt>
                <c:pt idx="8562">
                  <c:v>23.783333333333335</c:v>
                </c:pt>
                <c:pt idx="8563">
                  <c:v>23.786111111111111</c:v>
                </c:pt>
                <c:pt idx="8564">
                  <c:v>23.788888888888888</c:v>
                </c:pt>
                <c:pt idx="8565">
                  <c:v>23.791666666666668</c:v>
                </c:pt>
                <c:pt idx="8566">
                  <c:v>23.794444444444444</c:v>
                </c:pt>
                <c:pt idx="8567">
                  <c:v>23.797222222222221</c:v>
                </c:pt>
                <c:pt idx="8568">
                  <c:v>23.8</c:v>
                </c:pt>
                <c:pt idx="8569">
                  <c:v>23.802777777777777</c:v>
                </c:pt>
                <c:pt idx="8570">
                  <c:v>23.805555555555557</c:v>
                </c:pt>
                <c:pt idx="8571">
                  <c:v>23.808333333333334</c:v>
                </c:pt>
                <c:pt idx="8572">
                  <c:v>23.81111111111111</c:v>
                </c:pt>
                <c:pt idx="8573">
                  <c:v>23.81388888888889</c:v>
                </c:pt>
                <c:pt idx="8574">
                  <c:v>23.816666666666666</c:v>
                </c:pt>
                <c:pt idx="8575">
                  <c:v>23.819444444444443</c:v>
                </c:pt>
                <c:pt idx="8576">
                  <c:v>23.822222222222223</c:v>
                </c:pt>
                <c:pt idx="8577">
                  <c:v>23.824999999999999</c:v>
                </c:pt>
                <c:pt idx="8578">
                  <c:v>23.827777777777779</c:v>
                </c:pt>
                <c:pt idx="8579">
                  <c:v>23.830555555555556</c:v>
                </c:pt>
                <c:pt idx="8580">
                  <c:v>23.833333333333332</c:v>
                </c:pt>
                <c:pt idx="8581">
                  <c:v>23.836111111111112</c:v>
                </c:pt>
                <c:pt idx="8582">
                  <c:v>23.838888888888889</c:v>
                </c:pt>
                <c:pt idx="8583">
                  <c:v>23.841666666666665</c:v>
                </c:pt>
                <c:pt idx="8584">
                  <c:v>23.844444444444445</c:v>
                </c:pt>
                <c:pt idx="8585">
                  <c:v>23.847222222222221</c:v>
                </c:pt>
                <c:pt idx="8586">
                  <c:v>23.85</c:v>
                </c:pt>
                <c:pt idx="8587">
                  <c:v>23.852777777777778</c:v>
                </c:pt>
                <c:pt idx="8588">
                  <c:v>23.855555555555554</c:v>
                </c:pt>
                <c:pt idx="8589">
                  <c:v>23.858333333333334</c:v>
                </c:pt>
                <c:pt idx="8590">
                  <c:v>23.861111111111111</c:v>
                </c:pt>
                <c:pt idx="8591">
                  <c:v>23.863888888888887</c:v>
                </c:pt>
                <c:pt idx="8592">
                  <c:v>23.866666666666667</c:v>
                </c:pt>
                <c:pt idx="8593">
                  <c:v>23.869444444444444</c:v>
                </c:pt>
                <c:pt idx="8594">
                  <c:v>23.872222222222224</c:v>
                </c:pt>
                <c:pt idx="8595">
                  <c:v>23.875</c:v>
                </c:pt>
                <c:pt idx="8596">
                  <c:v>23.877777777777776</c:v>
                </c:pt>
                <c:pt idx="8597">
                  <c:v>23.880555555555556</c:v>
                </c:pt>
                <c:pt idx="8598">
                  <c:v>23.883333333333333</c:v>
                </c:pt>
                <c:pt idx="8599">
                  <c:v>23.886111111111113</c:v>
                </c:pt>
                <c:pt idx="8600">
                  <c:v>23.888888888888889</c:v>
                </c:pt>
                <c:pt idx="8601">
                  <c:v>23.891666666666666</c:v>
                </c:pt>
                <c:pt idx="8602">
                  <c:v>23.894444444444446</c:v>
                </c:pt>
                <c:pt idx="8603">
                  <c:v>23.897222222222222</c:v>
                </c:pt>
                <c:pt idx="8604">
                  <c:v>23.9</c:v>
                </c:pt>
                <c:pt idx="8605">
                  <c:v>23.902777777777779</c:v>
                </c:pt>
                <c:pt idx="8606">
                  <c:v>23.905555555555555</c:v>
                </c:pt>
                <c:pt idx="8607">
                  <c:v>23.908333333333335</c:v>
                </c:pt>
                <c:pt idx="8608">
                  <c:v>23.911111111111111</c:v>
                </c:pt>
                <c:pt idx="8609">
                  <c:v>23.913888888888888</c:v>
                </c:pt>
                <c:pt idx="8610">
                  <c:v>23.916666666666668</c:v>
                </c:pt>
                <c:pt idx="8611">
                  <c:v>23.919444444444444</c:v>
                </c:pt>
                <c:pt idx="8612">
                  <c:v>23.922222222222221</c:v>
                </c:pt>
                <c:pt idx="8613">
                  <c:v>23.925000000000001</c:v>
                </c:pt>
                <c:pt idx="8614">
                  <c:v>23.927777777777777</c:v>
                </c:pt>
                <c:pt idx="8615">
                  <c:v>23.930555555555557</c:v>
                </c:pt>
                <c:pt idx="8616">
                  <c:v>23.933333333333334</c:v>
                </c:pt>
                <c:pt idx="8617">
                  <c:v>23.93611111111111</c:v>
                </c:pt>
                <c:pt idx="8618">
                  <c:v>23.93888888888889</c:v>
                </c:pt>
                <c:pt idx="8619">
                  <c:v>23.941666666666666</c:v>
                </c:pt>
                <c:pt idx="8620">
                  <c:v>23.944444444444443</c:v>
                </c:pt>
                <c:pt idx="8621">
                  <c:v>23.947222222222223</c:v>
                </c:pt>
                <c:pt idx="8622">
                  <c:v>23.95</c:v>
                </c:pt>
                <c:pt idx="8623">
                  <c:v>23.952777777777779</c:v>
                </c:pt>
                <c:pt idx="8624">
                  <c:v>23.955555555555556</c:v>
                </c:pt>
                <c:pt idx="8625">
                  <c:v>23.958333333333332</c:v>
                </c:pt>
                <c:pt idx="8626">
                  <c:v>23.961111111111112</c:v>
                </c:pt>
                <c:pt idx="8627">
                  <c:v>23.963888888888889</c:v>
                </c:pt>
                <c:pt idx="8628">
                  <c:v>23.966666666666665</c:v>
                </c:pt>
                <c:pt idx="8629">
                  <c:v>23.969444444444445</c:v>
                </c:pt>
                <c:pt idx="8630">
                  <c:v>23.972222222222221</c:v>
                </c:pt>
                <c:pt idx="8631">
                  <c:v>23.975000000000001</c:v>
                </c:pt>
                <c:pt idx="8632">
                  <c:v>23.977777777777778</c:v>
                </c:pt>
                <c:pt idx="8633">
                  <c:v>23.980555555555554</c:v>
                </c:pt>
                <c:pt idx="8634">
                  <c:v>23.983333333333334</c:v>
                </c:pt>
                <c:pt idx="8635">
                  <c:v>23.986111111111111</c:v>
                </c:pt>
                <c:pt idx="8636">
                  <c:v>23.988888888888887</c:v>
                </c:pt>
                <c:pt idx="8637">
                  <c:v>23.991666666666667</c:v>
                </c:pt>
                <c:pt idx="8638">
                  <c:v>23.994444444444444</c:v>
                </c:pt>
                <c:pt idx="8639">
                  <c:v>23.997222222222224</c:v>
                </c:pt>
                <c:pt idx="8640">
                  <c:v>24</c:v>
                </c:pt>
                <c:pt idx="8641">
                  <c:v>24.002777777777776</c:v>
                </c:pt>
                <c:pt idx="8642">
                  <c:v>24.005555555555556</c:v>
                </c:pt>
                <c:pt idx="8643">
                  <c:v>24.008333333333333</c:v>
                </c:pt>
                <c:pt idx="8644">
                  <c:v>24.011111111111113</c:v>
                </c:pt>
                <c:pt idx="8645">
                  <c:v>24.013888888888889</c:v>
                </c:pt>
                <c:pt idx="8646">
                  <c:v>24.016666666666666</c:v>
                </c:pt>
                <c:pt idx="8647">
                  <c:v>24.019444444444446</c:v>
                </c:pt>
                <c:pt idx="8648">
                  <c:v>24.022222222222222</c:v>
                </c:pt>
                <c:pt idx="8649">
                  <c:v>24.024999999999999</c:v>
                </c:pt>
                <c:pt idx="8650">
                  <c:v>24.027777777777779</c:v>
                </c:pt>
                <c:pt idx="8651">
                  <c:v>24.030555555555555</c:v>
                </c:pt>
                <c:pt idx="8652">
                  <c:v>24.033333333333335</c:v>
                </c:pt>
                <c:pt idx="8653">
                  <c:v>24.036111111111111</c:v>
                </c:pt>
                <c:pt idx="8654">
                  <c:v>24.038888888888888</c:v>
                </c:pt>
                <c:pt idx="8655">
                  <c:v>24.041666666666668</c:v>
                </c:pt>
                <c:pt idx="8656">
                  <c:v>24.044444444444444</c:v>
                </c:pt>
                <c:pt idx="8657">
                  <c:v>24.047222222222221</c:v>
                </c:pt>
                <c:pt idx="8658">
                  <c:v>24.05</c:v>
                </c:pt>
                <c:pt idx="8659">
                  <c:v>24.052777777777777</c:v>
                </c:pt>
                <c:pt idx="8660">
                  <c:v>24.055555555555557</c:v>
                </c:pt>
                <c:pt idx="8661">
                  <c:v>24.058333333333334</c:v>
                </c:pt>
                <c:pt idx="8662">
                  <c:v>24.06111111111111</c:v>
                </c:pt>
                <c:pt idx="8663">
                  <c:v>24.06388888888889</c:v>
                </c:pt>
                <c:pt idx="8664">
                  <c:v>24.066666666666666</c:v>
                </c:pt>
                <c:pt idx="8665">
                  <c:v>24.069444444444443</c:v>
                </c:pt>
                <c:pt idx="8666">
                  <c:v>24.072222222222223</c:v>
                </c:pt>
                <c:pt idx="8667">
                  <c:v>24.074999999999999</c:v>
                </c:pt>
                <c:pt idx="8668">
                  <c:v>24.077777777777779</c:v>
                </c:pt>
                <c:pt idx="8669">
                  <c:v>24.080555555555556</c:v>
                </c:pt>
                <c:pt idx="8670">
                  <c:v>24.083333333333332</c:v>
                </c:pt>
                <c:pt idx="8671">
                  <c:v>24.086111111111112</c:v>
                </c:pt>
                <c:pt idx="8672">
                  <c:v>24.088888888888889</c:v>
                </c:pt>
                <c:pt idx="8673">
                  <c:v>24.091666666666665</c:v>
                </c:pt>
                <c:pt idx="8674">
                  <c:v>24.094444444444445</c:v>
                </c:pt>
                <c:pt idx="8675">
                  <c:v>24.097222222222221</c:v>
                </c:pt>
                <c:pt idx="8676">
                  <c:v>24.1</c:v>
                </c:pt>
                <c:pt idx="8677">
                  <c:v>24.102777777777778</c:v>
                </c:pt>
                <c:pt idx="8678">
                  <c:v>24.105555555555554</c:v>
                </c:pt>
                <c:pt idx="8679">
                  <c:v>24.108333333333334</c:v>
                </c:pt>
                <c:pt idx="8680">
                  <c:v>24.111111111111111</c:v>
                </c:pt>
                <c:pt idx="8681">
                  <c:v>24.113888888888887</c:v>
                </c:pt>
                <c:pt idx="8682">
                  <c:v>24.116666666666667</c:v>
                </c:pt>
                <c:pt idx="8683">
                  <c:v>24.119444444444444</c:v>
                </c:pt>
                <c:pt idx="8684">
                  <c:v>24.122222222222224</c:v>
                </c:pt>
                <c:pt idx="8685">
                  <c:v>24.125</c:v>
                </c:pt>
                <c:pt idx="8686">
                  <c:v>24.127777777777776</c:v>
                </c:pt>
                <c:pt idx="8687">
                  <c:v>24.130555555555556</c:v>
                </c:pt>
                <c:pt idx="8688">
                  <c:v>24.133333333333333</c:v>
                </c:pt>
                <c:pt idx="8689">
                  <c:v>24.136111111111113</c:v>
                </c:pt>
                <c:pt idx="8690">
                  <c:v>24.138888888888889</c:v>
                </c:pt>
                <c:pt idx="8691">
                  <c:v>24.141666666666666</c:v>
                </c:pt>
                <c:pt idx="8692">
                  <c:v>24.144444444444446</c:v>
                </c:pt>
                <c:pt idx="8693">
                  <c:v>24.147222222222222</c:v>
                </c:pt>
                <c:pt idx="8694">
                  <c:v>24.15</c:v>
                </c:pt>
                <c:pt idx="8695">
                  <c:v>24.152777777777779</c:v>
                </c:pt>
                <c:pt idx="8696">
                  <c:v>24.155555555555555</c:v>
                </c:pt>
                <c:pt idx="8697">
                  <c:v>24.158333333333335</c:v>
                </c:pt>
                <c:pt idx="8698">
                  <c:v>24.161111111111111</c:v>
                </c:pt>
                <c:pt idx="8699">
                  <c:v>24.163888888888888</c:v>
                </c:pt>
                <c:pt idx="8700">
                  <c:v>24.166666666666668</c:v>
                </c:pt>
                <c:pt idx="8701">
                  <c:v>24.169444444444444</c:v>
                </c:pt>
                <c:pt idx="8702">
                  <c:v>24.172222222222221</c:v>
                </c:pt>
                <c:pt idx="8703">
                  <c:v>24.175000000000001</c:v>
                </c:pt>
                <c:pt idx="8704">
                  <c:v>24.177777777777777</c:v>
                </c:pt>
                <c:pt idx="8705">
                  <c:v>24.180555555555557</c:v>
                </c:pt>
                <c:pt idx="8706">
                  <c:v>24.183333333333334</c:v>
                </c:pt>
                <c:pt idx="8707">
                  <c:v>24.18611111111111</c:v>
                </c:pt>
                <c:pt idx="8708">
                  <c:v>24.18888888888889</c:v>
                </c:pt>
                <c:pt idx="8709">
                  <c:v>24.191666666666666</c:v>
                </c:pt>
                <c:pt idx="8710">
                  <c:v>24.194444444444443</c:v>
                </c:pt>
                <c:pt idx="8711">
                  <c:v>24.197222222222223</c:v>
                </c:pt>
                <c:pt idx="8712">
                  <c:v>24.2</c:v>
                </c:pt>
                <c:pt idx="8713">
                  <c:v>24.202777777777779</c:v>
                </c:pt>
                <c:pt idx="8714">
                  <c:v>24.205555555555556</c:v>
                </c:pt>
                <c:pt idx="8715">
                  <c:v>24.208333333333332</c:v>
                </c:pt>
                <c:pt idx="8716">
                  <c:v>24.211111111111112</c:v>
                </c:pt>
                <c:pt idx="8717">
                  <c:v>24.213888888888889</c:v>
                </c:pt>
                <c:pt idx="8718">
                  <c:v>24.216666666666665</c:v>
                </c:pt>
                <c:pt idx="8719">
                  <c:v>24.219444444444445</c:v>
                </c:pt>
                <c:pt idx="8720">
                  <c:v>24.222222222222221</c:v>
                </c:pt>
                <c:pt idx="8721">
                  <c:v>24.225000000000001</c:v>
                </c:pt>
                <c:pt idx="8722">
                  <c:v>24.227777777777778</c:v>
                </c:pt>
                <c:pt idx="8723">
                  <c:v>24.230555555555554</c:v>
                </c:pt>
                <c:pt idx="8724">
                  <c:v>24.233333333333334</c:v>
                </c:pt>
                <c:pt idx="8725">
                  <c:v>24.236111111111111</c:v>
                </c:pt>
                <c:pt idx="8726">
                  <c:v>24.238888888888887</c:v>
                </c:pt>
                <c:pt idx="8727">
                  <c:v>24.241666666666667</c:v>
                </c:pt>
                <c:pt idx="8728">
                  <c:v>24.244444444444444</c:v>
                </c:pt>
                <c:pt idx="8729">
                  <c:v>24.247222222222224</c:v>
                </c:pt>
                <c:pt idx="8730">
                  <c:v>24.25</c:v>
                </c:pt>
                <c:pt idx="8731">
                  <c:v>24.252777777777776</c:v>
                </c:pt>
                <c:pt idx="8732">
                  <c:v>24.255555555555556</c:v>
                </c:pt>
                <c:pt idx="8733">
                  <c:v>24.258333333333333</c:v>
                </c:pt>
                <c:pt idx="8734">
                  <c:v>24.261111111111113</c:v>
                </c:pt>
                <c:pt idx="8735">
                  <c:v>24.263888888888889</c:v>
                </c:pt>
                <c:pt idx="8736">
                  <c:v>24.266666666666666</c:v>
                </c:pt>
                <c:pt idx="8737">
                  <c:v>24.269444444444446</c:v>
                </c:pt>
                <c:pt idx="8738">
                  <c:v>24.272222222222222</c:v>
                </c:pt>
                <c:pt idx="8739">
                  <c:v>24.274999999999999</c:v>
                </c:pt>
                <c:pt idx="8740">
                  <c:v>24.277777777777779</c:v>
                </c:pt>
                <c:pt idx="8741">
                  <c:v>24.280555555555555</c:v>
                </c:pt>
                <c:pt idx="8742">
                  <c:v>24.283333333333335</c:v>
                </c:pt>
                <c:pt idx="8743">
                  <c:v>24.286111111111111</c:v>
                </c:pt>
                <c:pt idx="8744">
                  <c:v>24.288888888888888</c:v>
                </c:pt>
                <c:pt idx="8745">
                  <c:v>24.291666666666668</c:v>
                </c:pt>
                <c:pt idx="8746">
                  <c:v>24.294444444444444</c:v>
                </c:pt>
                <c:pt idx="8747">
                  <c:v>24.297222222222221</c:v>
                </c:pt>
                <c:pt idx="8748">
                  <c:v>24.3</c:v>
                </c:pt>
                <c:pt idx="8749">
                  <c:v>24.302777777777777</c:v>
                </c:pt>
                <c:pt idx="8750">
                  <c:v>24.305555555555557</c:v>
                </c:pt>
                <c:pt idx="8751">
                  <c:v>24.308333333333334</c:v>
                </c:pt>
                <c:pt idx="8752">
                  <c:v>24.31111111111111</c:v>
                </c:pt>
                <c:pt idx="8753">
                  <c:v>24.31388888888889</c:v>
                </c:pt>
                <c:pt idx="8754">
                  <c:v>24.316666666666666</c:v>
                </c:pt>
                <c:pt idx="8755">
                  <c:v>24.319444444444443</c:v>
                </c:pt>
                <c:pt idx="8756">
                  <c:v>24.322222222222223</c:v>
                </c:pt>
                <c:pt idx="8757">
                  <c:v>24.324999999999999</c:v>
                </c:pt>
                <c:pt idx="8758">
                  <c:v>24.327777777777779</c:v>
                </c:pt>
                <c:pt idx="8759">
                  <c:v>24.330555555555556</c:v>
                </c:pt>
                <c:pt idx="8760">
                  <c:v>24.333333333333332</c:v>
                </c:pt>
                <c:pt idx="8761">
                  <c:v>24.336111111111112</c:v>
                </c:pt>
                <c:pt idx="8762">
                  <c:v>24.338888888888889</c:v>
                </c:pt>
                <c:pt idx="8763">
                  <c:v>24.341666666666665</c:v>
                </c:pt>
                <c:pt idx="8764">
                  <c:v>24.344444444444445</c:v>
                </c:pt>
                <c:pt idx="8765">
                  <c:v>24.347222222222221</c:v>
                </c:pt>
                <c:pt idx="8766">
                  <c:v>24.35</c:v>
                </c:pt>
                <c:pt idx="8767">
                  <c:v>24.352777777777778</c:v>
                </c:pt>
                <c:pt idx="8768">
                  <c:v>24.355555555555554</c:v>
                </c:pt>
                <c:pt idx="8769">
                  <c:v>24.358333333333334</c:v>
                </c:pt>
                <c:pt idx="8770">
                  <c:v>24.361111111111111</c:v>
                </c:pt>
                <c:pt idx="8771">
                  <c:v>24.363888888888887</c:v>
                </c:pt>
                <c:pt idx="8772">
                  <c:v>24.366666666666667</c:v>
                </c:pt>
                <c:pt idx="8773">
                  <c:v>24.369444444444444</c:v>
                </c:pt>
                <c:pt idx="8774">
                  <c:v>24.372222222222224</c:v>
                </c:pt>
                <c:pt idx="8775">
                  <c:v>24.375</c:v>
                </c:pt>
                <c:pt idx="8776">
                  <c:v>24.377777777777776</c:v>
                </c:pt>
                <c:pt idx="8777">
                  <c:v>24.380555555555556</c:v>
                </c:pt>
                <c:pt idx="8778">
                  <c:v>24.383333333333333</c:v>
                </c:pt>
                <c:pt idx="8779">
                  <c:v>24.386111111111113</c:v>
                </c:pt>
                <c:pt idx="8780">
                  <c:v>24.388888888888889</c:v>
                </c:pt>
                <c:pt idx="8781">
                  <c:v>24.391666666666666</c:v>
                </c:pt>
                <c:pt idx="8782">
                  <c:v>24.394444444444446</c:v>
                </c:pt>
                <c:pt idx="8783">
                  <c:v>24.397222222222222</c:v>
                </c:pt>
                <c:pt idx="8784">
                  <c:v>24.4</c:v>
                </c:pt>
                <c:pt idx="8785">
                  <c:v>24.402777777777779</c:v>
                </c:pt>
                <c:pt idx="8786">
                  <c:v>24.405555555555555</c:v>
                </c:pt>
                <c:pt idx="8787">
                  <c:v>24.408333333333335</c:v>
                </c:pt>
                <c:pt idx="8788">
                  <c:v>24.411111111111111</c:v>
                </c:pt>
                <c:pt idx="8789">
                  <c:v>24.413888888888888</c:v>
                </c:pt>
                <c:pt idx="8790">
                  <c:v>24.416666666666668</c:v>
                </c:pt>
                <c:pt idx="8791">
                  <c:v>24.419444444444444</c:v>
                </c:pt>
                <c:pt idx="8792">
                  <c:v>24.422222222222221</c:v>
                </c:pt>
                <c:pt idx="8793">
                  <c:v>24.425000000000001</c:v>
                </c:pt>
                <c:pt idx="8794">
                  <c:v>24.427777777777777</c:v>
                </c:pt>
                <c:pt idx="8795">
                  <c:v>24.430555555555557</c:v>
                </c:pt>
                <c:pt idx="8796">
                  <c:v>24.433333333333334</c:v>
                </c:pt>
                <c:pt idx="8797">
                  <c:v>24.43611111111111</c:v>
                </c:pt>
                <c:pt idx="8798">
                  <c:v>24.43888888888889</c:v>
                </c:pt>
                <c:pt idx="8799">
                  <c:v>24.441666666666666</c:v>
                </c:pt>
                <c:pt idx="8800">
                  <c:v>24.444444444444443</c:v>
                </c:pt>
                <c:pt idx="8801">
                  <c:v>24.447222222222223</c:v>
                </c:pt>
                <c:pt idx="8802">
                  <c:v>24.45</c:v>
                </c:pt>
                <c:pt idx="8803">
                  <c:v>24.452777777777779</c:v>
                </c:pt>
                <c:pt idx="8804">
                  <c:v>24.455555555555556</c:v>
                </c:pt>
                <c:pt idx="8805">
                  <c:v>24.458333333333332</c:v>
                </c:pt>
                <c:pt idx="8806">
                  <c:v>24.461111111111112</c:v>
                </c:pt>
                <c:pt idx="8807">
                  <c:v>24.463888888888889</c:v>
                </c:pt>
                <c:pt idx="8808">
                  <c:v>24.466666666666665</c:v>
                </c:pt>
                <c:pt idx="8809">
                  <c:v>24.469444444444445</c:v>
                </c:pt>
                <c:pt idx="8810">
                  <c:v>24.472222222222221</c:v>
                </c:pt>
                <c:pt idx="8811">
                  <c:v>24.475000000000001</c:v>
                </c:pt>
                <c:pt idx="8812">
                  <c:v>24.477777777777778</c:v>
                </c:pt>
                <c:pt idx="8813">
                  <c:v>24.480555555555554</c:v>
                </c:pt>
                <c:pt idx="8814">
                  <c:v>24.483333333333334</c:v>
                </c:pt>
                <c:pt idx="8815">
                  <c:v>24.486111111111111</c:v>
                </c:pt>
                <c:pt idx="8816">
                  <c:v>24.488888888888887</c:v>
                </c:pt>
                <c:pt idx="8817">
                  <c:v>24.491666666666667</c:v>
                </c:pt>
                <c:pt idx="8818">
                  <c:v>24.494444444444444</c:v>
                </c:pt>
                <c:pt idx="8819">
                  <c:v>24.497222222222224</c:v>
                </c:pt>
                <c:pt idx="8820">
                  <c:v>24.5</c:v>
                </c:pt>
                <c:pt idx="8821">
                  <c:v>24.502777777777776</c:v>
                </c:pt>
                <c:pt idx="8822">
                  <c:v>24.505555555555556</c:v>
                </c:pt>
                <c:pt idx="8823">
                  <c:v>24.508333333333333</c:v>
                </c:pt>
                <c:pt idx="8824">
                  <c:v>24.511111111111113</c:v>
                </c:pt>
                <c:pt idx="8825">
                  <c:v>24.513888888888889</c:v>
                </c:pt>
                <c:pt idx="8826">
                  <c:v>24.516666666666666</c:v>
                </c:pt>
                <c:pt idx="8827">
                  <c:v>24.519444444444446</c:v>
                </c:pt>
                <c:pt idx="8828">
                  <c:v>24.522222222222222</c:v>
                </c:pt>
                <c:pt idx="8829">
                  <c:v>24.524999999999999</c:v>
                </c:pt>
                <c:pt idx="8830">
                  <c:v>24.527777777777779</c:v>
                </c:pt>
                <c:pt idx="8831">
                  <c:v>24.530555555555555</c:v>
                </c:pt>
                <c:pt idx="8832">
                  <c:v>24.533333333333335</c:v>
                </c:pt>
                <c:pt idx="8833">
                  <c:v>24.536111111111111</c:v>
                </c:pt>
                <c:pt idx="8834">
                  <c:v>24.538888888888888</c:v>
                </c:pt>
                <c:pt idx="8835">
                  <c:v>24.541666666666668</c:v>
                </c:pt>
                <c:pt idx="8836">
                  <c:v>24.544444444444444</c:v>
                </c:pt>
                <c:pt idx="8837">
                  <c:v>24.547222222222221</c:v>
                </c:pt>
                <c:pt idx="8838">
                  <c:v>24.55</c:v>
                </c:pt>
                <c:pt idx="8839">
                  <c:v>24.552777777777777</c:v>
                </c:pt>
                <c:pt idx="8840">
                  <c:v>24.555555555555557</c:v>
                </c:pt>
                <c:pt idx="8841">
                  <c:v>24.558333333333334</c:v>
                </c:pt>
                <c:pt idx="8842">
                  <c:v>24.56111111111111</c:v>
                </c:pt>
                <c:pt idx="8843">
                  <c:v>24.56388888888889</c:v>
                </c:pt>
                <c:pt idx="8844">
                  <c:v>24.566666666666666</c:v>
                </c:pt>
                <c:pt idx="8845">
                  <c:v>24.569444444444443</c:v>
                </c:pt>
                <c:pt idx="8846">
                  <c:v>24.572222222222223</c:v>
                </c:pt>
                <c:pt idx="8847">
                  <c:v>24.574999999999999</c:v>
                </c:pt>
                <c:pt idx="8848">
                  <c:v>24.577777777777779</c:v>
                </c:pt>
                <c:pt idx="8849">
                  <c:v>24.580555555555556</c:v>
                </c:pt>
                <c:pt idx="8850">
                  <c:v>24.583333333333332</c:v>
                </c:pt>
                <c:pt idx="8851">
                  <c:v>24.586111111111112</c:v>
                </c:pt>
                <c:pt idx="8852">
                  <c:v>24.588888888888889</c:v>
                </c:pt>
                <c:pt idx="8853">
                  <c:v>24.591666666666665</c:v>
                </c:pt>
                <c:pt idx="8854">
                  <c:v>24.594444444444445</c:v>
                </c:pt>
                <c:pt idx="8855">
                  <c:v>24.597222222222221</c:v>
                </c:pt>
                <c:pt idx="8856">
                  <c:v>24.6</c:v>
                </c:pt>
                <c:pt idx="8857">
                  <c:v>24.602777777777778</c:v>
                </c:pt>
                <c:pt idx="8858">
                  <c:v>24.605555555555554</c:v>
                </c:pt>
                <c:pt idx="8859">
                  <c:v>24.608333333333334</c:v>
                </c:pt>
                <c:pt idx="8860">
                  <c:v>24.611111111111111</c:v>
                </c:pt>
                <c:pt idx="8861">
                  <c:v>24.613888888888887</c:v>
                </c:pt>
                <c:pt idx="8862">
                  <c:v>24.616666666666667</c:v>
                </c:pt>
                <c:pt idx="8863">
                  <c:v>24.619444444444444</c:v>
                </c:pt>
                <c:pt idx="8864">
                  <c:v>24.622222222222224</c:v>
                </c:pt>
                <c:pt idx="8865">
                  <c:v>24.625</c:v>
                </c:pt>
                <c:pt idx="8866">
                  <c:v>24.627777777777776</c:v>
                </c:pt>
                <c:pt idx="8867">
                  <c:v>24.630555555555556</c:v>
                </c:pt>
                <c:pt idx="8868">
                  <c:v>24.633333333333333</c:v>
                </c:pt>
                <c:pt idx="8869">
                  <c:v>24.636111111111113</c:v>
                </c:pt>
                <c:pt idx="8870">
                  <c:v>24.638888888888889</c:v>
                </c:pt>
                <c:pt idx="8871">
                  <c:v>24.641666666666666</c:v>
                </c:pt>
                <c:pt idx="8872">
                  <c:v>24.644444444444446</c:v>
                </c:pt>
                <c:pt idx="8873">
                  <c:v>24.647222222222222</c:v>
                </c:pt>
                <c:pt idx="8874">
                  <c:v>24.65</c:v>
                </c:pt>
                <c:pt idx="8875">
                  <c:v>24.652777777777779</c:v>
                </c:pt>
                <c:pt idx="8876">
                  <c:v>24.655555555555555</c:v>
                </c:pt>
                <c:pt idx="8877">
                  <c:v>24.658333333333335</c:v>
                </c:pt>
                <c:pt idx="8878">
                  <c:v>24.661111111111111</c:v>
                </c:pt>
                <c:pt idx="8879">
                  <c:v>24.663888888888888</c:v>
                </c:pt>
                <c:pt idx="8880">
                  <c:v>24.666666666666668</c:v>
                </c:pt>
                <c:pt idx="8881">
                  <c:v>24.669444444444444</c:v>
                </c:pt>
                <c:pt idx="8882">
                  <c:v>24.672222222222221</c:v>
                </c:pt>
                <c:pt idx="8883">
                  <c:v>24.675000000000001</c:v>
                </c:pt>
                <c:pt idx="8884">
                  <c:v>24.677777777777777</c:v>
                </c:pt>
                <c:pt idx="8885">
                  <c:v>24.680555555555557</c:v>
                </c:pt>
                <c:pt idx="8886">
                  <c:v>24.683333333333334</c:v>
                </c:pt>
                <c:pt idx="8887">
                  <c:v>24.68611111111111</c:v>
                </c:pt>
                <c:pt idx="8888">
                  <c:v>24.68888888888889</c:v>
                </c:pt>
                <c:pt idx="8889">
                  <c:v>24.691666666666666</c:v>
                </c:pt>
                <c:pt idx="8890">
                  <c:v>24.694444444444443</c:v>
                </c:pt>
                <c:pt idx="8891">
                  <c:v>24.697222222222223</c:v>
                </c:pt>
                <c:pt idx="8892">
                  <c:v>24.7</c:v>
                </c:pt>
                <c:pt idx="8893">
                  <c:v>24.702777777777779</c:v>
                </c:pt>
                <c:pt idx="8894">
                  <c:v>24.705555555555556</c:v>
                </c:pt>
                <c:pt idx="8895">
                  <c:v>24.708333333333332</c:v>
                </c:pt>
                <c:pt idx="8896">
                  <c:v>24.711111111111112</c:v>
                </c:pt>
                <c:pt idx="8897">
                  <c:v>24.713888888888889</c:v>
                </c:pt>
                <c:pt idx="8898">
                  <c:v>24.716666666666665</c:v>
                </c:pt>
                <c:pt idx="8899">
                  <c:v>24.719444444444445</c:v>
                </c:pt>
                <c:pt idx="8900">
                  <c:v>24.722222222222221</c:v>
                </c:pt>
                <c:pt idx="8901">
                  <c:v>24.725000000000001</c:v>
                </c:pt>
                <c:pt idx="8902">
                  <c:v>24.727777777777778</c:v>
                </c:pt>
                <c:pt idx="8903">
                  <c:v>24.730555555555554</c:v>
                </c:pt>
                <c:pt idx="8904">
                  <c:v>24.733333333333334</c:v>
                </c:pt>
                <c:pt idx="8905">
                  <c:v>24.736111111111111</c:v>
                </c:pt>
                <c:pt idx="8906">
                  <c:v>24.738888888888887</c:v>
                </c:pt>
                <c:pt idx="8907">
                  <c:v>24.741666666666667</c:v>
                </c:pt>
                <c:pt idx="8908">
                  <c:v>24.744444444444444</c:v>
                </c:pt>
                <c:pt idx="8909">
                  <c:v>24.747222222222224</c:v>
                </c:pt>
                <c:pt idx="8910">
                  <c:v>24.75</c:v>
                </c:pt>
                <c:pt idx="8911">
                  <c:v>24.752777777777776</c:v>
                </c:pt>
                <c:pt idx="8912">
                  <c:v>24.755555555555556</c:v>
                </c:pt>
                <c:pt idx="8913">
                  <c:v>24.758333333333333</c:v>
                </c:pt>
                <c:pt idx="8914">
                  <c:v>24.761111111111113</c:v>
                </c:pt>
                <c:pt idx="8915">
                  <c:v>24.763888888888889</c:v>
                </c:pt>
                <c:pt idx="8916">
                  <c:v>24.766666666666666</c:v>
                </c:pt>
                <c:pt idx="8917">
                  <c:v>24.769444444444446</c:v>
                </c:pt>
                <c:pt idx="8918">
                  <c:v>24.772222222222222</c:v>
                </c:pt>
                <c:pt idx="8919">
                  <c:v>24.774999999999999</c:v>
                </c:pt>
                <c:pt idx="8920">
                  <c:v>24.777777777777779</c:v>
                </c:pt>
                <c:pt idx="8921">
                  <c:v>24.780555555555555</c:v>
                </c:pt>
                <c:pt idx="8922">
                  <c:v>24.783333333333335</c:v>
                </c:pt>
                <c:pt idx="8923">
                  <c:v>24.786111111111111</c:v>
                </c:pt>
                <c:pt idx="8924">
                  <c:v>24.788888888888888</c:v>
                </c:pt>
                <c:pt idx="8925">
                  <c:v>24.791666666666668</c:v>
                </c:pt>
                <c:pt idx="8926">
                  <c:v>24.794444444444444</c:v>
                </c:pt>
                <c:pt idx="8927">
                  <c:v>24.797222222222221</c:v>
                </c:pt>
                <c:pt idx="8928">
                  <c:v>24.8</c:v>
                </c:pt>
                <c:pt idx="8929">
                  <c:v>24.802777777777777</c:v>
                </c:pt>
                <c:pt idx="8930">
                  <c:v>24.805555555555557</c:v>
                </c:pt>
                <c:pt idx="8931">
                  <c:v>24.808333333333334</c:v>
                </c:pt>
                <c:pt idx="8932">
                  <c:v>24.81111111111111</c:v>
                </c:pt>
                <c:pt idx="8933">
                  <c:v>24.81388888888889</c:v>
                </c:pt>
                <c:pt idx="8934">
                  <c:v>24.816666666666666</c:v>
                </c:pt>
                <c:pt idx="8935">
                  <c:v>24.819444444444443</c:v>
                </c:pt>
                <c:pt idx="8936">
                  <c:v>24.822222222222223</c:v>
                </c:pt>
                <c:pt idx="8937">
                  <c:v>24.824999999999999</c:v>
                </c:pt>
                <c:pt idx="8938">
                  <c:v>24.827777777777779</c:v>
                </c:pt>
                <c:pt idx="8939">
                  <c:v>24.830555555555556</c:v>
                </c:pt>
                <c:pt idx="8940">
                  <c:v>24.833333333333332</c:v>
                </c:pt>
                <c:pt idx="8941">
                  <c:v>24.836111111111112</c:v>
                </c:pt>
                <c:pt idx="8942">
                  <c:v>24.838888888888889</c:v>
                </c:pt>
                <c:pt idx="8943">
                  <c:v>24.841666666666665</c:v>
                </c:pt>
                <c:pt idx="8944">
                  <c:v>24.844444444444445</c:v>
                </c:pt>
                <c:pt idx="8945">
                  <c:v>24.847222222222221</c:v>
                </c:pt>
                <c:pt idx="8946">
                  <c:v>24.85</c:v>
                </c:pt>
                <c:pt idx="8947">
                  <c:v>24.852777777777778</c:v>
                </c:pt>
                <c:pt idx="8948">
                  <c:v>24.855555555555554</c:v>
                </c:pt>
                <c:pt idx="8949">
                  <c:v>24.858333333333334</c:v>
                </c:pt>
                <c:pt idx="8950">
                  <c:v>24.861111111111111</c:v>
                </c:pt>
                <c:pt idx="8951">
                  <c:v>24.863888888888887</c:v>
                </c:pt>
                <c:pt idx="8952">
                  <c:v>24.866666666666667</c:v>
                </c:pt>
                <c:pt idx="8953">
                  <c:v>24.869444444444444</c:v>
                </c:pt>
                <c:pt idx="8954">
                  <c:v>24.872222222222224</c:v>
                </c:pt>
                <c:pt idx="8955">
                  <c:v>24.875</c:v>
                </c:pt>
                <c:pt idx="8956">
                  <c:v>24.877777777777776</c:v>
                </c:pt>
                <c:pt idx="8957">
                  <c:v>24.880555555555556</c:v>
                </c:pt>
                <c:pt idx="8958">
                  <c:v>24.883333333333333</c:v>
                </c:pt>
                <c:pt idx="8959">
                  <c:v>24.886111111111113</c:v>
                </c:pt>
                <c:pt idx="8960">
                  <c:v>24.888888888888889</c:v>
                </c:pt>
                <c:pt idx="8961">
                  <c:v>24.891666666666666</c:v>
                </c:pt>
                <c:pt idx="8962">
                  <c:v>24.894444444444446</c:v>
                </c:pt>
                <c:pt idx="8963">
                  <c:v>24.897222222222222</c:v>
                </c:pt>
                <c:pt idx="8964">
                  <c:v>24.9</c:v>
                </c:pt>
                <c:pt idx="8965">
                  <c:v>24.902777777777779</c:v>
                </c:pt>
                <c:pt idx="8966">
                  <c:v>24.905555555555555</c:v>
                </c:pt>
                <c:pt idx="8967">
                  <c:v>24.908333333333335</c:v>
                </c:pt>
                <c:pt idx="8968">
                  <c:v>24.911111111111111</c:v>
                </c:pt>
                <c:pt idx="8969">
                  <c:v>24.913888888888888</c:v>
                </c:pt>
                <c:pt idx="8970">
                  <c:v>24.916666666666668</c:v>
                </c:pt>
                <c:pt idx="8971">
                  <c:v>24.919444444444444</c:v>
                </c:pt>
                <c:pt idx="8972">
                  <c:v>24.922222222222221</c:v>
                </c:pt>
                <c:pt idx="8973">
                  <c:v>24.925000000000001</c:v>
                </c:pt>
                <c:pt idx="8974">
                  <c:v>24.927777777777777</c:v>
                </c:pt>
                <c:pt idx="8975">
                  <c:v>24.930555555555557</c:v>
                </c:pt>
                <c:pt idx="8976">
                  <c:v>24.933333333333334</c:v>
                </c:pt>
                <c:pt idx="8977">
                  <c:v>24.93611111111111</c:v>
                </c:pt>
                <c:pt idx="8978">
                  <c:v>24.93888888888889</c:v>
                </c:pt>
                <c:pt idx="8979">
                  <c:v>24.941666666666666</c:v>
                </c:pt>
                <c:pt idx="8980">
                  <c:v>24.944444444444443</c:v>
                </c:pt>
                <c:pt idx="8981">
                  <c:v>24.947222222222223</c:v>
                </c:pt>
                <c:pt idx="8982">
                  <c:v>24.95</c:v>
                </c:pt>
                <c:pt idx="8983">
                  <c:v>24.952777777777779</c:v>
                </c:pt>
                <c:pt idx="8984">
                  <c:v>24.955555555555556</c:v>
                </c:pt>
                <c:pt idx="8985">
                  <c:v>24.958333333333332</c:v>
                </c:pt>
                <c:pt idx="8986">
                  <c:v>24.961111111111112</c:v>
                </c:pt>
                <c:pt idx="8987">
                  <c:v>24.963888888888889</c:v>
                </c:pt>
                <c:pt idx="8988">
                  <c:v>24.966666666666665</c:v>
                </c:pt>
                <c:pt idx="8989">
                  <c:v>24.969444444444445</c:v>
                </c:pt>
                <c:pt idx="8990">
                  <c:v>24.972222222222221</c:v>
                </c:pt>
                <c:pt idx="8991">
                  <c:v>24.975000000000001</c:v>
                </c:pt>
                <c:pt idx="8992">
                  <c:v>24.977777777777778</c:v>
                </c:pt>
                <c:pt idx="8993">
                  <c:v>24.980555555555554</c:v>
                </c:pt>
                <c:pt idx="8994">
                  <c:v>24.983333333333334</c:v>
                </c:pt>
                <c:pt idx="8995">
                  <c:v>24.986111111111111</c:v>
                </c:pt>
                <c:pt idx="8996">
                  <c:v>24.988888888888887</c:v>
                </c:pt>
                <c:pt idx="8997">
                  <c:v>24.991666666666667</c:v>
                </c:pt>
                <c:pt idx="8998">
                  <c:v>24.994444444444444</c:v>
                </c:pt>
                <c:pt idx="8999">
                  <c:v>24.997222222222224</c:v>
                </c:pt>
                <c:pt idx="9000">
                  <c:v>25</c:v>
                </c:pt>
                <c:pt idx="9001">
                  <c:v>25.002777777777776</c:v>
                </c:pt>
                <c:pt idx="9002">
                  <c:v>25.005555555555556</c:v>
                </c:pt>
                <c:pt idx="9003">
                  <c:v>25.008333333333333</c:v>
                </c:pt>
                <c:pt idx="9004">
                  <c:v>25.011111111111113</c:v>
                </c:pt>
                <c:pt idx="9005">
                  <c:v>25.013888888888889</c:v>
                </c:pt>
                <c:pt idx="9006">
                  <c:v>25.016666666666666</c:v>
                </c:pt>
                <c:pt idx="9007">
                  <c:v>25.019444444444446</c:v>
                </c:pt>
                <c:pt idx="9008">
                  <c:v>25.022222222222222</c:v>
                </c:pt>
                <c:pt idx="9009">
                  <c:v>25.024999999999999</c:v>
                </c:pt>
                <c:pt idx="9010">
                  <c:v>25.027777777777779</c:v>
                </c:pt>
                <c:pt idx="9011">
                  <c:v>25.030555555555555</c:v>
                </c:pt>
                <c:pt idx="9012">
                  <c:v>25.033333333333335</c:v>
                </c:pt>
                <c:pt idx="9013">
                  <c:v>25.036111111111111</c:v>
                </c:pt>
                <c:pt idx="9014">
                  <c:v>25.038888888888888</c:v>
                </c:pt>
                <c:pt idx="9015">
                  <c:v>25.041666666666668</c:v>
                </c:pt>
                <c:pt idx="9016">
                  <c:v>25.044444444444444</c:v>
                </c:pt>
                <c:pt idx="9017">
                  <c:v>25.047222222222221</c:v>
                </c:pt>
                <c:pt idx="9018">
                  <c:v>25.05</c:v>
                </c:pt>
                <c:pt idx="9019">
                  <c:v>25.052777777777777</c:v>
                </c:pt>
                <c:pt idx="9020">
                  <c:v>25.055555555555557</c:v>
                </c:pt>
                <c:pt idx="9021">
                  <c:v>25.058333333333334</c:v>
                </c:pt>
                <c:pt idx="9022">
                  <c:v>25.06111111111111</c:v>
                </c:pt>
                <c:pt idx="9023">
                  <c:v>25.06388888888889</c:v>
                </c:pt>
                <c:pt idx="9024">
                  <c:v>25.066666666666666</c:v>
                </c:pt>
                <c:pt idx="9025">
                  <c:v>25.069444444444443</c:v>
                </c:pt>
                <c:pt idx="9026">
                  <c:v>25.072222222222223</c:v>
                </c:pt>
                <c:pt idx="9027">
                  <c:v>25.074999999999999</c:v>
                </c:pt>
                <c:pt idx="9028">
                  <c:v>25.077777777777779</c:v>
                </c:pt>
                <c:pt idx="9029">
                  <c:v>25.080555555555556</c:v>
                </c:pt>
                <c:pt idx="9030">
                  <c:v>25.083333333333332</c:v>
                </c:pt>
                <c:pt idx="9031">
                  <c:v>25.086111111111112</c:v>
                </c:pt>
                <c:pt idx="9032">
                  <c:v>25.088888888888889</c:v>
                </c:pt>
                <c:pt idx="9033">
                  <c:v>25.091666666666665</c:v>
                </c:pt>
                <c:pt idx="9034">
                  <c:v>25.094444444444445</c:v>
                </c:pt>
                <c:pt idx="9035">
                  <c:v>25.097222222222221</c:v>
                </c:pt>
                <c:pt idx="9036">
                  <c:v>25.1</c:v>
                </c:pt>
                <c:pt idx="9037">
                  <c:v>25.102777777777778</c:v>
                </c:pt>
                <c:pt idx="9038">
                  <c:v>25.105555555555554</c:v>
                </c:pt>
                <c:pt idx="9039">
                  <c:v>25.108333333333334</c:v>
                </c:pt>
                <c:pt idx="9040">
                  <c:v>25.111111111111111</c:v>
                </c:pt>
                <c:pt idx="9041">
                  <c:v>25.113888888888887</c:v>
                </c:pt>
                <c:pt idx="9042">
                  <c:v>25.116666666666667</c:v>
                </c:pt>
                <c:pt idx="9043">
                  <c:v>25.119444444444444</c:v>
                </c:pt>
                <c:pt idx="9044">
                  <c:v>25.122222222222224</c:v>
                </c:pt>
                <c:pt idx="9045">
                  <c:v>25.125</c:v>
                </c:pt>
                <c:pt idx="9046">
                  <c:v>25.127777777777776</c:v>
                </c:pt>
                <c:pt idx="9047">
                  <c:v>25.130555555555556</c:v>
                </c:pt>
                <c:pt idx="9048">
                  <c:v>25.133333333333333</c:v>
                </c:pt>
                <c:pt idx="9049">
                  <c:v>25.136111111111113</c:v>
                </c:pt>
                <c:pt idx="9050">
                  <c:v>25.138888888888889</c:v>
                </c:pt>
                <c:pt idx="9051">
                  <c:v>25.141666666666666</c:v>
                </c:pt>
                <c:pt idx="9052">
                  <c:v>25.144444444444446</c:v>
                </c:pt>
                <c:pt idx="9053">
                  <c:v>25.147222222222222</c:v>
                </c:pt>
                <c:pt idx="9054">
                  <c:v>25.15</c:v>
                </c:pt>
                <c:pt idx="9055">
                  <c:v>25.152777777777779</c:v>
                </c:pt>
                <c:pt idx="9056">
                  <c:v>25.155555555555555</c:v>
                </c:pt>
                <c:pt idx="9057">
                  <c:v>25.158333333333335</c:v>
                </c:pt>
                <c:pt idx="9058">
                  <c:v>25.161111111111111</c:v>
                </c:pt>
                <c:pt idx="9059">
                  <c:v>25.163888888888888</c:v>
                </c:pt>
                <c:pt idx="9060">
                  <c:v>25.166666666666668</c:v>
                </c:pt>
                <c:pt idx="9061">
                  <c:v>25.169444444444444</c:v>
                </c:pt>
                <c:pt idx="9062">
                  <c:v>25.172222222222221</c:v>
                </c:pt>
                <c:pt idx="9063">
                  <c:v>25.175000000000001</c:v>
                </c:pt>
                <c:pt idx="9064">
                  <c:v>25.177777777777777</c:v>
                </c:pt>
                <c:pt idx="9065">
                  <c:v>25.180555555555557</c:v>
                </c:pt>
                <c:pt idx="9066">
                  <c:v>25.183333333333334</c:v>
                </c:pt>
                <c:pt idx="9067">
                  <c:v>25.18611111111111</c:v>
                </c:pt>
                <c:pt idx="9068">
                  <c:v>25.18888888888889</c:v>
                </c:pt>
                <c:pt idx="9069">
                  <c:v>25.191666666666666</c:v>
                </c:pt>
                <c:pt idx="9070">
                  <c:v>25.194444444444443</c:v>
                </c:pt>
                <c:pt idx="9071">
                  <c:v>25.197222222222223</c:v>
                </c:pt>
                <c:pt idx="9072">
                  <c:v>25.2</c:v>
                </c:pt>
                <c:pt idx="9073">
                  <c:v>25.202777777777779</c:v>
                </c:pt>
                <c:pt idx="9074">
                  <c:v>25.205555555555556</c:v>
                </c:pt>
                <c:pt idx="9075">
                  <c:v>25.208333333333332</c:v>
                </c:pt>
                <c:pt idx="9076">
                  <c:v>25.211111111111112</c:v>
                </c:pt>
                <c:pt idx="9077">
                  <c:v>25.213888888888889</c:v>
                </c:pt>
                <c:pt idx="9078">
                  <c:v>25.216666666666665</c:v>
                </c:pt>
                <c:pt idx="9079">
                  <c:v>25.219444444444445</c:v>
                </c:pt>
                <c:pt idx="9080">
                  <c:v>25.222222222222221</c:v>
                </c:pt>
                <c:pt idx="9081">
                  <c:v>25.225000000000001</c:v>
                </c:pt>
                <c:pt idx="9082">
                  <c:v>25.227777777777778</c:v>
                </c:pt>
                <c:pt idx="9083">
                  <c:v>25.230555555555554</c:v>
                </c:pt>
                <c:pt idx="9084">
                  <c:v>25.233333333333334</c:v>
                </c:pt>
                <c:pt idx="9085">
                  <c:v>25.236111111111111</c:v>
                </c:pt>
                <c:pt idx="9086">
                  <c:v>25.238888888888887</c:v>
                </c:pt>
                <c:pt idx="9087">
                  <c:v>25.241666666666667</c:v>
                </c:pt>
                <c:pt idx="9088">
                  <c:v>25.244444444444444</c:v>
                </c:pt>
                <c:pt idx="9089">
                  <c:v>25.247222222222224</c:v>
                </c:pt>
                <c:pt idx="9090">
                  <c:v>25.25</c:v>
                </c:pt>
                <c:pt idx="9091">
                  <c:v>25.252777777777776</c:v>
                </c:pt>
                <c:pt idx="9092">
                  <c:v>25.255555555555556</c:v>
                </c:pt>
                <c:pt idx="9093">
                  <c:v>25.258333333333333</c:v>
                </c:pt>
                <c:pt idx="9094">
                  <c:v>25.261111111111113</c:v>
                </c:pt>
                <c:pt idx="9095">
                  <c:v>25.263888888888889</c:v>
                </c:pt>
                <c:pt idx="9096">
                  <c:v>25.266666666666666</c:v>
                </c:pt>
                <c:pt idx="9097">
                  <c:v>25.269444444444446</c:v>
                </c:pt>
                <c:pt idx="9098">
                  <c:v>25.272222222222222</c:v>
                </c:pt>
                <c:pt idx="9099">
                  <c:v>25.274999999999999</c:v>
                </c:pt>
                <c:pt idx="9100">
                  <c:v>25.277777777777779</c:v>
                </c:pt>
                <c:pt idx="9101">
                  <c:v>25.280555555555555</c:v>
                </c:pt>
                <c:pt idx="9102">
                  <c:v>25.283333333333335</c:v>
                </c:pt>
                <c:pt idx="9103">
                  <c:v>25.286111111111111</c:v>
                </c:pt>
                <c:pt idx="9104">
                  <c:v>25.288888888888888</c:v>
                </c:pt>
                <c:pt idx="9105">
                  <c:v>25.291666666666668</c:v>
                </c:pt>
                <c:pt idx="9106">
                  <c:v>25.294444444444444</c:v>
                </c:pt>
                <c:pt idx="9107">
                  <c:v>25.297222222222221</c:v>
                </c:pt>
                <c:pt idx="9108">
                  <c:v>25.3</c:v>
                </c:pt>
                <c:pt idx="9109">
                  <c:v>25.302777777777777</c:v>
                </c:pt>
                <c:pt idx="9110">
                  <c:v>25.305555555555557</c:v>
                </c:pt>
                <c:pt idx="9111">
                  <c:v>25.308333333333334</c:v>
                </c:pt>
                <c:pt idx="9112">
                  <c:v>25.31111111111111</c:v>
                </c:pt>
                <c:pt idx="9113">
                  <c:v>25.31388888888889</c:v>
                </c:pt>
                <c:pt idx="9114">
                  <c:v>25.316666666666666</c:v>
                </c:pt>
                <c:pt idx="9115">
                  <c:v>25.319444444444443</c:v>
                </c:pt>
                <c:pt idx="9116">
                  <c:v>25.322222222222223</c:v>
                </c:pt>
                <c:pt idx="9117">
                  <c:v>25.324999999999999</c:v>
                </c:pt>
                <c:pt idx="9118">
                  <c:v>25.327777777777779</c:v>
                </c:pt>
                <c:pt idx="9119">
                  <c:v>25.330555555555556</c:v>
                </c:pt>
                <c:pt idx="9120">
                  <c:v>25.333333333333332</c:v>
                </c:pt>
                <c:pt idx="9121">
                  <c:v>25.336111111111112</c:v>
                </c:pt>
                <c:pt idx="9122">
                  <c:v>25.338888888888889</c:v>
                </c:pt>
                <c:pt idx="9123">
                  <c:v>25.341666666666665</c:v>
                </c:pt>
                <c:pt idx="9124">
                  <c:v>25.344444444444445</c:v>
                </c:pt>
                <c:pt idx="9125">
                  <c:v>25.347222222222221</c:v>
                </c:pt>
                <c:pt idx="9126">
                  <c:v>25.35</c:v>
                </c:pt>
                <c:pt idx="9127">
                  <c:v>25.352777777777778</c:v>
                </c:pt>
                <c:pt idx="9128">
                  <c:v>25.355555555555554</c:v>
                </c:pt>
                <c:pt idx="9129">
                  <c:v>25.358333333333334</c:v>
                </c:pt>
                <c:pt idx="9130">
                  <c:v>25.361111111111111</c:v>
                </c:pt>
                <c:pt idx="9131">
                  <c:v>25.363888888888887</c:v>
                </c:pt>
                <c:pt idx="9132">
                  <c:v>25.366666666666667</c:v>
                </c:pt>
                <c:pt idx="9133">
                  <c:v>25.369444444444444</c:v>
                </c:pt>
                <c:pt idx="9134">
                  <c:v>25.372222222222224</c:v>
                </c:pt>
                <c:pt idx="9135">
                  <c:v>25.375</c:v>
                </c:pt>
                <c:pt idx="9136">
                  <c:v>25.377777777777776</c:v>
                </c:pt>
                <c:pt idx="9137">
                  <c:v>25.380555555555556</c:v>
                </c:pt>
                <c:pt idx="9138">
                  <c:v>25.383333333333333</c:v>
                </c:pt>
                <c:pt idx="9139">
                  <c:v>25.386111111111113</c:v>
                </c:pt>
                <c:pt idx="9140">
                  <c:v>25.388888888888889</c:v>
                </c:pt>
                <c:pt idx="9141">
                  <c:v>25.391666666666666</c:v>
                </c:pt>
                <c:pt idx="9142">
                  <c:v>25.394444444444446</c:v>
                </c:pt>
                <c:pt idx="9143">
                  <c:v>25.397222222222222</c:v>
                </c:pt>
                <c:pt idx="9144">
                  <c:v>25.4</c:v>
                </c:pt>
                <c:pt idx="9145">
                  <c:v>25.402777777777779</c:v>
                </c:pt>
                <c:pt idx="9146">
                  <c:v>25.405555555555555</c:v>
                </c:pt>
                <c:pt idx="9147">
                  <c:v>25.408333333333335</c:v>
                </c:pt>
                <c:pt idx="9148">
                  <c:v>25.411111111111111</c:v>
                </c:pt>
                <c:pt idx="9149">
                  <c:v>25.413888888888888</c:v>
                </c:pt>
                <c:pt idx="9150">
                  <c:v>25.416666666666668</c:v>
                </c:pt>
                <c:pt idx="9151">
                  <c:v>25.419444444444444</c:v>
                </c:pt>
                <c:pt idx="9152">
                  <c:v>25.422222222222221</c:v>
                </c:pt>
                <c:pt idx="9153">
                  <c:v>25.425000000000001</c:v>
                </c:pt>
                <c:pt idx="9154">
                  <c:v>25.427777777777777</c:v>
                </c:pt>
                <c:pt idx="9155">
                  <c:v>25.430555555555557</c:v>
                </c:pt>
                <c:pt idx="9156">
                  <c:v>25.433333333333334</c:v>
                </c:pt>
                <c:pt idx="9157">
                  <c:v>25.43611111111111</c:v>
                </c:pt>
                <c:pt idx="9158">
                  <c:v>25.43888888888889</c:v>
                </c:pt>
                <c:pt idx="9159">
                  <c:v>25.441666666666666</c:v>
                </c:pt>
                <c:pt idx="9160">
                  <c:v>25.444444444444443</c:v>
                </c:pt>
                <c:pt idx="9161">
                  <c:v>25.447222222222223</c:v>
                </c:pt>
                <c:pt idx="9162">
                  <c:v>25.45</c:v>
                </c:pt>
                <c:pt idx="9163">
                  <c:v>25.452777777777779</c:v>
                </c:pt>
                <c:pt idx="9164">
                  <c:v>25.455555555555556</c:v>
                </c:pt>
                <c:pt idx="9165">
                  <c:v>25.458333333333332</c:v>
                </c:pt>
                <c:pt idx="9166">
                  <c:v>25.461111111111112</c:v>
                </c:pt>
                <c:pt idx="9167">
                  <c:v>25.463888888888889</c:v>
                </c:pt>
                <c:pt idx="9168">
                  <c:v>25.466666666666665</c:v>
                </c:pt>
                <c:pt idx="9169">
                  <c:v>25.469444444444445</c:v>
                </c:pt>
                <c:pt idx="9170">
                  <c:v>25.472222222222221</c:v>
                </c:pt>
                <c:pt idx="9171">
                  <c:v>25.475000000000001</c:v>
                </c:pt>
                <c:pt idx="9172">
                  <c:v>25.477777777777778</c:v>
                </c:pt>
                <c:pt idx="9173">
                  <c:v>25.480555555555554</c:v>
                </c:pt>
                <c:pt idx="9174">
                  <c:v>25.483333333333334</c:v>
                </c:pt>
                <c:pt idx="9175">
                  <c:v>25.486111111111111</c:v>
                </c:pt>
                <c:pt idx="9176">
                  <c:v>25.488888888888887</c:v>
                </c:pt>
                <c:pt idx="9177">
                  <c:v>25.491666666666667</c:v>
                </c:pt>
                <c:pt idx="9178">
                  <c:v>25.494444444444444</c:v>
                </c:pt>
                <c:pt idx="9179">
                  <c:v>25.497222222222224</c:v>
                </c:pt>
                <c:pt idx="9180">
                  <c:v>25.5</c:v>
                </c:pt>
                <c:pt idx="9181">
                  <c:v>25.502777777777776</c:v>
                </c:pt>
                <c:pt idx="9182">
                  <c:v>25.505555555555556</c:v>
                </c:pt>
                <c:pt idx="9183">
                  <c:v>25.508333333333333</c:v>
                </c:pt>
                <c:pt idx="9184">
                  <c:v>25.511111111111113</c:v>
                </c:pt>
                <c:pt idx="9185">
                  <c:v>25.513888888888889</c:v>
                </c:pt>
                <c:pt idx="9186">
                  <c:v>25.516666666666666</c:v>
                </c:pt>
                <c:pt idx="9187">
                  <c:v>25.519444444444446</c:v>
                </c:pt>
                <c:pt idx="9188">
                  <c:v>25.522222222222222</c:v>
                </c:pt>
                <c:pt idx="9189">
                  <c:v>25.524999999999999</c:v>
                </c:pt>
                <c:pt idx="9190">
                  <c:v>25.527777777777779</c:v>
                </c:pt>
                <c:pt idx="9191">
                  <c:v>25.530555555555555</c:v>
                </c:pt>
                <c:pt idx="9192">
                  <c:v>25.533333333333335</c:v>
                </c:pt>
                <c:pt idx="9193">
                  <c:v>25.536111111111111</c:v>
                </c:pt>
                <c:pt idx="9194">
                  <c:v>25.538888888888888</c:v>
                </c:pt>
                <c:pt idx="9195">
                  <c:v>25.541666666666668</c:v>
                </c:pt>
                <c:pt idx="9196">
                  <c:v>25.544444444444444</c:v>
                </c:pt>
                <c:pt idx="9197">
                  <c:v>25.547222222222221</c:v>
                </c:pt>
                <c:pt idx="9198">
                  <c:v>25.55</c:v>
                </c:pt>
                <c:pt idx="9199">
                  <c:v>25.552777777777777</c:v>
                </c:pt>
                <c:pt idx="9200">
                  <c:v>25.555555555555557</c:v>
                </c:pt>
                <c:pt idx="9201">
                  <c:v>25.558333333333334</c:v>
                </c:pt>
                <c:pt idx="9202">
                  <c:v>25.56111111111111</c:v>
                </c:pt>
                <c:pt idx="9203">
                  <c:v>25.56388888888889</c:v>
                </c:pt>
                <c:pt idx="9204">
                  <c:v>25.566666666666666</c:v>
                </c:pt>
                <c:pt idx="9205">
                  <c:v>25.569444444444443</c:v>
                </c:pt>
                <c:pt idx="9206">
                  <c:v>25.572222222222223</c:v>
                </c:pt>
                <c:pt idx="9207">
                  <c:v>25.574999999999999</c:v>
                </c:pt>
                <c:pt idx="9208">
                  <c:v>25.577777777777779</c:v>
                </c:pt>
                <c:pt idx="9209">
                  <c:v>25.580555555555556</c:v>
                </c:pt>
                <c:pt idx="9210">
                  <c:v>25.583333333333332</c:v>
                </c:pt>
                <c:pt idx="9211">
                  <c:v>25.586111111111112</c:v>
                </c:pt>
                <c:pt idx="9212">
                  <c:v>25.588888888888889</c:v>
                </c:pt>
                <c:pt idx="9213">
                  <c:v>25.591666666666665</c:v>
                </c:pt>
                <c:pt idx="9214">
                  <c:v>25.594444444444445</c:v>
                </c:pt>
                <c:pt idx="9215">
                  <c:v>25.597222222222221</c:v>
                </c:pt>
                <c:pt idx="9216">
                  <c:v>25.6</c:v>
                </c:pt>
                <c:pt idx="9217">
                  <c:v>25.602777777777778</c:v>
                </c:pt>
                <c:pt idx="9218">
                  <c:v>25.605555555555554</c:v>
                </c:pt>
                <c:pt idx="9219">
                  <c:v>25.608333333333334</c:v>
                </c:pt>
                <c:pt idx="9220">
                  <c:v>25.611111111111111</c:v>
                </c:pt>
                <c:pt idx="9221">
                  <c:v>25.613888888888887</c:v>
                </c:pt>
                <c:pt idx="9222">
                  <c:v>25.616666666666667</c:v>
                </c:pt>
                <c:pt idx="9223">
                  <c:v>25.619444444444444</c:v>
                </c:pt>
                <c:pt idx="9224">
                  <c:v>25.622222222222224</c:v>
                </c:pt>
                <c:pt idx="9225">
                  <c:v>25.625</c:v>
                </c:pt>
                <c:pt idx="9226">
                  <c:v>25.627777777777776</c:v>
                </c:pt>
                <c:pt idx="9227">
                  <c:v>25.630555555555556</c:v>
                </c:pt>
                <c:pt idx="9228">
                  <c:v>25.633333333333333</c:v>
                </c:pt>
                <c:pt idx="9229">
                  <c:v>25.636111111111113</c:v>
                </c:pt>
                <c:pt idx="9230">
                  <c:v>25.638888888888889</c:v>
                </c:pt>
                <c:pt idx="9231">
                  <c:v>25.641666666666666</c:v>
                </c:pt>
                <c:pt idx="9232">
                  <c:v>25.644444444444446</c:v>
                </c:pt>
                <c:pt idx="9233">
                  <c:v>25.647222222222222</c:v>
                </c:pt>
                <c:pt idx="9234">
                  <c:v>25.65</c:v>
                </c:pt>
                <c:pt idx="9235">
                  <c:v>25.652777777777779</c:v>
                </c:pt>
                <c:pt idx="9236">
                  <c:v>25.655555555555555</c:v>
                </c:pt>
                <c:pt idx="9237">
                  <c:v>25.658333333333335</c:v>
                </c:pt>
                <c:pt idx="9238">
                  <c:v>25.661111111111111</c:v>
                </c:pt>
                <c:pt idx="9239">
                  <c:v>25.663888888888888</c:v>
                </c:pt>
                <c:pt idx="9240">
                  <c:v>25.666666666666668</c:v>
                </c:pt>
                <c:pt idx="9241">
                  <c:v>25.669444444444444</c:v>
                </c:pt>
                <c:pt idx="9242">
                  <c:v>25.672222222222221</c:v>
                </c:pt>
                <c:pt idx="9243">
                  <c:v>25.675000000000001</c:v>
                </c:pt>
                <c:pt idx="9244">
                  <c:v>25.677777777777777</c:v>
                </c:pt>
                <c:pt idx="9245">
                  <c:v>25.680555555555557</c:v>
                </c:pt>
                <c:pt idx="9246">
                  <c:v>25.683333333333334</c:v>
                </c:pt>
                <c:pt idx="9247">
                  <c:v>25.68611111111111</c:v>
                </c:pt>
                <c:pt idx="9248">
                  <c:v>25.68888888888889</c:v>
                </c:pt>
                <c:pt idx="9249">
                  <c:v>25.691666666666666</c:v>
                </c:pt>
                <c:pt idx="9250">
                  <c:v>25.694444444444443</c:v>
                </c:pt>
                <c:pt idx="9251">
                  <c:v>25.697222222222223</c:v>
                </c:pt>
                <c:pt idx="9252">
                  <c:v>25.7</c:v>
                </c:pt>
                <c:pt idx="9253">
                  <c:v>25.702777777777779</c:v>
                </c:pt>
                <c:pt idx="9254">
                  <c:v>25.705555555555556</c:v>
                </c:pt>
                <c:pt idx="9255">
                  <c:v>25.708333333333332</c:v>
                </c:pt>
                <c:pt idx="9256">
                  <c:v>25.711111111111112</c:v>
                </c:pt>
                <c:pt idx="9257">
                  <c:v>25.713888888888889</c:v>
                </c:pt>
                <c:pt idx="9258">
                  <c:v>25.716666666666665</c:v>
                </c:pt>
                <c:pt idx="9259">
                  <c:v>25.719444444444445</c:v>
                </c:pt>
                <c:pt idx="9260">
                  <c:v>25.722222222222221</c:v>
                </c:pt>
                <c:pt idx="9261">
                  <c:v>25.725000000000001</c:v>
                </c:pt>
                <c:pt idx="9262">
                  <c:v>25.727777777777778</c:v>
                </c:pt>
                <c:pt idx="9263">
                  <c:v>25.730555555555554</c:v>
                </c:pt>
                <c:pt idx="9264">
                  <c:v>25.733333333333334</c:v>
                </c:pt>
                <c:pt idx="9265">
                  <c:v>25.736111111111111</c:v>
                </c:pt>
                <c:pt idx="9266">
                  <c:v>25.738888888888887</c:v>
                </c:pt>
                <c:pt idx="9267">
                  <c:v>25.741666666666667</c:v>
                </c:pt>
                <c:pt idx="9268">
                  <c:v>25.744444444444444</c:v>
                </c:pt>
                <c:pt idx="9269">
                  <c:v>25.747222222222224</c:v>
                </c:pt>
                <c:pt idx="9270">
                  <c:v>25.75</c:v>
                </c:pt>
                <c:pt idx="9271">
                  <c:v>25.752777777777776</c:v>
                </c:pt>
                <c:pt idx="9272">
                  <c:v>25.755555555555556</c:v>
                </c:pt>
                <c:pt idx="9273">
                  <c:v>25.758333333333333</c:v>
                </c:pt>
                <c:pt idx="9274">
                  <c:v>25.761111111111113</c:v>
                </c:pt>
                <c:pt idx="9275">
                  <c:v>25.763888888888889</c:v>
                </c:pt>
                <c:pt idx="9276">
                  <c:v>25.766666666666666</c:v>
                </c:pt>
                <c:pt idx="9277">
                  <c:v>25.769444444444446</c:v>
                </c:pt>
                <c:pt idx="9278">
                  <c:v>25.772222222222222</c:v>
                </c:pt>
                <c:pt idx="9279">
                  <c:v>25.774999999999999</c:v>
                </c:pt>
                <c:pt idx="9280">
                  <c:v>25.777777777777779</c:v>
                </c:pt>
                <c:pt idx="9281">
                  <c:v>25.780555555555555</c:v>
                </c:pt>
                <c:pt idx="9282">
                  <c:v>25.783333333333335</c:v>
                </c:pt>
                <c:pt idx="9283">
                  <c:v>25.786111111111111</c:v>
                </c:pt>
                <c:pt idx="9284">
                  <c:v>25.788888888888888</c:v>
                </c:pt>
                <c:pt idx="9285">
                  <c:v>25.791666666666668</c:v>
                </c:pt>
                <c:pt idx="9286">
                  <c:v>25.794444444444444</c:v>
                </c:pt>
                <c:pt idx="9287">
                  <c:v>25.797222222222221</c:v>
                </c:pt>
                <c:pt idx="9288">
                  <c:v>25.8</c:v>
                </c:pt>
                <c:pt idx="9289">
                  <c:v>25.802777777777777</c:v>
                </c:pt>
                <c:pt idx="9290">
                  <c:v>25.805555555555557</c:v>
                </c:pt>
                <c:pt idx="9291">
                  <c:v>25.808333333333334</c:v>
                </c:pt>
                <c:pt idx="9292">
                  <c:v>25.81111111111111</c:v>
                </c:pt>
                <c:pt idx="9293">
                  <c:v>25.81388888888889</c:v>
                </c:pt>
                <c:pt idx="9294">
                  <c:v>25.816666666666666</c:v>
                </c:pt>
                <c:pt idx="9295">
                  <c:v>25.819444444444443</c:v>
                </c:pt>
                <c:pt idx="9296">
                  <c:v>25.822222222222223</c:v>
                </c:pt>
                <c:pt idx="9297">
                  <c:v>25.824999999999999</c:v>
                </c:pt>
                <c:pt idx="9298">
                  <c:v>25.827777777777779</c:v>
                </c:pt>
                <c:pt idx="9299">
                  <c:v>25.830555555555556</c:v>
                </c:pt>
                <c:pt idx="9300">
                  <c:v>25.833333333333332</c:v>
                </c:pt>
                <c:pt idx="9301">
                  <c:v>25.836111111111112</c:v>
                </c:pt>
                <c:pt idx="9302">
                  <c:v>25.838888888888889</c:v>
                </c:pt>
                <c:pt idx="9303">
                  <c:v>25.841666666666665</c:v>
                </c:pt>
                <c:pt idx="9304">
                  <c:v>25.844444444444445</c:v>
                </c:pt>
                <c:pt idx="9305">
                  <c:v>25.847222222222221</c:v>
                </c:pt>
                <c:pt idx="9306">
                  <c:v>25.85</c:v>
                </c:pt>
                <c:pt idx="9307">
                  <c:v>25.852777777777778</c:v>
                </c:pt>
                <c:pt idx="9308">
                  <c:v>25.855555555555554</c:v>
                </c:pt>
                <c:pt idx="9309">
                  <c:v>25.858333333333334</c:v>
                </c:pt>
                <c:pt idx="9310">
                  <c:v>25.861111111111111</c:v>
                </c:pt>
                <c:pt idx="9311">
                  <c:v>25.863888888888887</c:v>
                </c:pt>
                <c:pt idx="9312">
                  <c:v>25.866666666666667</c:v>
                </c:pt>
                <c:pt idx="9313">
                  <c:v>25.869444444444444</c:v>
                </c:pt>
                <c:pt idx="9314">
                  <c:v>25.872222222222224</c:v>
                </c:pt>
                <c:pt idx="9315">
                  <c:v>25.875</c:v>
                </c:pt>
                <c:pt idx="9316">
                  <c:v>25.877777777777776</c:v>
                </c:pt>
                <c:pt idx="9317">
                  <c:v>25.880555555555556</c:v>
                </c:pt>
                <c:pt idx="9318">
                  <c:v>25.883333333333333</c:v>
                </c:pt>
                <c:pt idx="9319">
                  <c:v>25.886111111111113</c:v>
                </c:pt>
                <c:pt idx="9320">
                  <c:v>25.888888888888889</c:v>
                </c:pt>
                <c:pt idx="9321">
                  <c:v>25.891666666666666</c:v>
                </c:pt>
                <c:pt idx="9322">
                  <c:v>25.894444444444446</c:v>
                </c:pt>
                <c:pt idx="9323">
                  <c:v>25.897222222222222</c:v>
                </c:pt>
                <c:pt idx="9324">
                  <c:v>25.9</c:v>
                </c:pt>
                <c:pt idx="9325">
                  <c:v>25.902777777777779</c:v>
                </c:pt>
                <c:pt idx="9326">
                  <c:v>25.905555555555555</c:v>
                </c:pt>
                <c:pt idx="9327">
                  <c:v>25.908333333333335</c:v>
                </c:pt>
                <c:pt idx="9328">
                  <c:v>25.911111111111111</c:v>
                </c:pt>
                <c:pt idx="9329">
                  <c:v>25.913888888888888</c:v>
                </c:pt>
                <c:pt idx="9330">
                  <c:v>25.916666666666668</c:v>
                </c:pt>
                <c:pt idx="9331">
                  <c:v>25.919444444444444</c:v>
                </c:pt>
                <c:pt idx="9332">
                  <c:v>25.922222222222221</c:v>
                </c:pt>
                <c:pt idx="9333">
                  <c:v>25.925000000000001</c:v>
                </c:pt>
                <c:pt idx="9334">
                  <c:v>25.927777777777777</c:v>
                </c:pt>
                <c:pt idx="9335">
                  <c:v>25.930555555555557</c:v>
                </c:pt>
                <c:pt idx="9336">
                  <c:v>25.933333333333334</c:v>
                </c:pt>
                <c:pt idx="9337">
                  <c:v>25.93611111111111</c:v>
                </c:pt>
                <c:pt idx="9338">
                  <c:v>25.93888888888889</c:v>
                </c:pt>
                <c:pt idx="9339">
                  <c:v>25.941666666666666</c:v>
                </c:pt>
                <c:pt idx="9340">
                  <c:v>25.944444444444443</c:v>
                </c:pt>
                <c:pt idx="9341">
                  <c:v>25.947222222222223</c:v>
                </c:pt>
                <c:pt idx="9342">
                  <c:v>25.95</c:v>
                </c:pt>
                <c:pt idx="9343">
                  <c:v>25.952777777777779</c:v>
                </c:pt>
                <c:pt idx="9344">
                  <c:v>25.955555555555556</c:v>
                </c:pt>
                <c:pt idx="9345">
                  <c:v>25.958333333333332</c:v>
                </c:pt>
                <c:pt idx="9346">
                  <c:v>25.961111111111112</c:v>
                </c:pt>
                <c:pt idx="9347">
                  <c:v>25.963888888888889</c:v>
                </c:pt>
                <c:pt idx="9348">
                  <c:v>25.966666666666665</c:v>
                </c:pt>
                <c:pt idx="9349">
                  <c:v>25.969444444444445</c:v>
                </c:pt>
                <c:pt idx="9350">
                  <c:v>25.972222222222221</c:v>
                </c:pt>
                <c:pt idx="9351">
                  <c:v>25.975000000000001</c:v>
                </c:pt>
                <c:pt idx="9352">
                  <c:v>25.977777777777778</c:v>
                </c:pt>
                <c:pt idx="9353">
                  <c:v>25.980555555555554</c:v>
                </c:pt>
                <c:pt idx="9354">
                  <c:v>25.983333333333334</c:v>
                </c:pt>
                <c:pt idx="9355">
                  <c:v>25.986111111111111</c:v>
                </c:pt>
                <c:pt idx="9356">
                  <c:v>25.988888888888887</c:v>
                </c:pt>
                <c:pt idx="9357">
                  <c:v>25.991666666666667</c:v>
                </c:pt>
                <c:pt idx="9358">
                  <c:v>25.994444444444444</c:v>
                </c:pt>
                <c:pt idx="9359">
                  <c:v>25.997222222222224</c:v>
                </c:pt>
                <c:pt idx="9360">
                  <c:v>26</c:v>
                </c:pt>
                <c:pt idx="9361">
                  <c:v>26.002777777777776</c:v>
                </c:pt>
                <c:pt idx="9362">
                  <c:v>26.005555555555556</c:v>
                </c:pt>
                <c:pt idx="9363">
                  <c:v>26.008333333333333</c:v>
                </c:pt>
                <c:pt idx="9364">
                  <c:v>26.011111111111113</c:v>
                </c:pt>
                <c:pt idx="9365">
                  <c:v>26.013888888888889</c:v>
                </c:pt>
                <c:pt idx="9366">
                  <c:v>26.016666666666666</c:v>
                </c:pt>
                <c:pt idx="9367">
                  <c:v>26.019444444444446</c:v>
                </c:pt>
                <c:pt idx="9368">
                  <c:v>26.022222222222222</c:v>
                </c:pt>
                <c:pt idx="9369">
                  <c:v>26.024999999999999</c:v>
                </c:pt>
                <c:pt idx="9370">
                  <c:v>26.027777777777779</c:v>
                </c:pt>
                <c:pt idx="9371">
                  <c:v>26.030555555555555</c:v>
                </c:pt>
                <c:pt idx="9372">
                  <c:v>26.033333333333335</c:v>
                </c:pt>
                <c:pt idx="9373">
                  <c:v>26.036111111111111</c:v>
                </c:pt>
                <c:pt idx="9374">
                  <c:v>26.038888888888888</c:v>
                </c:pt>
                <c:pt idx="9375">
                  <c:v>26.041666666666668</c:v>
                </c:pt>
                <c:pt idx="9376">
                  <c:v>26.044444444444444</c:v>
                </c:pt>
                <c:pt idx="9377">
                  <c:v>26.047222222222221</c:v>
                </c:pt>
                <c:pt idx="9378">
                  <c:v>26.05</c:v>
                </c:pt>
                <c:pt idx="9379">
                  <c:v>26.052777777777777</c:v>
                </c:pt>
                <c:pt idx="9380">
                  <c:v>26.055555555555557</c:v>
                </c:pt>
                <c:pt idx="9381">
                  <c:v>26.058333333333334</c:v>
                </c:pt>
                <c:pt idx="9382">
                  <c:v>26.06111111111111</c:v>
                </c:pt>
                <c:pt idx="9383">
                  <c:v>26.06388888888889</c:v>
                </c:pt>
                <c:pt idx="9384">
                  <c:v>26.066666666666666</c:v>
                </c:pt>
                <c:pt idx="9385">
                  <c:v>26.069444444444443</c:v>
                </c:pt>
                <c:pt idx="9386">
                  <c:v>26.072222222222223</c:v>
                </c:pt>
                <c:pt idx="9387">
                  <c:v>26.074999999999999</c:v>
                </c:pt>
                <c:pt idx="9388">
                  <c:v>26.077777777777779</c:v>
                </c:pt>
                <c:pt idx="9389">
                  <c:v>26.080555555555556</c:v>
                </c:pt>
                <c:pt idx="9390">
                  <c:v>26.083333333333332</c:v>
                </c:pt>
                <c:pt idx="9391">
                  <c:v>26.086111111111112</c:v>
                </c:pt>
                <c:pt idx="9392">
                  <c:v>26.088888888888889</c:v>
                </c:pt>
                <c:pt idx="9393">
                  <c:v>26.091666666666665</c:v>
                </c:pt>
                <c:pt idx="9394">
                  <c:v>26.094444444444445</c:v>
                </c:pt>
                <c:pt idx="9395">
                  <c:v>26.097222222222221</c:v>
                </c:pt>
                <c:pt idx="9396">
                  <c:v>26.1</c:v>
                </c:pt>
                <c:pt idx="9397">
                  <c:v>26.102777777777778</c:v>
                </c:pt>
                <c:pt idx="9398">
                  <c:v>26.105555555555554</c:v>
                </c:pt>
                <c:pt idx="9399">
                  <c:v>26.108333333333334</c:v>
                </c:pt>
                <c:pt idx="9400">
                  <c:v>26.111111111111111</c:v>
                </c:pt>
                <c:pt idx="9401">
                  <c:v>26.113888888888887</c:v>
                </c:pt>
                <c:pt idx="9402">
                  <c:v>26.116666666666667</c:v>
                </c:pt>
                <c:pt idx="9403">
                  <c:v>26.119444444444444</c:v>
                </c:pt>
                <c:pt idx="9404">
                  <c:v>26.122222222222224</c:v>
                </c:pt>
                <c:pt idx="9405">
                  <c:v>26.125</c:v>
                </c:pt>
                <c:pt idx="9406">
                  <c:v>26.127777777777776</c:v>
                </c:pt>
                <c:pt idx="9407">
                  <c:v>26.130555555555556</c:v>
                </c:pt>
                <c:pt idx="9408">
                  <c:v>26.133333333333333</c:v>
                </c:pt>
                <c:pt idx="9409">
                  <c:v>26.136111111111113</c:v>
                </c:pt>
                <c:pt idx="9410">
                  <c:v>26.138888888888889</c:v>
                </c:pt>
                <c:pt idx="9411">
                  <c:v>26.141666666666666</c:v>
                </c:pt>
                <c:pt idx="9412">
                  <c:v>26.144444444444446</c:v>
                </c:pt>
                <c:pt idx="9413">
                  <c:v>26.147222222222222</c:v>
                </c:pt>
                <c:pt idx="9414">
                  <c:v>26.15</c:v>
                </c:pt>
                <c:pt idx="9415">
                  <c:v>26.152777777777779</c:v>
                </c:pt>
                <c:pt idx="9416">
                  <c:v>26.155555555555555</c:v>
                </c:pt>
                <c:pt idx="9417">
                  <c:v>26.158333333333335</c:v>
                </c:pt>
                <c:pt idx="9418">
                  <c:v>26.161111111111111</c:v>
                </c:pt>
                <c:pt idx="9419">
                  <c:v>26.163888888888888</c:v>
                </c:pt>
                <c:pt idx="9420">
                  <c:v>26.166666666666668</c:v>
                </c:pt>
                <c:pt idx="9421">
                  <c:v>26.169444444444444</c:v>
                </c:pt>
                <c:pt idx="9422">
                  <c:v>26.172222222222221</c:v>
                </c:pt>
                <c:pt idx="9423">
                  <c:v>26.175000000000001</c:v>
                </c:pt>
                <c:pt idx="9424">
                  <c:v>26.177777777777777</c:v>
                </c:pt>
                <c:pt idx="9425">
                  <c:v>26.180555555555557</c:v>
                </c:pt>
                <c:pt idx="9426">
                  <c:v>26.183333333333334</c:v>
                </c:pt>
                <c:pt idx="9427">
                  <c:v>26.18611111111111</c:v>
                </c:pt>
                <c:pt idx="9428">
                  <c:v>26.18888888888889</c:v>
                </c:pt>
                <c:pt idx="9429">
                  <c:v>26.191666666666666</c:v>
                </c:pt>
                <c:pt idx="9430">
                  <c:v>26.194444444444443</c:v>
                </c:pt>
                <c:pt idx="9431">
                  <c:v>26.197222222222223</c:v>
                </c:pt>
                <c:pt idx="9432">
                  <c:v>26.2</c:v>
                </c:pt>
                <c:pt idx="9433">
                  <c:v>26.202777777777779</c:v>
                </c:pt>
                <c:pt idx="9434">
                  <c:v>26.205555555555556</c:v>
                </c:pt>
                <c:pt idx="9435">
                  <c:v>26.208333333333332</c:v>
                </c:pt>
                <c:pt idx="9436">
                  <c:v>26.211111111111112</c:v>
                </c:pt>
                <c:pt idx="9437">
                  <c:v>26.213888888888889</c:v>
                </c:pt>
                <c:pt idx="9438">
                  <c:v>26.216666666666665</c:v>
                </c:pt>
                <c:pt idx="9439">
                  <c:v>26.219444444444445</c:v>
                </c:pt>
                <c:pt idx="9440">
                  <c:v>26.222222222222221</c:v>
                </c:pt>
                <c:pt idx="9441">
                  <c:v>26.225000000000001</c:v>
                </c:pt>
                <c:pt idx="9442">
                  <c:v>26.227777777777778</c:v>
                </c:pt>
                <c:pt idx="9443">
                  <c:v>26.230555555555554</c:v>
                </c:pt>
                <c:pt idx="9444">
                  <c:v>26.233333333333334</c:v>
                </c:pt>
                <c:pt idx="9445">
                  <c:v>26.236111111111111</c:v>
                </c:pt>
                <c:pt idx="9446">
                  <c:v>26.238888888888887</c:v>
                </c:pt>
                <c:pt idx="9447">
                  <c:v>26.241666666666667</c:v>
                </c:pt>
                <c:pt idx="9448">
                  <c:v>26.244444444444444</c:v>
                </c:pt>
                <c:pt idx="9449">
                  <c:v>26.247222222222224</c:v>
                </c:pt>
                <c:pt idx="9450">
                  <c:v>26.25</c:v>
                </c:pt>
                <c:pt idx="9451">
                  <c:v>26.252777777777776</c:v>
                </c:pt>
                <c:pt idx="9452">
                  <c:v>26.255555555555556</c:v>
                </c:pt>
                <c:pt idx="9453">
                  <c:v>26.258333333333333</c:v>
                </c:pt>
                <c:pt idx="9454">
                  <c:v>26.261111111111113</c:v>
                </c:pt>
                <c:pt idx="9455">
                  <c:v>26.263888888888889</c:v>
                </c:pt>
                <c:pt idx="9456">
                  <c:v>26.266666666666666</c:v>
                </c:pt>
                <c:pt idx="9457">
                  <c:v>26.269444444444446</c:v>
                </c:pt>
                <c:pt idx="9458">
                  <c:v>26.272222222222222</c:v>
                </c:pt>
                <c:pt idx="9459">
                  <c:v>26.274999999999999</c:v>
                </c:pt>
                <c:pt idx="9460">
                  <c:v>26.277777777777779</c:v>
                </c:pt>
                <c:pt idx="9461">
                  <c:v>26.280555555555555</c:v>
                </c:pt>
                <c:pt idx="9462">
                  <c:v>26.283333333333335</c:v>
                </c:pt>
                <c:pt idx="9463">
                  <c:v>26.286111111111111</c:v>
                </c:pt>
                <c:pt idx="9464">
                  <c:v>26.288888888888888</c:v>
                </c:pt>
                <c:pt idx="9465">
                  <c:v>26.291666666666668</c:v>
                </c:pt>
                <c:pt idx="9466">
                  <c:v>26.294444444444444</c:v>
                </c:pt>
                <c:pt idx="9467">
                  <c:v>26.297222222222221</c:v>
                </c:pt>
                <c:pt idx="9468">
                  <c:v>26.3</c:v>
                </c:pt>
                <c:pt idx="9469">
                  <c:v>26.302777777777777</c:v>
                </c:pt>
                <c:pt idx="9470">
                  <c:v>26.305555555555557</c:v>
                </c:pt>
                <c:pt idx="9471">
                  <c:v>26.308333333333334</c:v>
                </c:pt>
                <c:pt idx="9472">
                  <c:v>26.31111111111111</c:v>
                </c:pt>
                <c:pt idx="9473">
                  <c:v>26.31388888888889</c:v>
                </c:pt>
                <c:pt idx="9474">
                  <c:v>26.316666666666666</c:v>
                </c:pt>
                <c:pt idx="9475">
                  <c:v>26.319444444444443</c:v>
                </c:pt>
                <c:pt idx="9476">
                  <c:v>26.322222222222223</c:v>
                </c:pt>
                <c:pt idx="9477">
                  <c:v>26.324999999999999</c:v>
                </c:pt>
                <c:pt idx="9478">
                  <c:v>26.327777777777779</c:v>
                </c:pt>
                <c:pt idx="9479">
                  <c:v>26.330555555555556</c:v>
                </c:pt>
                <c:pt idx="9480">
                  <c:v>26.333333333333332</c:v>
                </c:pt>
                <c:pt idx="9481">
                  <c:v>26.336111111111112</c:v>
                </c:pt>
                <c:pt idx="9482">
                  <c:v>26.338888888888889</c:v>
                </c:pt>
                <c:pt idx="9483">
                  <c:v>26.341666666666665</c:v>
                </c:pt>
                <c:pt idx="9484">
                  <c:v>26.344444444444445</c:v>
                </c:pt>
                <c:pt idx="9485">
                  <c:v>26.347222222222221</c:v>
                </c:pt>
                <c:pt idx="9486">
                  <c:v>26.35</c:v>
                </c:pt>
                <c:pt idx="9487">
                  <c:v>26.352777777777778</c:v>
                </c:pt>
                <c:pt idx="9488">
                  <c:v>26.355555555555554</c:v>
                </c:pt>
                <c:pt idx="9489">
                  <c:v>26.358333333333334</c:v>
                </c:pt>
                <c:pt idx="9490">
                  <c:v>26.361111111111111</c:v>
                </c:pt>
                <c:pt idx="9491">
                  <c:v>26.363888888888887</c:v>
                </c:pt>
                <c:pt idx="9492">
                  <c:v>26.366666666666667</c:v>
                </c:pt>
                <c:pt idx="9493">
                  <c:v>26.369444444444444</c:v>
                </c:pt>
                <c:pt idx="9494">
                  <c:v>26.372222222222224</c:v>
                </c:pt>
                <c:pt idx="9495">
                  <c:v>26.375</c:v>
                </c:pt>
                <c:pt idx="9496">
                  <c:v>26.377777777777776</c:v>
                </c:pt>
                <c:pt idx="9497">
                  <c:v>26.380555555555556</c:v>
                </c:pt>
                <c:pt idx="9498">
                  <c:v>26.383333333333333</c:v>
                </c:pt>
                <c:pt idx="9499">
                  <c:v>26.386111111111113</c:v>
                </c:pt>
                <c:pt idx="9500">
                  <c:v>26.388888888888889</c:v>
                </c:pt>
                <c:pt idx="9501">
                  <c:v>26.391666666666666</c:v>
                </c:pt>
                <c:pt idx="9502">
                  <c:v>26.394444444444446</c:v>
                </c:pt>
                <c:pt idx="9503">
                  <c:v>26.397222222222222</c:v>
                </c:pt>
                <c:pt idx="9504">
                  <c:v>26.4</c:v>
                </c:pt>
                <c:pt idx="9505">
                  <c:v>26.402777777777779</c:v>
                </c:pt>
                <c:pt idx="9506">
                  <c:v>26.405555555555555</c:v>
                </c:pt>
                <c:pt idx="9507">
                  <c:v>26.408333333333335</c:v>
                </c:pt>
                <c:pt idx="9508">
                  <c:v>26.411111111111111</c:v>
                </c:pt>
                <c:pt idx="9509">
                  <c:v>26.413888888888888</c:v>
                </c:pt>
                <c:pt idx="9510">
                  <c:v>26.416666666666668</c:v>
                </c:pt>
                <c:pt idx="9511">
                  <c:v>26.419444444444444</c:v>
                </c:pt>
                <c:pt idx="9512">
                  <c:v>26.422222222222221</c:v>
                </c:pt>
                <c:pt idx="9513">
                  <c:v>26.425000000000001</c:v>
                </c:pt>
                <c:pt idx="9514">
                  <c:v>26.427777777777777</c:v>
                </c:pt>
                <c:pt idx="9515">
                  <c:v>26.430555555555557</c:v>
                </c:pt>
                <c:pt idx="9516">
                  <c:v>26.433333333333334</c:v>
                </c:pt>
                <c:pt idx="9517">
                  <c:v>26.43611111111111</c:v>
                </c:pt>
                <c:pt idx="9518">
                  <c:v>26.43888888888889</c:v>
                </c:pt>
                <c:pt idx="9519">
                  <c:v>26.441666666666666</c:v>
                </c:pt>
                <c:pt idx="9520">
                  <c:v>26.444444444444443</c:v>
                </c:pt>
                <c:pt idx="9521">
                  <c:v>26.447222222222223</c:v>
                </c:pt>
                <c:pt idx="9522">
                  <c:v>26.45</c:v>
                </c:pt>
                <c:pt idx="9523">
                  <c:v>26.452777777777779</c:v>
                </c:pt>
                <c:pt idx="9524">
                  <c:v>26.455555555555556</c:v>
                </c:pt>
                <c:pt idx="9525">
                  <c:v>26.458333333333332</c:v>
                </c:pt>
                <c:pt idx="9526">
                  <c:v>26.461111111111112</c:v>
                </c:pt>
                <c:pt idx="9527">
                  <c:v>26.463888888888889</c:v>
                </c:pt>
                <c:pt idx="9528">
                  <c:v>26.466666666666665</c:v>
                </c:pt>
                <c:pt idx="9529">
                  <c:v>26.469444444444445</c:v>
                </c:pt>
                <c:pt idx="9530">
                  <c:v>26.472222222222221</c:v>
                </c:pt>
                <c:pt idx="9531">
                  <c:v>26.475000000000001</c:v>
                </c:pt>
                <c:pt idx="9532">
                  <c:v>26.477777777777778</c:v>
                </c:pt>
                <c:pt idx="9533">
                  <c:v>26.480555555555554</c:v>
                </c:pt>
                <c:pt idx="9534">
                  <c:v>26.483333333333334</c:v>
                </c:pt>
                <c:pt idx="9535">
                  <c:v>26.486111111111111</c:v>
                </c:pt>
                <c:pt idx="9536">
                  <c:v>26.488888888888887</c:v>
                </c:pt>
                <c:pt idx="9537">
                  <c:v>26.491666666666667</c:v>
                </c:pt>
                <c:pt idx="9538">
                  <c:v>26.494444444444444</c:v>
                </c:pt>
                <c:pt idx="9539">
                  <c:v>26.497222222222224</c:v>
                </c:pt>
                <c:pt idx="9540">
                  <c:v>26.5</c:v>
                </c:pt>
                <c:pt idx="9541">
                  <c:v>26.502777777777776</c:v>
                </c:pt>
                <c:pt idx="9542">
                  <c:v>26.505555555555556</c:v>
                </c:pt>
                <c:pt idx="9543">
                  <c:v>26.508333333333333</c:v>
                </c:pt>
                <c:pt idx="9544">
                  <c:v>26.511111111111113</c:v>
                </c:pt>
                <c:pt idx="9545">
                  <c:v>26.513888888888889</c:v>
                </c:pt>
                <c:pt idx="9546">
                  <c:v>26.516666666666666</c:v>
                </c:pt>
                <c:pt idx="9547">
                  <c:v>26.519444444444446</c:v>
                </c:pt>
                <c:pt idx="9548">
                  <c:v>26.522222222222222</c:v>
                </c:pt>
                <c:pt idx="9549">
                  <c:v>26.524999999999999</c:v>
                </c:pt>
                <c:pt idx="9550">
                  <c:v>26.527777777777779</c:v>
                </c:pt>
                <c:pt idx="9551">
                  <c:v>26.530555555555555</c:v>
                </c:pt>
                <c:pt idx="9552">
                  <c:v>26.533333333333335</c:v>
                </c:pt>
                <c:pt idx="9553">
                  <c:v>26.536111111111111</c:v>
                </c:pt>
                <c:pt idx="9554">
                  <c:v>26.538888888888888</c:v>
                </c:pt>
                <c:pt idx="9555">
                  <c:v>26.541666666666668</c:v>
                </c:pt>
                <c:pt idx="9556">
                  <c:v>26.544444444444444</c:v>
                </c:pt>
                <c:pt idx="9557">
                  <c:v>26.547222222222221</c:v>
                </c:pt>
                <c:pt idx="9558">
                  <c:v>26.55</c:v>
                </c:pt>
                <c:pt idx="9559">
                  <c:v>26.552777777777777</c:v>
                </c:pt>
                <c:pt idx="9560">
                  <c:v>26.555555555555557</c:v>
                </c:pt>
                <c:pt idx="9561">
                  <c:v>26.558333333333334</c:v>
                </c:pt>
                <c:pt idx="9562">
                  <c:v>26.56111111111111</c:v>
                </c:pt>
                <c:pt idx="9563">
                  <c:v>26.56388888888889</c:v>
                </c:pt>
                <c:pt idx="9564">
                  <c:v>26.566666666666666</c:v>
                </c:pt>
                <c:pt idx="9565">
                  <c:v>26.569444444444443</c:v>
                </c:pt>
                <c:pt idx="9566">
                  <c:v>26.572222222222223</c:v>
                </c:pt>
                <c:pt idx="9567">
                  <c:v>26.574999999999999</c:v>
                </c:pt>
                <c:pt idx="9568">
                  <c:v>26.577777777777779</c:v>
                </c:pt>
                <c:pt idx="9569">
                  <c:v>26.580555555555556</c:v>
                </c:pt>
                <c:pt idx="9570">
                  <c:v>26.583333333333332</c:v>
                </c:pt>
                <c:pt idx="9571">
                  <c:v>26.586111111111112</c:v>
                </c:pt>
                <c:pt idx="9572">
                  <c:v>26.588888888888889</c:v>
                </c:pt>
                <c:pt idx="9573">
                  <c:v>26.591666666666665</c:v>
                </c:pt>
                <c:pt idx="9574">
                  <c:v>26.594444444444445</c:v>
                </c:pt>
                <c:pt idx="9575">
                  <c:v>26.597222222222221</c:v>
                </c:pt>
                <c:pt idx="9576">
                  <c:v>26.6</c:v>
                </c:pt>
                <c:pt idx="9577">
                  <c:v>26.602777777777778</c:v>
                </c:pt>
                <c:pt idx="9578">
                  <c:v>26.605555555555554</c:v>
                </c:pt>
                <c:pt idx="9579">
                  <c:v>26.608333333333334</c:v>
                </c:pt>
                <c:pt idx="9580">
                  <c:v>26.611111111111111</c:v>
                </c:pt>
                <c:pt idx="9581">
                  <c:v>26.613888888888887</c:v>
                </c:pt>
                <c:pt idx="9582">
                  <c:v>26.616666666666667</c:v>
                </c:pt>
                <c:pt idx="9583">
                  <c:v>26.619444444444444</c:v>
                </c:pt>
                <c:pt idx="9584">
                  <c:v>26.622222222222224</c:v>
                </c:pt>
                <c:pt idx="9585">
                  <c:v>26.625</c:v>
                </c:pt>
                <c:pt idx="9586">
                  <c:v>26.627777777777776</c:v>
                </c:pt>
                <c:pt idx="9587">
                  <c:v>26.630555555555556</c:v>
                </c:pt>
                <c:pt idx="9588">
                  <c:v>26.633333333333333</c:v>
                </c:pt>
                <c:pt idx="9589">
                  <c:v>26.636111111111113</c:v>
                </c:pt>
                <c:pt idx="9590">
                  <c:v>26.638888888888889</c:v>
                </c:pt>
                <c:pt idx="9591">
                  <c:v>26.641666666666666</c:v>
                </c:pt>
                <c:pt idx="9592">
                  <c:v>26.644444444444446</c:v>
                </c:pt>
                <c:pt idx="9593">
                  <c:v>26.647222222222222</c:v>
                </c:pt>
                <c:pt idx="9594">
                  <c:v>26.65</c:v>
                </c:pt>
                <c:pt idx="9595">
                  <c:v>26.652777777777779</c:v>
                </c:pt>
                <c:pt idx="9596">
                  <c:v>26.655555555555555</c:v>
                </c:pt>
                <c:pt idx="9597">
                  <c:v>26.658333333333335</c:v>
                </c:pt>
                <c:pt idx="9598">
                  <c:v>26.661111111111111</c:v>
                </c:pt>
                <c:pt idx="9599">
                  <c:v>26.663888888888888</c:v>
                </c:pt>
                <c:pt idx="9600">
                  <c:v>26.666666666666668</c:v>
                </c:pt>
                <c:pt idx="9601">
                  <c:v>26.669444444444444</c:v>
                </c:pt>
                <c:pt idx="9602">
                  <c:v>26.672222222222221</c:v>
                </c:pt>
                <c:pt idx="9603">
                  <c:v>26.675000000000001</c:v>
                </c:pt>
                <c:pt idx="9604">
                  <c:v>26.677777777777777</c:v>
                </c:pt>
                <c:pt idx="9605">
                  <c:v>26.680555555555557</c:v>
                </c:pt>
                <c:pt idx="9606">
                  <c:v>26.683333333333334</c:v>
                </c:pt>
                <c:pt idx="9607">
                  <c:v>26.68611111111111</c:v>
                </c:pt>
                <c:pt idx="9608">
                  <c:v>26.68888888888889</c:v>
                </c:pt>
                <c:pt idx="9609">
                  <c:v>26.691666666666666</c:v>
                </c:pt>
                <c:pt idx="9610">
                  <c:v>26.694444444444443</c:v>
                </c:pt>
                <c:pt idx="9611">
                  <c:v>26.697222222222223</c:v>
                </c:pt>
                <c:pt idx="9612">
                  <c:v>26.7</c:v>
                </c:pt>
                <c:pt idx="9613">
                  <c:v>26.702777777777779</c:v>
                </c:pt>
                <c:pt idx="9614">
                  <c:v>26.705555555555556</c:v>
                </c:pt>
                <c:pt idx="9615">
                  <c:v>26.708333333333332</c:v>
                </c:pt>
                <c:pt idx="9616">
                  <c:v>26.711111111111112</c:v>
                </c:pt>
                <c:pt idx="9617">
                  <c:v>26.713888888888889</c:v>
                </c:pt>
                <c:pt idx="9618">
                  <c:v>26.716666666666665</c:v>
                </c:pt>
                <c:pt idx="9619">
                  <c:v>26.719444444444445</c:v>
                </c:pt>
                <c:pt idx="9620">
                  <c:v>26.722222222222221</c:v>
                </c:pt>
                <c:pt idx="9621">
                  <c:v>26.725000000000001</c:v>
                </c:pt>
                <c:pt idx="9622">
                  <c:v>26.727777777777778</c:v>
                </c:pt>
                <c:pt idx="9623">
                  <c:v>26.730555555555554</c:v>
                </c:pt>
                <c:pt idx="9624">
                  <c:v>26.733333333333334</c:v>
                </c:pt>
                <c:pt idx="9625">
                  <c:v>26.736111111111111</c:v>
                </c:pt>
                <c:pt idx="9626">
                  <c:v>26.738888888888887</c:v>
                </c:pt>
                <c:pt idx="9627">
                  <c:v>26.741666666666667</c:v>
                </c:pt>
                <c:pt idx="9628">
                  <c:v>26.744444444444444</c:v>
                </c:pt>
                <c:pt idx="9629">
                  <c:v>26.747222222222224</c:v>
                </c:pt>
                <c:pt idx="9630">
                  <c:v>26.75</c:v>
                </c:pt>
                <c:pt idx="9631">
                  <c:v>26.752777777777776</c:v>
                </c:pt>
                <c:pt idx="9632">
                  <c:v>26.755555555555556</c:v>
                </c:pt>
                <c:pt idx="9633">
                  <c:v>26.758333333333333</c:v>
                </c:pt>
                <c:pt idx="9634">
                  <c:v>26.761111111111113</c:v>
                </c:pt>
                <c:pt idx="9635">
                  <c:v>26.763888888888889</c:v>
                </c:pt>
                <c:pt idx="9636">
                  <c:v>26.766666666666666</c:v>
                </c:pt>
                <c:pt idx="9637">
                  <c:v>26.769444444444446</c:v>
                </c:pt>
                <c:pt idx="9638">
                  <c:v>26.772222222222222</c:v>
                </c:pt>
                <c:pt idx="9639">
                  <c:v>26.774999999999999</c:v>
                </c:pt>
                <c:pt idx="9640">
                  <c:v>26.777777777777779</c:v>
                </c:pt>
                <c:pt idx="9641">
                  <c:v>26.780555555555555</c:v>
                </c:pt>
                <c:pt idx="9642">
                  <c:v>26.783333333333335</c:v>
                </c:pt>
                <c:pt idx="9643">
                  <c:v>26.786111111111111</c:v>
                </c:pt>
                <c:pt idx="9644">
                  <c:v>26.788888888888888</c:v>
                </c:pt>
                <c:pt idx="9645">
                  <c:v>26.791666666666668</c:v>
                </c:pt>
                <c:pt idx="9646">
                  <c:v>26.794444444444444</c:v>
                </c:pt>
                <c:pt idx="9647">
                  <c:v>26.797222222222221</c:v>
                </c:pt>
                <c:pt idx="9648">
                  <c:v>26.8</c:v>
                </c:pt>
                <c:pt idx="9649">
                  <c:v>26.802777777777777</c:v>
                </c:pt>
                <c:pt idx="9650">
                  <c:v>26.805555555555557</c:v>
                </c:pt>
                <c:pt idx="9651">
                  <c:v>26.808333333333334</c:v>
                </c:pt>
                <c:pt idx="9652">
                  <c:v>26.81111111111111</c:v>
                </c:pt>
                <c:pt idx="9653">
                  <c:v>26.81388888888889</c:v>
                </c:pt>
                <c:pt idx="9654">
                  <c:v>26.816666666666666</c:v>
                </c:pt>
                <c:pt idx="9655">
                  <c:v>26.819444444444443</c:v>
                </c:pt>
                <c:pt idx="9656">
                  <c:v>26.822222222222223</c:v>
                </c:pt>
                <c:pt idx="9657">
                  <c:v>26.824999999999999</c:v>
                </c:pt>
                <c:pt idx="9658">
                  <c:v>26.827777777777779</c:v>
                </c:pt>
                <c:pt idx="9659">
                  <c:v>26.830555555555556</c:v>
                </c:pt>
                <c:pt idx="9660">
                  <c:v>26.833333333333332</c:v>
                </c:pt>
                <c:pt idx="9661">
                  <c:v>26.836111111111112</c:v>
                </c:pt>
                <c:pt idx="9662">
                  <c:v>26.838888888888889</c:v>
                </c:pt>
                <c:pt idx="9663">
                  <c:v>26.841666666666665</c:v>
                </c:pt>
                <c:pt idx="9664">
                  <c:v>26.844444444444445</c:v>
                </c:pt>
                <c:pt idx="9665">
                  <c:v>26.847222222222221</c:v>
                </c:pt>
                <c:pt idx="9666">
                  <c:v>26.85</c:v>
                </c:pt>
                <c:pt idx="9667">
                  <c:v>26.852777777777778</c:v>
                </c:pt>
                <c:pt idx="9668">
                  <c:v>26.855555555555554</c:v>
                </c:pt>
                <c:pt idx="9669">
                  <c:v>26.858333333333334</c:v>
                </c:pt>
                <c:pt idx="9670">
                  <c:v>26.861111111111111</c:v>
                </c:pt>
                <c:pt idx="9671">
                  <c:v>26.863888888888887</c:v>
                </c:pt>
                <c:pt idx="9672">
                  <c:v>26.866666666666667</c:v>
                </c:pt>
                <c:pt idx="9673">
                  <c:v>26.869444444444444</c:v>
                </c:pt>
                <c:pt idx="9674">
                  <c:v>26.872222222222224</c:v>
                </c:pt>
                <c:pt idx="9675">
                  <c:v>26.875</c:v>
                </c:pt>
                <c:pt idx="9676">
                  <c:v>26.877777777777776</c:v>
                </c:pt>
                <c:pt idx="9677">
                  <c:v>26.880555555555556</c:v>
                </c:pt>
                <c:pt idx="9678">
                  <c:v>26.883333333333333</c:v>
                </c:pt>
                <c:pt idx="9679">
                  <c:v>26.886111111111113</c:v>
                </c:pt>
                <c:pt idx="9680">
                  <c:v>26.888888888888889</c:v>
                </c:pt>
                <c:pt idx="9681">
                  <c:v>26.891666666666666</c:v>
                </c:pt>
                <c:pt idx="9682">
                  <c:v>26.894444444444446</c:v>
                </c:pt>
                <c:pt idx="9683">
                  <c:v>26.897222222222222</c:v>
                </c:pt>
                <c:pt idx="9684">
                  <c:v>26.9</c:v>
                </c:pt>
                <c:pt idx="9685">
                  <c:v>26.902777777777779</c:v>
                </c:pt>
                <c:pt idx="9686">
                  <c:v>26.905555555555555</c:v>
                </c:pt>
                <c:pt idx="9687">
                  <c:v>26.908333333333335</c:v>
                </c:pt>
                <c:pt idx="9688">
                  <c:v>26.911111111111111</c:v>
                </c:pt>
                <c:pt idx="9689">
                  <c:v>26.913888888888888</c:v>
                </c:pt>
                <c:pt idx="9690">
                  <c:v>26.916666666666668</c:v>
                </c:pt>
                <c:pt idx="9691">
                  <c:v>26.919444444444444</c:v>
                </c:pt>
                <c:pt idx="9692">
                  <c:v>26.922222222222221</c:v>
                </c:pt>
                <c:pt idx="9693">
                  <c:v>26.925000000000001</c:v>
                </c:pt>
                <c:pt idx="9694">
                  <c:v>26.927777777777777</c:v>
                </c:pt>
                <c:pt idx="9695">
                  <c:v>26.930555555555557</c:v>
                </c:pt>
                <c:pt idx="9696">
                  <c:v>26.933333333333334</c:v>
                </c:pt>
                <c:pt idx="9697">
                  <c:v>26.93611111111111</c:v>
                </c:pt>
                <c:pt idx="9698">
                  <c:v>26.93888888888889</c:v>
                </c:pt>
                <c:pt idx="9699">
                  <c:v>26.941666666666666</c:v>
                </c:pt>
                <c:pt idx="9700">
                  <c:v>26.944444444444443</c:v>
                </c:pt>
                <c:pt idx="9701">
                  <c:v>26.947222222222223</c:v>
                </c:pt>
                <c:pt idx="9702">
                  <c:v>26.95</c:v>
                </c:pt>
                <c:pt idx="9703">
                  <c:v>26.952777777777779</c:v>
                </c:pt>
                <c:pt idx="9704">
                  <c:v>26.955555555555556</c:v>
                </c:pt>
                <c:pt idx="9705">
                  <c:v>26.958333333333332</c:v>
                </c:pt>
                <c:pt idx="9706">
                  <c:v>26.961111111111112</c:v>
                </c:pt>
                <c:pt idx="9707">
                  <c:v>26.963888888888889</c:v>
                </c:pt>
                <c:pt idx="9708">
                  <c:v>26.966666666666665</c:v>
                </c:pt>
                <c:pt idx="9709">
                  <c:v>26.969444444444445</c:v>
                </c:pt>
                <c:pt idx="9710">
                  <c:v>26.972222222222221</c:v>
                </c:pt>
                <c:pt idx="9711">
                  <c:v>26.975000000000001</c:v>
                </c:pt>
                <c:pt idx="9712">
                  <c:v>26.977777777777778</c:v>
                </c:pt>
                <c:pt idx="9713">
                  <c:v>26.980555555555554</c:v>
                </c:pt>
                <c:pt idx="9714">
                  <c:v>26.983333333333334</c:v>
                </c:pt>
                <c:pt idx="9715">
                  <c:v>26.986111111111111</c:v>
                </c:pt>
                <c:pt idx="9716">
                  <c:v>26.988888888888887</c:v>
                </c:pt>
                <c:pt idx="9717">
                  <c:v>26.991666666666667</c:v>
                </c:pt>
                <c:pt idx="9718">
                  <c:v>26.994444444444444</c:v>
                </c:pt>
                <c:pt idx="9719">
                  <c:v>26.997222222222224</c:v>
                </c:pt>
                <c:pt idx="9720">
                  <c:v>27</c:v>
                </c:pt>
                <c:pt idx="9721">
                  <c:v>27.002777777777776</c:v>
                </c:pt>
                <c:pt idx="9722">
                  <c:v>27.005555555555556</c:v>
                </c:pt>
                <c:pt idx="9723">
                  <c:v>27.008333333333333</c:v>
                </c:pt>
                <c:pt idx="9724">
                  <c:v>27.011111111111113</c:v>
                </c:pt>
                <c:pt idx="9725">
                  <c:v>27.013888888888889</c:v>
                </c:pt>
                <c:pt idx="9726">
                  <c:v>27.016666666666666</c:v>
                </c:pt>
                <c:pt idx="9727">
                  <c:v>27.019444444444446</c:v>
                </c:pt>
                <c:pt idx="9728">
                  <c:v>27.022222222222222</c:v>
                </c:pt>
                <c:pt idx="9729">
                  <c:v>27.024999999999999</c:v>
                </c:pt>
                <c:pt idx="9730">
                  <c:v>27.027777777777779</c:v>
                </c:pt>
                <c:pt idx="9731">
                  <c:v>27.030555555555555</c:v>
                </c:pt>
                <c:pt idx="9732">
                  <c:v>27.033333333333335</c:v>
                </c:pt>
                <c:pt idx="9733">
                  <c:v>27.036111111111111</c:v>
                </c:pt>
                <c:pt idx="9734">
                  <c:v>27.038888888888888</c:v>
                </c:pt>
                <c:pt idx="9735">
                  <c:v>27.041666666666668</c:v>
                </c:pt>
                <c:pt idx="9736">
                  <c:v>27.044444444444444</c:v>
                </c:pt>
                <c:pt idx="9737">
                  <c:v>27.047222222222221</c:v>
                </c:pt>
                <c:pt idx="9738">
                  <c:v>27.05</c:v>
                </c:pt>
                <c:pt idx="9739">
                  <c:v>27.052777777777777</c:v>
                </c:pt>
                <c:pt idx="9740">
                  <c:v>27.055555555555557</c:v>
                </c:pt>
                <c:pt idx="9741">
                  <c:v>27.058333333333334</c:v>
                </c:pt>
                <c:pt idx="9742">
                  <c:v>27.06111111111111</c:v>
                </c:pt>
                <c:pt idx="9743">
                  <c:v>27.06388888888889</c:v>
                </c:pt>
                <c:pt idx="9744">
                  <c:v>27.066666666666666</c:v>
                </c:pt>
                <c:pt idx="9745">
                  <c:v>27.069444444444443</c:v>
                </c:pt>
                <c:pt idx="9746">
                  <c:v>27.072222222222223</c:v>
                </c:pt>
                <c:pt idx="9747">
                  <c:v>27.074999999999999</c:v>
                </c:pt>
                <c:pt idx="9748">
                  <c:v>27.077777777777779</c:v>
                </c:pt>
                <c:pt idx="9749">
                  <c:v>27.080555555555556</c:v>
                </c:pt>
                <c:pt idx="9750">
                  <c:v>27.083333333333332</c:v>
                </c:pt>
                <c:pt idx="9751">
                  <c:v>27.086111111111112</c:v>
                </c:pt>
                <c:pt idx="9752">
                  <c:v>27.088888888888889</c:v>
                </c:pt>
                <c:pt idx="9753">
                  <c:v>27.091666666666665</c:v>
                </c:pt>
                <c:pt idx="9754">
                  <c:v>27.094444444444445</c:v>
                </c:pt>
                <c:pt idx="9755">
                  <c:v>27.097222222222221</c:v>
                </c:pt>
                <c:pt idx="9756">
                  <c:v>27.1</c:v>
                </c:pt>
                <c:pt idx="9757">
                  <c:v>27.102777777777778</c:v>
                </c:pt>
                <c:pt idx="9758">
                  <c:v>27.105555555555554</c:v>
                </c:pt>
                <c:pt idx="9759">
                  <c:v>27.108333333333334</c:v>
                </c:pt>
                <c:pt idx="9760">
                  <c:v>27.111111111111111</c:v>
                </c:pt>
                <c:pt idx="9761">
                  <c:v>27.113888888888887</c:v>
                </c:pt>
                <c:pt idx="9762">
                  <c:v>27.116666666666667</c:v>
                </c:pt>
                <c:pt idx="9763">
                  <c:v>27.119444444444444</c:v>
                </c:pt>
                <c:pt idx="9764">
                  <c:v>27.122222222222224</c:v>
                </c:pt>
                <c:pt idx="9765">
                  <c:v>27.125</c:v>
                </c:pt>
                <c:pt idx="9766">
                  <c:v>27.127777777777776</c:v>
                </c:pt>
                <c:pt idx="9767">
                  <c:v>27.130555555555556</c:v>
                </c:pt>
                <c:pt idx="9768">
                  <c:v>27.133333333333333</c:v>
                </c:pt>
                <c:pt idx="9769">
                  <c:v>27.136111111111113</c:v>
                </c:pt>
                <c:pt idx="9770">
                  <c:v>27.138888888888889</c:v>
                </c:pt>
                <c:pt idx="9771">
                  <c:v>27.141666666666666</c:v>
                </c:pt>
                <c:pt idx="9772">
                  <c:v>27.144444444444446</c:v>
                </c:pt>
                <c:pt idx="9773">
                  <c:v>27.147222222222222</c:v>
                </c:pt>
                <c:pt idx="9774">
                  <c:v>27.15</c:v>
                </c:pt>
                <c:pt idx="9775">
                  <c:v>27.152777777777779</c:v>
                </c:pt>
                <c:pt idx="9776">
                  <c:v>27.155555555555555</c:v>
                </c:pt>
                <c:pt idx="9777">
                  <c:v>27.158333333333335</c:v>
                </c:pt>
                <c:pt idx="9778">
                  <c:v>27.161111111111111</c:v>
                </c:pt>
                <c:pt idx="9779">
                  <c:v>27.163888888888888</c:v>
                </c:pt>
                <c:pt idx="9780">
                  <c:v>27.166666666666668</c:v>
                </c:pt>
                <c:pt idx="9781">
                  <c:v>27.169444444444444</c:v>
                </c:pt>
                <c:pt idx="9782">
                  <c:v>27.172222222222221</c:v>
                </c:pt>
                <c:pt idx="9783">
                  <c:v>27.175000000000001</c:v>
                </c:pt>
                <c:pt idx="9784">
                  <c:v>27.177777777777777</c:v>
                </c:pt>
                <c:pt idx="9785">
                  <c:v>27.180555555555557</c:v>
                </c:pt>
                <c:pt idx="9786">
                  <c:v>27.183333333333334</c:v>
                </c:pt>
                <c:pt idx="9787">
                  <c:v>27.18611111111111</c:v>
                </c:pt>
                <c:pt idx="9788">
                  <c:v>27.18888888888889</c:v>
                </c:pt>
                <c:pt idx="9789">
                  <c:v>27.191666666666666</c:v>
                </c:pt>
                <c:pt idx="9790">
                  <c:v>27.194444444444443</c:v>
                </c:pt>
                <c:pt idx="9791">
                  <c:v>27.197222222222223</c:v>
                </c:pt>
                <c:pt idx="9792">
                  <c:v>27.2</c:v>
                </c:pt>
                <c:pt idx="9793">
                  <c:v>27.202777777777779</c:v>
                </c:pt>
                <c:pt idx="9794">
                  <c:v>27.205555555555556</c:v>
                </c:pt>
                <c:pt idx="9795">
                  <c:v>27.208333333333332</c:v>
                </c:pt>
                <c:pt idx="9796">
                  <c:v>27.211111111111112</c:v>
                </c:pt>
                <c:pt idx="9797">
                  <c:v>27.213888888888889</c:v>
                </c:pt>
                <c:pt idx="9798">
                  <c:v>27.216666666666665</c:v>
                </c:pt>
                <c:pt idx="9799">
                  <c:v>27.219444444444445</c:v>
                </c:pt>
                <c:pt idx="9800">
                  <c:v>27.222222222222221</c:v>
                </c:pt>
                <c:pt idx="9801">
                  <c:v>27.225000000000001</c:v>
                </c:pt>
                <c:pt idx="9802">
                  <c:v>27.227777777777778</c:v>
                </c:pt>
                <c:pt idx="9803">
                  <c:v>27.230555555555554</c:v>
                </c:pt>
                <c:pt idx="9804">
                  <c:v>27.233333333333334</c:v>
                </c:pt>
                <c:pt idx="9805">
                  <c:v>27.236111111111111</c:v>
                </c:pt>
                <c:pt idx="9806">
                  <c:v>27.238888888888887</c:v>
                </c:pt>
                <c:pt idx="9807">
                  <c:v>27.241666666666667</c:v>
                </c:pt>
                <c:pt idx="9808">
                  <c:v>27.244444444444444</c:v>
                </c:pt>
                <c:pt idx="9809">
                  <c:v>27.247222222222224</c:v>
                </c:pt>
                <c:pt idx="9810">
                  <c:v>27.25</c:v>
                </c:pt>
                <c:pt idx="9811">
                  <c:v>27.252777777777776</c:v>
                </c:pt>
                <c:pt idx="9812">
                  <c:v>27.255555555555556</c:v>
                </c:pt>
                <c:pt idx="9813">
                  <c:v>27.258333333333333</c:v>
                </c:pt>
                <c:pt idx="9814">
                  <c:v>27.261111111111113</c:v>
                </c:pt>
                <c:pt idx="9815">
                  <c:v>27.263888888888889</c:v>
                </c:pt>
                <c:pt idx="9816">
                  <c:v>27.266666666666666</c:v>
                </c:pt>
                <c:pt idx="9817">
                  <c:v>27.269444444444446</c:v>
                </c:pt>
                <c:pt idx="9818">
                  <c:v>27.272222222222222</c:v>
                </c:pt>
                <c:pt idx="9819">
                  <c:v>27.274999999999999</c:v>
                </c:pt>
                <c:pt idx="9820">
                  <c:v>27.277777777777779</c:v>
                </c:pt>
                <c:pt idx="9821">
                  <c:v>27.280555555555555</c:v>
                </c:pt>
                <c:pt idx="9822">
                  <c:v>27.283333333333335</c:v>
                </c:pt>
                <c:pt idx="9823">
                  <c:v>27.286111111111111</c:v>
                </c:pt>
                <c:pt idx="9824">
                  <c:v>27.288888888888888</c:v>
                </c:pt>
                <c:pt idx="9825">
                  <c:v>27.291666666666668</c:v>
                </c:pt>
                <c:pt idx="9826">
                  <c:v>27.294444444444444</c:v>
                </c:pt>
                <c:pt idx="9827">
                  <c:v>27.297222222222221</c:v>
                </c:pt>
                <c:pt idx="9828">
                  <c:v>27.3</c:v>
                </c:pt>
                <c:pt idx="9829">
                  <c:v>27.302777777777777</c:v>
                </c:pt>
                <c:pt idx="9830">
                  <c:v>27.305555555555557</c:v>
                </c:pt>
                <c:pt idx="9831">
                  <c:v>27.308333333333334</c:v>
                </c:pt>
                <c:pt idx="9832">
                  <c:v>27.31111111111111</c:v>
                </c:pt>
                <c:pt idx="9833">
                  <c:v>27.31388888888889</c:v>
                </c:pt>
                <c:pt idx="9834">
                  <c:v>27.316666666666666</c:v>
                </c:pt>
                <c:pt idx="9835">
                  <c:v>27.319444444444443</c:v>
                </c:pt>
                <c:pt idx="9836">
                  <c:v>27.322222222222223</c:v>
                </c:pt>
                <c:pt idx="9837">
                  <c:v>27.324999999999999</c:v>
                </c:pt>
                <c:pt idx="9838">
                  <c:v>27.327777777777779</c:v>
                </c:pt>
                <c:pt idx="9839">
                  <c:v>27.330555555555556</c:v>
                </c:pt>
                <c:pt idx="9840">
                  <c:v>27.333333333333332</c:v>
                </c:pt>
                <c:pt idx="9841">
                  <c:v>27.336111111111112</c:v>
                </c:pt>
                <c:pt idx="9842">
                  <c:v>27.338888888888889</c:v>
                </c:pt>
                <c:pt idx="9843">
                  <c:v>27.341666666666665</c:v>
                </c:pt>
                <c:pt idx="9844">
                  <c:v>27.344444444444445</c:v>
                </c:pt>
                <c:pt idx="9845">
                  <c:v>27.347222222222221</c:v>
                </c:pt>
                <c:pt idx="9846">
                  <c:v>27.35</c:v>
                </c:pt>
                <c:pt idx="9847">
                  <c:v>27.352777777777778</c:v>
                </c:pt>
                <c:pt idx="9848">
                  <c:v>27.355555555555554</c:v>
                </c:pt>
                <c:pt idx="9849">
                  <c:v>27.358333333333334</c:v>
                </c:pt>
                <c:pt idx="9850">
                  <c:v>27.361111111111111</c:v>
                </c:pt>
                <c:pt idx="9851">
                  <c:v>27.363888888888887</c:v>
                </c:pt>
                <c:pt idx="9852">
                  <c:v>27.366666666666667</c:v>
                </c:pt>
                <c:pt idx="9853">
                  <c:v>27.369444444444444</c:v>
                </c:pt>
                <c:pt idx="9854">
                  <c:v>27.372222222222224</c:v>
                </c:pt>
                <c:pt idx="9855">
                  <c:v>27.375</c:v>
                </c:pt>
                <c:pt idx="9856">
                  <c:v>27.377777777777776</c:v>
                </c:pt>
                <c:pt idx="9857">
                  <c:v>27.380555555555556</c:v>
                </c:pt>
                <c:pt idx="9858">
                  <c:v>27.383333333333333</c:v>
                </c:pt>
                <c:pt idx="9859">
                  <c:v>27.386111111111113</c:v>
                </c:pt>
                <c:pt idx="9860">
                  <c:v>27.388888888888889</c:v>
                </c:pt>
                <c:pt idx="9861">
                  <c:v>27.391666666666666</c:v>
                </c:pt>
                <c:pt idx="9862">
                  <c:v>27.394444444444446</c:v>
                </c:pt>
                <c:pt idx="9863">
                  <c:v>27.397222222222222</c:v>
                </c:pt>
                <c:pt idx="9864">
                  <c:v>27.4</c:v>
                </c:pt>
                <c:pt idx="9865">
                  <c:v>27.402777777777779</c:v>
                </c:pt>
                <c:pt idx="9866">
                  <c:v>27.405555555555555</c:v>
                </c:pt>
                <c:pt idx="9867">
                  <c:v>27.408333333333335</c:v>
                </c:pt>
                <c:pt idx="9868">
                  <c:v>27.411111111111111</c:v>
                </c:pt>
                <c:pt idx="9869">
                  <c:v>27.413888888888888</c:v>
                </c:pt>
                <c:pt idx="9870">
                  <c:v>27.416666666666668</c:v>
                </c:pt>
                <c:pt idx="9871">
                  <c:v>27.419444444444444</c:v>
                </c:pt>
                <c:pt idx="9872">
                  <c:v>27.422222222222221</c:v>
                </c:pt>
                <c:pt idx="9873">
                  <c:v>27.425000000000001</c:v>
                </c:pt>
                <c:pt idx="9874">
                  <c:v>27.427777777777777</c:v>
                </c:pt>
                <c:pt idx="9875">
                  <c:v>27.430555555555557</c:v>
                </c:pt>
                <c:pt idx="9876">
                  <c:v>27.433333333333334</c:v>
                </c:pt>
                <c:pt idx="9877">
                  <c:v>27.43611111111111</c:v>
                </c:pt>
                <c:pt idx="9878">
                  <c:v>27.43888888888889</c:v>
                </c:pt>
                <c:pt idx="9879">
                  <c:v>27.441666666666666</c:v>
                </c:pt>
                <c:pt idx="9880">
                  <c:v>27.444444444444443</c:v>
                </c:pt>
                <c:pt idx="9881">
                  <c:v>27.447222222222223</c:v>
                </c:pt>
                <c:pt idx="9882">
                  <c:v>27.45</c:v>
                </c:pt>
                <c:pt idx="9883">
                  <c:v>27.452777777777779</c:v>
                </c:pt>
                <c:pt idx="9884">
                  <c:v>27.455555555555556</c:v>
                </c:pt>
                <c:pt idx="9885">
                  <c:v>27.458333333333332</c:v>
                </c:pt>
                <c:pt idx="9886">
                  <c:v>27.461111111111112</c:v>
                </c:pt>
                <c:pt idx="9887">
                  <c:v>27.463888888888889</c:v>
                </c:pt>
                <c:pt idx="9888">
                  <c:v>27.466666666666665</c:v>
                </c:pt>
                <c:pt idx="9889">
                  <c:v>27.469444444444445</c:v>
                </c:pt>
                <c:pt idx="9890">
                  <c:v>27.472222222222221</c:v>
                </c:pt>
                <c:pt idx="9891">
                  <c:v>27.475000000000001</c:v>
                </c:pt>
                <c:pt idx="9892">
                  <c:v>27.477777777777778</c:v>
                </c:pt>
                <c:pt idx="9893">
                  <c:v>27.480555555555554</c:v>
                </c:pt>
                <c:pt idx="9894">
                  <c:v>27.483333333333334</c:v>
                </c:pt>
                <c:pt idx="9895">
                  <c:v>27.486111111111111</c:v>
                </c:pt>
                <c:pt idx="9896">
                  <c:v>27.488888888888887</c:v>
                </c:pt>
                <c:pt idx="9897">
                  <c:v>27.491666666666667</c:v>
                </c:pt>
                <c:pt idx="9898">
                  <c:v>27.494444444444444</c:v>
                </c:pt>
                <c:pt idx="9899">
                  <c:v>27.497222222222224</c:v>
                </c:pt>
                <c:pt idx="9900">
                  <c:v>27.5</c:v>
                </c:pt>
                <c:pt idx="9901">
                  <c:v>27.502777777777776</c:v>
                </c:pt>
                <c:pt idx="9902">
                  <c:v>27.505555555555556</c:v>
                </c:pt>
                <c:pt idx="9903">
                  <c:v>27.508333333333333</c:v>
                </c:pt>
                <c:pt idx="9904">
                  <c:v>27.511111111111113</c:v>
                </c:pt>
                <c:pt idx="9905">
                  <c:v>27.513888888888889</c:v>
                </c:pt>
                <c:pt idx="9906">
                  <c:v>27.516666666666666</c:v>
                </c:pt>
                <c:pt idx="9907">
                  <c:v>27.519444444444446</c:v>
                </c:pt>
                <c:pt idx="9908">
                  <c:v>27.522222222222222</c:v>
                </c:pt>
                <c:pt idx="9909">
                  <c:v>27.524999999999999</c:v>
                </c:pt>
                <c:pt idx="9910">
                  <c:v>27.527777777777779</c:v>
                </c:pt>
                <c:pt idx="9911">
                  <c:v>27.530555555555555</c:v>
                </c:pt>
                <c:pt idx="9912">
                  <c:v>27.533333333333335</c:v>
                </c:pt>
                <c:pt idx="9913">
                  <c:v>27.536111111111111</c:v>
                </c:pt>
                <c:pt idx="9914">
                  <c:v>27.538888888888888</c:v>
                </c:pt>
                <c:pt idx="9915">
                  <c:v>27.541666666666668</c:v>
                </c:pt>
                <c:pt idx="9916">
                  <c:v>27.544444444444444</c:v>
                </c:pt>
                <c:pt idx="9917">
                  <c:v>27.547222222222221</c:v>
                </c:pt>
                <c:pt idx="9918">
                  <c:v>27.55</c:v>
                </c:pt>
                <c:pt idx="9919">
                  <c:v>27.552777777777777</c:v>
                </c:pt>
                <c:pt idx="9920">
                  <c:v>27.555555555555557</c:v>
                </c:pt>
                <c:pt idx="9921">
                  <c:v>27.558333333333334</c:v>
                </c:pt>
                <c:pt idx="9922">
                  <c:v>27.56111111111111</c:v>
                </c:pt>
                <c:pt idx="9923">
                  <c:v>27.56388888888889</c:v>
                </c:pt>
                <c:pt idx="9924">
                  <c:v>27.566666666666666</c:v>
                </c:pt>
                <c:pt idx="9925">
                  <c:v>27.569444444444443</c:v>
                </c:pt>
                <c:pt idx="9926">
                  <c:v>27.572222222222223</c:v>
                </c:pt>
                <c:pt idx="9927">
                  <c:v>27.574999999999999</c:v>
                </c:pt>
                <c:pt idx="9928">
                  <c:v>27.577777777777779</c:v>
                </c:pt>
                <c:pt idx="9929">
                  <c:v>27.580555555555556</c:v>
                </c:pt>
                <c:pt idx="9930">
                  <c:v>27.583333333333332</c:v>
                </c:pt>
                <c:pt idx="9931">
                  <c:v>27.586111111111112</c:v>
                </c:pt>
                <c:pt idx="9932">
                  <c:v>27.588888888888889</c:v>
                </c:pt>
                <c:pt idx="9933">
                  <c:v>27.591666666666665</c:v>
                </c:pt>
                <c:pt idx="9934">
                  <c:v>27.594444444444445</c:v>
                </c:pt>
                <c:pt idx="9935">
                  <c:v>27.597222222222221</c:v>
                </c:pt>
                <c:pt idx="9936">
                  <c:v>27.6</c:v>
                </c:pt>
                <c:pt idx="9937">
                  <c:v>27.602777777777778</c:v>
                </c:pt>
                <c:pt idx="9938">
                  <c:v>27.605555555555554</c:v>
                </c:pt>
                <c:pt idx="9939">
                  <c:v>27.608333333333334</c:v>
                </c:pt>
                <c:pt idx="9940">
                  <c:v>27.611111111111111</c:v>
                </c:pt>
                <c:pt idx="9941">
                  <c:v>27.613888888888887</c:v>
                </c:pt>
                <c:pt idx="9942">
                  <c:v>27.616666666666667</c:v>
                </c:pt>
                <c:pt idx="9943">
                  <c:v>27.619444444444444</c:v>
                </c:pt>
                <c:pt idx="9944">
                  <c:v>27.622222222222224</c:v>
                </c:pt>
                <c:pt idx="9945">
                  <c:v>27.625</c:v>
                </c:pt>
                <c:pt idx="9946">
                  <c:v>27.627777777777776</c:v>
                </c:pt>
                <c:pt idx="9947">
                  <c:v>27.630555555555556</c:v>
                </c:pt>
                <c:pt idx="9948">
                  <c:v>27.633333333333333</c:v>
                </c:pt>
                <c:pt idx="9949">
                  <c:v>27.636111111111113</c:v>
                </c:pt>
                <c:pt idx="9950">
                  <c:v>27.638888888888889</c:v>
                </c:pt>
                <c:pt idx="9951">
                  <c:v>27.641666666666666</c:v>
                </c:pt>
                <c:pt idx="9952">
                  <c:v>27.644444444444446</c:v>
                </c:pt>
                <c:pt idx="9953">
                  <c:v>27.647222222222222</c:v>
                </c:pt>
                <c:pt idx="9954">
                  <c:v>27.65</c:v>
                </c:pt>
                <c:pt idx="9955">
                  <c:v>27.652777777777779</c:v>
                </c:pt>
                <c:pt idx="9956">
                  <c:v>27.655555555555555</c:v>
                </c:pt>
                <c:pt idx="9957">
                  <c:v>27.658333333333335</c:v>
                </c:pt>
                <c:pt idx="9958">
                  <c:v>27.661111111111111</c:v>
                </c:pt>
                <c:pt idx="9959">
                  <c:v>27.663888888888888</c:v>
                </c:pt>
                <c:pt idx="9960">
                  <c:v>27.666666666666668</c:v>
                </c:pt>
                <c:pt idx="9961">
                  <c:v>27.669444444444444</c:v>
                </c:pt>
                <c:pt idx="9962">
                  <c:v>27.672222222222221</c:v>
                </c:pt>
                <c:pt idx="9963">
                  <c:v>27.675000000000001</c:v>
                </c:pt>
                <c:pt idx="9964">
                  <c:v>27.677777777777777</c:v>
                </c:pt>
                <c:pt idx="9965">
                  <c:v>27.680555555555557</c:v>
                </c:pt>
                <c:pt idx="9966">
                  <c:v>27.683333333333334</c:v>
                </c:pt>
                <c:pt idx="9967">
                  <c:v>27.68611111111111</c:v>
                </c:pt>
                <c:pt idx="9968">
                  <c:v>27.68888888888889</c:v>
                </c:pt>
                <c:pt idx="9969">
                  <c:v>27.691666666666666</c:v>
                </c:pt>
                <c:pt idx="9970">
                  <c:v>27.694444444444443</c:v>
                </c:pt>
                <c:pt idx="9971">
                  <c:v>27.697222222222223</c:v>
                </c:pt>
                <c:pt idx="9972">
                  <c:v>27.7</c:v>
                </c:pt>
                <c:pt idx="9973">
                  <c:v>27.702777777777779</c:v>
                </c:pt>
                <c:pt idx="9974">
                  <c:v>27.705555555555556</c:v>
                </c:pt>
                <c:pt idx="9975">
                  <c:v>27.708333333333332</c:v>
                </c:pt>
                <c:pt idx="9976">
                  <c:v>27.711111111111112</c:v>
                </c:pt>
                <c:pt idx="9977">
                  <c:v>27.713888888888889</c:v>
                </c:pt>
                <c:pt idx="9978">
                  <c:v>27.716666666666665</c:v>
                </c:pt>
                <c:pt idx="9979">
                  <c:v>27.719444444444445</c:v>
                </c:pt>
                <c:pt idx="9980">
                  <c:v>27.722222222222221</c:v>
                </c:pt>
                <c:pt idx="9981">
                  <c:v>27.725000000000001</c:v>
                </c:pt>
                <c:pt idx="9982">
                  <c:v>27.727777777777778</c:v>
                </c:pt>
                <c:pt idx="9983">
                  <c:v>27.730555555555554</c:v>
                </c:pt>
                <c:pt idx="9984">
                  <c:v>27.733333333333334</c:v>
                </c:pt>
                <c:pt idx="9985">
                  <c:v>27.736111111111111</c:v>
                </c:pt>
                <c:pt idx="9986">
                  <c:v>27.738888888888887</c:v>
                </c:pt>
                <c:pt idx="9987">
                  <c:v>27.741666666666667</c:v>
                </c:pt>
                <c:pt idx="9988">
                  <c:v>27.744444444444444</c:v>
                </c:pt>
                <c:pt idx="9989">
                  <c:v>27.747222222222224</c:v>
                </c:pt>
                <c:pt idx="9990">
                  <c:v>27.75</c:v>
                </c:pt>
                <c:pt idx="9991">
                  <c:v>27.752777777777776</c:v>
                </c:pt>
                <c:pt idx="9992">
                  <c:v>27.755555555555556</c:v>
                </c:pt>
                <c:pt idx="9993">
                  <c:v>27.758333333333333</c:v>
                </c:pt>
                <c:pt idx="9994">
                  <c:v>27.761111111111113</c:v>
                </c:pt>
                <c:pt idx="9995">
                  <c:v>27.763888888888889</c:v>
                </c:pt>
                <c:pt idx="9996">
                  <c:v>27.766666666666666</c:v>
                </c:pt>
                <c:pt idx="9997">
                  <c:v>27.769444444444446</c:v>
                </c:pt>
                <c:pt idx="9998">
                  <c:v>27.772222222222222</c:v>
                </c:pt>
                <c:pt idx="9999">
                  <c:v>27.774999999999999</c:v>
                </c:pt>
                <c:pt idx="10000">
                  <c:v>27.777777777777779</c:v>
                </c:pt>
                <c:pt idx="10001">
                  <c:v>27.780555555555555</c:v>
                </c:pt>
                <c:pt idx="10002">
                  <c:v>27.783333333333335</c:v>
                </c:pt>
                <c:pt idx="10003">
                  <c:v>27.786111111111111</c:v>
                </c:pt>
                <c:pt idx="10004">
                  <c:v>27.788888888888888</c:v>
                </c:pt>
                <c:pt idx="10005">
                  <c:v>27.791666666666668</c:v>
                </c:pt>
                <c:pt idx="10006">
                  <c:v>27.794444444444444</c:v>
                </c:pt>
                <c:pt idx="10007">
                  <c:v>27.797222222222221</c:v>
                </c:pt>
                <c:pt idx="10008">
                  <c:v>27.8</c:v>
                </c:pt>
                <c:pt idx="10009">
                  <c:v>27.802777777777777</c:v>
                </c:pt>
                <c:pt idx="10010">
                  <c:v>27.805555555555557</c:v>
                </c:pt>
                <c:pt idx="10011">
                  <c:v>27.808333333333334</c:v>
                </c:pt>
                <c:pt idx="10012">
                  <c:v>27.81111111111111</c:v>
                </c:pt>
                <c:pt idx="10013">
                  <c:v>27.81388888888889</c:v>
                </c:pt>
                <c:pt idx="10014">
                  <c:v>27.816666666666666</c:v>
                </c:pt>
                <c:pt idx="10015">
                  <c:v>27.819444444444443</c:v>
                </c:pt>
                <c:pt idx="10016">
                  <c:v>27.822222222222223</c:v>
                </c:pt>
                <c:pt idx="10017">
                  <c:v>27.824999999999999</c:v>
                </c:pt>
                <c:pt idx="10018">
                  <c:v>27.827777777777779</c:v>
                </c:pt>
                <c:pt idx="10019">
                  <c:v>27.830555555555556</c:v>
                </c:pt>
                <c:pt idx="10020">
                  <c:v>27.833333333333332</c:v>
                </c:pt>
                <c:pt idx="10021">
                  <c:v>27.836111111111112</c:v>
                </c:pt>
                <c:pt idx="10022">
                  <c:v>27.838888888888889</c:v>
                </c:pt>
                <c:pt idx="10023">
                  <c:v>27.841666666666665</c:v>
                </c:pt>
                <c:pt idx="10024">
                  <c:v>27.844444444444445</c:v>
                </c:pt>
                <c:pt idx="10025">
                  <c:v>27.847222222222221</c:v>
                </c:pt>
                <c:pt idx="10026">
                  <c:v>27.85</c:v>
                </c:pt>
                <c:pt idx="10027">
                  <c:v>27.852777777777778</c:v>
                </c:pt>
                <c:pt idx="10028">
                  <c:v>27.855555555555554</c:v>
                </c:pt>
                <c:pt idx="10029">
                  <c:v>27.858333333333334</c:v>
                </c:pt>
                <c:pt idx="10030">
                  <c:v>27.861111111111111</c:v>
                </c:pt>
                <c:pt idx="10031">
                  <c:v>27.863888888888887</c:v>
                </c:pt>
                <c:pt idx="10032">
                  <c:v>27.866666666666667</c:v>
                </c:pt>
                <c:pt idx="10033">
                  <c:v>27.869444444444444</c:v>
                </c:pt>
                <c:pt idx="10034">
                  <c:v>27.872222222222224</c:v>
                </c:pt>
                <c:pt idx="10035">
                  <c:v>27.875</c:v>
                </c:pt>
                <c:pt idx="10036">
                  <c:v>27.877777777777776</c:v>
                </c:pt>
                <c:pt idx="10037">
                  <c:v>27.880555555555556</c:v>
                </c:pt>
                <c:pt idx="10038">
                  <c:v>27.883333333333333</c:v>
                </c:pt>
                <c:pt idx="10039">
                  <c:v>27.886111111111113</c:v>
                </c:pt>
                <c:pt idx="10040">
                  <c:v>27.888888888888889</c:v>
                </c:pt>
                <c:pt idx="10041">
                  <c:v>27.891666666666666</c:v>
                </c:pt>
                <c:pt idx="10042">
                  <c:v>27.894444444444446</c:v>
                </c:pt>
                <c:pt idx="10043">
                  <c:v>27.897222222222222</c:v>
                </c:pt>
                <c:pt idx="10044">
                  <c:v>27.9</c:v>
                </c:pt>
                <c:pt idx="10045">
                  <c:v>27.902777777777779</c:v>
                </c:pt>
                <c:pt idx="10046">
                  <c:v>27.905555555555555</c:v>
                </c:pt>
                <c:pt idx="10047">
                  <c:v>27.908333333333335</c:v>
                </c:pt>
                <c:pt idx="10048">
                  <c:v>27.911111111111111</c:v>
                </c:pt>
                <c:pt idx="10049">
                  <c:v>27.913888888888888</c:v>
                </c:pt>
                <c:pt idx="10050">
                  <c:v>27.916666666666668</c:v>
                </c:pt>
                <c:pt idx="10051">
                  <c:v>27.919444444444444</c:v>
                </c:pt>
                <c:pt idx="10052">
                  <c:v>27.922222222222221</c:v>
                </c:pt>
                <c:pt idx="10053">
                  <c:v>27.925000000000001</c:v>
                </c:pt>
                <c:pt idx="10054">
                  <c:v>27.927777777777777</c:v>
                </c:pt>
                <c:pt idx="10055">
                  <c:v>27.930555555555557</c:v>
                </c:pt>
                <c:pt idx="10056">
                  <c:v>27.933333333333334</c:v>
                </c:pt>
                <c:pt idx="10057">
                  <c:v>27.93611111111111</c:v>
                </c:pt>
                <c:pt idx="10058">
                  <c:v>27.93888888888889</c:v>
                </c:pt>
                <c:pt idx="10059">
                  <c:v>27.941666666666666</c:v>
                </c:pt>
                <c:pt idx="10060">
                  <c:v>27.944444444444443</c:v>
                </c:pt>
                <c:pt idx="10061">
                  <c:v>27.947222222222223</c:v>
                </c:pt>
                <c:pt idx="10062">
                  <c:v>27.95</c:v>
                </c:pt>
                <c:pt idx="10063">
                  <c:v>27.952777777777779</c:v>
                </c:pt>
                <c:pt idx="10064">
                  <c:v>27.955555555555556</c:v>
                </c:pt>
                <c:pt idx="10065">
                  <c:v>27.958333333333332</c:v>
                </c:pt>
                <c:pt idx="10066">
                  <c:v>27.961111111111112</c:v>
                </c:pt>
                <c:pt idx="10067">
                  <c:v>27.963888888888889</c:v>
                </c:pt>
                <c:pt idx="10068">
                  <c:v>27.966666666666665</c:v>
                </c:pt>
                <c:pt idx="10069">
                  <c:v>27.969444444444445</c:v>
                </c:pt>
                <c:pt idx="10070">
                  <c:v>27.972222222222221</c:v>
                </c:pt>
                <c:pt idx="10071">
                  <c:v>27.975000000000001</c:v>
                </c:pt>
                <c:pt idx="10072">
                  <c:v>27.977777777777778</c:v>
                </c:pt>
                <c:pt idx="10073">
                  <c:v>27.980555555555554</c:v>
                </c:pt>
                <c:pt idx="10074">
                  <c:v>27.983333333333334</c:v>
                </c:pt>
                <c:pt idx="10075">
                  <c:v>27.986111111111111</c:v>
                </c:pt>
                <c:pt idx="10076">
                  <c:v>27.988888888888887</c:v>
                </c:pt>
                <c:pt idx="10077">
                  <c:v>27.991666666666667</c:v>
                </c:pt>
                <c:pt idx="10078">
                  <c:v>27.994444444444444</c:v>
                </c:pt>
                <c:pt idx="10079">
                  <c:v>27.997222222222224</c:v>
                </c:pt>
                <c:pt idx="10080">
                  <c:v>28</c:v>
                </c:pt>
                <c:pt idx="10081">
                  <c:v>28.002777777777776</c:v>
                </c:pt>
                <c:pt idx="10082">
                  <c:v>28.005555555555556</c:v>
                </c:pt>
                <c:pt idx="10083">
                  <c:v>28.008333333333333</c:v>
                </c:pt>
                <c:pt idx="10084">
                  <c:v>28.011111111111113</c:v>
                </c:pt>
                <c:pt idx="10085">
                  <c:v>28.013888888888889</c:v>
                </c:pt>
                <c:pt idx="10086">
                  <c:v>28.016666666666666</c:v>
                </c:pt>
                <c:pt idx="10087">
                  <c:v>28.019444444444446</c:v>
                </c:pt>
                <c:pt idx="10088">
                  <c:v>28.022222222222222</c:v>
                </c:pt>
                <c:pt idx="10089">
                  <c:v>28.024999999999999</c:v>
                </c:pt>
                <c:pt idx="10090">
                  <c:v>28.027777777777779</c:v>
                </c:pt>
                <c:pt idx="10091">
                  <c:v>28.030555555555555</c:v>
                </c:pt>
                <c:pt idx="10092">
                  <c:v>28.033333333333335</c:v>
                </c:pt>
                <c:pt idx="10093">
                  <c:v>28.036111111111111</c:v>
                </c:pt>
                <c:pt idx="10094">
                  <c:v>28.038888888888888</c:v>
                </c:pt>
                <c:pt idx="10095">
                  <c:v>28.041666666666668</c:v>
                </c:pt>
                <c:pt idx="10096">
                  <c:v>28.044444444444444</c:v>
                </c:pt>
                <c:pt idx="10097">
                  <c:v>28.047222222222221</c:v>
                </c:pt>
                <c:pt idx="10098">
                  <c:v>28.05</c:v>
                </c:pt>
                <c:pt idx="10099">
                  <c:v>28.052777777777777</c:v>
                </c:pt>
                <c:pt idx="10100">
                  <c:v>28.055555555555557</c:v>
                </c:pt>
                <c:pt idx="10101">
                  <c:v>28.058333333333334</c:v>
                </c:pt>
                <c:pt idx="10102">
                  <c:v>28.06111111111111</c:v>
                </c:pt>
                <c:pt idx="10103">
                  <c:v>28.06388888888889</c:v>
                </c:pt>
                <c:pt idx="10104">
                  <c:v>28.066666666666666</c:v>
                </c:pt>
                <c:pt idx="10105">
                  <c:v>28.069444444444443</c:v>
                </c:pt>
                <c:pt idx="10106">
                  <c:v>28.072222222222223</c:v>
                </c:pt>
                <c:pt idx="10107">
                  <c:v>28.074999999999999</c:v>
                </c:pt>
                <c:pt idx="10108">
                  <c:v>28.077777777777779</c:v>
                </c:pt>
                <c:pt idx="10109">
                  <c:v>28.080555555555556</c:v>
                </c:pt>
                <c:pt idx="10110">
                  <c:v>28.083333333333332</c:v>
                </c:pt>
                <c:pt idx="10111">
                  <c:v>28.086111111111112</c:v>
                </c:pt>
                <c:pt idx="10112">
                  <c:v>28.088888888888889</c:v>
                </c:pt>
                <c:pt idx="10113">
                  <c:v>28.091666666666665</c:v>
                </c:pt>
                <c:pt idx="10114">
                  <c:v>28.094444444444445</c:v>
                </c:pt>
                <c:pt idx="10115">
                  <c:v>28.097222222222221</c:v>
                </c:pt>
                <c:pt idx="10116">
                  <c:v>28.1</c:v>
                </c:pt>
                <c:pt idx="10117">
                  <c:v>28.102777777777778</c:v>
                </c:pt>
                <c:pt idx="10118">
                  <c:v>28.105555555555554</c:v>
                </c:pt>
                <c:pt idx="10119">
                  <c:v>28.108333333333334</c:v>
                </c:pt>
                <c:pt idx="10120">
                  <c:v>28.111111111111111</c:v>
                </c:pt>
                <c:pt idx="10121">
                  <c:v>28.113888888888887</c:v>
                </c:pt>
                <c:pt idx="10122">
                  <c:v>28.116666666666667</c:v>
                </c:pt>
                <c:pt idx="10123">
                  <c:v>28.119444444444444</c:v>
                </c:pt>
                <c:pt idx="10124">
                  <c:v>28.122222222222224</c:v>
                </c:pt>
                <c:pt idx="10125">
                  <c:v>28.125</c:v>
                </c:pt>
                <c:pt idx="10126">
                  <c:v>28.127777777777776</c:v>
                </c:pt>
                <c:pt idx="10127">
                  <c:v>28.130555555555556</c:v>
                </c:pt>
                <c:pt idx="10128">
                  <c:v>28.133333333333333</c:v>
                </c:pt>
                <c:pt idx="10129">
                  <c:v>28.136111111111113</c:v>
                </c:pt>
                <c:pt idx="10130">
                  <c:v>28.138888888888889</c:v>
                </c:pt>
                <c:pt idx="10131">
                  <c:v>28.141666666666666</c:v>
                </c:pt>
                <c:pt idx="10132">
                  <c:v>28.144444444444446</c:v>
                </c:pt>
                <c:pt idx="10133">
                  <c:v>28.147222222222222</c:v>
                </c:pt>
                <c:pt idx="10134">
                  <c:v>28.15</c:v>
                </c:pt>
                <c:pt idx="10135">
                  <c:v>28.152777777777779</c:v>
                </c:pt>
                <c:pt idx="10136">
                  <c:v>28.155555555555555</c:v>
                </c:pt>
                <c:pt idx="10137">
                  <c:v>28.158333333333335</c:v>
                </c:pt>
                <c:pt idx="10138">
                  <c:v>28.161111111111111</c:v>
                </c:pt>
                <c:pt idx="10139">
                  <c:v>28.163888888888888</c:v>
                </c:pt>
                <c:pt idx="10140">
                  <c:v>28.166666666666668</c:v>
                </c:pt>
                <c:pt idx="10141">
                  <c:v>28.169444444444444</c:v>
                </c:pt>
                <c:pt idx="10142">
                  <c:v>28.172222222222221</c:v>
                </c:pt>
                <c:pt idx="10143">
                  <c:v>28.175000000000001</c:v>
                </c:pt>
                <c:pt idx="10144">
                  <c:v>28.177777777777777</c:v>
                </c:pt>
                <c:pt idx="10145">
                  <c:v>28.180555555555557</c:v>
                </c:pt>
                <c:pt idx="10146">
                  <c:v>28.183333333333334</c:v>
                </c:pt>
                <c:pt idx="10147">
                  <c:v>28.18611111111111</c:v>
                </c:pt>
                <c:pt idx="10148">
                  <c:v>28.18888888888889</c:v>
                </c:pt>
                <c:pt idx="10149">
                  <c:v>28.191666666666666</c:v>
                </c:pt>
                <c:pt idx="10150">
                  <c:v>28.194444444444443</c:v>
                </c:pt>
                <c:pt idx="10151">
                  <c:v>28.197222222222223</c:v>
                </c:pt>
                <c:pt idx="10152">
                  <c:v>28.2</c:v>
                </c:pt>
                <c:pt idx="10153">
                  <c:v>28.202777777777779</c:v>
                </c:pt>
                <c:pt idx="10154">
                  <c:v>28.205555555555556</c:v>
                </c:pt>
                <c:pt idx="10155">
                  <c:v>28.208333333333332</c:v>
                </c:pt>
                <c:pt idx="10156">
                  <c:v>28.211111111111112</c:v>
                </c:pt>
                <c:pt idx="10157">
                  <c:v>28.213888888888889</c:v>
                </c:pt>
                <c:pt idx="10158">
                  <c:v>28.216666666666665</c:v>
                </c:pt>
                <c:pt idx="10159">
                  <c:v>28.219444444444445</c:v>
                </c:pt>
                <c:pt idx="10160">
                  <c:v>28.222222222222221</c:v>
                </c:pt>
                <c:pt idx="10161">
                  <c:v>28.225000000000001</c:v>
                </c:pt>
                <c:pt idx="10162">
                  <c:v>28.227777777777778</c:v>
                </c:pt>
                <c:pt idx="10163">
                  <c:v>28.230555555555554</c:v>
                </c:pt>
                <c:pt idx="10164">
                  <c:v>28.233333333333334</c:v>
                </c:pt>
                <c:pt idx="10165">
                  <c:v>28.236111111111111</c:v>
                </c:pt>
                <c:pt idx="10166">
                  <c:v>28.238888888888887</c:v>
                </c:pt>
                <c:pt idx="10167">
                  <c:v>28.241666666666667</c:v>
                </c:pt>
                <c:pt idx="10168">
                  <c:v>28.244444444444444</c:v>
                </c:pt>
                <c:pt idx="10169">
                  <c:v>28.247222222222224</c:v>
                </c:pt>
                <c:pt idx="10170">
                  <c:v>28.25</c:v>
                </c:pt>
                <c:pt idx="10171">
                  <c:v>28.252777777777776</c:v>
                </c:pt>
                <c:pt idx="10172">
                  <c:v>28.255555555555556</c:v>
                </c:pt>
                <c:pt idx="10173">
                  <c:v>28.258333333333333</c:v>
                </c:pt>
                <c:pt idx="10174">
                  <c:v>28.261111111111113</c:v>
                </c:pt>
                <c:pt idx="10175">
                  <c:v>28.263888888888889</c:v>
                </c:pt>
                <c:pt idx="10176">
                  <c:v>28.266666666666666</c:v>
                </c:pt>
                <c:pt idx="10177">
                  <c:v>28.269444444444446</c:v>
                </c:pt>
                <c:pt idx="10178">
                  <c:v>28.272222222222222</c:v>
                </c:pt>
                <c:pt idx="10179">
                  <c:v>28.274999999999999</c:v>
                </c:pt>
                <c:pt idx="10180">
                  <c:v>28.277777777777779</c:v>
                </c:pt>
                <c:pt idx="10181">
                  <c:v>28.280555555555555</c:v>
                </c:pt>
                <c:pt idx="10182">
                  <c:v>28.283333333333335</c:v>
                </c:pt>
                <c:pt idx="10183">
                  <c:v>28.286111111111111</c:v>
                </c:pt>
                <c:pt idx="10184">
                  <c:v>28.288888888888888</c:v>
                </c:pt>
                <c:pt idx="10185">
                  <c:v>28.291666666666668</c:v>
                </c:pt>
                <c:pt idx="10186">
                  <c:v>28.294444444444444</c:v>
                </c:pt>
                <c:pt idx="10187">
                  <c:v>28.297222222222221</c:v>
                </c:pt>
                <c:pt idx="10188">
                  <c:v>28.3</c:v>
                </c:pt>
                <c:pt idx="10189">
                  <c:v>28.302777777777777</c:v>
                </c:pt>
                <c:pt idx="10190">
                  <c:v>28.305555555555557</c:v>
                </c:pt>
                <c:pt idx="10191">
                  <c:v>28.308333333333334</c:v>
                </c:pt>
                <c:pt idx="10192">
                  <c:v>28.31111111111111</c:v>
                </c:pt>
                <c:pt idx="10193">
                  <c:v>28.31388888888889</c:v>
                </c:pt>
                <c:pt idx="10194">
                  <c:v>28.316666666666666</c:v>
                </c:pt>
                <c:pt idx="10195">
                  <c:v>28.319444444444443</c:v>
                </c:pt>
                <c:pt idx="10196">
                  <c:v>28.322222222222223</c:v>
                </c:pt>
                <c:pt idx="10197">
                  <c:v>28.324999999999999</c:v>
                </c:pt>
                <c:pt idx="10198">
                  <c:v>28.327777777777779</c:v>
                </c:pt>
                <c:pt idx="10199">
                  <c:v>28.330555555555556</c:v>
                </c:pt>
                <c:pt idx="10200">
                  <c:v>28.333333333333332</c:v>
                </c:pt>
                <c:pt idx="10201">
                  <c:v>28.336111111111112</c:v>
                </c:pt>
                <c:pt idx="10202">
                  <c:v>28.338888888888889</c:v>
                </c:pt>
                <c:pt idx="10203">
                  <c:v>28.341666666666665</c:v>
                </c:pt>
                <c:pt idx="10204">
                  <c:v>28.344444444444445</c:v>
                </c:pt>
                <c:pt idx="10205">
                  <c:v>28.347222222222221</c:v>
                </c:pt>
                <c:pt idx="10206">
                  <c:v>28.35</c:v>
                </c:pt>
                <c:pt idx="10207">
                  <c:v>28.352777777777778</c:v>
                </c:pt>
                <c:pt idx="10208">
                  <c:v>28.355555555555554</c:v>
                </c:pt>
                <c:pt idx="10209">
                  <c:v>28.358333333333334</c:v>
                </c:pt>
                <c:pt idx="10210">
                  <c:v>28.361111111111111</c:v>
                </c:pt>
                <c:pt idx="10211">
                  <c:v>28.363888888888887</c:v>
                </c:pt>
                <c:pt idx="10212">
                  <c:v>28.366666666666667</c:v>
                </c:pt>
                <c:pt idx="10213">
                  <c:v>28.369444444444444</c:v>
                </c:pt>
                <c:pt idx="10214">
                  <c:v>28.372222222222224</c:v>
                </c:pt>
                <c:pt idx="10215">
                  <c:v>28.375</c:v>
                </c:pt>
                <c:pt idx="10216">
                  <c:v>28.377777777777776</c:v>
                </c:pt>
                <c:pt idx="10217">
                  <c:v>28.380555555555556</c:v>
                </c:pt>
                <c:pt idx="10218">
                  <c:v>28.383333333333333</c:v>
                </c:pt>
                <c:pt idx="10219">
                  <c:v>28.386111111111113</c:v>
                </c:pt>
                <c:pt idx="10220">
                  <c:v>28.388888888888889</c:v>
                </c:pt>
                <c:pt idx="10221">
                  <c:v>28.391666666666666</c:v>
                </c:pt>
                <c:pt idx="10222">
                  <c:v>28.394444444444446</c:v>
                </c:pt>
                <c:pt idx="10223">
                  <c:v>28.397222222222222</c:v>
                </c:pt>
                <c:pt idx="10224">
                  <c:v>28.4</c:v>
                </c:pt>
                <c:pt idx="10225">
                  <c:v>28.402777777777779</c:v>
                </c:pt>
                <c:pt idx="10226">
                  <c:v>28.405555555555555</c:v>
                </c:pt>
                <c:pt idx="10227">
                  <c:v>28.408333333333335</c:v>
                </c:pt>
                <c:pt idx="10228">
                  <c:v>28.411111111111111</c:v>
                </c:pt>
                <c:pt idx="10229">
                  <c:v>28.413888888888888</c:v>
                </c:pt>
                <c:pt idx="10230">
                  <c:v>28.416666666666668</c:v>
                </c:pt>
                <c:pt idx="10231">
                  <c:v>28.419444444444444</c:v>
                </c:pt>
                <c:pt idx="10232">
                  <c:v>28.422222222222221</c:v>
                </c:pt>
                <c:pt idx="10233">
                  <c:v>28.425000000000001</c:v>
                </c:pt>
                <c:pt idx="10234">
                  <c:v>28.427777777777777</c:v>
                </c:pt>
                <c:pt idx="10235">
                  <c:v>28.430555555555557</c:v>
                </c:pt>
                <c:pt idx="10236">
                  <c:v>28.433333333333334</c:v>
                </c:pt>
                <c:pt idx="10237">
                  <c:v>28.43611111111111</c:v>
                </c:pt>
                <c:pt idx="10238">
                  <c:v>28.43888888888889</c:v>
                </c:pt>
                <c:pt idx="10239">
                  <c:v>28.441666666666666</c:v>
                </c:pt>
                <c:pt idx="10240">
                  <c:v>28.444444444444443</c:v>
                </c:pt>
                <c:pt idx="10241">
                  <c:v>28.447222222222223</c:v>
                </c:pt>
                <c:pt idx="10242">
                  <c:v>28.45</c:v>
                </c:pt>
                <c:pt idx="10243">
                  <c:v>28.452777777777779</c:v>
                </c:pt>
                <c:pt idx="10244">
                  <c:v>28.455555555555556</c:v>
                </c:pt>
                <c:pt idx="10245">
                  <c:v>28.458333333333332</c:v>
                </c:pt>
                <c:pt idx="10246">
                  <c:v>28.461111111111112</c:v>
                </c:pt>
                <c:pt idx="10247">
                  <c:v>28.463888888888889</c:v>
                </c:pt>
                <c:pt idx="10248">
                  <c:v>28.466666666666665</c:v>
                </c:pt>
                <c:pt idx="10249">
                  <c:v>28.469444444444445</c:v>
                </c:pt>
                <c:pt idx="10250">
                  <c:v>28.472222222222221</c:v>
                </c:pt>
                <c:pt idx="10251">
                  <c:v>28.475000000000001</c:v>
                </c:pt>
                <c:pt idx="10252">
                  <c:v>28.477777777777778</c:v>
                </c:pt>
                <c:pt idx="10253">
                  <c:v>28.480555555555554</c:v>
                </c:pt>
                <c:pt idx="10254">
                  <c:v>28.483333333333334</c:v>
                </c:pt>
                <c:pt idx="10255">
                  <c:v>28.486111111111111</c:v>
                </c:pt>
                <c:pt idx="10256">
                  <c:v>28.488888888888887</c:v>
                </c:pt>
                <c:pt idx="10257">
                  <c:v>28.491666666666667</c:v>
                </c:pt>
                <c:pt idx="10258">
                  <c:v>28.494444444444444</c:v>
                </c:pt>
                <c:pt idx="10259">
                  <c:v>28.497222222222224</c:v>
                </c:pt>
                <c:pt idx="10260">
                  <c:v>28.5</c:v>
                </c:pt>
                <c:pt idx="10261">
                  <c:v>28.502777777777776</c:v>
                </c:pt>
                <c:pt idx="10262">
                  <c:v>28.505555555555556</c:v>
                </c:pt>
                <c:pt idx="10263">
                  <c:v>28.508333333333333</c:v>
                </c:pt>
                <c:pt idx="10264">
                  <c:v>28.511111111111113</c:v>
                </c:pt>
                <c:pt idx="10265">
                  <c:v>28.513888888888889</c:v>
                </c:pt>
                <c:pt idx="10266">
                  <c:v>28.516666666666666</c:v>
                </c:pt>
                <c:pt idx="10267">
                  <c:v>28.519444444444446</c:v>
                </c:pt>
                <c:pt idx="10268">
                  <c:v>28.522222222222222</c:v>
                </c:pt>
                <c:pt idx="10269">
                  <c:v>28.524999999999999</c:v>
                </c:pt>
                <c:pt idx="10270">
                  <c:v>28.527777777777779</c:v>
                </c:pt>
                <c:pt idx="10271">
                  <c:v>28.530555555555555</c:v>
                </c:pt>
                <c:pt idx="10272">
                  <c:v>28.533333333333335</c:v>
                </c:pt>
                <c:pt idx="10273">
                  <c:v>28.536111111111111</c:v>
                </c:pt>
                <c:pt idx="10274">
                  <c:v>28.538888888888888</c:v>
                </c:pt>
                <c:pt idx="10275">
                  <c:v>28.541666666666668</c:v>
                </c:pt>
                <c:pt idx="10276">
                  <c:v>28.544444444444444</c:v>
                </c:pt>
                <c:pt idx="10277">
                  <c:v>28.547222222222221</c:v>
                </c:pt>
                <c:pt idx="10278">
                  <c:v>28.55</c:v>
                </c:pt>
                <c:pt idx="10279">
                  <c:v>28.552777777777777</c:v>
                </c:pt>
                <c:pt idx="10280">
                  <c:v>28.555555555555557</c:v>
                </c:pt>
                <c:pt idx="10281">
                  <c:v>28.558333333333334</c:v>
                </c:pt>
                <c:pt idx="10282">
                  <c:v>28.56111111111111</c:v>
                </c:pt>
                <c:pt idx="10283">
                  <c:v>28.56388888888889</c:v>
                </c:pt>
                <c:pt idx="10284">
                  <c:v>28.566666666666666</c:v>
                </c:pt>
                <c:pt idx="10285">
                  <c:v>28.569444444444443</c:v>
                </c:pt>
                <c:pt idx="10286">
                  <c:v>28.572222222222223</c:v>
                </c:pt>
                <c:pt idx="10287">
                  <c:v>28.574999999999999</c:v>
                </c:pt>
                <c:pt idx="10288">
                  <c:v>28.577777777777779</c:v>
                </c:pt>
                <c:pt idx="10289">
                  <c:v>28.580555555555556</c:v>
                </c:pt>
                <c:pt idx="10290">
                  <c:v>28.583333333333332</c:v>
                </c:pt>
                <c:pt idx="10291">
                  <c:v>28.586111111111112</c:v>
                </c:pt>
                <c:pt idx="10292">
                  <c:v>28.588888888888889</c:v>
                </c:pt>
                <c:pt idx="10293">
                  <c:v>28.591666666666665</c:v>
                </c:pt>
                <c:pt idx="10294">
                  <c:v>28.594444444444445</c:v>
                </c:pt>
                <c:pt idx="10295">
                  <c:v>28.597222222222221</c:v>
                </c:pt>
                <c:pt idx="10296">
                  <c:v>28.6</c:v>
                </c:pt>
                <c:pt idx="10297">
                  <c:v>28.602777777777778</c:v>
                </c:pt>
                <c:pt idx="10298">
                  <c:v>28.605555555555554</c:v>
                </c:pt>
                <c:pt idx="10299">
                  <c:v>28.608333333333334</c:v>
                </c:pt>
                <c:pt idx="10300">
                  <c:v>28.611111111111111</c:v>
                </c:pt>
                <c:pt idx="10301">
                  <c:v>28.613888888888887</c:v>
                </c:pt>
                <c:pt idx="10302">
                  <c:v>28.616666666666667</c:v>
                </c:pt>
                <c:pt idx="10303">
                  <c:v>28.619444444444444</c:v>
                </c:pt>
                <c:pt idx="10304">
                  <c:v>28.622222222222224</c:v>
                </c:pt>
                <c:pt idx="10305">
                  <c:v>28.625</c:v>
                </c:pt>
                <c:pt idx="10306">
                  <c:v>28.627777777777776</c:v>
                </c:pt>
                <c:pt idx="10307">
                  <c:v>28.630555555555556</c:v>
                </c:pt>
                <c:pt idx="10308">
                  <c:v>28.633333333333333</c:v>
                </c:pt>
                <c:pt idx="10309">
                  <c:v>28.636111111111113</c:v>
                </c:pt>
                <c:pt idx="10310">
                  <c:v>28.638888888888889</c:v>
                </c:pt>
                <c:pt idx="10311">
                  <c:v>28.641666666666666</c:v>
                </c:pt>
                <c:pt idx="10312">
                  <c:v>28.644444444444446</c:v>
                </c:pt>
                <c:pt idx="10313">
                  <c:v>28.647222222222222</c:v>
                </c:pt>
                <c:pt idx="10314">
                  <c:v>28.65</c:v>
                </c:pt>
                <c:pt idx="10315">
                  <c:v>28.652777777777779</c:v>
                </c:pt>
                <c:pt idx="10316">
                  <c:v>28.655555555555555</c:v>
                </c:pt>
                <c:pt idx="10317">
                  <c:v>28.658333333333335</c:v>
                </c:pt>
                <c:pt idx="10318">
                  <c:v>28.661111111111111</c:v>
                </c:pt>
                <c:pt idx="10319">
                  <c:v>28.663888888888888</c:v>
                </c:pt>
                <c:pt idx="10320">
                  <c:v>28.666666666666668</c:v>
                </c:pt>
                <c:pt idx="10321">
                  <c:v>28.669444444444444</c:v>
                </c:pt>
                <c:pt idx="10322">
                  <c:v>28.672222222222221</c:v>
                </c:pt>
                <c:pt idx="10323">
                  <c:v>28.675000000000001</c:v>
                </c:pt>
                <c:pt idx="10324">
                  <c:v>28.677777777777777</c:v>
                </c:pt>
                <c:pt idx="10325">
                  <c:v>28.680555555555557</c:v>
                </c:pt>
                <c:pt idx="10326">
                  <c:v>28.683333333333334</c:v>
                </c:pt>
                <c:pt idx="10327">
                  <c:v>28.68611111111111</c:v>
                </c:pt>
                <c:pt idx="10328">
                  <c:v>28.68888888888889</c:v>
                </c:pt>
                <c:pt idx="10329">
                  <c:v>28.691666666666666</c:v>
                </c:pt>
                <c:pt idx="10330">
                  <c:v>28.694444444444443</c:v>
                </c:pt>
                <c:pt idx="10331">
                  <c:v>28.697222222222223</c:v>
                </c:pt>
                <c:pt idx="10332">
                  <c:v>28.7</c:v>
                </c:pt>
                <c:pt idx="10333">
                  <c:v>28.702777777777779</c:v>
                </c:pt>
                <c:pt idx="10334">
                  <c:v>28.705555555555556</c:v>
                </c:pt>
                <c:pt idx="10335">
                  <c:v>28.708333333333332</c:v>
                </c:pt>
                <c:pt idx="10336">
                  <c:v>28.711111111111112</c:v>
                </c:pt>
                <c:pt idx="10337">
                  <c:v>28.713888888888889</c:v>
                </c:pt>
                <c:pt idx="10338">
                  <c:v>28.716666666666665</c:v>
                </c:pt>
                <c:pt idx="10339">
                  <c:v>28.719444444444445</c:v>
                </c:pt>
                <c:pt idx="10340">
                  <c:v>28.722222222222221</c:v>
                </c:pt>
                <c:pt idx="10341">
                  <c:v>28.725000000000001</c:v>
                </c:pt>
                <c:pt idx="10342">
                  <c:v>28.727777777777778</c:v>
                </c:pt>
                <c:pt idx="10343">
                  <c:v>28.730555555555554</c:v>
                </c:pt>
                <c:pt idx="10344">
                  <c:v>28.733333333333334</c:v>
                </c:pt>
                <c:pt idx="10345">
                  <c:v>28.736111111111111</c:v>
                </c:pt>
                <c:pt idx="10346">
                  <c:v>28.738888888888887</c:v>
                </c:pt>
                <c:pt idx="10347">
                  <c:v>28.741666666666667</c:v>
                </c:pt>
                <c:pt idx="10348">
                  <c:v>28.744444444444444</c:v>
                </c:pt>
                <c:pt idx="10349">
                  <c:v>28.747222222222224</c:v>
                </c:pt>
                <c:pt idx="10350">
                  <c:v>28.75</c:v>
                </c:pt>
                <c:pt idx="10351">
                  <c:v>28.752777777777776</c:v>
                </c:pt>
                <c:pt idx="10352">
                  <c:v>28.755555555555556</c:v>
                </c:pt>
                <c:pt idx="10353">
                  <c:v>28.758333333333333</c:v>
                </c:pt>
                <c:pt idx="10354">
                  <c:v>28.761111111111113</c:v>
                </c:pt>
                <c:pt idx="10355">
                  <c:v>28.763888888888889</c:v>
                </c:pt>
                <c:pt idx="10356">
                  <c:v>28.766666666666666</c:v>
                </c:pt>
                <c:pt idx="10357">
                  <c:v>28.769444444444446</c:v>
                </c:pt>
                <c:pt idx="10358">
                  <c:v>28.772222222222222</c:v>
                </c:pt>
                <c:pt idx="10359">
                  <c:v>28.774999999999999</c:v>
                </c:pt>
                <c:pt idx="10360">
                  <c:v>28.777777777777779</c:v>
                </c:pt>
                <c:pt idx="10361">
                  <c:v>28.780555555555555</c:v>
                </c:pt>
                <c:pt idx="10362">
                  <c:v>28.783333333333335</c:v>
                </c:pt>
                <c:pt idx="10363">
                  <c:v>28.786111111111111</c:v>
                </c:pt>
                <c:pt idx="10364">
                  <c:v>28.788888888888888</c:v>
                </c:pt>
                <c:pt idx="10365">
                  <c:v>28.791666666666668</c:v>
                </c:pt>
                <c:pt idx="10366">
                  <c:v>28.794444444444444</c:v>
                </c:pt>
                <c:pt idx="10367">
                  <c:v>28.797222222222221</c:v>
                </c:pt>
                <c:pt idx="10368">
                  <c:v>28.8</c:v>
                </c:pt>
                <c:pt idx="10369">
                  <c:v>28.802777777777777</c:v>
                </c:pt>
                <c:pt idx="10370">
                  <c:v>28.805555555555557</c:v>
                </c:pt>
                <c:pt idx="10371">
                  <c:v>28.808333333333334</c:v>
                </c:pt>
                <c:pt idx="10372">
                  <c:v>28.81111111111111</c:v>
                </c:pt>
                <c:pt idx="10373">
                  <c:v>28.81388888888889</c:v>
                </c:pt>
                <c:pt idx="10374">
                  <c:v>28.816666666666666</c:v>
                </c:pt>
                <c:pt idx="10375">
                  <c:v>28.819444444444443</c:v>
                </c:pt>
                <c:pt idx="10376">
                  <c:v>28.822222222222223</c:v>
                </c:pt>
                <c:pt idx="10377">
                  <c:v>28.824999999999999</c:v>
                </c:pt>
                <c:pt idx="10378">
                  <c:v>28.827777777777779</c:v>
                </c:pt>
                <c:pt idx="10379">
                  <c:v>28.830555555555556</c:v>
                </c:pt>
                <c:pt idx="10380">
                  <c:v>28.833333333333332</c:v>
                </c:pt>
                <c:pt idx="10381">
                  <c:v>28.836111111111112</c:v>
                </c:pt>
                <c:pt idx="10382">
                  <c:v>28.838888888888889</c:v>
                </c:pt>
                <c:pt idx="10383">
                  <c:v>28.841666666666665</c:v>
                </c:pt>
                <c:pt idx="10384">
                  <c:v>28.844444444444445</c:v>
                </c:pt>
                <c:pt idx="10385">
                  <c:v>28.847222222222221</c:v>
                </c:pt>
                <c:pt idx="10386">
                  <c:v>28.85</c:v>
                </c:pt>
                <c:pt idx="10387">
                  <c:v>28.852777777777778</c:v>
                </c:pt>
                <c:pt idx="10388">
                  <c:v>28.855555555555554</c:v>
                </c:pt>
                <c:pt idx="10389">
                  <c:v>28.858333333333334</c:v>
                </c:pt>
                <c:pt idx="10390">
                  <c:v>28.861111111111111</c:v>
                </c:pt>
                <c:pt idx="10391">
                  <c:v>28.863888888888887</c:v>
                </c:pt>
                <c:pt idx="10392">
                  <c:v>28.866666666666667</c:v>
                </c:pt>
                <c:pt idx="10393">
                  <c:v>28.869444444444444</c:v>
                </c:pt>
                <c:pt idx="10394">
                  <c:v>28.872222222222224</c:v>
                </c:pt>
                <c:pt idx="10395">
                  <c:v>28.875</c:v>
                </c:pt>
                <c:pt idx="10396">
                  <c:v>28.877777777777776</c:v>
                </c:pt>
                <c:pt idx="10397">
                  <c:v>28.880555555555556</c:v>
                </c:pt>
                <c:pt idx="10398">
                  <c:v>28.883333333333333</c:v>
                </c:pt>
                <c:pt idx="10399">
                  <c:v>28.886111111111113</c:v>
                </c:pt>
                <c:pt idx="10400">
                  <c:v>28.888888888888889</c:v>
                </c:pt>
                <c:pt idx="10401">
                  <c:v>28.891666666666666</c:v>
                </c:pt>
                <c:pt idx="10402">
                  <c:v>28.894444444444446</c:v>
                </c:pt>
                <c:pt idx="10403">
                  <c:v>28.897222222222222</c:v>
                </c:pt>
                <c:pt idx="10404">
                  <c:v>28.9</c:v>
                </c:pt>
                <c:pt idx="10405">
                  <c:v>28.902777777777779</c:v>
                </c:pt>
                <c:pt idx="10406">
                  <c:v>28.905555555555555</c:v>
                </c:pt>
                <c:pt idx="10407">
                  <c:v>28.908333333333335</c:v>
                </c:pt>
                <c:pt idx="10408">
                  <c:v>28.911111111111111</c:v>
                </c:pt>
                <c:pt idx="10409">
                  <c:v>28.913888888888888</c:v>
                </c:pt>
                <c:pt idx="10410">
                  <c:v>28.916666666666668</c:v>
                </c:pt>
                <c:pt idx="10411">
                  <c:v>28.919444444444444</c:v>
                </c:pt>
                <c:pt idx="10412">
                  <c:v>28.922222222222221</c:v>
                </c:pt>
                <c:pt idx="10413">
                  <c:v>28.925000000000001</c:v>
                </c:pt>
                <c:pt idx="10414">
                  <c:v>28.927777777777777</c:v>
                </c:pt>
                <c:pt idx="10415">
                  <c:v>28.930555555555557</c:v>
                </c:pt>
                <c:pt idx="10416">
                  <c:v>28.933333333333334</c:v>
                </c:pt>
                <c:pt idx="10417">
                  <c:v>28.93611111111111</c:v>
                </c:pt>
                <c:pt idx="10418">
                  <c:v>28.93888888888889</c:v>
                </c:pt>
                <c:pt idx="10419">
                  <c:v>28.941666666666666</c:v>
                </c:pt>
                <c:pt idx="10420">
                  <c:v>28.944444444444443</c:v>
                </c:pt>
                <c:pt idx="10421">
                  <c:v>28.947222222222223</c:v>
                </c:pt>
                <c:pt idx="10422">
                  <c:v>28.95</c:v>
                </c:pt>
                <c:pt idx="10423">
                  <c:v>28.952777777777779</c:v>
                </c:pt>
                <c:pt idx="10424">
                  <c:v>28.955555555555556</c:v>
                </c:pt>
                <c:pt idx="10425">
                  <c:v>28.958333333333332</c:v>
                </c:pt>
                <c:pt idx="10426">
                  <c:v>28.961111111111112</c:v>
                </c:pt>
                <c:pt idx="10427">
                  <c:v>28.963888888888889</c:v>
                </c:pt>
                <c:pt idx="10428">
                  <c:v>28.966666666666665</c:v>
                </c:pt>
                <c:pt idx="10429">
                  <c:v>28.969444444444445</c:v>
                </c:pt>
                <c:pt idx="10430">
                  <c:v>28.972222222222221</c:v>
                </c:pt>
                <c:pt idx="10431">
                  <c:v>28.975000000000001</c:v>
                </c:pt>
                <c:pt idx="10432">
                  <c:v>28.977777777777778</c:v>
                </c:pt>
                <c:pt idx="10433">
                  <c:v>28.980555555555554</c:v>
                </c:pt>
                <c:pt idx="10434">
                  <c:v>28.983333333333334</c:v>
                </c:pt>
                <c:pt idx="10435">
                  <c:v>28.986111111111111</c:v>
                </c:pt>
                <c:pt idx="10436">
                  <c:v>28.988888888888887</c:v>
                </c:pt>
                <c:pt idx="10437">
                  <c:v>28.991666666666667</c:v>
                </c:pt>
                <c:pt idx="10438">
                  <c:v>28.994444444444444</c:v>
                </c:pt>
                <c:pt idx="10439">
                  <c:v>28.997222222222224</c:v>
                </c:pt>
                <c:pt idx="10440">
                  <c:v>29</c:v>
                </c:pt>
                <c:pt idx="10441">
                  <c:v>29.002777777777776</c:v>
                </c:pt>
                <c:pt idx="10442">
                  <c:v>29.005555555555556</c:v>
                </c:pt>
                <c:pt idx="10443">
                  <c:v>29.008333333333333</c:v>
                </c:pt>
                <c:pt idx="10444">
                  <c:v>29.011111111111113</c:v>
                </c:pt>
                <c:pt idx="10445">
                  <c:v>29.013888888888889</c:v>
                </c:pt>
                <c:pt idx="10446">
                  <c:v>29.016666666666666</c:v>
                </c:pt>
                <c:pt idx="10447">
                  <c:v>29.019444444444446</c:v>
                </c:pt>
                <c:pt idx="10448">
                  <c:v>29.022222222222222</c:v>
                </c:pt>
                <c:pt idx="10449">
                  <c:v>29.024999999999999</c:v>
                </c:pt>
                <c:pt idx="10450">
                  <c:v>29.027777777777779</c:v>
                </c:pt>
                <c:pt idx="10451">
                  <c:v>29.030555555555555</c:v>
                </c:pt>
                <c:pt idx="10452">
                  <c:v>29.033333333333335</c:v>
                </c:pt>
                <c:pt idx="10453">
                  <c:v>29.036111111111111</c:v>
                </c:pt>
                <c:pt idx="10454">
                  <c:v>29.038888888888888</c:v>
                </c:pt>
                <c:pt idx="10455">
                  <c:v>29.041666666666668</c:v>
                </c:pt>
                <c:pt idx="10456">
                  <c:v>29.044444444444444</c:v>
                </c:pt>
                <c:pt idx="10457">
                  <c:v>29.047222222222221</c:v>
                </c:pt>
                <c:pt idx="10458">
                  <c:v>29.05</c:v>
                </c:pt>
                <c:pt idx="10459">
                  <c:v>29.052777777777777</c:v>
                </c:pt>
                <c:pt idx="10460">
                  <c:v>29.055555555555557</c:v>
                </c:pt>
                <c:pt idx="10461">
                  <c:v>29.058333333333334</c:v>
                </c:pt>
                <c:pt idx="10462">
                  <c:v>29.06111111111111</c:v>
                </c:pt>
                <c:pt idx="10463">
                  <c:v>29.06388888888889</c:v>
                </c:pt>
                <c:pt idx="10464">
                  <c:v>29.066666666666666</c:v>
                </c:pt>
                <c:pt idx="10465">
                  <c:v>29.069444444444443</c:v>
                </c:pt>
                <c:pt idx="10466">
                  <c:v>29.072222222222223</c:v>
                </c:pt>
                <c:pt idx="10467">
                  <c:v>29.074999999999999</c:v>
                </c:pt>
                <c:pt idx="10468">
                  <c:v>29.077777777777779</c:v>
                </c:pt>
                <c:pt idx="10469">
                  <c:v>29.080555555555556</c:v>
                </c:pt>
                <c:pt idx="10470">
                  <c:v>29.083333333333332</c:v>
                </c:pt>
                <c:pt idx="10471">
                  <c:v>29.086111111111112</c:v>
                </c:pt>
                <c:pt idx="10472">
                  <c:v>29.088888888888889</c:v>
                </c:pt>
                <c:pt idx="10473">
                  <c:v>29.091666666666665</c:v>
                </c:pt>
                <c:pt idx="10474">
                  <c:v>29.094444444444445</c:v>
                </c:pt>
                <c:pt idx="10475">
                  <c:v>29.097222222222221</c:v>
                </c:pt>
                <c:pt idx="10476">
                  <c:v>29.1</c:v>
                </c:pt>
                <c:pt idx="10477">
                  <c:v>29.102777777777778</c:v>
                </c:pt>
                <c:pt idx="10478">
                  <c:v>29.105555555555554</c:v>
                </c:pt>
                <c:pt idx="10479">
                  <c:v>29.108333333333334</c:v>
                </c:pt>
                <c:pt idx="10480">
                  <c:v>29.111111111111111</c:v>
                </c:pt>
                <c:pt idx="10481">
                  <c:v>29.113888888888887</c:v>
                </c:pt>
                <c:pt idx="10482">
                  <c:v>29.116666666666667</c:v>
                </c:pt>
                <c:pt idx="10483">
                  <c:v>29.119444444444444</c:v>
                </c:pt>
                <c:pt idx="10484">
                  <c:v>29.122222222222224</c:v>
                </c:pt>
                <c:pt idx="10485">
                  <c:v>29.125</c:v>
                </c:pt>
                <c:pt idx="10486">
                  <c:v>29.127777777777776</c:v>
                </c:pt>
                <c:pt idx="10487">
                  <c:v>29.130555555555556</c:v>
                </c:pt>
                <c:pt idx="10488">
                  <c:v>29.133333333333333</c:v>
                </c:pt>
                <c:pt idx="10489">
                  <c:v>29.136111111111113</c:v>
                </c:pt>
                <c:pt idx="10490">
                  <c:v>29.138888888888889</c:v>
                </c:pt>
                <c:pt idx="10491">
                  <c:v>29.141666666666666</c:v>
                </c:pt>
                <c:pt idx="10492">
                  <c:v>29.144444444444446</c:v>
                </c:pt>
                <c:pt idx="10493">
                  <c:v>29.147222222222222</c:v>
                </c:pt>
                <c:pt idx="10494">
                  <c:v>29.15</c:v>
                </c:pt>
                <c:pt idx="10495">
                  <c:v>29.152777777777779</c:v>
                </c:pt>
                <c:pt idx="10496">
                  <c:v>29.155555555555555</c:v>
                </c:pt>
                <c:pt idx="10497">
                  <c:v>29.158333333333335</c:v>
                </c:pt>
                <c:pt idx="10498">
                  <c:v>29.161111111111111</c:v>
                </c:pt>
                <c:pt idx="10499">
                  <c:v>29.163888888888888</c:v>
                </c:pt>
                <c:pt idx="10500">
                  <c:v>29.166666666666668</c:v>
                </c:pt>
                <c:pt idx="10501">
                  <c:v>29.169444444444444</c:v>
                </c:pt>
                <c:pt idx="10502">
                  <c:v>29.172222222222221</c:v>
                </c:pt>
                <c:pt idx="10503">
                  <c:v>29.175000000000001</c:v>
                </c:pt>
                <c:pt idx="10504">
                  <c:v>29.177777777777777</c:v>
                </c:pt>
                <c:pt idx="10505">
                  <c:v>29.180555555555557</c:v>
                </c:pt>
                <c:pt idx="10506">
                  <c:v>29.183333333333334</c:v>
                </c:pt>
                <c:pt idx="10507">
                  <c:v>29.18611111111111</c:v>
                </c:pt>
                <c:pt idx="10508">
                  <c:v>29.18888888888889</c:v>
                </c:pt>
                <c:pt idx="10509">
                  <c:v>29.191666666666666</c:v>
                </c:pt>
                <c:pt idx="10510">
                  <c:v>29.194444444444443</c:v>
                </c:pt>
                <c:pt idx="10511">
                  <c:v>29.197222222222223</c:v>
                </c:pt>
                <c:pt idx="10512">
                  <c:v>29.2</c:v>
                </c:pt>
                <c:pt idx="10513">
                  <c:v>29.202777777777779</c:v>
                </c:pt>
                <c:pt idx="10514">
                  <c:v>29.205555555555556</c:v>
                </c:pt>
                <c:pt idx="10515">
                  <c:v>29.208333333333332</c:v>
                </c:pt>
                <c:pt idx="10516">
                  <c:v>29.211111111111112</c:v>
                </c:pt>
                <c:pt idx="10517">
                  <c:v>29.213888888888889</c:v>
                </c:pt>
                <c:pt idx="10518">
                  <c:v>29.216666666666665</c:v>
                </c:pt>
                <c:pt idx="10519">
                  <c:v>29.219444444444445</c:v>
                </c:pt>
                <c:pt idx="10520">
                  <c:v>29.222222222222221</c:v>
                </c:pt>
                <c:pt idx="10521">
                  <c:v>29.225000000000001</c:v>
                </c:pt>
                <c:pt idx="10522">
                  <c:v>29.227777777777778</c:v>
                </c:pt>
                <c:pt idx="10523">
                  <c:v>29.230555555555554</c:v>
                </c:pt>
                <c:pt idx="10524">
                  <c:v>29.233333333333334</c:v>
                </c:pt>
                <c:pt idx="10525">
                  <c:v>29.236111111111111</c:v>
                </c:pt>
                <c:pt idx="10526">
                  <c:v>29.238888888888887</c:v>
                </c:pt>
                <c:pt idx="10527">
                  <c:v>29.241666666666667</c:v>
                </c:pt>
                <c:pt idx="10528">
                  <c:v>29.244444444444444</c:v>
                </c:pt>
                <c:pt idx="10529">
                  <c:v>29.247222222222224</c:v>
                </c:pt>
                <c:pt idx="10530">
                  <c:v>29.25</c:v>
                </c:pt>
                <c:pt idx="10531">
                  <c:v>29.252777777777776</c:v>
                </c:pt>
                <c:pt idx="10532">
                  <c:v>29.255555555555556</c:v>
                </c:pt>
                <c:pt idx="10533">
                  <c:v>29.258333333333333</c:v>
                </c:pt>
                <c:pt idx="10534">
                  <c:v>29.261111111111113</c:v>
                </c:pt>
                <c:pt idx="10535">
                  <c:v>29.263888888888889</c:v>
                </c:pt>
                <c:pt idx="10536">
                  <c:v>29.266666666666666</c:v>
                </c:pt>
                <c:pt idx="10537">
                  <c:v>29.269444444444446</c:v>
                </c:pt>
                <c:pt idx="10538">
                  <c:v>29.272222222222222</c:v>
                </c:pt>
                <c:pt idx="10539">
                  <c:v>29.274999999999999</c:v>
                </c:pt>
                <c:pt idx="10540">
                  <c:v>29.277777777777779</c:v>
                </c:pt>
                <c:pt idx="10541">
                  <c:v>29.280555555555555</c:v>
                </c:pt>
                <c:pt idx="10542">
                  <c:v>29.283333333333335</c:v>
                </c:pt>
                <c:pt idx="10543">
                  <c:v>29.286111111111111</c:v>
                </c:pt>
                <c:pt idx="10544">
                  <c:v>29.288888888888888</c:v>
                </c:pt>
                <c:pt idx="10545">
                  <c:v>29.291666666666668</c:v>
                </c:pt>
                <c:pt idx="10546">
                  <c:v>29.294444444444444</c:v>
                </c:pt>
                <c:pt idx="10547">
                  <c:v>29.297222222222221</c:v>
                </c:pt>
                <c:pt idx="10548">
                  <c:v>29.3</c:v>
                </c:pt>
                <c:pt idx="10549">
                  <c:v>29.302777777777777</c:v>
                </c:pt>
                <c:pt idx="10550">
                  <c:v>29.305555555555557</c:v>
                </c:pt>
                <c:pt idx="10551">
                  <c:v>29.308333333333334</c:v>
                </c:pt>
                <c:pt idx="10552">
                  <c:v>29.31111111111111</c:v>
                </c:pt>
                <c:pt idx="10553">
                  <c:v>29.31388888888889</c:v>
                </c:pt>
                <c:pt idx="10554">
                  <c:v>29.316666666666666</c:v>
                </c:pt>
                <c:pt idx="10555">
                  <c:v>29.319444444444443</c:v>
                </c:pt>
                <c:pt idx="10556">
                  <c:v>29.322222222222223</c:v>
                </c:pt>
                <c:pt idx="10557">
                  <c:v>29.324999999999999</c:v>
                </c:pt>
                <c:pt idx="10558">
                  <c:v>29.327777777777779</c:v>
                </c:pt>
                <c:pt idx="10559">
                  <c:v>29.330555555555556</c:v>
                </c:pt>
                <c:pt idx="10560">
                  <c:v>29.333333333333332</c:v>
                </c:pt>
                <c:pt idx="10561">
                  <c:v>29.336111111111112</c:v>
                </c:pt>
                <c:pt idx="10562">
                  <c:v>29.338888888888889</c:v>
                </c:pt>
                <c:pt idx="10563">
                  <c:v>29.341666666666665</c:v>
                </c:pt>
                <c:pt idx="10564">
                  <c:v>29.344444444444445</c:v>
                </c:pt>
                <c:pt idx="10565">
                  <c:v>29.347222222222221</c:v>
                </c:pt>
                <c:pt idx="10566">
                  <c:v>29.35</c:v>
                </c:pt>
                <c:pt idx="10567">
                  <c:v>29.352777777777778</c:v>
                </c:pt>
                <c:pt idx="10568">
                  <c:v>29.355555555555554</c:v>
                </c:pt>
                <c:pt idx="10569">
                  <c:v>29.358333333333334</c:v>
                </c:pt>
                <c:pt idx="10570">
                  <c:v>29.361111111111111</c:v>
                </c:pt>
                <c:pt idx="10571">
                  <c:v>29.363888888888887</c:v>
                </c:pt>
                <c:pt idx="10572">
                  <c:v>29.366666666666667</c:v>
                </c:pt>
                <c:pt idx="10573">
                  <c:v>29.369444444444444</c:v>
                </c:pt>
                <c:pt idx="10574">
                  <c:v>29.372222222222224</c:v>
                </c:pt>
                <c:pt idx="10575">
                  <c:v>29.375</c:v>
                </c:pt>
                <c:pt idx="10576">
                  <c:v>29.377777777777776</c:v>
                </c:pt>
                <c:pt idx="10577">
                  <c:v>29.380555555555556</c:v>
                </c:pt>
                <c:pt idx="10578">
                  <c:v>29.383333333333333</c:v>
                </c:pt>
                <c:pt idx="10579">
                  <c:v>29.386111111111113</c:v>
                </c:pt>
                <c:pt idx="10580">
                  <c:v>29.388888888888889</c:v>
                </c:pt>
                <c:pt idx="10581">
                  <c:v>29.391666666666666</c:v>
                </c:pt>
                <c:pt idx="10582">
                  <c:v>29.394444444444446</c:v>
                </c:pt>
                <c:pt idx="10583">
                  <c:v>29.397222222222222</c:v>
                </c:pt>
                <c:pt idx="10584">
                  <c:v>29.4</c:v>
                </c:pt>
                <c:pt idx="10585">
                  <c:v>29.402777777777779</c:v>
                </c:pt>
                <c:pt idx="10586">
                  <c:v>29.405555555555555</c:v>
                </c:pt>
                <c:pt idx="10587">
                  <c:v>29.408333333333335</c:v>
                </c:pt>
                <c:pt idx="10588">
                  <c:v>29.411111111111111</c:v>
                </c:pt>
                <c:pt idx="10589">
                  <c:v>29.413888888888888</c:v>
                </c:pt>
                <c:pt idx="10590">
                  <c:v>29.416666666666668</c:v>
                </c:pt>
                <c:pt idx="10591">
                  <c:v>29.419444444444444</c:v>
                </c:pt>
                <c:pt idx="10592">
                  <c:v>29.422222222222221</c:v>
                </c:pt>
                <c:pt idx="10593">
                  <c:v>29.425000000000001</c:v>
                </c:pt>
                <c:pt idx="10594">
                  <c:v>29.427777777777777</c:v>
                </c:pt>
                <c:pt idx="10595">
                  <c:v>29.430555555555557</c:v>
                </c:pt>
                <c:pt idx="10596">
                  <c:v>29.433333333333334</c:v>
                </c:pt>
                <c:pt idx="10597">
                  <c:v>29.43611111111111</c:v>
                </c:pt>
                <c:pt idx="10598">
                  <c:v>29.43888888888889</c:v>
                </c:pt>
                <c:pt idx="10599">
                  <c:v>29.441666666666666</c:v>
                </c:pt>
                <c:pt idx="10600">
                  <c:v>29.444444444444443</c:v>
                </c:pt>
                <c:pt idx="10601">
                  <c:v>29.447222222222223</c:v>
                </c:pt>
                <c:pt idx="10602">
                  <c:v>29.45</c:v>
                </c:pt>
                <c:pt idx="10603">
                  <c:v>29.452777777777779</c:v>
                </c:pt>
                <c:pt idx="10604">
                  <c:v>29.455555555555556</c:v>
                </c:pt>
                <c:pt idx="10605">
                  <c:v>29.458333333333332</c:v>
                </c:pt>
                <c:pt idx="10606">
                  <c:v>29.461111111111112</c:v>
                </c:pt>
                <c:pt idx="10607">
                  <c:v>29.463888888888889</c:v>
                </c:pt>
                <c:pt idx="10608">
                  <c:v>29.466666666666665</c:v>
                </c:pt>
                <c:pt idx="10609">
                  <c:v>29.469444444444445</c:v>
                </c:pt>
                <c:pt idx="10610">
                  <c:v>29.472222222222221</c:v>
                </c:pt>
                <c:pt idx="10611">
                  <c:v>29.475000000000001</c:v>
                </c:pt>
                <c:pt idx="10612">
                  <c:v>29.477777777777778</c:v>
                </c:pt>
                <c:pt idx="10613">
                  <c:v>29.480555555555554</c:v>
                </c:pt>
                <c:pt idx="10614">
                  <c:v>29.483333333333334</c:v>
                </c:pt>
                <c:pt idx="10615">
                  <c:v>29.486111111111111</c:v>
                </c:pt>
                <c:pt idx="10616">
                  <c:v>29.488888888888887</c:v>
                </c:pt>
                <c:pt idx="10617">
                  <c:v>29.491666666666667</c:v>
                </c:pt>
                <c:pt idx="10618">
                  <c:v>29.494444444444444</c:v>
                </c:pt>
                <c:pt idx="10619">
                  <c:v>29.497222222222224</c:v>
                </c:pt>
                <c:pt idx="10620">
                  <c:v>29.5</c:v>
                </c:pt>
                <c:pt idx="10621">
                  <c:v>29.502777777777776</c:v>
                </c:pt>
                <c:pt idx="10622">
                  <c:v>29.505555555555556</c:v>
                </c:pt>
                <c:pt idx="10623">
                  <c:v>29.508333333333333</c:v>
                </c:pt>
                <c:pt idx="10624">
                  <c:v>29.511111111111113</c:v>
                </c:pt>
                <c:pt idx="10625">
                  <c:v>29.513888888888889</c:v>
                </c:pt>
                <c:pt idx="10626">
                  <c:v>29.516666666666666</c:v>
                </c:pt>
                <c:pt idx="10627">
                  <c:v>29.519444444444446</c:v>
                </c:pt>
                <c:pt idx="10628">
                  <c:v>29.522222222222222</c:v>
                </c:pt>
                <c:pt idx="10629">
                  <c:v>29.524999999999999</c:v>
                </c:pt>
                <c:pt idx="10630">
                  <c:v>29.527777777777779</c:v>
                </c:pt>
                <c:pt idx="10631">
                  <c:v>29.530555555555555</c:v>
                </c:pt>
                <c:pt idx="10632">
                  <c:v>29.533333333333335</c:v>
                </c:pt>
                <c:pt idx="10633">
                  <c:v>29.536111111111111</c:v>
                </c:pt>
                <c:pt idx="10634">
                  <c:v>29.538888888888888</c:v>
                </c:pt>
                <c:pt idx="10635">
                  <c:v>29.541666666666668</c:v>
                </c:pt>
                <c:pt idx="10636">
                  <c:v>29.544444444444444</c:v>
                </c:pt>
                <c:pt idx="10637">
                  <c:v>29.547222222222221</c:v>
                </c:pt>
                <c:pt idx="10638">
                  <c:v>29.55</c:v>
                </c:pt>
                <c:pt idx="10639">
                  <c:v>29.552777777777777</c:v>
                </c:pt>
                <c:pt idx="10640">
                  <c:v>29.555555555555557</c:v>
                </c:pt>
                <c:pt idx="10641">
                  <c:v>29.558333333333334</c:v>
                </c:pt>
                <c:pt idx="10642">
                  <c:v>29.56111111111111</c:v>
                </c:pt>
                <c:pt idx="10643">
                  <c:v>29.56388888888889</c:v>
                </c:pt>
                <c:pt idx="10644">
                  <c:v>29.566666666666666</c:v>
                </c:pt>
                <c:pt idx="10645">
                  <c:v>29.569444444444443</c:v>
                </c:pt>
                <c:pt idx="10646">
                  <c:v>29.572222222222223</c:v>
                </c:pt>
                <c:pt idx="10647">
                  <c:v>29.574999999999999</c:v>
                </c:pt>
                <c:pt idx="10648">
                  <c:v>29.577777777777779</c:v>
                </c:pt>
                <c:pt idx="10649">
                  <c:v>29.580555555555556</c:v>
                </c:pt>
                <c:pt idx="10650">
                  <c:v>29.583333333333332</c:v>
                </c:pt>
                <c:pt idx="10651">
                  <c:v>29.586111111111112</c:v>
                </c:pt>
                <c:pt idx="10652">
                  <c:v>29.588888888888889</c:v>
                </c:pt>
                <c:pt idx="10653">
                  <c:v>29.591666666666665</c:v>
                </c:pt>
                <c:pt idx="10654">
                  <c:v>29.594444444444445</c:v>
                </c:pt>
                <c:pt idx="10655">
                  <c:v>29.597222222222221</c:v>
                </c:pt>
                <c:pt idx="10656">
                  <c:v>29.6</c:v>
                </c:pt>
                <c:pt idx="10657">
                  <c:v>29.602777777777778</c:v>
                </c:pt>
                <c:pt idx="10658">
                  <c:v>29.605555555555554</c:v>
                </c:pt>
                <c:pt idx="10659">
                  <c:v>29.608333333333334</c:v>
                </c:pt>
                <c:pt idx="10660">
                  <c:v>29.611111111111111</c:v>
                </c:pt>
                <c:pt idx="10661">
                  <c:v>29.613888888888887</c:v>
                </c:pt>
                <c:pt idx="10662">
                  <c:v>29.616666666666667</c:v>
                </c:pt>
                <c:pt idx="10663">
                  <c:v>29.619444444444444</c:v>
                </c:pt>
                <c:pt idx="10664">
                  <c:v>29.622222222222224</c:v>
                </c:pt>
                <c:pt idx="10665">
                  <c:v>29.625</c:v>
                </c:pt>
                <c:pt idx="10666">
                  <c:v>29.627777777777776</c:v>
                </c:pt>
                <c:pt idx="10667">
                  <c:v>29.630555555555556</c:v>
                </c:pt>
                <c:pt idx="10668">
                  <c:v>29.633333333333333</c:v>
                </c:pt>
                <c:pt idx="10669">
                  <c:v>29.636111111111113</c:v>
                </c:pt>
                <c:pt idx="10670">
                  <c:v>29.638888888888889</c:v>
                </c:pt>
                <c:pt idx="10671">
                  <c:v>29.641666666666666</c:v>
                </c:pt>
                <c:pt idx="10672">
                  <c:v>29.644444444444446</c:v>
                </c:pt>
                <c:pt idx="10673">
                  <c:v>29.647222222222222</c:v>
                </c:pt>
                <c:pt idx="10674">
                  <c:v>29.65</c:v>
                </c:pt>
                <c:pt idx="10675">
                  <c:v>29.652777777777779</c:v>
                </c:pt>
                <c:pt idx="10676">
                  <c:v>29.655555555555555</c:v>
                </c:pt>
                <c:pt idx="10677">
                  <c:v>29.658333333333335</c:v>
                </c:pt>
                <c:pt idx="10678">
                  <c:v>29.661111111111111</c:v>
                </c:pt>
                <c:pt idx="10679">
                  <c:v>29.663888888888888</c:v>
                </c:pt>
                <c:pt idx="10680">
                  <c:v>29.666666666666668</c:v>
                </c:pt>
                <c:pt idx="10681">
                  <c:v>29.669444444444444</c:v>
                </c:pt>
                <c:pt idx="10682">
                  <c:v>29.672222222222221</c:v>
                </c:pt>
                <c:pt idx="10683">
                  <c:v>29.675000000000001</c:v>
                </c:pt>
                <c:pt idx="10684">
                  <c:v>29.677777777777777</c:v>
                </c:pt>
                <c:pt idx="10685">
                  <c:v>29.680555555555557</c:v>
                </c:pt>
                <c:pt idx="10686">
                  <c:v>29.683333333333334</c:v>
                </c:pt>
                <c:pt idx="10687">
                  <c:v>29.68611111111111</c:v>
                </c:pt>
                <c:pt idx="10688">
                  <c:v>29.68888888888889</c:v>
                </c:pt>
                <c:pt idx="10689">
                  <c:v>29.691666666666666</c:v>
                </c:pt>
                <c:pt idx="10690">
                  <c:v>29.694444444444443</c:v>
                </c:pt>
                <c:pt idx="10691">
                  <c:v>29.697222222222223</c:v>
                </c:pt>
                <c:pt idx="10692">
                  <c:v>29.7</c:v>
                </c:pt>
                <c:pt idx="10693">
                  <c:v>29.702777777777779</c:v>
                </c:pt>
                <c:pt idx="10694">
                  <c:v>29.705555555555556</c:v>
                </c:pt>
                <c:pt idx="10695">
                  <c:v>29.708333333333332</c:v>
                </c:pt>
                <c:pt idx="10696">
                  <c:v>29.711111111111112</c:v>
                </c:pt>
                <c:pt idx="10697">
                  <c:v>29.713888888888889</c:v>
                </c:pt>
                <c:pt idx="10698">
                  <c:v>29.716666666666665</c:v>
                </c:pt>
                <c:pt idx="10699">
                  <c:v>29.719444444444445</c:v>
                </c:pt>
                <c:pt idx="10700">
                  <c:v>29.722222222222221</c:v>
                </c:pt>
                <c:pt idx="10701">
                  <c:v>29.725000000000001</c:v>
                </c:pt>
                <c:pt idx="10702">
                  <c:v>29.727777777777778</c:v>
                </c:pt>
                <c:pt idx="10703">
                  <c:v>29.730555555555554</c:v>
                </c:pt>
                <c:pt idx="10704">
                  <c:v>29.733333333333334</c:v>
                </c:pt>
                <c:pt idx="10705">
                  <c:v>29.736111111111111</c:v>
                </c:pt>
                <c:pt idx="10706">
                  <c:v>29.738888888888887</c:v>
                </c:pt>
                <c:pt idx="10707">
                  <c:v>29.741666666666667</c:v>
                </c:pt>
                <c:pt idx="10708">
                  <c:v>29.744444444444444</c:v>
                </c:pt>
                <c:pt idx="10709">
                  <c:v>29.747222222222224</c:v>
                </c:pt>
                <c:pt idx="10710">
                  <c:v>29.75</c:v>
                </c:pt>
                <c:pt idx="10711">
                  <c:v>29.752777777777776</c:v>
                </c:pt>
                <c:pt idx="10712">
                  <c:v>29.755555555555556</c:v>
                </c:pt>
                <c:pt idx="10713">
                  <c:v>29.758333333333333</c:v>
                </c:pt>
                <c:pt idx="10714">
                  <c:v>29.761111111111113</c:v>
                </c:pt>
                <c:pt idx="10715">
                  <c:v>29.763888888888889</c:v>
                </c:pt>
                <c:pt idx="10716">
                  <c:v>29.766666666666666</c:v>
                </c:pt>
                <c:pt idx="10717">
                  <c:v>29.769444444444446</c:v>
                </c:pt>
                <c:pt idx="10718">
                  <c:v>29.772222222222222</c:v>
                </c:pt>
                <c:pt idx="10719">
                  <c:v>29.774999999999999</c:v>
                </c:pt>
                <c:pt idx="10720">
                  <c:v>29.777777777777779</c:v>
                </c:pt>
                <c:pt idx="10721">
                  <c:v>29.780555555555555</c:v>
                </c:pt>
                <c:pt idx="10722">
                  <c:v>29.783333333333335</c:v>
                </c:pt>
                <c:pt idx="10723">
                  <c:v>29.786111111111111</c:v>
                </c:pt>
                <c:pt idx="10724">
                  <c:v>29.788888888888888</c:v>
                </c:pt>
                <c:pt idx="10725">
                  <c:v>29.791666666666668</c:v>
                </c:pt>
                <c:pt idx="10726">
                  <c:v>29.794444444444444</c:v>
                </c:pt>
                <c:pt idx="10727">
                  <c:v>29.797222222222221</c:v>
                </c:pt>
                <c:pt idx="10728">
                  <c:v>29.8</c:v>
                </c:pt>
                <c:pt idx="10729">
                  <c:v>29.802777777777777</c:v>
                </c:pt>
                <c:pt idx="10730">
                  <c:v>29.805555555555557</c:v>
                </c:pt>
                <c:pt idx="10731">
                  <c:v>29.808333333333334</c:v>
                </c:pt>
                <c:pt idx="10732">
                  <c:v>29.81111111111111</c:v>
                </c:pt>
                <c:pt idx="10733">
                  <c:v>29.81388888888889</c:v>
                </c:pt>
                <c:pt idx="10734">
                  <c:v>29.816666666666666</c:v>
                </c:pt>
                <c:pt idx="10735">
                  <c:v>29.819444444444443</c:v>
                </c:pt>
                <c:pt idx="10736">
                  <c:v>29.822222222222223</c:v>
                </c:pt>
                <c:pt idx="10737">
                  <c:v>29.824999999999999</c:v>
                </c:pt>
                <c:pt idx="10738">
                  <c:v>29.827777777777779</c:v>
                </c:pt>
                <c:pt idx="10739">
                  <c:v>29.830555555555556</c:v>
                </c:pt>
                <c:pt idx="10740">
                  <c:v>29.833333333333332</c:v>
                </c:pt>
                <c:pt idx="10741">
                  <c:v>29.836111111111112</c:v>
                </c:pt>
                <c:pt idx="10742">
                  <c:v>29.838888888888889</c:v>
                </c:pt>
                <c:pt idx="10743">
                  <c:v>29.841666666666665</c:v>
                </c:pt>
                <c:pt idx="10744">
                  <c:v>29.844444444444445</c:v>
                </c:pt>
                <c:pt idx="10745">
                  <c:v>29.847222222222221</c:v>
                </c:pt>
                <c:pt idx="10746">
                  <c:v>29.85</c:v>
                </c:pt>
                <c:pt idx="10747">
                  <c:v>29.852777777777778</c:v>
                </c:pt>
                <c:pt idx="10748">
                  <c:v>29.855555555555554</c:v>
                </c:pt>
                <c:pt idx="10749">
                  <c:v>29.858333333333334</c:v>
                </c:pt>
                <c:pt idx="10750">
                  <c:v>29.861111111111111</c:v>
                </c:pt>
                <c:pt idx="10751">
                  <c:v>29.863888888888887</c:v>
                </c:pt>
                <c:pt idx="10752">
                  <c:v>29.866666666666667</c:v>
                </c:pt>
                <c:pt idx="10753">
                  <c:v>29.869444444444444</c:v>
                </c:pt>
                <c:pt idx="10754">
                  <c:v>29.872222222222224</c:v>
                </c:pt>
                <c:pt idx="10755">
                  <c:v>29.875</c:v>
                </c:pt>
                <c:pt idx="10756">
                  <c:v>29.877777777777776</c:v>
                </c:pt>
                <c:pt idx="10757">
                  <c:v>29.880555555555556</c:v>
                </c:pt>
                <c:pt idx="10758">
                  <c:v>29.883333333333333</c:v>
                </c:pt>
                <c:pt idx="10759">
                  <c:v>29.886111111111113</c:v>
                </c:pt>
                <c:pt idx="10760">
                  <c:v>29.888888888888889</c:v>
                </c:pt>
                <c:pt idx="10761">
                  <c:v>29.891666666666666</c:v>
                </c:pt>
                <c:pt idx="10762">
                  <c:v>29.894444444444446</c:v>
                </c:pt>
                <c:pt idx="10763">
                  <c:v>29.897222222222222</c:v>
                </c:pt>
                <c:pt idx="10764">
                  <c:v>29.9</c:v>
                </c:pt>
                <c:pt idx="10765">
                  <c:v>29.902777777777779</c:v>
                </c:pt>
                <c:pt idx="10766">
                  <c:v>29.905555555555555</c:v>
                </c:pt>
                <c:pt idx="10767">
                  <c:v>29.908333333333335</c:v>
                </c:pt>
                <c:pt idx="10768">
                  <c:v>29.911111111111111</c:v>
                </c:pt>
                <c:pt idx="10769">
                  <c:v>29.913888888888888</c:v>
                </c:pt>
                <c:pt idx="10770">
                  <c:v>29.916666666666668</c:v>
                </c:pt>
                <c:pt idx="10771">
                  <c:v>29.919444444444444</c:v>
                </c:pt>
                <c:pt idx="10772">
                  <c:v>29.922222222222221</c:v>
                </c:pt>
                <c:pt idx="10773">
                  <c:v>29.925000000000001</c:v>
                </c:pt>
                <c:pt idx="10774">
                  <c:v>29.927777777777777</c:v>
                </c:pt>
                <c:pt idx="10775">
                  <c:v>29.930555555555557</c:v>
                </c:pt>
                <c:pt idx="10776">
                  <c:v>29.933333333333334</c:v>
                </c:pt>
                <c:pt idx="10777">
                  <c:v>29.93611111111111</c:v>
                </c:pt>
                <c:pt idx="10778">
                  <c:v>29.93888888888889</c:v>
                </c:pt>
                <c:pt idx="10779">
                  <c:v>29.941666666666666</c:v>
                </c:pt>
                <c:pt idx="10780">
                  <c:v>29.944444444444443</c:v>
                </c:pt>
                <c:pt idx="10781">
                  <c:v>29.947222222222223</c:v>
                </c:pt>
                <c:pt idx="10782">
                  <c:v>29.95</c:v>
                </c:pt>
                <c:pt idx="10783">
                  <c:v>29.952777777777779</c:v>
                </c:pt>
                <c:pt idx="10784">
                  <c:v>29.955555555555556</c:v>
                </c:pt>
                <c:pt idx="10785">
                  <c:v>29.958333333333332</c:v>
                </c:pt>
                <c:pt idx="10786">
                  <c:v>29.961111111111112</c:v>
                </c:pt>
                <c:pt idx="10787">
                  <c:v>29.963888888888889</c:v>
                </c:pt>
                <c:pt idx="10788">
                  <c:v>29.966666666666665</c:v>
                </c:pt>
                <c:pt idx="10789">
                  <c:v>29.969444444444445</c:v>
                </c:pt>
                <c:pt idx="10790">
                  <c:v>29.972222222222221</c:v>
                </c:pt>
                <c:pt idx="10791">
                  <c:v>29.975000000000001</c:v>
                </c:pt>
                <c:pt idx="10792">
                  <c:v>29.977777777777778</c:v>
                </c:pt>
                <c:pt idx="10793">
                  <c:v>29.980555555555554</c:v>
                </c:pt>
                <c:pt idx="10794">
                  <c:v>29.983333333333334</c:v>
                </c:pt>
                <c:pt idx="10795">
                  <c:v>29.986111111111111</c:v>
                </c:pt>
                <c:pt idx="10796">
                  <c:v>29.988888888888887</c:v>
                </c:pt>
                <c:pt idx="10797">
                  <c:v>29.991666666666667</c:v>
                </c:pt>
                <c:pt idx="10798">
                  <c:v>29.994444444444444</c:v>
                </c:pt>
                <c:pt idx="10799">
                  <c:v>29.997222222222224</c:v>
                </c:pt>
                <c:pt idx="10800">
                  <c:v>30</c:v>
                </c:pt>
                <c:pt idx="10801">
                  <c:v>30.002777777777776</c:v>
                </c:pt>
                <c:pt idx="10802">
                  <c:v>30.005555555555556</c:v>
                </c:pt>
                <c:pt idx="10803">
                  <c:v>30.008333333333333</c:v>
                </c:pt>
                <c:pt idx="10804">
                  <c:v>30.011111111111113</c:v>
                </c:pt>
                <c:pt idx="10805">
                  <c:v>30.013888888888889</c:v>
                </c:pt>
                <c:pt idx="10806">
                  <c:v>30.016666666666666</c:v>
                </c:pt>
                <c:pt idx="10807">
                  <c:v>30.019444444444446</c:v>
                </c:pt>
                <c:pt idx="10808">
                  <c:v>30.022222222222222</c:v>
                </c:pt>
                <c:pt idx="10809">
                  <c:v>30.024999999999999</c:v>
                </c:pt>
                <c:pt idx="10810">
                  <c:v>30.027777777777779</c:v>
                </c:pt>
                <c:pt idx="10811">
                  <c:v>30.030555555555555</c:v>
                </c:pt>
                <c:pt idx="10812">
                  <c:v>30.033333333333335</c:v>
                </c:pt>
                <c:pt idx="10813">
                  <c:v>30.036111111111111</c:v>
                </c:pt>
                <c:pt idx="10814">
                  <c:v>30.038888888888888</c:v>
                </c:pt>
                <c:pt idx="10815">
                  <c:v>30.041666666666668</c:v>
                </c:pt>
                <c:pt idx="10816">
                  <c:v>30.044444444444444</c:v>
                </c:pt>
                <c:pt idx="10817">
                  <c:v>30.047222222222221</c:v>
                </c:pt>
                <c:pt idx="10818">
                  <c:v>30.05</c:v>
                </c:pt>
                <c:pt idx="10819">
                  <c:v>30.052777777777777</c:v>
                </c:pt>
                <c:pt idx="10820">
                  <c:v>30.055555555555557</c:v>
                </c:pt>
                <c:pt idx="10821">
                  <c:v>30.058333333333334</c:v>
                </c:pt>
                <c:pt idx="10822">
                  <c:v>30.06111111111111</c:v>
                </c:pt>
                <c:pt idx="10823">
                  <c:v>30.06388888888889</c:v>
                </c:pt>
                <c:pt idx="10824">
                  <c:v>30.066666666666666</c:v>
                </c:pt>
                <c:pt idx="10825">
                  <c:v>30.069444444444443</c:v>
                </c:pt>
                <c:pt idx="10826">
                  <c:v>30.072222222222223</c:v>
                </c:pt>
                <c:pt idx="10827">
                  <c:v>30.074999999999999</c:v>
                </c:pt>
                <c:pt idx="10828">
                  <c:v>30.077777777777779</c:v>
                </c:pt>
                <c:pt idx="10829">
                  <c:v>30.080555555555556</c:v>
                </c:pt>
                <c:pt idx="10830">
                  <c:v>30.083333333333332</c:v>
                </c:pt>
                <c:pt idx="10831">
                  <c:v>30.086111111111112</c:v>
                </c:pt>
                <c:pt idx="10832">
                  <c:v>30.088888888888889</c:v>
                </c:pt>
                <c:pt idx="10833">
                  <c:v>30.091666666666665</c:v>
                </c:pt>
                <c:pt idx="10834">
                  <c:v>30.094444444444445</c:v>
                </c:pt>
                <c:pt idx="10835">
                  <c:v>30.097222222222221</c:v>
                </c:pt>
                <c:pt idx="10836">
                  <c:v>30.1</c:v>
                </c:pt>
                <c:pt idx="10837">
                  <c:v>30.102777777777778</c:v>
                </c:pt>
                <c:pt idx="10838">
                  <c:v>30.105555555555554</c:v>
                </c:pt>
                <c:pt idx="10839">
                  <c:v>30.108333333333334</c:v>
                </c:pt>
                <c:pt idx="10840">
                  <c:v>30.111111111111111</c:v>
                </c:pt>
                <c:pt idx="10841">
                  <c:v>30.113888888888887</c:v>
                </c:pt>
                <c:pt idx="10842">
                  <c:v>30.116666666666667</c:v>
                </c:pt>
                <c:pt idx="10843">
                  <c:v>30.119444444444444</c:v>
                </c:pt>
                <c:pt idx="10844">
                  <c:v>30.122222222222224</c:v>
                </c:pt>
                <c:pt idx="10845">
                  <c:v>30.125</c:v>
                </c:pt>
                <c:pt idx="10846">
                  <c:v>30.127777777777776</c:v>
                </c:pt>
                <c:pt idx="10847">
                  <c:v>30.130555555555556</c:v>
                </c:pt>
                <c:pt idx="10848">
                  <c:v>30.133333333333333</c:v>
                </c:pt>
                <c:pt idx="10849">
                  <c:v>30.136111111111113</c:v>
                </c:pt>
                <c:pt idx="10850">
                  <c:v>30.138888888888889</c:v>
                </c:pt>
                <c:pt idx="10851">
                  <c:v>30.141666666666666</c:v>
                </c:pt>
                <c:pt idx="10852">
                  <c:v>30.144444444444446</c:v>
                </c:pt>
                <c:pt idx="10853">
                  <c:v>30.147222222222222</c:v>
                </c:pt>
                <c:pt idx="10854">
                  <c:v>30.15</c:v>
                </c:pt>
                <c:pt idx="10855">
                  <c:v>30.152777777777779</c:v>
                </c:pt>
                <c:pt idx="10856">
                  <c:v>30.155555555555555</c:v>
                </c:pt>
                <c:pt idx="10857">
                  <c:v>30.158333333333335</c:v>
                </c:pt>
                <c:pt idx="10858">
                  <c:v>30.161111111111111</c:v>
                </c:pt>
                <c:pt idx="10859">
                  <c:v>30.163888888888888</c:v>
                </c:pt>
                <c:pt idx="10860">
                  <c:v>30.166666666666668</c:v>
                </c:pt>
                <c:pt idx="10861">
                  <c:v>30.169444444444444</c:v>
                </c:pt>
                <c:pt idx="10862">
                  <c:v>30.172222222222221</c:v>
                </c:pt>
                <c:pt idx="10863">
                  <c:v>30.175000000000001</c:v>
                </c:pt>
                <c:pt idx="10864">
                  <c:v>30.177777777777777</c:v>
                </c:pt>
                <c:pt idx="10865">
                  <c:v>30.180555555555557</c:v>
                </c:pt>
                <c:pt idx="10866">
                  <c:v>30.183333333333334</c:v>
                </c:pt>
                <c:pt idx="10867">
                  <c:v>30.18611111111111</c:v>
                </c:pt>
                <c:pt idx="10868">
                  <c:v>30.18888888888889</c:v>
                </c:pt>
                <c:pt idx="10869">
                  <c:v>30.191666666666666</c:v>
                </c:pt>
                <c:pt idx="10870">
                  <c:v>30.194444444444443</c:v>
                </c:pt>
                <c:pt idx="10871">
                  <c:v>30.197222222222223</c:v>
                </c:pt>
                <c:pt idx="10872">
                  <c:v>30.2</c:v>
                </c:pt>
                <c:pt idx="10873">
                  <c:v>30.202777777777779</c:v>
                </c:pt>
                <c:pt idx="10874">
                  <c:v>30.205555555555556</c:v>
                </c:pt>
                <c:pt idx="10875">
                  <c:v>30.208333333333332</c:v>
                </c:pt>
                <c:pt idx="10876">
                  <c:v>30.211111111111112</c:v>
                </c:pt>
                <c:pt idx="10877">
                  <c:v>30.213888888888889</c:v>
                </c:pt>
                <c:pt idx="10878">
                  <c:v>30.216666666666665</c:v>
                </c:pt>
                <c:pt idx="10879">
                  <c:v>30.219444444444445</c:v>
                </c:pt>
                <c:pt idx="10880">
                  <c:v>30.222222222222221</c:v>
                </c:pt>
                <c:pt idx="10881">
                  <c:v>30.225000000000001</c:v>
                </c:pt>
                <c:pt idx="10882">
                  <c:v>30.227777777777778</c:v>
                </c:pt>
                <c:pt idx="10883">
                  <c:v>30.230555555555554</c:v>
                </c:pt>
                <c:pt idx="10884">
                  <c:v>30.233333333333334</c:v>
                </c:pt>
                <c:pt idx="10885">
                  <c:v>30.236111111111111</c:v>
                </c:pt>
                <c:pt idx="10886">
                  <c:v>30.238888888888887</c:v>
                </c:pt>
                <c:pt idx="10887">
                  <c:v>30.241666666666667</c:v>
                </c:pt>
                <c:pt idx="10888">
                  <c:v>30.244444444444444</c:v>
                </c:pt>
                <c:pt idx="10889">
                  <c:v>30.247222222222224</c:v>
                </c:pt>
                <c:pt idx="10890">
                  <c:v>30.25</c:v>
                </c:pt>
                <c:pt idx="10891">
                  <c:v>30.252777777777776</c:v>
                </c:pt>
                <c:pt idx="10892">
                  <c:v>30.255555555555556</c:v>
                </c:pt>
                <c:pt idx="10893">
                  <c:v>30.258333333333333</c:v>
                </c:pt>
                <c:pt idx="10894">
                  <c:v>30.261111111111113</c:v>
                </c:pt>
                <c:pt idx="10895">
                  <c:v>30.263888888888889</c:v>
                </c:pt>
                <c:pt idx="10896">
                  <c:v>30.266666666666666</c:v>
                </c:pt>
                <c:pt idx="10897">
                  <c:v>30.269444444444446</c:v>
                </c:pt>
                <c:pt idx="10898">
                  <c:v>30.272222222222222</c:v>
                </c:pt>
                <c:pt idx="10899">
                  <c:v>30.274999999999999</c:v>
                </c:pt>
                <c:pt idx="10900">
                  <c:v>30.277777777777779</c:v>
                </c:pt>
                <c:pt idx="10901">
                  <c:v>30.280555555555555</c:v>
                </c:pt>
                <c:pt idx="10902">
                  <c:v>30.283333333333335</c:v>
                </c:pt>
                <c:pt idx="10903">
                  <c:v>30.286111111111111</c:v>
                </c:pt>
                <c:pt idx="10904">
                  <c:v>30.288888888888888</c:v>
                </c:pt>
                <c:pt idx="10905">
                  <c:v>30.291666666666668</c:v>
                </c:pt>
                <c:pt idx="10906">
                  <c:v>30.294444444444444</c:v>
                </c:pt>
                <c:pt idx="10907">
                  <c:v>30.297222222222221</c:v>
                </c:pt>
                <c:pt idx="10908">
                  <c:v>30.3</c:v>
                </c:pt>
                <c:pt idx="10909">
                  <c:v>30.302777777777777</c:v>
                </c:pt>
                <c:pt idx="10910">
                  <c:v>30.305555555555557</c:v>
                </c:pt>
                <c:pt idx="10911">
                  <c:v>30.308333333333334</c:v>
                </c:pt>
                <c:pt idx="10912">
                  <c:v>30.31111111111111</c:v>
                </c:pt>
                <c:pt idx="10913">
                  <c:v>30.31388888888889</c:v>
                </c:pt>
                <c:pt idx="10914">
                  <c:v>30.316666666666666</c:v>
                </c:pt>
                <c:pt idx="10915">
                  <c:v>30.319444444444443</c:v>
                </c:pt>
                <c:pt idx="10916">
                  <c:v>30.322222222222223</c:v>
                </c:pt>
                <c:pt idx="10917">
                  <c:v>30.324999999999999</c:v>
                </c:pt>
                <c:pt idx="10918">
                  <c:v>30.327777777777779</c:v>
                </c:pt>
                <c:pt idx="10919">
                  <c:v>30.330555555555556</c:v>
                </c:pt>
                <c:pt idx="10920">
                  <c:v>30.333333333333332</c:v>
                </c:pt>
                <c:pt idx="10921">
                  <c:v>30.336111111111112</c:v>
                </c:pt>
                <c:pt idx="10922">
                  <c:v>30.338888888888889</c:v>
                </c:pt>
                <c:pt idx="10923">
                  <c:v>30.341666666666665</c:v>
                </c:pt>
                <c:pt idx="10924">
                  <c:v>30.344444444444445</c:v>
                </c:pt>
                <c:pt idx="10925">
                  <c:v>30.347222222222221</c:v>
                </c:pt>
                <c:pt idx="10926">
                  <c:v>30.35</c:v>
                </c:pt>
                <c:pt idx="10927">
                  <c:v>30.352777777777778</c:v>
                </c:pt>
                <c:pt idx="10928">
                  <c:v>30.355555555555554</c:v>
                </c:pt>
                <c:pt idx="10929">
                  <c:v>30.358333333333334</c:v>
                </c:pt>
                <c:pt idx="10930">
                  <c:v>30.361111111111111</c:v>
                </c:pt>
                <c:pt idx="10931">
                  <c:v>30.363888888888887</c:v>
                </c:pt>
                <c:pt idx="10932">
                  <c:v>30.366666666666667</c:v>
                </c:pt>
                <c:pt idx="10933">
                  <c:v>30.369444444444444</c:v>
                </c:pt>
                <c:pt idx="10934">
                  <c:v>30.372222222222224</c:v>
                </c:pt>
                <c:pt idx="10935">
                  <c:v>30.375</c:v>
                </c:pt>
                <c:pt idx="10936">
                  <c:v>30.377777777777776</c:v>
                </c:pt>
                <c:pt idx="10937">
                  <c:v>30.380555555555556</c:v>
                </c:pt>
                <c:pt idx="10938">
                  <c:v>30.383333333333333</c:v>
                </c:pt>
                <c:pt idx="10939">
                  <c:v>30.386111111111113</c:v>
                </c:pt>
                <c:pt idx="10940">
                  <c:v>30.388888888888889</c:v>
                </c:pt>
                <c:pt idx="10941">
                  <c:v>30.391666666666666</c:v>
                </c:pt>
                <c:pt idx="10942">
                  <c:v>30.394444444444446</c:v>
                </c:pt>
                <c:pt idx="10943">
                  <c:v>30.397222222222222</c:v>
                </c:pt>
                <c:pt idx="10944">
                  <c:v>30.4</c:v>
                </c:pt>
                <c:pt idx="10945">
                  <c:v>30.402777777777779</c:v>
                </c:pt>
                <c:pt idx="10946">
                  <c:v>30.405555555555555</c:v>
                </c:pt>
                <c:pt idx="10947">
                  <c:v>30.408333333333335</c:v>
                </c:pt>
                <c:pt idx="10948">
                  <c:v>30.411111111111111</c:v>
                </c:pt>
                <c:pt idx="10949">
                  <c:v>30.413888888888888</c:v>
                </c:pt>
                <c:pt idx="10950">
                  <c:v>30.416666666666668</c:v>
                </c:pt>
                <c:pt idx="10951">
                  <c:v>30.419444444444444</c:v>
                </c:pt>
                <c:pt idx="10952">
                  <c:v>30.422222222222221</c:v>
                </c:pt>
                <c:pt idx="10953">
                  <c:v>30.425000000000001</c:v>
                </c:pt>
                <c:pt idx="10954">
                  <c:v>30.427777777777777</c:v>
                </c:pt>
                <c:pt idx="10955">
                  <c:v>30.430555555555557</c:v>
                </c:pt>
                <c:pt idx="10956">
                  <c:v>30.433333333333334</c:v>
                </c:pt>
                <c:pt idx="10957">
                  <c:v>30.43611111111111</c:v>
                </c:pt>
                <c:pt idx="10958">
                  <c:v>30.43888888888889</c:v>
                </c:pt>
                <c:pt idx="10959">
                  <c:v>30.441666666666666</c:v>
                </c:pt>
                <c:pt idx="10960">
                  <c:v>30.444444444444443</c:v>
                </c:pt>
                <c:pt idx="10961">
                  <c:v>30.447222222222223</c:v>
                </c:pt>
                <c:pt idx="10962">
                  <c:v>30.45</c:v>
                </c:pt>
                <c:pt idx="10963">
                  <c:v>30.452777777777779</c:v>
                </c:pt>
                <c:pt idx="10964">
                  <c:v>30.455555555555556</c:v>
                </c:pt>
                <c:pt idx="10965">
                  <c:v>30.458333333333332</c:v>
                </c:pt>
                <c:pt idx="10966">
                  <c:v>30.461111111111112</c:v>
                </c:pt>
                <c:pt idx="10967">
                  <c:v>30.463888888888889</c:v>
                </c:pt>
                <c:pt idx="10968">
                  <c:v>30.466666666666665</c:v>
                </c:pt>
                <c:pt idx="10969">
                  <c:v>30.469444444444445</c:v>
                </c:pt>
                <c:pt idx="10970">
                  <c:v>30.472222222222221</c:v>
                </c:pt>
                <c:pt idx="10971">
                  <c:v>30.475000000000001</c:v>
                </c:pt>
                <c:pt idx="10972">
                  <c:v>30.477777777777778</c:v>
                </c:pt>
                <c:pt idx="10973">
                  <c:v>30.480555555555554</c:v>
                </c:pt>
                <c:pt idx="10974">
                  <c:v>30.483333333333334</c:v>
                </c:pt>
                <c:pt idx="10975">
                  <c:v>30.486111111111111</c:v>
                </c:pt>
                <c:pt idx="10976">
                  <c:v>30.488888888888887</c:v>
                </c:pt>
                <c:pt idx="10977">
                  <c:v>30.491666666666667</c:v>
                </c:pt>
                <c:pt idx="10978">
                  <c:v>30.494444444444444</c:v>
                </c:pt>
                <c:pt idx="10979">
                  <c:v>30.497222222222224</c:v>
                </c:pt>
                <c:pt idx="10980">
                  <c:v>30.5</c:v>
                </c:pt>
                <c:pt idx="10981">
                  <c:v>30.502777777777776</c:v>
                </c:pt>
                <c:pt idx="10982">
                  <c:v>30.505555555555556</c:v>
                </c:pt>
                <c:pt idx="10983">
                  <c:v>30.508333333333333</c:v>
                </c:pt>
                <c:pt idx="10984">
                  <c:v>30.511111111111113</c:v>
                </c:pt>
                <c:pt idx="10985">
                  <c:v>30.513888888888889</c:v>
                </c:pt>
                <c:pt idx="10986">
                  <c:v>30.516666666666666</c:v>
                </c:pt>
                <c:pt idx="10987">
                  <c:v>30.519444444444446</c:v>
                </c:pt>
                <c:pt idx="10988">
                  <c:v>30.522222222222222</c:v>
                </c:pt>
                <c:pt idx="10989">
                  <c:v>30.524999999999999</c:v>
                </c:pt>
                <c:pt idx="10990">
                  <c:v>30.527777777777779</c:v>
                </c:pt>
                <c:pt idx="10991">
                  <c:v>30.530555555555555</c:v>
                </c:pt>
                <c:pt idx="10992">
                  <c:v>30.533333333333335</c:v>
                </c:pt>
                <c:pt idx="10993">
                  <c:v>30.536111111111111</c:v>
                </c:pt>
                <c:pt idx="10994">
                  <c:v>30.538888888888888</c:v>
                </c:pt>
                <c:pt idx="10995">
                  <c:v>30.541666666666668</c:v>
                </c:pt>
                <c:pt idx="10996">
                  <c:v>30.544444444444444</c:v>
                </c:pt>
                <c:pt idx="10997">
                  <c:v>30.547222222222221</c:v>
                </c:pt>
                <c:pt idx="10998">
                  <c:v>30.55</c:v>
                </c:pt>
                <c:pt idx="10999">
                  <c:v>30.552777777777777</c:v>
                </c:pt>
                <c:pt idx="11000">
                  <c:v>30.555555555555557</c:v>
                </c:pt>
                <c:pt idx="11001">
                  <c:v>30.558333333333334</c:v>
                </c:pt>
                <c:pt idx="11002">
                  <c:v>30.56111111111111</c:v>
                </c:pt>
                <c:pt idx="11003">
                  <c:v>30.56388888888889</c:v>
                </c:pt>
                <c:pt idx="11004">
                  <c:v>30.566666666666666</c:v>
                </c:pt>
                <c:pt idx="11005">
                  <c:v>30.569444444444443</c:v>
                </c:pt>
                <c:pt idx="11006">
                  <c:v>30.572222222222223</c:v>
                </c:pt>
                <c:pt idx="11007">
                  <c:v>30.574999999999999</c:v>
                </c:pt>
                <c:pt idx="11008">
                  <c:v>30.577777777777779</c:v>
                </c:pt>
                <c:pt idx="11009">
                  <c:v>30.580555555555556</c:v>
                </c:pt>
                <c:pt idx="11010">
                  <c:v>30.583333333333332</c:v>
                </c:pt>
                <c:pt idx="11011">
                  <c:v>30.586111111111112</c:v>
                </c:pt>
                <c:pt idx="11012">
                  <c:v>30.588888888888889</c:v>
                </c:pt>
                <c:pt idx="11013">
                  <c:v>30.591666666666665</c:v>
                </c:pt>
                <c:pt idx="11014">
                  <c:v>30.594444444444445</c:v>
                </c:pt>
                <c:pt idx="11015">
                  <c:v>30.597222222222221</c:v>
                </c:pt>
                <c:pt idx="11016">
                  <c:v>30.6</c:v>
                </c:pt>
                <c:pt idx="11017">
                  <c:v>30.602777777777778</c:v>
                </c:pt>
                <c:pt idx="11018">
                  <c:v>30.605555555555554</c:v>
                </c:pt>
                <c:pt idx="11019">
                  <c:v>30.608333333333334</c:v>
                </c:pt>
                <c:pt idx="11020">
                  <c:v>30.611111111111111</c:v>
                </c:pt>
                <c:pt idx="11021">
                  <c:v>30.613888888888887</c:v>
                </c:pt>
                <c:pt idx="11022">
                  <c:v>30.616666666666667</c:v>
                </c:pt>
                <c:pt idx="11023">
                  <c:v>30.619444444444444</c:v>
                </c:pt>
                <c:pt idx="11024">
                  <c:v>30.622222222222224</c:v>
                </c:pt>
                <c:pt idx="11025">
                  <c:v>30.625</c:v>
                </c:pt>
                <c:pt idx="11026">
                  <c:v>30.627777777777776</c:v>
                </c:pt>
                <c:pt idx="11027">
                  <c:v>30.630555555555556</c:v>
                </c:pt>
                <c:pt idx="11028">
                  <c:v>30.633333333333333</c:v>
                </c:pt>
                <c:pt idx="11029">
                  <c:v>30.636111111111113</c:v>
                </c:pt>
                <c:pt idx="11030">
                  <c:v>30.638888888888889</c:v>
                </c:pt>
                <c:pt idx="11031">
                  <c:v>30.641666666666666</c:v>
                </c:pt>
                <c:pt idx="11032">
                  <c:v>30.644444444444446</c:v>
                </c:pt>
                <c:pt idx="11033">
                  <c:v>30.647222222222222</c:v>
                </c:pt>
                <c:pt idx="11034">
                  <c:v>30.65</c:v>
                </c:pt>
                <c:pt idx="11035">
                  <c:v>30.652777777777779</c:v>
                </c:pt>
                <c:pt idx="11036">
                  <c:v>30.655555555555555</c:v>
                </c:pt>
                <c:pt idx="11037">
                  <c:v>30.658333333333335</c:v>
                </c:pt>
                <c:pt idx="11038">
                  <c:v>30.661111111111111</c:v>
                </c:pt>
                <c:pt idx="11039">
                  <c:v>30.663888888888888</c:v>
                </c:pt>
                <c:pt idx="11040">
                  <c:v>30.666666666666668</c:v>
                </c:pt>
                <c:pt idx="11041">
                  <c:v>30.669444444444444</c:v>
                </c:pt>
                <c:pt idx="11042">
                  <c:v>30.672222222222221</c:v>
                </c:pt>
                <c:pt idx="11043">
                  <c:v>30.675000000000001</c:v>
                </c:pt>
                <c:pt idx="11044">
                  <c:v>30.677777777777777</c:v>
                </c:pt>
                <c:pt idx="11045">
                  <c:v>30.680555555555557</c:v>
                </c:pt>
                <c:pt idx="11046">
                  <c:v>30.683333333333334</c:v>
                </c:pt>
                <c:pt idx="11047">
                  <c:v>30.68611111111111</c:v>
                </c:pt>
                <c:pt idx="11048">
                  <c:v>30.68888888888889</c:v>
                </c:pt>
                <c:pt idx="11049">
                  <c:v>30.691666666666666</c:v>
                </c:pt>
                <c:pt idx="11050">
                  <c:v>30.694444444444443</c:v>
                </c:pt>
                <c:pt idx="11051">
                  <c:v>30.697222222222223</c:v>
                </c:pt>
                <c:pt idx="11052">
                  <c:v>30.7</c:v>
                </c:pt>
                <c:pt idx="11053">
                  <c:v>30.702777777777779</c:v>
                </c:pt>
                <c:pt idx="11054">
                  <c:v>30.705555555555556</c:v>
                </c:pt>
                <c:pt idx="11055">
                  <c:v>30.708333333333332</c:v>
                </c:pt>
                <c:pt idx="11056">
                  <c:v>30.711111111111112</c:v>
                </c:pt>
                <c:pt idx="11057">
                  <c:v>30.713888888888889</c:v>
                </c:pt>
                <c:pt idx="11058">
                  <c:v>30.716666666666665</c:v>
                </c:pt>
                <c:pt idx="11059">
                  <c:v>30.719444444444445</c:v>
                </c:pt>
                <c:pt idx="11060">
                  <c:v>30.722222222222221</c:v>
                </c:pt>
                <c:pt idx="11061">
                  <c:v>30.725000000000001</c:v>
                </c:pt>
                <c:pt idx="11062">
                  <c:v>30.727777777777778</c:v>
                </c:pt>
                <c:pt idx="11063">
                  <c:v>30.730555555555554</c:v>
                </c:pt>
                <c:pt idx="11064">
                  <c:v>30.733333333333334</c:v>
                </c:pt>
                <c:pt idx="11065">
                  <c:v>30.736111111111111</c:v>
                </c:pt>
                <c:pt idx="11066">
                  <c:v>30.738888888888887</c:v>
                </c:pt>
                <c:pt idx="11067">
                  <c:v>30.741666666666667</c:v>
                </c:pt>
                <c:pt idx="11068">
                  <c:v>30.744444444444444</c:v>
                </c:pt>
                <c:pt idx="11069">
                  <c:v>30.747222222222224</c:v>
                </c:pt>
                <c:pt idx="11070">
                  <c:v>30.75</c:v>
                </c:pt>
                <c:pt idx="11071">
                  <c:v>30.752777777777776</c:v>
                </c:pt>
                <c:pt idx="11072">
                  <c:v>30.755555555555556</c:v>
                </c:pt>
                <c:pt idx="11073">
                  <c:v>30.758333333333333</c:v>
                </c:pt>
                <c:pt idx="11074">
                  <c:v>30.761111111111113</c:v>
                </c:pt>
                <c:pt idx="11075">
                  <c:v>30.763888888888889</c:v>
                </c:pt>
                <c:pt idx="11076">
                  <c:v>30.766666666666666</c:v>
                </c:pt>
                <c:pt idx="11077">
                  <c:v>30.769444444444446</c:v>
                </c:pt>
                <c:pt idx="11078">
                  <c:v>30.772222222222222</c:v>
                </c:pt>
                <c:pt idx="11079">
                  <c:v>30.774999999999999</c:v>
                </c:pt>
                <c:pt idx="11080">
                  <c:v>30.777777777777779</c:v>
                </c:pt>
                <c:pt idx="11081">
                  <c:v>30.780555555555555</c:v>
                </c:pt>
                <c:pt idx="11082">
                  <c:v>30.783333333333335</c:v>
                </c:pt>
                <c:pt idx="11083">
                  <c:v>30.786111111111111</c:v>
                </c:pt>
                <c:pt idx="11084">
                  <c:v>30.788888888888888</c:v>
                </c:pt>
                <c:pt idx="11085">
                  <c:v>30.791666666666668</c:v>
                </c:pt>
                <c:pt idx="11086">
                  <c:v>30.794444444444444</c:v>
                </c:pt>
                <c:pt idx="11087">
                  <c:v>30.797222222222221</c:v>
                </c:pt>
                <c:pt idx="11088">
                  <c:v>30.8</c:v>
                </c:pt>
                <c:pt idx="11089">
                  <c:v>30.802777777777777</c:v>
                </c:pt>
                <c:pt idx="11090">
                  <c:v>30.805555555555557</c:v>
                </c:pt>
                <c:pt idx="11091">
                  <c:v>30.808333333333334</c:v>
                </c:pt>
                <c:pt idx="11092">
                  <c:v>30.81111111111111</c:v>
                </c:pt>
                <c:pt idx="11093">
                  <c:v>30.81388888888889</c:v>
                </c:pt>
                <c:pt idx="11094">
                  <c:v>30.816666666666666</c:v>
                </c:pt>
                <c:pt idx="11095">
                  <c:v>30.819444444444443</c:v>
                </c:pt>
                <c:pt idx="11096">
                  <c:v>30.822222222222223</c:v>
                </c:pt>
                <c:pt idx="11097">
                  <c:v>30.824999999999999</c:v>
                </c:pt>
                <c:pt idx="11098">
                  <c:v>30.827777777777779</c:v>
                </c:pt>
                <c:pt idx="11099">
                  <c:v>30.830555555555556</c:v>
                </c:pt>
                <c:pt idx="11100">
                  <c:v>30.833333333333332</c:v>
                </c:pt>
                <c:pt idx="11101">
                  <c:v>30.836111111111112</c:v>
                </c:pt>
                <c:pt idx="11102">
                  <c:v>30.838888888888889</c:v>
                </c:pt>
                <c:pt idx="11103">
                  <c:v>30.841666666666665</c:v>
                </c:pt>
                <c:pt idx="11104">
                  <c:v>30.844444444444445</c:v>
                </c:pt>
                <c:pt idx="11105">
                  <c:v>30.847222222222221</c:v>
                </c:pt>
                <c:pt idx="11106">
                  <c:v>30.85</c:v>
                </c:pt>
                <c:pt idx="11107">
                  <c:v>30.852777777777778</c:v>
                </c:pt>
                <c:pt idx="11108">
                  <c:v>30.855555555555554</c:v>
                </c:pt>
                <c:pt idx="11109">
                  <c:v>30.858333333333334</c:v>
                </c:pt>
                <c:pt idx="11110">
                  <c:v>30.861111111111111</c:v>
                </c:pt>
                <c:pt idx="11111">
                  <c:v>30.863888888888887</c:v>
                </c:pt>
                <c:pt idx="11112">
                  <c:v>30.866666666666667</c:v>
                </c:pt>
                <c:pt idx="11113">
                  <c:v>30.869444444444444</c:v>
                </c:pt>
                <c:pt idx="11114">
                  <c:v>30.872222222222224</c:v>
                </c:pt>
                <c:pt idx="11115">
                  <c:v>30.875</c:v>
                </c:pt>
                <c:pt idx="11116">
                  <c:v>30.877777777777776</c:v>
                </c:pt>
                <c:pt idx="11117">
                  <c:v>30.880555555555556</c:v>
                </c:pt>
                <c:pt idx="11118">
                  <c:v>30.883333333333333</c:v>
                </c:pt>
                <c:pt idx="11119">
                  <c:v>30.886111111111113</c:v>
                </c:pt>
                <c:pt idx="11120">
                  <c:v>30.888888888888889</c:v>
                </c:pt>
                <c:pt idx="11121">
                  <c:v>30.891666666666666</c:v>
                </c:pt>
                <c:pt idx="11122">
                  <c:v>30.894444444444446</c:v>
                </c:pt>
                <c:pt idx="11123">
                  <c:v>30.897222222222222</c:v>
                </c:pt>
                <c:pt idx="11124">
                  <c:v>30.9</c:v>
                </c:pt>
                <c:pt idx="11125">
                  <c:v>30.902777777777779</c:v>
                </c:pt>
                <c:pt idx="11126">
                  <c:v>30.905555555555555</c:v>
                </c:pt>
                <c:pt idx="11127">
                  <c:v>30.908333333333335</c:v>
                </c:pt>
                <c:pt idx="11128">
                  <c:v>30.911111111111111</c:v>
                </c:pt>
                <c:pt idx="11129">
                  <c:v>30.913888888888888</c:v>
                </c:pt>
                <c:pt idx="11130">
                  <c:v>30.916666666666668</c:v>
                </c:pt>
                <c:pt idx="11131">
                  <c:v>30.919444444444444</c:v>
                </c:pt>
                <c:pt idx="11132">
                  <c:v>30.922222222222221</c:v>
                </c:pt>
                <c:pt idx="11133">
                  <c:v>30.925000000000001</c:v>
                </c:pt>
                <c:pt idx="11134">
                  <c:v>30.927777777777777</c:v>
                </c:pt>
                <c:pt idx="11135">
                  <c:v>30.930555555555557</c:v>
                </c:pt>
                <c:pt idx="11136">
                  <c:v>30.933333333333334</c:v>
                </c:pt>
                <c:pt idx="11137">
                  <c:v>30.93611111111111</c:v>
                </c:pt>
                <c:pt idx="11138">
                  <c:v>30.93888888888889</c:v>
                </c:pt>
                <c:pt idx="11139">
                  <c:v>30.941666666666666</c:v>
                </c:pt>
                <c:pt idx="11140">
                  <c:v>30.944444444444443</c:v>
                </c:pt>
                <c:pt idx="11141">
                  <c:v>30.947222222222223</c:v>
                </c:pt>
                <c:pt idx="11142">
                  <c:v>30.95</c:v>
                </c:pt>
                <c:pt idx="11143">
                  <c:v>30.952777777777779</c:v>
                </c:pt>
                <c:pt idx="11144">
                  <c:v>30.955555555555556</c:v>
                </c:pt>
                <c:pt idx="11145">
                  <c:v>30.958333333333332</c:v>
                </c:pt>
                <c:pt idx="11146">
                  <c:v>30.961111111111112</c:v>
                </c:pt>
                <c:pt idx="11147">
                  <c:v>30.963888888888889</c:v>
                </c:pt>
                <c:pt idx="11148">
                  <c:v>30.966666666666665</c:v>
                </c:pt>
                <c:pt idx="11149">
                  <c:v>30.969444444444445</c:v>
                </c:pt>
                <c:pt idx="11150">
                  <c:v>30.972222222222221</c:v>
                </c:pt>
                <c:pt idx="11151">
                  <c:v>30.975000000000001</c:v>
                </c:pt>
                <c:pt idx="11152">
                  <c:v>30.977777777777778</c:v>
                </c:pt>
                <c:pt idx="11153">
                  <c:v>30.980555555555554</c:v>
                </c:pt>
                <c:pt idx="11154">
                  <c:v>30.983333333333334</c:v>
                </c:pt>
                <c:pt idx="11155">
                  <c:v>30.986111111111111</c:v>
                </c:pt>
                <c:pt idx="11156">
                  <c:v>30.988888888888887</c:v>
                </c:pt>
                <c:pt idx="11157">
                  <c:v>30.991666666666667</c:v>
                </c:pt>
                <c:pt idx="11158">
                  <c:v>30.994444444444444</c:v>
                </c:pt>
                <c:pt idx="11159">
                  <c:v>30.997222222222224</c:v>
                </c:pt>
                <c:pt idx="11160">
                  <c:v>31</c:v>
                </c:pt>
                <c:pt idx="11161">
                  <c:v>31.002777777777776</c:v>
                </c:pt>
                <c:pt idx="11162">
                  <c:v>31.005555555555556</c:v>
                </c:pt>
                <c:pt idx="11163">
                  <c:v>31.008333333333333</c:v>
                </c:pt>
                <c:pt idx="11164">
                  <c:v>31.011111111111113</c:v>
                </c:pt>
                <c:pt idx="11165">
                  <c:v>31.013888888888889</c:v>
                </c:pt>
                <c:pt idx="11166">
                  <c:v>31.016666666666666</c:v>
                </c:pt>
                <c:pt idx="11167">
                  <c:v>31.019444444444446</c:v>
                </c:pt>
                <c:pt idx="11168">
                  <c:v>31.022222222222222</c:v>
                </c:pt>
                <c:pt idx="11169">
                  <c:v>31.024999999999999</c:v>
                </c:pt>
                <c:pt idx="11170">
                  <c:v>31.027777777777779</c:v>
                </c:pt>
                <c:pt idx="11171">
                  <c:v>31.030555555555555</c:v>
                </c:pt>
                <c:pt idx="11172">
                  <c:v>31.033333333333335</c:v>
                </c:pt>
                <c:pt idx="11173">
                  <c:v>31.036111111111111</c:v>
                </c:pt>
                <c:pt idx="11174">
                  <c:v>31.038888888888888</c:v>
                </c:pt>
                <c:pt idx="11175">
                  <c:v>31.041666666666668</c:v>
                </c:pt>
                <c:pt idx="11176">
                  <c:v>31.044444444444444</c:v>
                </c:pt>
                <c:pt idx="11177">
                  <c:v>31.047222222222221</c:v>
                </c:pt>
                <c:pt idx="11178">
                  <c:v>31.05</c:v>
                </c:pt>
                <c:pt idx="11179">
                  <c:v>31.052777777777777</c:v>
                </c:pt>
                <c:pt idx="11180">
                  <c:v>31.055555555555557</c:v>
                </c:pt>
                <c:pt idx="11181">
                  <c:v>31.058333333333334</c:v>
                </c:pt>
                <c:pt idx="11182">
                  <c:v>31.06111111111111</c:v>
                </c:pt>
                <c:pt idx="11183">
                  <c:v>31.06388888888889</c:v>
                </c:pt>
                <c:pt idx="11184">
                  <c:v>31.066666666666666</c:v>
                </c:pt>
                <c:pt idx="11185">
                  <c:v>31.069444444444443</c:v>
                </c:pt>
                <c:pt idx="11186">
                  <c:v>31.072222222222223</c:v>
                </c:pt>
                <c:pt idx="11187">
                  <c:v>31.074999999999999</c:v>
                </c:pt>
                <c:pt idx="11188">
                  <c:v>31.077777777777779</c:v>
                </c:pt>
                <c:pt idx="11189">
                  <c:v>31.080555555555556</c:v>
                </c:pt>
                <c:pt idx="11190">
                  <c:v>31.083333333333332</c:v>
                </c:pt>
                <c:pt idx="11191">
                  <c:v>31.086111111111112</c:v>
                </c:pt>
                <c:pt idx="11192">
                  <c:v>31.088888888888889</c:v>
                </c:pt>
                <c:pt idx="11193">
                  <c:v>31.091666666666665</c:v>
                </c:pt>
                <c:pt idx="11194">
                  <c:v>31.094444444444445</c:v>
                </c:pt>
                <c:pt idx="11195">
                  <c:v>31.097222222222221</c:v>
                </c:pt>
                <c:pt idx="11196">
                  <c:v>31.1</c:v>
                </c:pt>
                <c:pt idx="11197">
                  <c:v>31.102777777777778</c:v>
                </c:pt>
                <c:pt idx="11198">
                  <c:v>31.105555555555554</c:v>
                </c:pt>
                <c:pt idx="11199">
                  <c:v>31.108333333333334</c:v>
                </c:pt>
                <c:pt idx="11200">
                  <c:v>31.111111111111111</c:v>
                </c:pt>
                <c:pt idx="11201">
                  <c:v>31.113888888888887</c:v>
                </c:pt>
                <c:pt idx="11202">
                  <c:v>31.116666666666667</c:v>
                </c:pt>
                <c:pt idx="11203">
                  <c:v>31.119444444444444</c:v>
                </c:pt>
                <c:pt idx="11204">
                  <c:v>31.122222222222224</c:v>
                </c:pt>
                <c:pt idx="11205">
                  <c:v>31.125</c:v>
                </c:pt>
                <c:pt idx="11206">
                  <c:v>31.127777777777776</c:v>
                </c:pt>
                <c:pt idx="11207">
                  <c:v>31.130555555555556</c:v>
                </c:pt>
                <c:pt idx="11208">
                  <c:v>31.133333333333333</c:v>
                </c:pt>
                <c:pt idx="11209">
                  <c:v>31.136111111111113</c:v>
                </c:pt>
                <c:pt idx="11210">
                  <c:v>31.138888888888889</c:v>
                </c:pt>
                <c:pt idx="11211">
                  <c:v>31.141666666666666</c:v>
                </c:pt>
                <c:pt idx="11212">
                  <c:v>31.144444444444446</c:v>
                </c:pt>
                <c:pt idx="11213">
                  <c:v>31.147222222222222</c:v>
                </c:pt>
                <c:pt idx="11214">
                  <c:v>31.15</c:v>
                </c:pt>
                <c:pt idx="11215">
                  <c:v>31.152777777777779</c:v>
                </c:pt>
                <c:pt idx="11216">
                  <c:v>31.155555555555555</c:v>
                </c:pt>
                <c:pt idx="11217">
                  <c:v>31.158333333333335</c:v>
                </c:pt>
                <c:pt idx="11218">
                  <c:v>31.161111111111111</c:v>
                </c:pt>
                <c:pt idx="11219">
                  <c:v>31.163888888888888</c:v>
                </c:pt>
                <c:pt idx="11220">
                  <c:v>31.166666666666668</c:v>
                </c:pt>
                <c:pt idx="11221">
                  <c:v>31.169444444444444</c:v>
                </c:pt>
                <c:pt idx="11222">
                  <c:v>31.172222222222221</c:v>
                </c:pt>
                <c:pt idx="11223">
                  <c:v>31.175000000000001</c:v>
                </c:pt>
                <c:pt idx="11224">
                  <c:v>31.177777777777777</c:v>
                </c:pt>
                <c:pt idx="11225">
                  <c:v>31.180555555555557</c:v>
                </c:pt>
                <c:pt idx="11226">
                  <c:v>31.183333333333334</c:v>
                </c:pt>
                <c:pt idx="11227">
                  <c:v>31.18611111111111</c:v>
                </c:pt>
                <c:pt idx="11228">
                  <c:v>31.18888888888889</c:v>
                </c:pt>
                <c:pt idx="11229">
                  <c:v>31.191666666666666</c:v>
                </c:pt>
                <c:pt idx="11230">
                  <c:v>31.194444444444443</c:v>
                </c:pt>
                <c:pt idx="11231">
                  <c:v>31.197222222222223</c:v>
                </c:pt>
                <c:pt idx="11232">
                  <c:v>31.2</c:v>
                </c:pt>
                <c:pt idx="11233">
                  <c:v>31.202777777777779</c:v>
                </c:pt>
                <c:pt idx="11234">
                  <c:v>31.205555555555556</c:v>
                </c:pt>
                <c:pt idx="11235">
                  <c:v>31.208333333333332</c:v>
                </c:pt>
                <c:pt idx="11236">
                  <c:v>31.211111111111112</c:v>
                </c:pt>
                <c:pt idx="11237">
                  <c:v>31.213888888888889</c:v>
                </c:pt>
                <c:pt idx="11238">
                  <c:v>31.216666666666665</c:v>
                </c:pt>
                <c:pt idx="11239">
                  <c:v>31.219444444444445</c:v>
                </c:pt>
                <c:pt idx="11240">
                  <c:v>31.222222222222221</c:v>
                </c:pt>
                <c:pt idx="11241">
                  <c:v>31.225000000000001</c:v>
                </c:pt>
                <c:pt idx="11242">
                  <c:v>31.227777777777778</c:v>
                </c:pt>
                <c:pt idx="11243">
                  <c:v>31.230555555555554</c:v>
                </c:pt>
                <c:pt idx="11244">
                  <c:v>31.233333333333334</c:v>
                </c:pt>
                <c:pt idx="11245">
                  <c:v>31.236111111111111</c:v>
                </c:pt>
                <c:pt idx="11246">
                  <c:v>31.238888888888887</c:v>
                </c:pt>
                <c:pt idx="11247">
                  <c:v>31.241666666666667</c:v>
                </c:pt>
                <c:pt idx="11248">
                  <c:v>31.244444444444444</c:v>
                </c:pt>
                <c:pt idx="11249">
                  <c:v>31.247222222222224</c:v>
                </c:pt>
                <c:pt idx="11250">
                  <c:v>31.25</c:v>
                </c:pt>
                <c:pt idx="11251">
                  <c:v>31.252777777777776</c:v>
                </c:pt>
                <c:pt idx="11252">
                  <c:v>31.255555555555556</c:v>
                </c:pt>
                <c:pt idx="11253">
                  <c:v>31.258333333333333</c:v>
                </c:pt>
                <c:pt idx="11254">
                  <c:v>31.261111111111113</c:v>
                </c:pt>
                <c:pt idx="11255">
                  <c:v>31.263888888888889</c:v>
                </c:pt>
                <c:pt idx="11256">
                  <c:v>31.266666666666666</c:v>
                </c:pt>
                <c:pt idx="11257">
                  <c:v>31.269444444444446</c:v>
                </c:pt>
                <c:pt idx="11258">
                  <c:v>31.272222222222222</c:v>
                </c:pt>
                <c:pt idx="11259">
                  <c:v>31.274999999999999</c:v>
                </c:pt>
                <c:pt idx="11260">
                  <c:v>31.277777777777779</c:v>
                </c:pt>
                <c:pt idx="11261">
                  <c:v>31.280555555555555</c:v>
                </c:pt>
                <c:pt idx="11262">
                  <c:v>31.283333333333335</c:v>
                </c:pt>
                <c:pt idx="11263">
                  <c:v>31.286111111111111</c:v>
                </c:pt>
                <c:pt idx="11264">
                  <c:v>31.288888888888888</c:v>
                </c:pt>
                <c:pt idx="11265">
                  <c:v>31.291666666666668</c:v>
                </c:pt>
                <c:pt idx="11266">
                  <c:v>31.294444444444444</c:v>
                </c:pt>
                <c:pt idx="11267">
                  <c:v>31.297222222222221</c:v>
                </c:pt>
                <c:pt idx="11268">
                  <c:v>31.3</c:v>
                </c:pt>
                <c:pt idx="11269">
                  <c:v>31.302777777777777</c:v>
                </c:pt>
                <c:pt idx="11270">
                  <c:v>31.305555555555557</c:v>
                </c:pt>
                <c:pt idx="11271">
                  <c:v>31.308333333333334</c:v>
                </c:pt>
                <c:pt idx="11272">
                  <c:v>31.31111111111111</c:v>
                </c:pt>
                <c:pt idx="11273">
                  <c:v>31.31388888888889</c:v>
                </c:pt>
                <c:pt idx="11274">
                  <c:v>31.316666666666666</c:v>
                </c:pt>
                <c:pt idx="11275">
                  <c:v>31.319444444444443</c:v>
                </c:pt>
                <c:pt idx="11276">
                  <c:v>31.322222222222223</c:v>
                </c:pt>
                <c:pt idx="11277">
                  <c:v>31.324999999999999</c:v>
                </c:pt>
                <c:pt idx="11278">
                  <c:v>31.327777777777779</c:v>
                </c:pt>
                <c:pt idx="11279">
                  <c:v>31.330555555555556</c:v>
                </c:pt>
                <c:pt idx="11280">
                  <c:v>31.333333333333332</c:v>
                </c:pt>
                <c:pt idx="11281">
                  <c:v>31.336111111111112</c:v>
                </c:pt>
                <c:pt idx="11282">
                  <c:v>31.338888888888889</c:v>
                </c:pt>
                <c:pt idx="11283">
                  <c:v>31.341666666666665</c:v>
                </c:pt>
                <c:pt idx="11284">
                  <c:v>31.344444444444445</c:v>
                </c:pt>
                <c:pt idx="11285">
                  <c:v>31.347222222222221</c:v>
                </c:pt>
                <c:pt idx="11286">
                  <c:v>31.35</c:v>
                </c:pt>
                <c:pt idx="11287">
                  <c:v>31.352777777777778</c:v>
                </c:pt>
                <c:pt idx="11288">
                  <c:v>31.355555555555554</c:v>
                </c:pt>
                <c:pt idx="11289">
                  <c:v>31.358333333333334</c:v>
                </c:pt>
                <c:pt idx="11290">
                  <c:v>31.361111111111111</c:v>
                </c:pt>
                <c:pt idx="11291">
                  <c:v>31.363888888888887</c:v>
                </c:pt>
                <c:pt idx="11292">
                  <c:v>31.366666666666667</c:v>
                </c:pt>
                <c:pt idx="11293">
                  <c:v>31.369444444444444</c:v>
                </c:pt>
                <c:pt idx="11294">
                  <c:v>31.372222222222224</c:v>
                </c:pt>
                <c:pt idx="11295">
                  <c:v>31.375</c:v>
                </c:pt>
                <c:pt idx="11296">
                  <c:v>31.377777777777776</c:v>
                </c:pt>
                <c:pt idx="11297">
                  <c:v>31.380555555555556</c:v>
                </c:pt>
                <c:pt idx="11298">
                  <c:v>31.383333333333333</c:v>
                </c:pt>
                <c:pt idx="11299">
                  <c:v>31.386111111111113</c:v>
                </c:pt>
                <c:pt idx="11300">
                  <c:v>31.388888888888889</c:v>
                </c:pt>
                <c:pt idx="11301">
                  <c:v>31.391666666666666</c:v>
                </c:pt>
                <c:pt idx="11302">
                  <c:v>31.394444444444446</c:v>
                </c:pt>
                <c:pt idx="11303">
                  <c:v>31.397222222222222</c:v>
                </c:pt>
                <c:pt idx="11304">
                  <c:v>31.4</c:v>
                </c:pt>
                <c:pt idx="11305">
                  <c:v>31.402777777777779</c:v>
                </c:pt>
                <c:pt idx="11306">
                  <c:v>31.405555555555555</c:v>
                </c:pt>
                <c:pt idx="11307">
                  <c:v>31.408333333333335</c:v>
                </c:pt>
                <c:pt idx="11308">
                  <c:v>31.411111111111111</c:v>
                </c:pt>
                <c:pt idx="11309">
                  <c:v>31.413888888888888</c:v>
                </c:pt>
                <c:pt idx="11310">
                  <c:v>31.416666666666668</c:v>
                </c:pt>
                <c:pt idx="11311">
                  <c:v>31.419444444444444</c:v>
                </c:pt>
                <c:pt idx="11312">
                  <c:v>31.422222222222221</c:v>
                </c:pt>
                <c:pt idx="11313">
                  <c:v>31.425000000000001</c:v>
                </c:pt>
                <c:pt idx="11314">
                  <c:v>31.427777777777777</c:v>
                </c:pt>
                <c:pt idx="11315">
                  <c:v>31.430555555555557</c:v>
                </c:pt>
                <c:pt idx="11316">
                  <c:v>31.433333333333334</c:v>
                </c:pt>
                <c:pt idx="11317">
                  <c:v>31.43611111111111</c:v>
                </c:pt>
                <c:pt idx="11318">
                  <c:v>31.43888888888889</c:v>
                </c:pt>
                <c:pt idx="11319">
                  <c:v>31.441666666666666</c:v>
                </c:pt>
                <c:pt idx="11320">
                  <c:v>31.444444444444443</c:v>
                </c:pt>
                <c:pt idx="11321">
                  <c:v>31.447222222222223</c:v>
                </c:pt>
                <c:pt idx="11322">
                  <c:v>31.45</c:v>
                </c:pt>
                <c:pt idx="11323">
                  <c:v>31.452777777777779</c:v>
                </c:pt>
                <c:pt idx="11324">
                  <c:v>31.455555555555556</c:v>
                </c:pt>
                <c:pt idx="11325">
                  <c:v>31.458333333333332</c:v>
                </c:pt>
                <c:pt idx="11326">
                  <c:v>31.461111111111112</c:v>
                </c:pt>
                <c:pt idx="11327">
                  <c:v>31.463888888888889</c:v>
                </c:pt>
                <c:pt idx="11328">
                  <c:v>31.466666666666665</c:v>
                </c:pt>
                <c:pt idx="11329">
                  <c:v>31.469444444444445</c:v>
                </c:pt>
                <c:pt idx="11330">
                  <c:v>31.472222222222221</c:v>
                </c:pt>
                <c:pt idx="11331">
                  <c:v>31.475000000000001</c:v>
                </c:pt>
                <c:pt idx="11332">
                  <c:v>31.477777777777778</c:v>
                </c:pt>
                <c:pt idx="11333">
                  <c:v>31.480555555555554</c:v>
                </c:pt>
                <c:pt idx="11334">
                  <c:v>31.483333333333334</c:v>
                </c:pt>
                <c:pt idx="11335">
                  <c:v>31.486111111111111</c:v>
                </c:pt>
                <c:pt idx="11336">
                  <c:v>31.488888888888887</c:v>
                </c:pt>
                <c:pt idx="11337">
                  <c:v>31.491666666666667</c:v>
                </c:pt>
                <c:pt idx="11338">
                  <c:v>31.494444444444444</c:v>
                </c:pt>
                <c:pt idx="11339">
                  <c:v>31.497222222222224</c:v>
                </c:pt>
                <c:pt idx="11340">
                  <c:v>31.5</c:v>
                </c:pt>
                <c:pt idx="11341">
                  <c:v>31.502777777777776</c:v>
                </c:pt>
                <c:pt idx="11342">
                  <c:v>31.505555555555556</c:v>
                </c:pt>
                <c:pt idx="11343">
                  <c:v>31.508333333333333</c:v>
                </c:pt>
                <c:pt idx="11344">
                  <c:v>31.511111111111113</c:v>
                </c:pt>
                <c:pt idx="11345">
                  <c:v>31.513888888888889</c:v>
                </c:pt>
                <c:pt idx="11346">
                  <c:v>31.516666666666666</c:v>
                </c:pt>
                <c:pt idx="11347">
                  <c:v>31.519444444444446</c:v>
                </c:pt>
                <c:pt idx="11348">
                  <c:v>31.522222222222222</c:v>
                </c:pt>
                <c:pt idx="11349">
                  <c:v>31.524999999999999</c:v>
                </c:pt>
                <c:pt idx="11350">
                  <c:v>31.527777777777779</c:v>
                </c:pt>
                <c:pt idx="11351">
                  <c:v>31.530555555555555</c:v>
                </c:pt>
                <c:pt idx="11352">
                  <c:v>31.533333333333335</c:v>
                </c:pt>
                <c:pt idx="11353">
                  <c:v>31.536111111111111</c:v>
                </c:pt>
                <c:pt idx="11354">
                  <c:v>31.538888888888888</c:v>
                </c:pt>
                <c:pt idx="11355">
                  <c:v>31.541666666666668</c:v>
                </c:pt>
                <c:pt idx="11356">
                  <c:v>31.544444444444444</c:v>
                </c:pt>
                <c:pt idx="11357">
                  <c:v>31.547222222222221</c:v>
                </c:pt>
                <c:pt idx="11358">
                  <c:v>31.55</c:v>
                </c:pt>
                <c:pt idx="11359">
                  <c:v>31.552777777777777</c:v>
                </c:pt>
                <c:pt idx="11360">
                  <c:v>31.555555555555557</c:v>
                </c:pt>
                <c:pt idx="11361">
                  <c:v>31.558333333333334</c:v>
                </c:pt>
                <c:pt idx="11362">
                  <c:v>31.56111111111111</c:v>
                </c:pt>
                <c:pt idx="11363">
                  <c:v>31.56388888888889</c:v>
                </c:pt>
                <c:pt idx="11364">
                  <c:v>31.566666666666666</c:v>
                </c:pt>
                <c:pt idx="11365">
                  <c:v>31.569444444444443</c:v>
                </c:pt>
                <c:pt idx="11366">
                  <c:v>31.572222222222223</c:v>
                </c:pt>
                <c:pt idx="11367">
                  <c:v>31.574999999999999</c:v>
                </c:pt>
                <c:pt idx="11368">
                  <c:v>31.577777777777779</c:v>
                </c:pt>
                <c:pt idx="11369">
                  <c:v>31.580555555555556</c:v>
                </c:pt>
                <c:pt idx="11370">
                  <c:v>31.583333333333332</c:v>
                </c:pt>
                <c:pt idx="11371">
                  <c:v>31.586111111111112</c:v>
                </c:pt>
                <c:pt idx="11372">
                  <c:v>31.588888888888889</c:v>
                </c:pt>
                <c:pt idx="11373">
                  <c:v>31.591666666666665</c:v>
                </c:pt>
                <c:pt idx="11374">
                  <c:v>31.594444444444445</c:v>
                </c:pt>
                <c:pt idx="11375">
                  <c:v>31.597222222222221</c:v>
                </c:pt>
                <c:pt idx="11376">
                  <c:v>31.6</c:v>
                </c:pt>
                <c:pt idx="11377">
                  <c:v>31.602777777777778</c:v>
                </c:pt>
                <c:pt idx="11378">
                  <c:v>31.605555555555554</c:v>
                </c:pt>
                <c:pt idx="11379">
                  <c:v>31.608333333333334</c:v>
                </c:pt>
                <c:pt idx="11380">
                  <c:v>31.611111111111111</c:v>
                </c:pt>
                <c:pt idx="11381">
                  <c:v>31.613888888888887</c:v>
                </c:pt>
                <c:pt idx="11382">
                  <c:v>31.616666666666667</c:v>
                </c:pt>
                <c:pt idx="11383">
                  <c:v>31.619444444444444</c:v>
                </c:pt>
                <c:pt idx="11384">
                  <c:v>31.622222222222224</c:v>
                </c:pt>
                <c:pt idx="11385">
                  <c:v>31.625</c:v>
                </c:pt>
                <c:pt idx="11386">
                  <c:v>31.627777777777776</c:v>
                </c:pt>
                <c:pt idx="11387">
                  <c:v>31.630555555555556</c:v>
                </c:pt>
                <c:pt idx="11388">
                  <c:v>31.633333333333333</c:v>
                </c:pt>
                <c:pt idx="11389">
                  <c:v>31.636111111111113</c:v>
                </c:pt>
                <c:pt idx="11390">
                  <c:v>31.638888888888889</c:v>
                </c:pt>
                <c:pt idx="11391">
                  <c:v>31.641666666666666</c:v>
                </c:pt>
                <c:pt idx="11392">
                  <c:v>31.644444444444446</c:v>
                </c:pt>
                <c:pt idx="11393">
                  <c:v>31.647222222222222</c:v>
                </c:pt>
                <c:pt idx="11394">
                  <c:v>31.65</c:v>
                </c:pt>
                <c:pt idx="11395">
                  <c:v>31.652777777777779</c:v>
                </c:pt>
                <c:pt idx="11396">
                  <c:v>31.655555555555555</c:v>
                </c:pt>
                <c:pt idx="11397">
                  <c:v>31.658333333333335</c:v>
                </c:pt>
                <c:pt idx="11398">
                  <c:v>31.661111111111111</c:v>
                </c:pt>
                <c:pt idx="11399">
                  <c:v>31.663888888888888</c:v>
                </c:pt>
                <c:pt idx="11400">
                  <c:v>31.666666666666668</c:v>
                </c:pt>
                <c:pt idx="11401">
                  <c:v>31.669444444444444</c:v>
                </c:pt>
                <c:pt idx="11402">
                  <c:v>31.672222222222221</c:v>
                </c:pt>
                <c:pt idx="11403">
                  <c:v>31.675000000000001</c:v>
                </c:pt>
                <c:pt idx="11404">
                  <c:v>31.677777777777777</c:v>
                </c:pt>
                <c:pt idx="11405">
                  <c:v>31.680555555555557</c:v>
                </c:pt>
                <c:pt idx="11406">
                  <c:v>31.683333333333334</c:v>
                </c:pt>
                <c:pt idx="11407">
                  <c:v>31.68611111111111</c:v>
                </c:pt>
                <c:pt idx="11408">
                  <c:v>31.68888888888889</c:v>
                </c:pt>
                <c:pt idx="11409">
                  <c:v>31.691666666666666</c:v>
                </c:pt>
                <c:pt idx="11410">
                  <c:v>31.694444444444443</c:v>
                </c:pt>
                <c:pt idx="11411">
                  <c:v>31.697222222222223</c:v>
                </c:pt>
                <c:pt idx="11412">
                  <c:v>31.7</c:v>
                </c:pt>
                <c:pt idx="11413">
                  <c:v>31.702777777777779</c:v>
                </c:pt>
                <c:pt idx="11414">
                  <c:v>31.705555555555556</c:v>
                </c:pt>
                <c:pt idx="11415">
                  <c:v>31.708333333333332</c:v>
                </c:pt>
                <c:pt idx="11416">
                  <c:v>31.711111111111112</c:v>
                </c:pt>
                <c:pt idx="11417">
                  <c:v>31.713888888888889</c:v>
                </c:pt>
                <c:pt idx="11418">
                  <c:v>31.716666666666665</c:v>
                </c:pt>
                <c:pt idx="11419">
                  <c:v>31.719444444444445</c:v>
                </c:pt>
                <c:pt idx="11420">
                  <c:v>31.722222222222221</c:v>
                </c:pt>
                <c:pt idx="11421">
                  <c:v>31.725000000000001</c:v>
                </c:pt>
                <c:pt idx="11422">
                  <c:v>31.727777777777778</c:v>
                </c:pt>
                <c:pt idx="11423">
                  <c:v>31.730555555555554</c:v>
                </c:pt>
                <c:pt idx="11424">
                  <c:v>31.733333333333334</c:v>
                </c:pt>
                <c:pt idx="11425">
                  <c:v>31.736111111111111</c:v>
                </c:pt>
                <c:pt idx="11426">
                  <c:v>31.738888888888887</c:v>
                </c:pt>
                <c:pt idx="11427">
                  <c:v>31.741666666666667</c:v>
                </c:pt>
                <c:pt idx="11428">
                  <c:v>31.744444444444444</c:v>
                </c:pt>
                <c:pt idx="11429">
                  <c:v>31.747222222222224</c:v>
                </c:pt>
                <c:pt idx="11430">
                  <c:v>31.75</c:v>
                </c:pt>
                <c:pt idx="11431">
                  <c:v>31.752777777777776</c:v>
                </c:pt>
                <c:pt idx="11432">
                  <c:v>31.755555555555556</c:v>
                </c:pt>
                <c:pt idx="11433">
                  <c:v>31.758333333333333</c:v>
                </c:pt>
                <c:pt idx="11434">
                  <c:v>31.761111111111113</c:v>
                </c:pt>
                <c:pt idx="11435">
                  <c:v>31.763888888888889</c:v>
                </c:pt>
                <c:pt idx="11436">
                  <c:v>31.766666666666666</c:v>
                </c:pt>
                <c:pt idx="11437">
                  <c:v>31.769444444444446</c:v>
                </c:pt>
                <c:pt idx="11438">
                  <c:v>31.772222222222222</c:v>
                </c:pt>
                <c:pt idx="11439">
                  <c:v>31.774999999999999</c:v>
                </c:pt>
                <c:pt idx="11440">
                  <c:v>31.777777777777779</c:v>
                </c:pt>
                <c:pt idx="11441">
                  <c:v>31.780555555555555</c:v>
                </c:pt>
                <c:pt idx="11442">
                  <c:v>31.783333333333335</c:v>
                </c:pt>
                <c:pt idx="11443">
                  <c:v>31.786111111111111</c:v>
                </c:pt>
                <c:pt idx="11444">
                  <c:v>31.788888888888888</c:v>
                </c:pt>
                <c:pt idx="11445">
                  <c:v>31.791666666666668</c:v>
                </c:pt>
                <c:pt idx="11446">
                  <c:v>31.794444444444444</c:v>
                </c:pt>
                <c:pt idx="11447">
                  <c:v>31.797222222222221</c:v>
                </c:pt>
                <c:pt idx="11448">
                  <c:v>31.8</c:v>
                </c:pt>
                <c:pt idx="11449">
                  <c:v>31.802777777777777</c:v>
                </c:pt>
                <c:pt idx="11450">
                  <c:v>31.805555555555557</c:v>
                </c:pt>
                <c:pt idx="11451">
                  <c:v>31.808333333333334</c:v>
                </c:pt>
                <c:pt idx="11452">
                  <c:v>31.81111111111111</c:v>
                </c:pt>
                <c:pt idx="11453">
                  <c:v>31.81388888888889</c:v>
                </c:pt>
                <c:pt idx="11454">
                  <c:v>31.816666666666666</c:v>
                </c:pt>
                <c:pt idx="11455">
                  <c:v>31.819444444444443</c:v>
                </c:pt>
                <c:pt idx="11456">
                  <c:v>31.822222222222223</c:v>
                </c:pt>
                <c:pt idx="11457">
                  <c:v>31.824999999999999</c:v>
                </c:pt>
                <c:pt idx="11458">
                  <c:v>31.827777777777779</c:v>
                </c:pt>
                <c:pt idx="11459">
                  <c:v>31.830555555555556</c:v>
                </c:pt>
                <c:pt idx="11460">
                  <c:v>31.833333333333332</c:v>
                </c:pt>
                <c:pt idx="11461">
                  <c:v>31.836111111111112</c:v>
                </c:pt>
                <c:pt idx="11462">
                  <c:v>31.838888888888889</c:v>
                </c:pt>
                <c:pt idx="11463">
                  <c:v>31.841666666666665</c:v>
                </c:pt>
                <c:pt idx="11464">
                  <c:v>31.844444444444445</c:v>
                </c:pt>
                <c:pt idx="11465">
                  <c:v>31.847222222222221</c:v>
                </c:pt>
                <c:pt idx="11466">
                  <c:v>31.85</c:v>
                </c:pt>
                <c:pt idx="11467">
                  <c:v>31.852777777777778</c:v>
                </c:pt>
                <c:pt idx="11468">
                  <c:v>31.855555555555554</c:v>
                </c:pt>
                <c:pt idx="11469">
                  <c:v>31.858333333333334</c:v>
                </c:pt>
                <c:pt idx="11470">
                  <c:v>31.861111111111111</c:v>
                </c:pt>
                <c:pt idx="11471">
                  <c:v>31.863888888888887</c:v>
                </c:pt>
                <c:pt idx="11472">
                  <c:v>31.866666666666667</c:v>
                </c:pt>
                <c:pt idx="11473">
                  <c:v>31.869444444444444</c:v>
                </c:pt>
                <c:pt idx="11474">
                  <c:v>31.872222222222224</c:v>
                </c:pt>
                <c:pt idx="11475">
                  <c:v>31.875</c:v>
                </c:pt>
                <c:pt idx="11476">
                  <c:v>31.877777777777776</c:v>
                </c:pt>
                <c:pt idx="11477">
                  <c:v>31.880555555555556</c:v>
                </c:pt>
                <c:pt idx="11478">
                  <c:v>31.883333333333333</c:v>
                </c:pt>
                <c:pt idx="11479">
                  <c:v>31.886111111111113</c:v>
                </c:pt>
                <c:pt idx="11480">
                  <c:v>31.888888888888889</c:v>
                </c:pt>
                <c:pt idx="11481">
                  <c:v>31.891666666666666</c:v>
                </c:pt>
                <c:pt idx="11482">
                  <c:v>31.894444444444446</c:v>
                </c:pt>
                <c:pt idx="11483">
                  <c:v>31.897222222222222</c:v>
                </c:pt>
                <c:pt idx="11484">
                  <c:v>31.9</c:v>
                </c:pt>
                <c:pt idx="11485">
                  <c:v>31.902777777777779</c:v>
                </c:pt>
                <c:pt idx="11486">
                  <c:v>31.905555555555555</c:v>
                </c:pt>
                <c:pt idx="11487">
                  <c:v>31.908333333333335</c:v>
                </c:pt>
                <c:pt idx="11488">
                  <c:v>31.911111111111111</c:v>
                </c:pt>
                <c:pt idx="11489">
                  <c:v>31.913888888888888</c:v>
                </c:pt>
                <c:pt idx="11490">
                  <c:v>31.916666666666668</c:v>
                </c:pt>
                <c:pt idx="11491">
                  <c:v>31.919444444444444</c:v>
                </c:pt>
                <c:pt idx="11492">
                  <c:v>31.922222222222221</c:v>
                </c:pt>
                <c:pt idx="11493">
                  <c:v>31.925000000000001</c:v>
                </c:pt>
                <c:pt idx="11494">
                  <c:v>31.927777777777777</c:v>
                </c:pt>
                <c:pt idx="11495">
                  <c:v>31.930555555555557</c:v>
                </c:pt>
                <c:pt idx="11496">
                  <c:v>31.933333333333334</c:v>
                </c:pt>
                <c:pt idx="11497">
                  <c:v>31.93611111111111</c:v>
                </c:pt>
                <c:pt idx="11498">
                  <c:v>31.93888888888889</c:v>
                </c:pt>
                <c:pt idx="11499">
                  <c:v>31.941666666666666</c:v>
                </c:pt>
                <c:pt idx="11500">
                  <c:v>31.944444444444443</c:v>
                </c:pt>
                <c:pt idx="11501">
                  <c:v>31.947222222222223</c:v>
                </c:pt>
                <c:pt idx="11502">
                  <c:v>31.95</c:v>
                </c:pt>
                <c:pt idx="11503">
                  <c:v>31.952777777777779</c:v>
                </c:pt>
                <c:pt idx="11504">
                  <c:v>31.955555555555556</c:v>
                </c:pt>
                <c:pt idx="11505">
                  <c:v>31.958333333333332</c:v>
                </c:pt>
                <c:pt idx="11506">
                  <c:v>31.961111111111112</c:v>
                </c:pt>
                <c:pt idx="11507">
                  <c:v>31.963888888888889</c:v>
                </c:pt>
                <c:pt idx="11508">
                  <c:v>31.966666666666665</c:v>
                </c:pt>
                <c:pt idx="11509">
                  <c:v>31.969444444444445</c:v>
                </c:pt>
                <c:pt idx="11510">
                  <c:v>31.972222222222221</c:v>
                </c:pt>
                <c:pt idx="11511">
                  <c:v>31.975000000000001</c:v>
                </c:pt>
                <c:pt idx="11512">
                  <c:v>31.977777777777778</c:v>
                </c:pt>
                <c:pt idx="11513">
                  <c:v>31.980555555555554</c:v>
                </c:pt>
                <c:pt idx="11514">
                  <c:v>31.983333333333334</c:v>
                </c:pt>
                <c:pt idx="11515">
                  <c:v>31.986111111111111</c:v>
                </c:pt>
                <c:pt idx="11516">
                  <c:v>31.988888888888887</c:v>
                </c:pt>
                <c:pt idx="11517">
                  <c:v>31.991666666666667</c:v>
                </c:pt>
                <c:pt idx="11518">
                  <c:v>31.994444444444444</c:v>
                </c:pt>
                <c:pt idx="11519">
                  <c:v>31.997222222222224</c:v>
                </c:pt>
                <c:pt idx="11520">
                  <c:v>32</c:v>
                </c:pt>
                <c:pt idx="11521">
                  <c:v>32.00277777777778</c:v>
                </c:pt>
                <c:pt idx="11522">
                  <c:v>32.005555555555553</c:v>
                </c:pt>
                <c:pt idx="11523">
                  <c:v>32.008333333333333</c:v>
                </c:pt>
                <c:pt idx="11524">
                  <c:v>32.011111111111113</c:v>
                </c:pt>
                <c:pt idx="11525">
                  <c:v>32.013888888888886</c:v>
                </c:pt>
                <c:pt idx="11526">
                  <c:v>32.016666666666666</c:v>
                </c:pt>
                <c:pt idx="11527">
                  <c:v>32.019444444444446</c:v>
                </c:pt>
                <c:pt idx="11528">
                  <c:v>32.022222222222226</c:v>
                </c:pt>
                <c:pt idx="11529">
                  <c:v>32.024999999999999</c:v>
                </c:pt>
                <c:pt idx="11530">
                  <c:v>32.027777777777779</c:v>
                </c:pt>
                <c:pt idx="11531">
                  <c:v>32.030555555555559</c:v>
                </c:pt>
                <c:pt idx="11532">
                  <c:v>32.033333333333331</c:v>
                </c:pt>
                <c:pt idx="11533">
                  <c:v>32.036111111111111</c:v>
                </c:pt>
                <c:pt idx="11534">
                  <c:v>32.038888888888891</c:v>
                </c:pt>
                <c:pt idx="11535">
                  <c:v>32.041666666666664</c:v>
                </c:pt>
                <c:pt idx="11536">
                  <c:v>32.044444444444444</c:v>
                </c:pt>
                <c:pt idx="11537">
                  <c:v>32.047222222222224</c:v>
                </c:pt>
                <c:pt idx="11538">
                  <c:v>32.049999999999997</c:v>
                </c:pt>
                <c:pt idx="11539">
                  <c:v>32.052777777777777</c:v>
                </c:pt>
                <c:pt idx="11540">
                  <c:v>32.055555555555557</c:v>
                </c:pt>
                <c:pt idx="11541">
                  <c:v>32.05833333333333</c:v>
                </c:pt>
                <c:pt idx="11542">
                  <c:v>32.06111111111111</c:v>
                </c:pt>
                <c:pt idx="11543">
                  <c:v>32.06388888888889</c:v>
                </c:pt>
                <c:pt idx="11544">
                  <c:v>32.06666666666667</c:v>
                </c:pt>
                <c:pt idx="11545">
                  <c:v>32.069444444444443</c:v>
                </c:pt>
                <c:pt idx="11546">
                  <c:v>32.072222222222223</c:v>
                </c:pt>
                <c:pt idx="11547">
                  <c:v>32.075000000000003</c:v>
                </c:pt>
                <c:pt idx="11548">
                  <c:v>32.077777777777776</c:v>
                </c:pt>
                <c:pt idx="11549">
                  <c:v>32.080555555555556</c:v>
                </c:pt>
                <c:pt idx="11550">
                  <c:v>32.083333333333336</c:v>
                </c:pt>
                <c:pt idx="11551">
                  <c:v>32.086111111111109</c:v>
                </c:pt>
                <c:pt idx="11552">
                  <c:v>32.088888888888889</c:v>
                </c:pt>
                <c:pt idx="11553">
                  <c:v>32.091666666666669</c:v>
                </c:pt>
                <c:pt idx="11554">
                  <c:v>32.094444444444441</c:v>
                </c:pt>
                <c:pt idx="11555">
                  <c:v>32.097222222222221</c:v>
                </c:pt>
                <c:pt idx="11556">
                  <c:v>32.1</c:v>
                </c:pt>
                <c:pt idx="11557">
                  <c:v>32.102777777777774</c:v>
                </c:pt>
                <c:pt idx="11558">
                  <c:v>32.105555555555554</c:v>
                </c:pt>
                <c:pt idx="11559">
                  <c:v>32.108333333333334</c:v>
                </c:pt>
                <c:pt idx="11560">
                  <c:v>32.111111111111114</c:v>
                </c:pt>
                <c:pt idx="11561">
                  <c:v>32.113888888888887</c:v>
                </c:pt>
                <c:pt idx="11562">
                  <c:v>32.116666666666667</c:v>
                </c:pt>
                <c:pt idx="11563">
                  <c:v>32.119444444444447</c:v>
                </c:pt>
                <c:pt idx="11564">
                  <c:v>32.12222222222222</c:v>
                </c:pt>
                <c:pt idx="11565">
                  <c:v>32.125</c:v>
                </c:pt>
                <c:pt idx="11566">
                  <c:v>32.12777777777778</c:v>
                </c:pt>
                <c:pt idx="11567">
                  <c:v>32.130555555555553</c:v>
                </c:pt>
                <c:pt idx="11568">
                  <c:v>32.133333333333333</c:v>
                </c:pt>
                <c:pt idx="11569">
                  <c:v>32.136111111111113</c:v>
                </c:pt>
                <c:pt idx="11570">
                  <c:v>32.138888888888886</c:v>
                </c:pt>
                <c:pt idx="11571">
                  <c:v>32.141666666666666</c:v>
                </c:pt>
                <c:pt idx="11572">
                  <c:v>32.144444444444446</c:v>
                </c:pt>
                <c:pt idx="11573">
                  <c:v>32.147222222222226</c:v>
                </c:pt>
                <c:pt idx="11574">
                  <c:v>32.15</c:v>
                </c:pt>
                <c:pt idx="11575">
                  <c:v>32.152777777777779</c:v>
                </c:pt>
                <c:pt idx="11576">
                  <c:v>32.155555555555559</c:v>
                </c:pt>
                <c:pt idx="11577">
                  <c:v>32.158333333333331</c:v>
                </c:pt>
                <c:pt idx="11578">
                  <c:v>32.161111111111111</c:v>
                </c:pt>
                <c:pt idx="11579">
                  <c:v>32.163888888888891</c:v>
                </c:pt>
                <c:pt idx="11580">
                  <c:v>32.166666666666664</c:v>
                </c:pt>
                <c:pt idx="11581">
                  <c:v>32.169444444444444</c:v>
                </c:pt>
                <c:pt idx="11582">
                  <c:v>32.172222222222224</c:v>
                </c:pt>
                <c:pt idx="11583">
                  <c:v>32.174999999999997</c:v>
                </c:pt>
                <c:pt idx="11584">
                  <c:v>32.177777777777777</c:v>
                </c:pt>
                <c:pt idx="11585">
                  <c:v>32.180555555555557</c:v>
                </c:pt>
                <c:pt idx="11586">
                  <c:v>32.18333333333333</c:v>
                </c:pt>
                <c:pt idx="11587">
                  <c:v>32.18611111111111</c:v>
                </c:pt>
                <c:pt idx="11588">
                  <c:v>32.18888888888889</c:v>
                </c:pt>
                <c:pt idx="11589">
                  <c:v>32.19166666666667</c:v>
                </c:pt>
                <c:pt idx="11590">
                  <c:v>32.194444444444443</c:v>
                </c:pt>
                <c:pt idx="11591">
                  <c:v>32.197222222222223</c:v>
                </c:pt>
                <c:pt idx="11592">
                  <c:v>32.200000000000003</c:v>
                </c:pt>
                <c:pt idx="11593">
                  <c:v>32.202777777777776</c:v>
                </c:pt>
                <c:pt idx="11594">
                  <c:v>32.205555555555556</c:v>
                </c:pt>
                <c:pt idx="11595">
                  <c:v>32.208333333333336</c:v>
                </c:pt>
                <c:pt idx="11596">
                  <c:v>32.211111111111109</c:v>
                </c:pt>
                <c:pt idx="11597">
                  <c:v>32.213888888888889</c:v>
                </c:pt>
                <c:pt idx="11598">
                  <c:v>32.216666666666669</c:v>
                </c:pt>
                <c:pt idx="11599">
                  <c:v>32.219444444444441</c:v>
                </c:pt>
                <c:pt idx="11600">
                  <c:v>32.222222222222221</c:v>
                </c:pt>
                <c:pt idx="11601">
                  <c:v>32.225000000000001</c:v>
                </c:pt>
                <c:pt idx="11602">
                  <c:v>32.227777777777774</c:v>
                </c:pt>
                <c:pt idx="11603">
                  <c:v>32.230555555555554</c:v>
                </c:pt>
                <c:pt idx="11604">
                  <c:v>32.233333333333334</c:v>
                </c:pt>
                <c:pt idx="11605">
                  <c:v>32.236111111111114</c:v>
                </c:pt>
                <c:pt idx="11606">
                  <c:v>32.238888888888887</c:v>
                </c:pt>
                <c:pt idx="11607">
                  <c:v>32.241666666666667</c:v>
                </c:pt>
                <c:pt idx="11608">
                  <c:v>32.244444444444447</c:v>
                </c:pt>
                <c:pt idx="11609">
                  <c:v>32.24722222222222</c:v>
                </c:pt>
                <c:pt idx="11610">
                  <c:v>32.25</c:v>
                </c:pt>
                <c:pt idx="11611">
                  <c:v>32.25277777777778</c:v>
                </c:pt>
                <c:pt idx="11612">
                  <c:v>32.255555555555553</c:v>
                </c:pt>
                <c:pt idx="11613">
                  <c:v>32.258333333333333</c:v>
                </c:pt>
                <c:pt idx="11614">
                  <c:v>32.261111111111113</c:v>
                </c:pt>
                <c:pt idx="11615">
                  <c:v>32.263888888888886</c:v>
                </c:pt>
                <c:pt idx="11616">
                  <c:v>32.266666666666666</c:v>
                </c:pt>
                <c:pt idx="11617">
                  <c:v>32.269444444444446</c:v>
                </c:pt>
                <c:pt idx="11618">
                  <c:v>32.272222222222226</c:v>
                </c:pt>
                <c:pt idx="11619">
                  <c:v>32.274999999999999</c:v>
                </c:pt>
                <c:pt idx="11620">
                  <c:v>32.277777777777779</c:v>
                </c:pt>
                <c:pt idx="11621">
                  <c:v>32.280555555555559</c:v>
                </c:pt>
                <c:pt idx="11622">
                  <c:v>32.283333333333331</c:v>
                </c:pt>
                <c:pt idx="11623">
                  <c:v>32.286111111111111</c:v>
                </c:pt>
                <c:pt idx="11624">
                  <c:v>32.288888888888891</c:v>
                </c:pt>
                <c:pt idx="11625">
                  <c:v>32.291666666666664</c:v>
                </c:pt>
                <c:pt idx="11626">
                  <c:v>32.294444444444444</c:v>
                </c:pt>
                <c:pt idx="11627">
                  <c:v>32.297222222222224</c:v>
                </c:pt>
                <c:pt idx="11628">
                  <c:v>32.299999999999997</c:v>
                </c:pt>
                <c:pt idx="11629">
                  <c:v>32.302777777777777</c:v>
                </c:pt>
                <c:pt idx="11630">
                  <c:v>32.305555555555557</c:v>
                </c:pt>
                <c:pt idx="11631">
                  <c:v>32.30833333333333</c:v>
                </c:pt>
                <c:pt idx="11632">
                  <c:v>32.31111111111111</c:v>
                </c:pt>
                <c:pt idx="11633">
                  <c:v>32.31388888888889</c:v>
                </c:pt>
                <c:pt idx="11634">
                  <c:v>32.31666666666667</c:v>
                </c:pt>
                <c:pt idx="11635">
                  <c:v>32.319444444444443</c:v>
                </c:pt>
                <c:pt idx="11636">
                  <c:v>32.322222222222223</c:v>
                </c:pt>
                <c:pt idx="11637">
                  <c:v>32.325000000000003</c:v>
                </c:pt>
                <c:pt idx="11638">
                  <c:v>32.327777777777776</c:v>
                </c:pt>
                <c:pt idx="11639">
                  <c:v>32.330555555555556</c:v>
                </c:pt>
                <c:pt idx="11640">
                  <c:v>32.333333333333336</c:v>
                </c:pt>
                <c:pt idx="11641">
                  <c:v>32.336111111111109</c:v>
                </c:pt>
                <c:pt idx="11642">
                  <c:v>32.338888888888889</c:v>
                </c:pt>
                <c:pt idx="11643">
                  <c:v>32.341666666666669</c:v>
                </c:pt>
                <c:pt idx="11644">
                  <c:v>32.344444444444441</c:v>
                </c:pt>
                <c:pt idx="11645">
                  <c:v>32.347222222222221</c:v>
                </c:pt>
                <c:pt idx="11646">
                  <c:v>32.35</c:v>
                </c:pt>
                <c:pt idx="11647">
                  <c:v>32.352777777777774</c:v>
                </c:pt>
                <c:pt idx="11648">
                  <c:v>32.355555555555554</c:v>
                </c:pt>
                <c:pt idx="11649">
                  <c:v>32.358333333333334</c:v>
                </c:pt>
                <c:pt idx="11650">
                  <c:v>32.361111111111114</c:v>
                </c:pt>
                <c:pt idx="11651">
                  <c:v>32.363888888888887</c:v>
                </c:pt>
                <c:pt idx="11652">
                  <c:v>32.366666666666667</c:v>
                </c:pt>
                <c:pt idx="11653">
                  <c:v>32.369444444444447</c:v>
                </c:pt>
                <c:pt idx="11654">
                  <c:v>32.37222222222222</c:v>
                </c:pt>
                <c:pt idx="11655">
                  <c:v>32.375</c:v>
                </c:pt>
                <c:pt idx="11656">
                  <c:v>32.37777777777778</c:v>
                </c:pt>
                <c:pt idx="11657">
                  <c:v>32.380555555555553</c:v>
                </c:pt>
                <c:pt idx="11658">
                  <c:v>32.383333333333333</c:v>
                </c:pt>
                <c:pt idx="11659">
                  <c:v>32.386111111111113</c:v>
                </c:pt>
                <c:pt idx="11660">
                  <c:v>32.388888888888886</c:v>
                </c:pt>
                <c:pt idx="11661">
                  <c:v>32.391666666666666</c:v>
                </c:pt>
                <c:pt idx="11662">
                  <c:v>32.394444444444446</c:v>
                </c:pt>
                <c:pt idx="11663">
                  <c:v>32.397222222222226</c:v>
                </c:pt>
                <c:pt idx="11664">
                  <c:v>32.4</c:v>
                </c:pt>
                <c:pt idx="11665">
                  <c:v>32.402777777777779</c:v>
                </c:pt>
                <c:pt idx="11666">
                  <c:v>32.405555555555559</c:v>
                </c:pt>
                <c:pt idx="11667">
                  <c:v>32.408333333333331</c:v>
                </c:pt>
                <c:pt idx="11668">
                  <c:v>32.411111111111111</c:v>
                </c:pt>
                <c:pt idx="11669">
                  <c:v>32.413888888888891</c:v>
                </c:pt>
                <c:pt idx="11670">
                  <c:v>32.416666666666664</c:v>
                </c:pt>
                <c:pt idx="11671">
                  <c:v>32.419444444444444</c:v>
                </c:pt>
                <c:pt idx="11672">
                  <c:v>32.422222222222224</c:v>
                </c:pt>
                <c:pt idx="11673">
                  <c:v>32.424999999999997</c:v>
                </c:pt>
                <c:pt idx="11674">
                  <c:v>32.427777777777777</c:v>
                </c:pt>
                <c:pt idx="11675">
                  <c:v>32.430555555555557</c:v>
                </c:pt>
                <c:pt idx="11676">
                  <c:v>32.43333333333333</c:v>
                </c:pt>
                <c:pt idx="11677">
                  <c:v>32.43611111111111</c:v>
                </c:pt>
                <c:pt idx="11678">
                  <c:v>32.43888888888889</c:v>
                </c:pt>
                <c:pt idx="11679">
                  <c:v>32.44166666666667</c:v>
                </c:pt>
                <c:pt idx="11680">
                  <c:v>32.444444444444443</c:v>
                </c:pt>
                <c:pt idx="11681">
                  <c:v>32.447222222222223</c:v>
                </c:pt>
                <c:pt idx="11682">
                  <c:v>32.450000000000003</c:v>
                </c:pt>
                <c:pt idx="11683">
                  <c:v>32.452777777777776</c:v>
                </c:pt>
                <c:pt idx="11684">
                  <c:v>32.455555555555556</c:v>
                </c:pt>
                <c:pt idx="11685">
                  <c:v>32.458333333333336</c:v>
                </c:pt>
                <c:pt idx="11686">
                  <c:v>32.461111111111109</c:v>
                </c:pt>
                <c:pt idx="11687">
                  <c:v>32.463888888888889</c:v>
                </c:pt>
                <c:pt idx="11688">
                  <c:v>32.466666666666669</c:v>
                </c:pt>
                <c:pt idx="11689">
                  <c:v>32.469444444444441</c:v>
                </c:pt>
                <c:pt idx="11690">
                  <c:v>32.472222222222221</c:v>
                </c:pt>
                <c:pt idx="11691">
                  <c:v>32.475000000000001</c:v>
                </c:pt>
                <c:pt idx="11692">
                  <c:v>32.477777777777774</c:v>
                </c:pt>
                <c:pt idx="11693">
                  <c:v>32.480555555555554</c:v>
                </c:pt>
                <c:pt idx="11694">
                  <c:v>32.483333333333334</c:v>
                </c:pt>
                <c:pt idx="11695">
                  <c:v>32.486111111111114</c:v>
                </c:pt>
                <c:pt idx="11696">
                  <c:v>32.488888888888887</c:v>
                </c:pt>
                <c:pt idx="11697">
                  <c:v>32.491666666666667</c:v>
                </c:pt>
                <c:pt idx="11698">
                  <c:v>32.494444444444447</c:v>
                </c:pt>
                <c:pt idx="11699">
                  <c:v>32.49722222222222</c:v>
                </c:pt>
                <c:pt idx="11700">
                  <c:v>32.5</c:v>
                </c:pt>
                <c:pt idx="11701">
                  <c:v>32.50277777777778</c:v>
                </c:pt>
                <c:pt idx="11702">
                  <c:v>32.505555555555553</c:v>
                </c:pt>
                <c:pt idx="11703">
                  <c:v>32.508333333333333</c:v>
                </c:pt>
                <c:pt idx="11704">
                  <c:v>32.511111111111113</c:v>
                </c:pt>
                <c:pt idx="11705">
                  <c:v>32.513888888888886</c:v>
                </c:pt>
                <c:pt idx="11706">
                  <c:v>32.516666666666666</c:v>
                </c:pt>
                <c:pt idx="11707">
                  <c:v>32.519444444444446</c:v>
                </c:pt>
                <c:pt idx="11708">
                  <c:v>32.522222222222226</c:v>
                </c:pt>
                <c:pt idx="11709">
                  <c:v>32.524999999999999</c:v>
                </c:pt>
                <c:pt idx="11710">
                  <c:v>32.527777777777779</c:v>
                </c:pt>
                <c:pt idx="11711">
                  <c:v>32.530555555555559</c:v>
                </c:pt>
                <c:pt idx="11712">
                  <c:v>32.533333333333331</c:v>
                </c:pt>
                <c:pt idx="11713">
                  <c:v>32.536111111111111</c:v>
                </c:pt>
                <c:pt idx="11714">
                  <c:v>32.538888888888891</c:v>
                </c:pt>
                <c:pt idx="11715">
                  <c:v>32.541666666666664</c:v>
                </c:pt>
                <c:pt idx="11716">
                  <c:v>32.544444444444444</c:v>
                </c:pt>
                <c:pt idx="11717">
                  <c:v>32.547222222222224</c:v>
                </c:pt>
                <c:pt idx="11718">
                  <c:v>32.549999999999997</c:v>
                </c:pt>
                <c:pt idx="11719">
                  <c:v>32.552777777777777</c:v>
                </c:pt>
                <c:pt idx="11720">
                  <c:v>32.555555555555557</c:v>
                </c:pt>
                <c:pt idx="11721">
                  <c:v>32.55833333333333</c:v>
                </c:pt>
                <c:pt idx="11722">
                  <c:v>32.56111111111111</c:v>
                </c:pt>
                <c:pt idx="11723">
                  <c:v>32.56388888888889</c:v>
                </c:pt>
                <c:pt idx="11724">
                  <c:v>32.56666666666667</c:v>
                </c:pt>
                <c:pt idx="11725">
                  <c:v>32.569444444444443</c:v>
                </c:pt>
                <c:pt idx="11726">
                  <c:v>32.572222222222223</c:v>
                </c:pt>
                <c:pt idx="11727">
                  <c:v>32.575000000000003</c:v>
                </c:pt>
                <c:pt idx="11728">
                  <c:v>32.577777777777776</c:v>
                </c:pt>
                <c:pt idx="11729">
                  <c:v>32.580555555555556</c:v>
                </c:pt>
                <c:pt idx="11730">
                  <c:v>32.583333333333336</c:v>
                </c:pt>
                <c:pt idx="11731">
                  <c:v>32.586111111111109</c:v>
                </c:pt>
                <c:pt idx="11732">
                  <c:v>32.588888888888889</c:v>
                </c:pt>
                <c:pt idx="11733">
                  <c:v>32.591666666666669</c:v>
                </c:pt>
                <c:pt idx="11734">
                  <c:v>32.594444444444441</c:v>
                </c:pt>
                <c:pt idx="11735">
                  <c:v>32.597222222222221</c:v>
                </c:pt>
                <c:pt idx="11736">
                  <c:v>32.6</c:v>
                </c:pt>
                <c:pt idx="11737">
                  <c:v>32.602777777777774</c:v>
                </c:pt>
                <c:pt idx="11738">
                  <c:v>32.605555555555554</c:v>
                </c:pt>
                <c:pt idx="11739">
                  <c:v>32.608333333333334</c:v>
                </c:pt>
                <c:pt idx="11740">
                  <c:v>32.611111111111114</c:v>
                </c:pt>
                <c:pt idx="11741">
                  <c:v>32.613888888888887</c:v>
                </c:pt>
                <c:pt idx="11742">
                  <c:v>32.616666666666667</c:v>
                </c:pt>
                <c:pt idx="11743">
                  <c:v>32.619444444444447</c:v>
                </c:pt>
                <c:pt idx="11744">
                  <c:v>32.62222222222222</c:v>
                </c:pt>
                <c:pt idx="11745">
                  <c:v>32.625</c:v>
                </c:pt>
                <c:pt idx="11746">
                  <c:v>32.62777777777778</c:v>
                </c:pt>
                <c:pt idx="11747">
                  <c:v>32.630555555555553</c:v>
                </c:pt>
                <c:pt idx="11748">
                  <c:v>32.633333333333333</c:v>
                </c:pt>
                <c:pt idx="11749">
                  <c:v>32.636111111111113</c:v>
                </c:pt>
                <c:pt idx="11750">
                  <c:v>32.638888888888886</c:v>
                </c:pt>
                <c:pt idx="11751">
                  <c:v>32.641666666666666</c:v>
                </c:pt>
                <c:pt idx="11752">
                  <c:v>32.644444444444446</c:v>
                </c:pt>
                <c:pt idx="11753">
                  <c:v>32.647222222222226</c:v>
                </c:pt>
                <c:pt idx="11754">
                  <c:v>32.65</c:v>
                </c:pt>
                <c:pt idx="11755">
                  <c:v>32.652777777777779</c:v>
                </c:pt>
                <c:pt idx="11756">
                  <c:v>32.655555555555559</c:v>
                </c:pt>
                <c:pt idx="11757">
                  <c:v>32.658333333333331</c:v>
                </c:pt>
                <c:pt idx="11758">
                  <c:v>32.661111111111111</c:v>
                </c:pt>
                <c:pt idx="11759">
                  <c:v>32.663888888888891</c:v>
                </c:pt>
                <c:pt idx="11760">
                  <c:v>32.666666666666664</c:v>
                </c:pt>
                <c:pt idx="11761">
                  <c:v>32.669444444444444</c:v>
                </c:pt>
                <c:pt idx="11762">
                  <c:v>32.672222222222224</c:v>
                </c:pt>
                <c:pt idx="11763">
                  <c:v>32.674999999999997</c:v>
                </c:pt>
                <c:pt idx="11764">
                  <c:v>32.677777777777777</c:v>
                </c:pt>
                <c:pt idx="11765">
                  <c:v>32.680555555555557</c:v>
                </c:pt>
                <c:pt idx="11766">
                  <c:v>32.68333333333333</c:v>
                </c:pt>
                <c:pt idx="11767">
                  <c:v>32.68611111111111</c:v>
                </c:pt>
                <c:pt idx="11768">
                  <c:v>32.68888888888889</c:v>
                </c:pt>
                <c:pt idx="11769">
                  <c:v>32.69166666666667</c:v>
                </c:pt>
                <c:pt idx="11770">
                  <c:v>32.694444444444443</c:v>
                </c:pt>
                <c:pt idx="11771">
                  <c:v>32.697222222222223</c:v>
                </c:pt>
                <c:pt idx="11772">
                  <c:v>32.700000000000003</c:v>
                </c:pt>
                <c:pt idx="11773">
                  <c:v>32.702777777777776</c:v>
                </c:pt>
                <c:pt idx="11774">
                  <c:v>32.705555555555556</c:v>
                </c:pt>
                <c:pt idx="11775">
                  <c:v>32.708333333333336</c:v>
                </c:pt>
                <c:pt idx="11776">
                  <c:v>32.711111111111109</c:v>
                </c:pt>
                <c:pt idx="11777">
                  <c:v>32.713888888888889</c:v>
                </c:pt>
                <c:pt idx="11778">
                  <c:v>32.716666666666669</c:v>
                </c:pt>
                <c:pt idx="11779">
                  <c:v>32.719444444444441</c:v>
                </c:pt>
                <c:pt idx="11780">
                  <c:v>32.722222222222221</c:v>
                </c:pt>
                <c:pt idx="11781">
                  <c:v>32.725000000000001</c:v>
                </c:pt>
                <c:pt idx="11782">
                  <c:v>32.727777777777774</c:v>
                </c:pt>
                <c:pt idx="11783">
                  <c:v>32.730555555555554</c:v>
                </c:pt>
                <c:pt idx="11784">
                  <c:v>32.733333333333334</c:v>
                </c:pt>
                <c:pt idx="11785">
                  <c:v>32.736111111111114</c:v>
                </c:pt>
                <c:pt idx="11786">
                  <c:v>32.738888888888887</c:v>
                </c:pt>
                <c:pt idx="11787">
                  <c:v>32.741666666666667</c:v>
                </c:pt>
                <c:pt idx="11788">
                  <c:v>32.744444444444447</c:v>
                </c:pt>
                <c:pt idx="11789">
                  <c:v>32.74722222222222</c:v>
                </c:pt>
                <c:pt idx="11790">
                  <c:v>32.75</c:v>
                </c:pt>
                <c:pt idx="11791">
                  <c:v>32.75277777777778</c:v>
                </c:pt>
                <c:pt idx="11792">
                  <c:v>32.755555555555553</c:v>
                </c:pt>
                <c:pt idx="11793">
                  <c:v>32.758333333333333</c:v>
                </c:pt>
                <c:pt idx="11794">
                  <c:v>32.761111111111113</c:v>
                </c:pt>
                <c:pt idx="11795">
                  <c:v>32.763888888888886</c:v>
                </c:pt>
                <c:pt idx="11796">
                  <c:v>32.766666666666666</c:v>
                </c:pt>
                <c:pt idx="11797">
                  <c:v>32.769444444444446</c:v>
                </c:pt>
                <c:pt idx="11798">
                  <c:v>32.772222222222226</c:v>
                </c:pt>
                <c:pt idx="11799">
                  <c:v>32.774999999999999</c:v>
                </c:pt>
                <c:pt idx="11800">
                  <c:v>32.777777777777779</c:v>
                </c:pt>
                <c:pt idx="11801">
                  <c:v>32.780555555555559</c:v>
                </c:pt>
                <c:pt idx="11802">
                  <c:v>32.783333333333331</c:v>
                </c:pt>
                <c:pt idx="11803">
                  <c:v>32.786111111111111</c:v>
                </c:pt>
                <c:pt idx="11804">
                  <c:v>32.788888888888891</c:v>
                </c:pt>
                <c:pt idx="11805">
                  <c:v>32.791666666666664</c:v>
                </c:pt>
                <c:pt idx="11806">
                  <c:v>32.794444444444444</c:v>
                </c:pt>
                <c:pt idx="11807">
                  <c:v>32.797222222222224</c:v>
                </c:pt>
                <c:pt idx="11808">
                  <c:v>32.799999999999997</c:v>
                </c:pt>
                <c:pt idx="11809">
                  <c:v>32.802777777777777</c:v>
                </c:pt>
                <c:pt idx="11810">
                  <c:v>32.805555555555557</c:v>
                </c:pt>
                <c:pt idx="11811">
                  <c:v>32.80833333333333</c:v>
                </c:pt>
                <c:pt idx="11812">
                  <c:v>32.81111111111111</c:v>
                </c:pt>
                <c:pt idx="11813">
                  <c:v>32.81388888888889</c:v>
                </c:pt>
                <c:pt idx="11814">
                  <c:v>32.81666666666667</c:v>
                </c:pt>
                <c:pt idx="11815">
                  <c:v>32.819444444444443</c:v>
                </c:pt>
                <c:pt idx="11816">
                  <c:v>32.822222222222223</c:v>
                </c:pt>
                <c:pt idx="11817">
                  <c:v>32.825000000000003</c:v>
                </c:pt>
                <c:pt idx="11818">
                  <c:v>32.827777777777776</c:v>
                </c:pt>
                <c:pt idx="11819">
                  <c:v>32.830555555555556</c:v>
                </c:pt>
                <c:pt idx="11820">
                  <c:v>32.833333333333336</c:v>
                </c:pt>
                <c:pt idx="11821">
                  <c:v>32.836111111111109</c:v>
                </c:pt>
                <c:pt idx="11822">
                  <c:v>32.838888888888889</c:v>
                </c:pt>
                <c:pt idx="11823">
                  <c:v>32.841666666666669</c:v>
                </c:pt>
                <c:pt idx="11824">
                  <c:v>32.844444444444441</c:v>
                </c:pt>
                <c:pt idx="11825">
                  <c:v>32.847222222222221</c:v>
                </c:pt>
                <c:pt idx="11826">
                  <c:v>32.85</c:v>
                </c:pt>
                <c:pt idx="11827">
                  <c:v>32.852777777777774</c:v>
                </c:pt>
                <c:pt idx="11828">
                  <c:v>32.855555555555554</c:v>
                </c:pt>
                <c:pt idx="11829">
                  <c:v>32.858333333333334</c:v>
                </c:pt>
                <c:pt idx="11830">
                  <c:v>32.861111111111114</c:v>
                </c:pt>
                <c:pt idx="11831">
                  <c:v>32.863888888888887</c:v>
                </c:pt>
                <c:pt idx="11832">
                  <c:v>32.866666666666667</c:v>
                </c:pt>
                <c:pt idx="11833">
                  <c:v>32.869444444444447</c:v>
                </c:pt>
                <c:pt idx="11834">
                  <c:v>32.87222222222222</c:v>
                </c:pt>
                <c:pt idx="11835">
                  <c:v>32.875</c:v>
                </c:pt>
                <c:pt idx="11836">
                  <c:v>32.87777777777778</c:v>
                </c:pt>
                <c:pt idx="11837">
                  <c:v>32.880555555555553</c:v>
                </c:pt>
                <c:pt idx="11838">
                  <c:v>32.883333333333333</c:v>
                </c:pt>
                <c:pt idx="11839">
                  <c:v>32.886111111111113</c:v>
                </c:pt>
                <c:pt idx="11840">
                  <c:v>32.888888888888886</c:v>
                </c:pt>
                <c:pt idx="11841">
                  <c:v>32.891666666666666</c:v>
                </c:pt>
                <c:pt idx="11842">
                  <c:v>32.894444444444446</c:v>
                </c:pt>
                <c:pt idx="11843">
                  <c:v>32.897222222222226</c:v>
                </c:pt>
                <c:pt idx="11844">
                  <c:v>32.9</c:v>
                </c:pt>
                <c:pt idx="11845">
                  <c:v>32.902777777777779</c:v>
                </c:pt>
                <c:pt idx="11846">
                  <c:v>32.905555555555559</c:v>
                </c:pt>
                <c:pt idx="11847">
                  <c:v>32.908333333333331</c:v>
                </c:pt>
                <c:pt idx="11848">
                  <c:v>32.911111111111111</c:v>
                </c:pt>
                <c:pt idx="11849">
                  <c:v>32.913888888888891</c:v>
                </c:pt>
                <c:pt idx="11850">
                  <c:v>32.916666666666664</c:v>
                </c:pt>
                <c:pt idx="11851">
                  <c:v>32.919444444444444</c:v>
                </c:pt>
                <c:pt idx="11852">
                  <c:v>32.922222222222224</c:v>
                </c:pt>
                <c:pt idx="11853">
                  <c:v>32.924999999999997</c:v>
                </c:pt>
                <c:pt idx="11854">
                  <c:v>32.927777777777777</c:v>
                </c:pt>
                <c:pt idx="11855">
                  <c:v>32.930555555555557</c:v>
                </c:pt>
                <c:pt idx="11856">
                  <c:v>32.93333333333333</c:v>
                </c:pt>
                <c:pt idx="11857">
                  <c:v>32.93611111111111</c:v>
                </c:pt>
                <c:pt idx="11858">
                  <c:v>32.93888888888889</c:v>
                </c:pt>
                <c:pt idx="11859">
                  <c:v>32.94166666666667</c:v>
                </c:pt>
                <c:pt idx="11860">
                  <c:v>32.944444444444443</c:v>
                </c:pt>
                <c:pt idx="11861">
                  <c:v>32.947222222222223</c:v>
                </c:pt>
                <c:pt idx="11862">
                  <c:v>32.950000000000003</c:v>
                </c:pt>
                <c:pt idx="11863">
                  <c:v>32.952777777777776</c:v>
                </c:pt>
                <c:pt idx="11864">
                  <c:v>32.955555555555556</c:v>
                </c:pt>
                <c:pt idx="11865">
                  <c:v>32.958333333333336</c:v>
                </c:pt>
                <c:pt idx="11866">
                  <c:v>32.961111111111109</c:v>
                </c:pt>
                <c:pt idx="11867">
                  <c:v>32.963888888888889</c:v>
                </c:pt>
                <c:pt idx="11868">
                  <c:v>32.966666666666669</c:v>
                </c:pt>
                <c:pt idx="11869">
                  <c:v>32.969444444444441</c:v>
                </c:pt>
                <c:pt idx="11870">
                  <c:v>32.972222222222221</c:v>
                </c:pt>
                <c:pt idx="11871">
                  <c:v>32.975000000000001</c:v>
                </c:pt>
                <c:pt idx="11872">
                  <c:v>32.977777777777774</c:v>
                </c:pt>
                <c:pt idx="11873">
                  <c:v>32.980555555555554</c:v>
                </c:pt>
                <c:pt idx="11874">
                  <c:v>32.983333333333334</c:v>
                </c:pt>
                <c:pt idx="11875">
                  <c:v>32.986111111111114</c:v>
                </c:pt>
                <c:pt idx="11876">
                  <c:v>32.988888888888887</c:v>
                </c:pt>
                <c:pt idx="11877">
                  <c:v>32.991666666666667</c:v>
                </c:pt>
                <c:pt idx="11878">
                  <c:v>32.994444444444447</c:v>
                </c:pt>
                <c:pt idx="11879">
                  <c:v>32.99722222222222</c:v>
                </c:pt>
                <c:pt idx="11880">
                  <c:v>33</c:v>
                </c:pt>
                <c:pt idx="11881">
                  <c:v>33.00277777777778</c:v>
                </c:pt>
                <c:pt idx="11882">
                  <c:v>33.005555555555553</c:v>
                </c:pt>
                <c:pt idx="11883">
                  <c:v>33.008333333333333</c:v>
                </c:pt>
                <c:pt idx="11884">
                  <c:v>33.011111111111113</c:v>
                </c:pt>
                <c:pt idx="11885">
                  <c:v>33.013888888888886</c:v>
                </c:pt>
                <c:pt idx="11886">
                  <c:v>33.016666666666666</c:v>
                </c:pt>
                <c:pt idx="11887">
                  <c:v>33.019444444444446</c:v>
                </c:pt>
                <c:pt idx="11888">
                  <c:v>33.022222222222226</c:v>
                </c:pt>
                <c:pt idx="11889">
                  <c:v>33.024999999999999</c:v>
                </c:pt>
                <c:pt idx="11890">
                  <c:v>33.027777777777779</c:v>
                </c:pt>
                <c:pt idx="11891">
                  <c:v>33.030555555555559</c:v>
                </c:pt>
                <c:pt idx="11892">
                  <c:v>33.033333333333331</c:v>
                </c:pt>
                <c:pt idx="11893">
                  <c:v>33.036111111111111</c:v>
                </c:pt>
                <c:pt idx="11894">
                  <c:v>33.038888888888891</c:v>
                </c:pt>
                <c:pt idx="11895">
                  <c:v>33.041666666666664</c:v>
                </c:pt>
                <c:pt idx="11896">
                  <c:v>33.044444444444444</c:v>
                </c:pt>
                <c:pt idx="11897">
                  <c:v>33.047222222222224</c:v>
                </c:pt>
                <c:pt idx="11898">
                  <c:v>33.049999999999997</c:v>
                </c:pt>
                <c:pt idx="11899">
                  <c:v>33.052777777777777</c:v>
                </c:pt>
                <c:pt idx="11900">
                  <c:v>33.055555555555557</c:v>
                </c:pt>
                <c:pt idx="11901">
                  <c:v>33.05833333333333</c:v>
                </c:pt>
                <c:pt idx="11902">
                  <c:v>33.06111111111111</c:v>
                </c:pt>
                <c:pt idx="11903">
                  <c:v>33.06388888888889</c:v>
                </c:pt>
                <c:pt idx="11904">
                  <c:v>33.06666666666667</c:v>
                </c:pt>
                <c:pt idx="11905">
                  <c:v>33.069444444444443</c:v>
                </c:pt>
                <c:pt idx="11906">
                  <c:v>33.072222222222223</c:v>
                </c:pt>
                <c:pt idx="11907">
                  <c:v>33.075000000000003</c:v>
                </c:pt>
                <c:pt idx="11908">
                  <c:v>33.077777777777776</c:v>
                </c:pt>
                <c:pt idx="11909">
                  <c:v>33.080555555555556</c:v>
                </c:pt>
                <c:pt idx="11910">
                  <c:v>33.083333333333336</c:v>
                </c:pt>
                <c:pt idx="11911">
                  <c:v>33.086111111111109</c:v>
                </c:pt>
                <c:pt idx="11912">
                  <c:v>33.088888888888889</c:v>
                </c:pt>
                <c:pt idx="11913">
                  <c:v>33.091666666666669</c:v>
                </c:pt>
                <c:pt idx="11914">
                  <c:v>33.094444444444441</c:v>
                </c:pt>
                <c:pt idx="11915">
                  <c:v>33.097222222222221</c:v>
                </c:pt>
                <c:pt idx="11916">
                  <c:v>33.1</c:v>
                </c:pt>
                <c:pt idx="11917">
                  <c:v>33.102777777777774</c:v>
                </c:pt>
                <c:pt idx="11918">
                  <c:v>33.105555555555554</c:v>
                </c:pt>
                <c:pt idx="11919">
                  <c:v>33.108333333333334</c:v>
                </c:pt>
                <c:pt idx="11920">
                  <c:v>33.111111111111114</c:v>
                </c:pt>
                <c:pt idx="11921">
                  <c:v>33.113888888888887</c:v>
                </c:pt>
                <c:pt idx="11922">
                  <c:v>33.116666666666667</c:v>
                </c:pt>
                <c:pt idx="11923">
                  <c:v>33.119444444444447</c:v>
                </c:pt>
                <c:pt idx="11924">
                  <c:v>33.12222222222222</c:v>
                </c:pt>
                <c:pt idx="11925">
                  <c:v>33.125</c:v>
                </c:pt>
                <c:pt idx="11926">
                  <c:v>33.12777777777778</c:v>
                </c:pt>
                <c:pt idx="11927">
                  <c:v>33.130555555555553</c:v>
                </c:pt>
                <c:pt idx="11928">
                  <c:v>33.133333333333333</c:v>
                </c:pt>
                <c:pt idx="11929">
                  <c:v>33.136111111111113</c:v>
                </c:pt>
                <c:pt idx="11930">
                  <c:v>33.138888888888886</c:v>
                </c:pt>
                <c:pt idx="11931">
                  <c:v>33.141666666666666</c:v>
                </c:pt>
                <c:pt idx="11932">
                  <c:v>33.144444444444446</c:v>
                </c:pt>
                <c:pt idx="11933">
                  <c:v>33.147222222222226</c:v>
                </c:pt>
                <c:pt idx="11934">
                  <c:v>33.15</c:v>
                </c:pt>
                <c:pt idx="11935">
                  <c:v>33.152777777777779</c:v>
                </c:pt>
                <c:pt idx="11936">
                  <c:v>33.155555555555559</c:v>
                </c:pt>
                <c:pt idx="11937">
                  <c:v>33.158333333333331</c:v>
                </c:pt>
                <c:pt idx="11938">
                  <c:v>33.161111111111111</c:v>
                </c:pt>
                <c:pt idx="11939">
                  <c:v>33.163888888888891</c:v>
                </c:pt>
                <c:pt idx="11940">
                  <c:v>33.166666666666664</c:v>
                </c:pt>
                <c:pt idx="11941">
                  <c:v>33.169444444444444</c:v>
                </c:pt>
                <c:pt idx="11942">
                  <c:v>33.172222222222224</c:v>
                </c:pt>
                <c:pt idx="11943">
                  <c:v>33.174999999999997</c:v>
                </c:pt>
                <c:pt idx="11944">
                  <c:v>33.177777777777777</c:v>
                </c:pt>
                <c:pt idx="11945">
                  <c:v>33.180555555555557</c:v>
                </c:pt>
                <c:pt idx="11946">
                  <c:v>33.18333333333333</c:v>
                </c:pt>
                <c:pt idx="11947">
                  <c:v>33.18611111111111</c:v>
                </c:pt>
                <c:pt idx="11948">
                  <c:v>33.18888888888889</c:v>
                </c:pt>
                <c:pt idx="11949">
                  <c:v>33.19166666666667</c:v>
                </c:pt>
                <c:pt idx="11950">
                  <c:v>33.194444444444443</c:v>
                </c:pt>
                <c:pt idx="11951">
                  <c:v>33.197222222222223</c:v>
                </c:pt>
                <c:pt idx="11952">
                  <c:v>33.200000000000003</c:v>
                </c:pt>
                <c:pt idx="11953">
                  <c:v>33.202777777777776</c:v>
                </c:pt>
                <c:pt idx="11954">
                  <c:v>33.205555555555556</c:v>
                </c:pt>
                <c:pt idx="11955">
                  <c:v>33.208333333333336</c:v>
                </c:pt>
                <c:pt idx="11956">
                  <c:v>33.211111111111109</c:v>
                </c:pt>
                <c:pt idx="11957">
                  <c:v>33.213888888888889</c:v>
                </c:pt>
                <c:pt idx="11958">
                  <c:v>33.216666666666669</c:v>
                </c:pt>
                <c:pt idx="11959">
                  <c:v>33.219444444444441</c:v>
                </c:pt>
                <c:pt idx="11960">
                  <c:v>33.222222222222221</c:v>
                </c:pt>
                <c:pt idx="11961">
                  <c:v>33.225000000000001</c:v>
                </c:pt>
                <c:pt idx="11962">
                  <c:v>33.227777777777774</c:v>
                </c:pt>
                <c:pt idx="11963">
                  <c:v>33.230555555555554</c:v>
                </c:pt>
                <c:pt idx="11964">
                  <c:v>33.233333333333334</c:v>
                </c:pt>
                <c:pt idx="11965">
                  <c:v>33.236111111111114</c:v>
                </c:pt>
                <c:pt idx="11966">
                  <c:v>33.238888888888887</c:v>
                </c:pt>
                <c:pt idx="11967">
                  <c:v>33.241666666666667</c:v>
                </c:pt>
                <c:pt idx="11968">
                  <c:v>33.244444444444447</c:v>
                </c:pt>
                <c:pt idx="11969">
                  <c:v>33.24722222222222</c:v>
                </c:pt>
                <c:pt idx="11970">
                  <c:v>33.25</c:v>
                </c:pt>
                <c:pt idx="11971">
                  <c:v>33.25277777777778</c:v>
                </c:pt>
                <c:pt idx="11972">
                  <c:v>33.255555555555553</c:v>
                </c:pt>
                <c:pt idx="11973">
                  <c:v>33.258333333333333</c:v>
                </c:pt>
                <c:pt idx="11974">
                  <c:v>33.261111111111113</c:v>
                </c:pt>
                <c:pt idx="11975">
                  <c:v>33.263888888888886</c:v>
                </c:pt>
                <c:pt idx="11976">
                  <c:v>33.266666666666666</c:v>
                </c:pt>
                <c:pt idx="11977">
                  <c:v>33.269444444444446</c:v>
                </c:pt>
                <c:pt idx="11978">
                  <c:v>33.272222222222226</c:v>
                </c:pt>
                <c:pt idx="11979">
                  <c:v>33.274999999999999</c:v>
                </c:pt>
                <c:pt idx="11980">
                  <c:v>33.277777777777779</c:v>
                </c:pt>
                <c:pt idx="11981">
                  <c:v>33.280555555555559</c:v>
                </c:pt>
                <c:pt idx="11982">
                  <c:v>33.283333333333331</c:v>
                </c:pt>
                <c:pt idx="11983">
                  <c:v>33.286111111111111</c:v>
                </c:pt>
                <c:pt idx="11984">
                  <c:v>33.288888888888891</c:v>
                </c:pt>
                <c:pt idx="11985">
                  <c:v>33.291666666666664</c:v>
                </c:pt>
                <c:pt idx="11986">
                  <c:v>33.294444444444444</c:v>
                </c:pt>
                <c:pt idx="11987">
                  <c:v>33.297222222222224</c:v>
                </c:pt>
                <c:pt idx="11988">
                  <c:v>33.299999999999997</c:v>
                </c:pt>
                <c:pt idx="11989">
                  <c:v>33.302777777777777</c:v>
                </c:pt>
                <c:pt idx="11990">
                  <c:v>33.305555555555557</c:v>
                </c:pt>
                <c:pt idx="11991">
                  <c:v>33.30833333333333</c:v>
                </c:pt>
                <c:pt idx="11992">
                  <c:v>33.31111111111111</c:v>
                </c:pt>
                <c:pt idx="11993">
                  <c:v>33.31388888888889</c:v>
                </c:pt>
                <c:pt idx="11994">
                  <c:v>33.31666666666667</c:v>
                </c:pt>
                <c:pt idx="11995">
                  <c:v>33.319444444444443</c:v>
                </c:pt>
                <c:pt idx="11996">
                  <c:v>33.322222222222223</c:v>
                </c:pt>
                <c:pt idx="11997">
                  <c:v>33.325000000000003</c:v>
                </c:pt>
                <c:pt idx="11998">
                  <c:v>33.327777777777776</c:v>
                </c:pt>
                <c:pt idx="11999">
                  <c:v>33.330555555555556</c:v>
                </c:pt>
                <c:pt idx="12000">
                  <c:v>33.333333333333336</c:v>
                </c:pt>
                <c:pt idx="12001">
                  <c:v>33.336111111111109</c:v>
                </c:pt>
                <c:pt idx="12002">
                  <c:v>33.338888888888889</c:v>
                </c:pt>
                <c:pt idx="12003">
                  <c:v>33.341666666666669</c:v>
                </c:pt>
                <c:pt idx="12004">
                  <c:v>33.344444444444441</c:v>
                </c:pt>
                <c:pt idx="12005">
                  <c:v>33.347222222222221</c:v>
                </c:pt>
                <c:pt idx="12006">
                  <c:v>33.35</c:v>
                </c:pt>
                <c:pt idx="12007">
                  <c:v>33.352777777777774</c:v>
                </c:pt>
                <c:pt idx="12008">
                  <c:v>33.355555555555554</c:v>
                </c:pt>
                <c:pt idx="12009">
                  <c:v>33.358333333333334</c:v>
                </c:pt>
                <c:pt idx="12010">
                  <c:v>33.361111111111114</c:v>
                </c:pt>
                <c:pt idx="12011">
                  <c:v>33.363888888888887</c:v>
                </c:pt>
                <c:pt idx="12012">
                  <c:v>33.366666666666667</c:v>
                </c:pt>
                <c:pt idx="12013">
                  <c:v>33.369444444444447</c:v>
                </c:pt>
                <c:pt idx="12014">
                  <c:v>33.37222222222222</c:v>
                </c:pt>
                <c:pt idx="12015">
                  <c:v>33.375</c:v>
                </c:pt>
                <c:pt idx="12016">
                  <c:v>33.37777777777778</c:v>
                </c:pt>
                <c:pt idx="12017">
                  <c:v>33.380555555555553</c:v>
                </c:pt>
                <c:pt idx="12018">
                  <c:v>33.383333333333333</c:v>
                </c:pt>
                <c:pt idx="12019">
                  <c:v>33.386111111111113</c:v>
                </c:pt>
                <c:pt idx="12020">
                  <c:v>33.388888888888886</c:v>
                </c:pt>
                <c:pt idx="12021">
                  <c:v>33.391666666666666</c:v>
                </c:pt>
                <c:pt idx="12022">
                  <c:v>33.394444444444446</c:v>
                </c:pt>
                <c:pt idx="12023">
                  <c:v>33.397222222222226</c:v>
                </c:pt>
                <c:pt idx="12024">
                  <c:v>33.4</c:v>
                </c:pt>
                <c:pt idx="12025">
                  <c:v>33.402777777777779</c:v>
                </c:pt>
                <c:pt idx="12026">
                  <c:v>33.405555555555559</c:v>
                </c:pt>
                <c:pt idx="12027">
                  <c:v>33.408333333333331</c:v>
                </c:pt>
                <c:pt idx="12028">
                  <c:v>33.411111111111111</c:v>
                </c:pt>
                <c:pt idx="12029">
                  <c:v>33.413888888888891</c:v>
                </c:pt>
                <c:pt idx="12030">
                  <c:v>33.416666666666664</c:v>
                </c:pt>
                <c:pt idx="12031">
                  <c:v>33.419444444444444</c:v>
                </c:pt>
                <c:pt idx="12032">
                  <c:v>33.422222222222224</c:v>
                </c:pt>
                <c:pt idx="12033">
                  <c:v>33.424999999999997</c:v>
                </c:pt>
                <c:pt idx="12034">
                  <c:v>33.427777777777777</c:v>
                </c:pt>
                <c:pt idx="12035">
                  <c:v>33.430555555555557</c:v>
                </c:pt>
                <c:pt idx="12036">
                  <c:v>33.43333333333333</c:v>
                </c:pt>
                <c:pt idx="12037">
                  <c:v>33.43611111111111</c:v>
                </c:pt>
                <c:pt idx="12038">
                  <c:v>33.43888888888889</c:v>
                </c:pt>
                <c:pt idx="12039">
                  <c:v>33.44166666666667</c:v>
                </c:pt>
                <c:pt idx="12040">
                  <c:v>33.444444444444443</c:v>
                </c:pt>
                <c:pt idx="12041">
                  <c:v>33.447222222222223</c:v>
                </c:pt>
                <c:pt idx="12042">
                  <c:v>33.450000000000003</c:v>
                </c:pt>
                <c:pt idx="12043">
                  <c:v>33.452777777777776</c:v>
                </c:pt>
                <c:pt idx="12044">
                  <c:v>33.455555555555556</c:v>
                </c:pt>
                <c:pt idx="12045">
                  <c:v>33.458333333333336</c:v>
                </c:pt>
                <c:pt idx="12046">
                  <c:v>33.461111111111109</c:v>
                </c:pt>
                <c:pt idx="12047">
                  <c:v>33.463888888888889</c:v>
                </c:pt>
                <c:pt idx="12048">
                  <c:v>33.466666666666669</c:v>
                </c:pt>
                <c:pt idx="12049">
                  <c:v>33.469444444444441</c:v>
                </c:pt>
                <c:pt idx="12050">
                  <c:v>33.472222222222221</c:v>
                </c:pt>
                <c:pt idx="12051">
                  <c:v>33.475000000000001</c:v>
                </c:pt>
                <c:pt idx="12052">
                  <c:v>33.477777777777774</c:v>
                </c:pt>
                <c:pt idx="12053">
                  <c:v>33.480555555555554</c:v>
                </c:pt>
                <c:pt idx="12054">
                  <c:v>33.483333333333334</c:v>
                </c:pt>
                <c:pt idx="12055">
                  <c:v>33.486111111111114</c:v>
                </c:pt>
                <c:pt idx="12056">
                  <c:v>33.488888888888887</c:v>
                </c:pt>
                <c:pt idx="12057">
                  <c:v>33.491666666666667</c:v>
                </c:pt>
                <c:pt idx="12058">
                  <c:v>33.494444444444447</c:v>
                </c:pt>
                <c:pt idx="12059">
                  <c:v>33.49722222222222</c:v>
                </c:pt>
                <c:pt idx="12060">
                  <c:v>33.5</c:v>
                </c:pt>
                <c:pt idx="12061">
                  <c:v>33.50277777777778</c:v>
                </c:pt>
                <c:pt idx="12062">
                  <c:v>33.505555555555553</c:v>
                </c:pt>
                <c:pt idx="12063">
                  <c:v>33.508333333333333</c:v>
                </c:pt>
                <c:pt idx="12064">
                  <c:v>33.511111111111113</c:v>
                </c:pt>
                <c:pt idx="12065">
                  <c:v>33.513888888888886</c:v>
                </c:pt>
                <c:pt idx="12066">
                  <c:v>33.516666666666666</c:v>
                </c:pt>
                <c:pt idx="12067">
                  <c:v>33.519444444444446</c:v>
                </c:pt>
                <c:pt idx="12068">
                  <c:v>33.522222222222226</c:v>
                </c:pt>
                <c:pt idx="12069">
                  <c:v>33.524999999999999</c:v>
                </c:pt>
                <c:pt idx="12070">
                  <c:v>33.527777777777779</c:v>
                </c:pt>
                <c:pt idx="12071">
                  <c:v>33.530555555555559</c:v>
                </c:pt>
                <c:pt idx="12072">
                  <c:v>33.533333333333331</c:v>
                </c:pt>
                <c:pt idx="12073">
                  <c:v>33.536111111111111</c:v>
                </c:pt>
                <c:pt idx="12074">
                  <c:v>33.538888888888891</c:v>
                </c:pt>
                <c:pt idx="12075">
                  <c:v>33.541666666666664</c:v>
                </c:pt>
                <c:pt idx="12076">
                  <c:v>33.544444444444444</c:v>
                </c:pt>
                <c:pt idx="12077">
                  <c:v>33.547222222222224</c:v>
                </c:pt>
                <c:pt idx="12078">
                  <c:v>33.549999999999997</c:v>
                </c:pt>
                <c:pt idx="12079">
                  <c:v>33.552777777777777</c:v>
                </c:pt>
                <c:pt idx="12080">
                  <c:v>33.555555555555557</c:v>
                </c:pt>
                <c:pt idx="12081">
                  <c:v>33.55833333333333</c:v>
                </c:pt>
                <c:pt idx="12082">
                  <c:v>33.56111111111111</c:v>
                </c:pt>
                <c:pt idx="12083">
                  <c:v>33.56388888888889</c:v>
                </c:pt>
                <c:pt idx="12084">
                  <c:v>33.56666666666667</c:v>
                </c:pt>
                <c:pt idx="12085">
                  <c:v>33.569444444444443</c:v>
                </c:pt>
                <c:pt idx="12086">
                  <c:v>33.572222222222223</c:v>
                </c:pt>
                <c:pt idx="12087">
                  <c:v>33.575000000000003</c:v>
                </c:pt>
                <c:pt idx="12088">
                  <c:v>33.577777777777776</c:v>
                </c:pt>
                <c:pt idx="12089">
                  <c:v>33.580555555555556</c:v>
                </c:pt>
                <c:pt idx="12090">
                  <c:v>33.583333333333336</c:v>
                </c:pt>
                <c:pt idx="12091">
                  <c:v>33.586111111111109</c:v>
                </c:pt>
                <c:pt idx="12092">
                  <c:v>33.588888888888889</c:v>
                </c:pt>
                <c:pt idx="12093">
                  <c:v>33.591666666666669</c:v>
                </c:pt>
                <c:pt idx="12094">
                  <c:v>33.594444444444441</c:v>
                </c:pt>
                <c:pt idx="12095">
                  <c:v>33.597222222222221</c:v>
                </c:pt>
                <c:pt idx="12096">
                  <c:v>33.6</c:v>
                </c:pt>
                <c:pt idx="12097">
                  <c:v>33.602777777777774</c:v>
                </c:pt>
                <c:pt idx="12098">
                  <c:v>33.605555555555554</c:v>
                </c:pt>
                <c:pt idx="12099">
                  <c:v>33.608333333333334</c:v>
                </c:pt>
                <c:pt idx="12100">
                  <c:v>33.611111111111114</c:v>
                </c:pt>
                <c:pt idx="12101">
                  <c:v>33.613888888888887</c:v>
                </c:pt>
                <c:pt idx="12102">
                  <c:v>33.616666666666667</c:v>
                </c:pt>
                <c:pt idx="12103">
                  <c:v>33.619444444444447</c:v>
                </c:pt>
                <c:pt idx="12104">
                  <c:v>33.62222222222222</c:v>
                </c:pt>
                <c:pt idx="12105">
                  <c:v>33.625</c:v>
                </c:pt>
                <c:pt idx="12106">
                  <c:v>33.62777777777778</c:v>
                </c:pt>
                <c:pt idx="12107">
                  <c:v>33.630555555555553</c:v>
                </c:pt>
                <c:pt idx="12108">
                  <c:v>33.633333333333333</c:v>
                </c:pt>
                <c:pt idx="12109">
                  <c:v>33.636111111111113</c:v>
                </c:pt>
                <c:pt idx="12110">
                  <c:v>33.638888888888886</c:v>
                </c:pt>
                <c:pt idx="12111">
                  <c:v>33.641666666666666</c:v>
                </c:pt>
                <c:pt idx="12112">
                  <c:v>33.644444444444446</c:v>
                </c:pt>
                <c:pt idx="12113">
                  <c:v>33.647222222222226</c:v>
                </c:pt>
                <c:pt idx="12114">
                  <c:v>33.65</c:v>
                </c:pt>
                <c:pt idx="12115">
                  <c:v>33.652777777777779</c:v>
                </c:pt>
                <c:pt idx="12116">
                  <c:v>33.655555555555559</c:v>
                </c:pt>
                <c:pt idx="12117">
                  <c:v>33.658333333333331</c:v>
                </c:pt>
                <c:pt idx="12118">
                  <c:v>33.661111111111111</c:v>
                </c:pt>
                <c:pt idx="12119">
                  <c:v>33.663888888888891</c:v>
                </c:pt>
                <c:pt idx="12120">
                  <c:v>33.666666666666664</c:v>
                </c:pt>
                <c:pt idx="12121">
                  <c:v>33.669444444444444</c:v>
                </c:pt>
                <c:pt idx="12122">
                  <c:v>33.672222222222224</c:v>
                </c:pt>
                <c:pt idx="12123">
                  <c:v>33.674999999999997</c:v>
                </c:pt>
                <c:pt idx="12124">
                  <c:v>33.677777777777777</c:v>
                </c:pt>
                <c:pt idx="12125">
                  <c:v>33.680555555555557</c:v>
                </c:pt>
                <c:pt idx="12126">
                  <c:v>33.68333333333333</c:v>
                </c:pt>
                <c:pt idx="12127">
                  <c:v>33.68611111111111</c:v>
                </c:pt>
                <c:pt idx="12128">
                  <c:v>33.68888888888889</c:v>
                </c:pt>
                <c:pt idx="12129">
                  <c:v>33.69166666666667</c:v>
                </c:pt>
                <c:pt idx="12130">
                  <c:v>33.694444444444443</c:v>
                </c:pt>
                <c:pt idx="12131">
                  <c:v>33.697222222222223</c:v>
                </c:pt>
                <c:pt idx="12132">
                  <c:v>33.700000000000003</c:v>
                </c:pt>
                <c:pt idx="12133">
                  <c:v>33.702777777777776</c:v>
                </c:pt>
                <c:pt idx="12134">
                  <c:v>33.705555555555556</c:v>
                </c:pt>
                <c:pt idx="12135">
                  <c:v>33.708333333333336</c:v>
                </c:pt>
                <c:pt idx="12136">
                  <c:v>33.711111111111109</c:v>
                </c:pt>
                <c:pt idx="12137">
                  <c:v>33.713888888888889</c:v>
                </c:pt>
                <c:pt idx="12138">
                  <c:v>33.716666666666669</c:v>
                </c:pt>
                <c:pt idx="12139">
                  <c:v>33.719444444444441</c:v>
                </c:pt>
                <c:pt idx="12140">
                  <c:v>33.722222222222221</c:v>
                </c:pt>
                <c:pt idx="12141">
                  <c:v>33.725000000000001</c:v>
                </c:pt>
                <c:pt idx="12142">
                  <c:v>33.727777777777774</c:v>
                </c:pt>
                <c:pt idx="12143">
                  <c:v>33.730555555555554</c:v>
                </c:pt>
                <c:pt idx="12144">
                  <c:v>33.733333333333334</c:v>
                </c:pt>
                <c:pt idx="12145">
                  <c:v>33.736111111111114</c:v>
                </c:pt>
                <c:pt idx="12146">
                  <c:v>33.738888888888887</c:v>
                </c:pt>
                <c:pt idx="12147">
                  <c:v>33.741666666666667</c:v>
                </c:pt>
                <c:pt idx="12148">
                  <c:v>33.744444444444447</c:v>
                </c:pt>
                <c:pt idx="12149">
                  <c:v>33.74722222222222</c:v>
                </c:pt>
                <c:pt idx="12150">
                  <c:v>33.75</c:v>
                </c:pt>
                <c:pt idx="12151">
                  <c:v>33.75277777777778</c:v>
                </c:pt>
                <c:pt idx="12152">
                  <c:v>33.755555555555553</c:v>
                </c:pt>
                <c:pt idx="12153">
                  <c:v>33.758333333333333</c:v>
                </c:pt>
                <c:pt idx="12154">
                  <c:v>33.761111111111113</c:v>
                </c:pt>
                <c:pt idx="12155">
                  <c:v>33.763888888888886</c:v>
                </c:pt>
                <c:pt idx="12156">
                  <c:v>33.766666666666666</c:v>
                </c:pt>
                <c:pt idx="12157">
                  <c:v>33.769444444444446</c:v>
                </c:pt>
                <c:pt idx="12158">
                  <c:v>33.772222222222226</c:v>
                </c:pt>
                <c:pt idx="12159">
                  <c:v>33.774999999999999</c:v>
                </c:pt>
                <c:pt idx="12160">
                  <c:v>33.777777777777779</c:v>
                </c:pt>
                <c:pt idx="12161">
                  <c:v>33.780555555555559</c:v>
                </c:pt>
                <c:pt idx="12162">
                  <c:v>33.783333333333331</c:v>
                </c:pt>
                <c:pt idx="12163">
                  <c:v>33.786111111111111</c:v>
                </c:pt>
                <c:pt idx="12164">
                  <c:v>33.788888888888891</c:v>
                </c:pt>
                <c:pt idx="12165">
                  <c:v>33.791666666666664</c:v>
                </c:pt>
                <c:pt idx="12166">
                  <c:v>33.794444444444444</c:v>
                </c:pt>
                <c:pt idx="12167">
                  <c:v>33.797222222222224</c:v>
                </c:pt>
                <c:pt idx="12168">
                  <c:v>33.799999999999997</c:v>
                </c:pt>
                <c:pt idx="12169">
                  <c:v>33.802777777777777</c:v>
                </c:pt>
                <c:pt idx="12170">
                  <c:v>33.805555555555557</c:v>
                </c:pt>
                <c:pt idx="12171">
                  <c:v>33.80833333333333</c:v>
                </c:pt>
                <c:pt idx="12172">
                  <c:v>33.81111111111111</c:v>
                </c:pt>
                <c:pt idx="12173">
                  <c:v>33.81388888888889</c:v>
                </c:pt>
                <c:pt idx="12174">
                  <c:v>33.81666666666667</c:v>
                </c:pt>
                <c:pt idx="12175">
                  <c:v>33.819444444444443</c:v>
                </c:pt>
                <c:pt idx="12176">
                  <c:v>33.822222222222223</c:v>
                </c:pt>
                <c:pt idx="12177">
                  <c:v>33.825000000000003</c:v>
                </c:pt>
                <c:pt idx="12178">
                  <c:v>33.827777777777776</c:v>
                </c:pt>
                <c:pt idx="12179">
                  <c:v>33.830555555555556</c:v>
                </c:pt>
                <c:pt idx="12180">
                  <c:v>33.833333333333336</c:v>
                </c:pt>
                <c:pt idx="12181">
                  <c:v>33.836111111111109</c:v>
                </c:pt>
                <c:pt idx="12182">
                  <c:v>33.838888888888889</c:v>
                </c:pt>
                <c:pt idx="12183">
                  <c:v>33.841666666666669</c:v>
                </c:pt>
                <c:pt idx="12184">
                  <c:v>33.844444444444441</c:v>
                </c:pt>
                <c:pt idx="12185">
                  <c:v>33.847222222222221</c:v>
                </c:pt>
                <c:pt idx="12186">
                  <c:v>33.85</c:v>
                </c:pt>
                <c:pt idx="12187">
                  <c:v>33.852777777777774</c:v>
                </c:pt>
                <c:pt idx="12188">
                  <c:v>33.855555555555554</c:v>
                </c:pt>
                <c:pt idx="12189">
                  <c:v>33.858333333333334</c:v>
                </c:pt>
                <c:pt idx="12190">
                  <c:v>33.861111111111114</c:v>
                </c:pt>
                <c:pt idx="12191">
                  <c:v>33.863888888888887</c:v>
                </c:pt>
                <c:pt idx="12192">
                  <c:v>33.866666666666667</c:v>
                </c:pt>
                <c:pt idx="12193">
                  <c:v>33.869444444444447</c:v>
                </c:pt>
                <c:pt idx="12194">
                  <c:v>33.87222222222222</c:v>
                </c:pt>
                <c:pt idx="12195">
                  <c:v>33.875</c:v>
                </c:pt>
                <c:pt idx="12196">
                  <c:v>33.87777777777778</c:v>
                </c:pt>
                <c:pt idx="12197">
                  <c:v>33.880555555555553</c:v>
                </c:pt>
                <c:pt idx="12198">
                  <c:v>33.883333333333333</c:v>
                </c:pt>
                <c:pt idx="12199">
                  <c:v>33.886111111111113</c:v>
                </c:pt>
                <c:pt idx="12200">
                  <c:v>33.888888888888886</c:v>
                </c:pt>
                <c:pt idx="12201">
                  <c:v>33.891666666666666</c:v>
                </c:pt>
                <c:pt idx="12202">
                  <c:v>33.894444444444446</c:v>
                </c:pt>
                <c:pt idx="12203">
                  <c:v>33.897222222222226</c:v>
                </c:pt>
                <c:pt idx="12204">
                  <c:v>33.9</c:v>
                </c:pt>
                <c:pt idx="12205">
                  <c:v>33.902777777777779</c:v>
                </c:pt>
                <c:pt idx="12206">
                  <c:v>33.905555555555559</c:v>
                </c:pt>
                <c:pt idx="12207">
                  <c:v>33.908333333333331</c:v>
                </c:pt>
                <c:pt idx="12208">
                  <c:v>33.911111111111111</c:v>
                </c:pt>
                <c:pt idx="12209">
                  <c:v>33.913888888888891</c:v>
                </c:pt>
                <c:pt idx="12210">
                  <c:v>33.916666666666664</c:v>
                </c:pt>
                <c:pt idx="12211">
                  <c:v>33.919444444444444</c:v>
                </c:pt>
                <c:pt idx="12212">
                  <c:v>33.922222222222224</c:v>
                </c:pt>
                <c:pt idx="12213">
                  <c:v>33.924999999999997</c:v>
                </c:pt>
                <c:pt idx="12214">
                  <c:v>33.927777777777777</c:v>
                </c:pt>
                <c:pt idx="12215">
                  <c:v>33.930555555555557</c:v>
                </c:pt>
                <c:pt idx="12216">
                  <c:v>33.93333333333333</c:v>
                </c:pt>
                <c:pt idx="12217">
                  <c:v>33.93611111111111</c:v>
                </c:pt>
                <c:pt idx="12218">
                  <c:v>33.93888888888889</c:v>
                </c:pt>
                <c:pt idx="12219">
                  <c:v>33.94166666666667</c:v>
                </c:pt>
                <c:pt idx="12220">
                  <c:v>33.944444444444443</c:v>
                </c:pt>
                <c:pt idx="12221">
                  <c:v>33.947222222222223</c:v>
                </c:pt>
                <c:pt idx="12222">
                  <c:v>33.950000000000003</c:v>
                </c:pt>
                <c:pt idx="12223">
                  <c:v>33.952777777777776</c:v>
                </c:pt>
                <c:pt idx="12224">
                  <c:v>33.955555555555556</c:v>
                </c:pt>
                <c:pt idx="12225">
                  <c:v>33.958333333333336</c:v>
                </c:pt>
                <c:pt idx="12226">
                  <c:v>33.961111111111109</c:v>
                </c:pt>
                <c:pt idx="12227">
                  <c:v>33.963888888888889</c:v>
                </c:pt>
                <c:pt idx="12228">
                  <c:v>33.966666666666669</c:v>
                </c:pt>
                <c:pt idx="12229">
                  <c:v>33.969444444444441</c:v>
                </c:pt>
                <c:pt idx="12230">
                  <c:v>33.972222222222221</c:v>
                </c:pt>
                <c:pt idx="12231">
                  <c:v>33.975000000000001</c:v>
                </c:pt>
                <c:pt idx="12232">
                  <c:v>33.977777777777774</c:v>
                </c:pt>
                <c:pt idx="12233">
                  <c:v>33.980555555555554</c:v>
                </c:pt>
                <c:pt idx="12234">
                  <c:v>33.983333333333334</c:v>
                </c:pt>
                <c:pt idx="12235">
                  <c:v>33.986111111111114</c:v>
                </c:pt>
                <c:pt idx="12236">
                  <c:v>33.988888888888887</c:v>
                </c:pt>
                <c:pt idx="12237">
                  <c:v>33.991666666666667</c:v>
                </c:pt>
                <c:pt idx="12238">
                  <c:v>33.994444444444447</c:v>
                </c:pt>
                <c:pt idx="12239">
                  <c:v>33.99722222222222</c:v>
                </c:pt>
                <c:pt idx="12240">
                  <c:v>34</c:v>
                </c:pt>
                <c:pt idx="12241">
                  <c:v>34.00277777777778</c:v>
                </c:pt>
                <c:pt idx="12242">
                  <c:v>34.005555555555553</c:v>
                </c:pt>
                <c:pt idx="12243">
                  <c:v>34.008333333333333</c:v>
                </c:pt>
                <c:pt idx="12244">
                  <c:v>34.011111111111113</c:v>
                </c:pt>
                <c:pt idx="12245">
                  <c:v>34.013888888888886</c:v>
                </c:pt>
                <c:pt idx="12246">
                  <c:v>34.016666666666666</c:v>
                </c:pt>
                <c:pt idx="12247">
                  <c:v>34.019444444444446</c:v>
                </c:pt>
                <c:pt idx="12248">
                  <c:v>34.022222222222226</c:v>
                </c:pt>
                <c:pt idx="12249">
                  <c:v>34.024999999999999</c:v>
                </c:pt>
                <c:pt idx="12250">
                  <c:v>34.027777777777779</c:v>
                </c:pt>
                <c:pt idx="12251">
                  <c:v>34.030555555555559</c:v>
                </c:pt>
                <c:pt idx="12252">
                  <c:v>34.033333333333331</c:v>
                </c:pt>
                <c:pt idx="12253">
                  <c:v>34.036111111111111</c:v>
                </c:pt>
                <c:pt idx="12254">
                  <c:v>34.038888888888891</c:v>
                </c:pt>
                <c:pt idx="12255">
                  <c:v>34.041666666666664</c:v>
                </c:pt>
                <c:pt idx="12256">
                  <c:v>34.044444444444444</c:v>
                </c:pt>
                <c:pt idx="12257">
                  <c:v>34.047222222222224</c:v>
                </c:pt>
                <c:pt idx="12258">
                  <c:v>34.049999999999997</c:v>
                </c:pt>
                <c:pt idx="12259">
                  <c:v>34.052777777777777</c:v>
                </c:pt>
                <c:pt idx="12260">
                  <c:v>34.055555555555557</c:v>
                </c:pt>
                <c:pt idx="12261">
                  <c:v>34.05833333333333</c:v>
                </c:pt>
                <c:pt idx="12262">
                  <c:v>34.06111111111111</c:v>
                </c:pt>
                <c:pt idx="12263">
                  <c:v>34.06388888888889</c:v>
                </c:pt>
                <c:pt idx="12264">
                  <c:v>34.06666666666667</c:v>
                </c:pt>
                <c:pt idx="12265">
                  <c:v>34.069444444444443</c:v>
                </c:pt>
                <c:pt idx="12266">
                  <c:v>34.072222222222223</c:v>
                </c:pt>
                <c:pt idx="12267">
                  <c:v>34.075000000000003</c:v>
                </c:pt>
                <c:pt idx="12268">
                  <c:v>34.077777777777776</c:v>
                </c:pt>
                <c:pt idx="12269">
                  <c:v>34.080555555555556</c:v>
                </c:pt>
                <c:pt idx="12270">
                  <c:v>34.083333333333336</c:v>
                </c:pt>
                <c:pt idx="12271">
                  <c:v>34.086111111111109</c:v>
                </c:pt>
                <c:pt idx="12272">
                  <c:v>34.088888888888889</c:v>
                </c:pt>
                <c:pt idx="12273">
                  <c:v>34.091666666666669</c:v>
                </c:pt>
                <c:pt idx="12274">
                  <c:v>34.094444444444441</c:v>
                </c:pt>
                <c:pt idx="12275">
                  <c:v>34.097222222222221</c:v>
                </c:pt>
                <c:pt idx="12276">
                  <c:v>34.1</c:v>
                </c:pt>
                <c:pt idx="12277">
                  <c:v>34.102777777777774</c:v>
                </c:pt>
                <c:pt idx="12278">
                  <c:v>34.105555555555554</c:v>
                </c:pt>
                <c:pt idx="12279">
                  <c:v>34.108333333333334</c:v>
                </c:pt>
                <c:pt idx="12280">
                  <c:v>34.111111111111114</c:v>
                </c:pt>
                <c:pt idx="12281">
                  <c:v>34.113888888888887</c:v>
                </c:pt>
                <c:pt idx="12282">
                  <c:v>34.116666666666667</c:v>
                </c:pt>
                <c:pt idx="12283">
                  <c:v>34.119444444444447</c:v>
                </c:pt>
                <c:pt idx="12284">
                  <c:v>34.12222222222222</c:v>
                </c:pt>
                <c:pt idx="12285">
                  <c:v>34.125</c:v>
                </c:pt>
                <c:pt idx="12286">
                  <c:v>34.12777777777778</c:v>
                </c:pt>
                <c:pt idx="12287">
                  <c:v>34.130555555555553</c:v>
                </c:pt>
                <c:pt idx="12288">
                  <c:v>34.133333333333333</c:v>
                </c:pt>
                <c:pt idx="12289">
                  <c:v>34.136111111111113</c:v>
                </c:pt>
                <c:pt idx="12290">
                  <c:v>34.138888888888886</c:v>
                </c:pt>
                <c:pt idx="12291">
                  <c:v>34.141666666666666</c:v>
                </c:pt>
                <c:pt idx="12292">
                  <c:v>34.144444444444446</c:v>
                </c:pt>
                <c:pt idx="12293">
                  <c:v>34.147222222222226</c:v>
                </c:pt>
                <c:pt idx="12294">
                  <c:v>34.15</c:v>
                </c:pt>
                <c:pt idx="12295">
                  <c:v>34.152777777777779</c:v>
                </c:pt>
                <c:pt idx="12296">
                  <c:v>34.155555555555559</c:v>
                </c:pt>
                <c:pt idx="12297">
                  <c:v>34.158333333333331</c:v>
                </c:pt>
                <c:pt idx="12298">
                  <c:v>34.161111111111111</c:v>
                </c:pt>
                <c:pt idx="12299">
                  <c:v>34.163888888888891</c:v>
                </c:pt>
                <c:pt idx="12300">
                  <c:v>34.166666666666664</c:v>
                </c:pt>
                <c:pt idx="12301">
                  <c:v>34.169444444444444</c:v>
                </c:pt>
                <c:pt idx="12302">
                  <c:v>34.172222222222224</c:v>
                </c:pt>
                <c:pt idx="12303">
                  <c:v>34.174999999999997</c:v>
                </c:pt>
                <c:pt idx="12304">
                  <c:v>34.177777777777777</c:v>
                </c:pt>
                <c:pt idx="12305">
                  <c:v>34.180555555555557</c:v>
                </c:pt>
                <c:pt idx="12306">
                  <c:v>34.18333333333333</c:v>
                </c:pt>
                <c:pt idx="12307">
                  <c:v>34.18611111111111</c:v>
                </c:pt>
                <c:pt idx="12308">
                  <c:v>34.18888888888889</c:v>
                </c:pt>
                <c:pt idx="12309">
                  <c:v>34.19166666666667</c:v>
                </c:pt>
                <c:pt idx="12310">
                  <c:v>34.194444444444443</c:v>
                </c:pt>
                <c:pt idx="12311">
                  <c:v>34.197222222222223</c:v>
                </c:pt>
                <c:pt idx="12312">
                  <c:v>34.200000000000003</c:v>
                </c:pt>
                <c:pt idx="12313">
                  <c:v>34.202777777777776</c:v>
                </c:pt>
                <c:pt idx="12314">
                  <c:v>34.205555555555556</c:v>
                </c:pt>
                <c:pt idx="12315">
                  <c:v>34.208333333333336</c:v>
                </c:pt>
                <c:pt idx="12316">
                  <c:v>34.211111111111109</c:v>
                </c:pt>
                <c:pt idx="12317">
                  <c:v>34.213888888888889</c:v>
                </c:pt>
                <c:pt idx="12318">
                  <c:v>34.216666666666669</c:v>
                </c:pt>
                <c:pt idx="12319">
                  <c:v>34.219444444444441</c:v>
                </c:pt>
                <c:pt idx="12320">
                  <c:v>34.222222222222221</c:v>
                </c:pt>
                <c:pt idx="12321">
                  <c:v>34.225000000000001</c:v>
                </c:pt>
                <c:pt idx="12322">
                  <c:v>34.227777777777774</c:v>
                </c:pt>
                <c:pt idx="12323">
                  <c:v>34.230555555555554</c:v>
                </c:pt>
                <c:pt idx="12324">
                  <c:v>34.233333333333334</c:v>
                </c:pt>
                <c:pt idx="12325">
                  <c:v>34.236111111111114</c:v>
                </c:pt>
                <c:pt idx="12326">
                  <c:v>34.238888888888887</c:v>
                </c:pt>
                <c:pt idx="12327">
                  <c:v>34.241666666666667</c:v>
                </c:pt>
                <c:pt idx="12328">
                  <c:v>34.244444444444447</c:v>
                </c:pt>
                <c:pt idx="12329">
                  <c:v>34.24722222222222</c:v>
                </c:pt>
                <c:pt idx="12330">
                  <c:v>34.25</c:v>
                </c:pt>
                <c:pt idx="12331">
                  <c:v>34.25277777777778</c:v>
                </c:pt>
                <c:pt idx="12332">
                  <c:v>34.255555555555553</c:v>
                </c:pt>
                <c:pt idx="12333">
                  <c:v>34.258333333333333</c:v>
                </c:pt>
                <c:pt idx="12334">
                  <c:v>34.261111111111113</c:v>
                </c:pt>
                <c:pt idx="12335">
                  <c:v>34.263888888888886</c:v>
                </c:pt>
                <c:pt idx="12336">
                  <c:v>34.266666666666666</c:v>
                </c:pt>
                <c:pt idx="12337">
                  <c:v>34.269444444444446</c:v>
                </c:pt>
                <c:pt idx="12338">
                  <c:v>34.272222222222226</c:v>
                </c:pt>
                <c:pt idx="12339">
                  <c:v>34.274999999999999</c:v>
                </c:pt>
                <c:pt idx="12340">
                  <c:v>34.277777777777779</c:v>
                </c:pt>
                <c:pt idx="12341">
                  <c:v>34.280555555555559</c:v>
                </c:pt>
                <c:pt idx="12342">
                  <c:v>34.283333333333331</c:v>
                </c:pt>
                <c:pt idx="12343">
                  <c:v>34.286111111111111</c:v>
                </c:pt>
                <c:pt idx="12344">
                  <c:v>34.288888888888891</c:v>
                </c:pt>
                <c:pt idx="12345">
                  <c:v>34.291666666666664</c:v>
                </c:pt>
                <c:pt idx="12346">
                  <c:v>34.294444444444444</c:v>
                </c:pt>
                <c:pt idx="12347">
                  <c:v>34.297222222222224</c:v>
                </c:pt>
                <c:pt idx="12348">
                  <c:v>34.299999999999997</c:v>
                </c:pt>
                <c:pt idx="12349">
                  <c:v>34.302777777777777</c:v>
                </c:pt>
                <c:pt idx="12350">
                  <c:v>34.305555555555557</c:v>
                </c:pt>
                <c:pt idx="12351">
                  <c:v>34.30833333333333</c:v>
                </c:pt>
                <c:pt idx="12352">
                  <c:v>34.31111111111111</c:v>
                </c:pt>
                <c:pt idx="12353">
                  <c:v>34.31388888888889</c:v>
                </c:pt>
                <c:pt idx="12354">
                  <c:v>34.31666666666667</c:v>
                </c:pt>
                <c:pt idx="12355">
                  <c:v>34.319444444444443</c:v>
                </c:pt>
                <c:pt idx="12356">
                  <c:v>34.322222222222223</c:v>
                </c:pt>
                <c:pt idx="12357">
                  <c:v>34.325000000000003</c:v>
                </c:pt>
                <c:pt idx="12358">
                  <c:v>34.327777777777776</c:v>
                </c:pt>
                <c:pt idx="12359">
                  <c:v>34.330555555555556</c:v>
                </c:pt>
                <c:pt idx="12360">
                  <c:v>34.333333333333336</c:v>
                </c:pt>
                <c:pt idx="12361">
                  <c:v>34.336111111111109</c:v>
                </c:pt>
                <c:pt idx="12362">
                  <c:v>34.338888888888889</c:v>
                </c:pt>
                <c:pt idx="12363">
                  <c:v>34.341666666666669</c:v>
                </c:pt>
                <c:pt idx="12364">
                  <c:v>34.344444444444441</c:v>
                </c:pt>
                <c:pt idx="12365">
                  <c:v>34.347222222222221</c:v>
                </c:pt>
                <c:pt idx="12366">
                  <c:v>34.35</c:v>
                </c:pt>
                <c:pt idx="12367">
                  <c:v>34.352777777777774</c:v>
                </c:pt>
                <c:pt idx="12368">
                  <c:v>34.355555555555554</c:v>
                </c:pt>
                <c:pt idx="12369">
                  <c:v>34.358333333333334</c:v>
                </c:pt>
                <c:pt idx="12370">
                  <c:v>34.361111111111114</c:v>
                </c:pt>
                <c:pt idx="12371">
                  <c:v>34.363888888888887</c:v>
                </c:pt>
                <c:pt idx="12372">
                  <c:v>34.366666666666667</c:v>
                </c:pt>
                <c:pt idx="12373">
                  <c:v>34.369444444444447</c:v>
                </c:pt>
                <c:pt idx="12374">
                  <c:v>34.37222222222222</c:v>
                </c:pt>
                <c:pt idx="12375">
                  <c:v>34.375</c:v>
                </c:pt>
                <c:pt idx="12376">
                  <c:v>34.37777777777778</c:v>
                </c:pt>
                <c:pt idx="12377">
                  <c:v>34.380555555555553</c:v>
                </c:pt>
                <c:pt idx="12378">
                  <c:v>34.383333333333333</c:v>
                </c:pt>
                <c:pt idx="12379">
                  <c:v>34.386111111111113</c:v>
                </c:pt>
                <c:pt idx="12380">
                  <c:v>34.388888888888886</c:v>
                </c:pt>
                <c:pt idx="12381">
                  <c:v>34.391666666666666</c:v>
                </c:pt>
                <c:pt idx="12382">
                  <c:v>34.394444444444446</c:v>
                </c:pt>
                <c:pt idx="12383">
                  <c:v>34.397222222222226</c:v>
                </c:pt>
                <c:pt idx="12384">
                  <c:v>34.4</c:v>
                </c:pt>
                <c:pt idx="12385">
                  <c:v>34.402777777777779</c:v>
                </c:pt>
                <c:pt idx="12386">
                  <c:v>34.405555555555559</c:v>
                </c:pt>
                <c:pt idx="12387">
                  <c:v>34.408333333333331</c:v>
                </c:pt>
                <c:pt idx="12388">
                  <c:v>34.411111111111111</c:v>
                </c:pt>
                <c:pt idx="12389">
                  <c:v>34.413888888888891</c:v>
                </c:pt>
                <c:pt idx="12390">
                  <c:v>34.416666666666664</c:v>
                </c:pt>
                <c:pt idx="12391">
                  <c:v>34.419444444444444</c:v>
                </c:pt>
                <c:pt idx="12392">
                  <c:v>34.422222222222224</c:v>
                </c:pt>
                <c:pt idx="12393">
                  <c:v>34.424999999999997</c:v>
                </c:pt>
                <c:pt idx="12394">
                  <c:v>34.427777777777777</c:v>
                </c:pt>
                <c:pt idx="12395">
                  <c:v>34.430555555555557</c:v>
                </c:pt>
                <c:pt idx="12396">
                  <c:v>34.43333333333333</c:v>
                </c:pt>
                <c:pt idx="12397">
                  <c:v>34.43611111111111</c:v>
                </c:pt>
                <c:pt idx="12398">
                  <c:v>34.43888888888889</c:v>
                </c:pt>
                <c:pt idx="12399">
                  <c:v>34.44166666666667</c:v>
                </c:pt>
                <c:pt idx="12400">
                  <c:v>34.444444444444443</c:v>
                </c:pt>
                <c:pt idx="12401">
                  <c:v>34.447222222222223</c:v>
                </c:pt>
                <c:pt idx="12402">
                  <c:v>34.450000000000003</c:v>
                </c:pt>
                <c:pt idx="12403">
                  <c:v>34.452777777777776</c:v>
                </c:pt>
                <c:pt idx="12404">
                  <c:v>34.455555555555556</c:v>
                </c:pt>
                <c:pt idx="12405">
                  <c:v>34.458333333333336</c:v>
                </c:pt>
                <c:pt idx="12406">
                  <c:v>34.461111111111109</c:v>
                </c:pt>
                <c:pt idx="12407">
                  <c:v>34.463888888888889</c:v>
                </c:pt>
                <c:pt idx="12408">
                  <c:v>34.466666666666669</c:v>
                </c:pt>
                <c:pt idx="12409">
                  <c:v>34.469444444444441</c:v>
                </c:pt>
                <c:pt idx="12410">
                  <c:v>34.472222222222221</c:v>
                </c:pt>
                <c:pt idx="12411">
                  <c:v>34.475000000000001</c:v>
                </c:pt>
                <c:pt idx="12412">
                  <c:v>34.477777777777774</c:v>
                </c:pt>
                <c:pt idx="12413">
                  <c:v>34.480555555555554</c:v>
                </c:pt>
                <c:pt idx="12414">
                  <c:v>34.483333333333334</c:v>
                </c:pt>
                <c:pt idx="12415">
                  <c:v>34.486111111111114</c:v>
                </c:pt>
                <c:pt idx="12416">
                  <c:v>34.488888888888887</c:v>
                </c:pt>
                <c:pt idx="12417">
                  <c:v>34.491666666666667</c:v>
                </c:pt>
                <c:pt idx="12418">
                  <c:v>34.494444444444447</c:v>
                </c:pt>
                <c:pt idx="12419">
                  <c:v>34.49722222222222</c:v>
                </c:pt>
                <c:pt idx="12420">
                  <c:v>34.5</c:v>
                </c:pt>
                <c:pt idx="12421">
                  <c:v>34.50277777777778</c:v>
                </c:pt>
                <c:pt idx="12422">
                  <c:v>34.505555555555553</c:v>
                </c:pt>
                <c:pt idx="12423">
                  <c:v>34.508333333333333</c:v>
                </c:pt>
                <c:pt idx="12424">
                  <c:v>34.511111111111113</c:v>
                </c:pt>
                <c:pt idx="12425">
                  <c:v>34.513888888888886</c:v>
                </c:pt>
                <c:pt idx="12426">
                  <c:v>34.516666666666666</c:v>
                </c:pt>
                <c:pt idx="12427">
                  <c:v>34.519444444444446</c:v>
                </c:pt>
                <c:pt idx="12428">
                  <c:v>34.522222222222226</c:v>
                </c:pt>
                <c:pt idx="12429">
                  <c:v>34.524999999999999</c:v>
                </c:pt>
                <c:pt idx="12430">
                  <c:v>34.527777777777779</c:v>
                </c:pt>
                <c:pt idx="12431">
                  <c:v>34.530555555555559</c:v>
                </c:pt>
                <c:pt idx="12432">
                  <c:v>34.533333333333331</c:v>
                </c:pt>
                <c:pt idx="12433">
                  <c:v>34.536111111111111</c:v>
                </c:pt>
                <c:pt idx="12434">
                  <c:v>34.538888888888891</c:v>
                </c:pt>
                <c:pt idx="12435">
                  <c:v>34.541666666666664</c:v>
                </c:pt>
                <c:pt idx="12436">
                  <c:v>34.544444444444444</c:v>
                </c:pt>
                <c:pt idx="12437">
                  <c:v>34.547222222222224</c:v>
                </c:pt>
                <c:pt idx="12438">
                  <c:v>34.549999999999997</c:v>
                </c:pt>
                <c:pt idx="12439">
                  <c:v>34.552777777777777</c:v>
                </c:pt>
                <c:pt idx="12440">
                  <c:v>34.555555555555557</c:v>
                </c:pt>
                <c:pt idx="12441">
                  <c:v>34.55833333333333</c:v>
                </c:pt>
                <c:pt idx="12442">
                  <c:v>34.56111111111111</c:v>
                </c:pt>
                <c:pt idx="12443">
                  <c:v>34.56388888888889</c:v>
                </c:pt>
                <c:pt idx="12444">
                  <c:v>34.56666666666667</c:v>
                </c:pt>
                <c:pt idx="12445">
                  <c:v>34.569444444444443</c:v>
                </c:pt>
                <c:pt idx="12446">
                  <c:v>34.572222222222223</c:v>
                </c:pt>
                <c:pt idx="12447">
                  <c:v>34.575000000000003</c:v>
                </c:pt>
                <c:pt idx="12448">
                  <c:v>34.577777777777776</c:v>
                </c:pt>
                <c:pt idx="12449">
                  <c:v>34.580555555555556</c:v>
                </c:pt>
                <c:pt idx="12450">
                  <c:v>34.583333333333336</c:v>
                </c:pt>
                <c:pt idx="12451">
                  <c:v>34.586111111111109</c:v>
                </c:pt>
                <c:pt idx="12452">
                  <c:v>34.588888888888889</c:v>
                </c:pt>
                <c:pt idx="12453">
                  <c:v>34.591666666666669</c:v>
                </c:pt>
                <c:pt idx="12454">
                  <c:v>34.594444444444441</c:v>
                </c:pt>
                <c:pt idx="12455">
                  <c:v>34.597222222222221</c:v>
                </c:pt>
                <c:pt idx="12456">
                  <c:v>34.6</c:v>
                </c:pt>
                <c:pt idx="12457">
                  <c:v>34.602777777777774</c:v>
                </c:pt>
                <c:pt idx="12458">
                  <c:v>34.605555555555554</c:v>
                </c:pt>
                <c:pt idx="12459">
                  <c:v>34.608333333333334</c:v>
                </c:pt>
                <c:pt idx="12460">
                  <c:v>34.611111111111114</c:v>
                </c:pt>
                <c:pt idx="12461">
                  <c:v>34.613888888888887</c:v>
                </c:pt>
                <c:pt idx="12462">
                  <c:v>34.616666666666667</c:v>
                </c:pt>
                <c:pt idx="12463">
                  <c:v>34.619444444444447</c:v>
                </c:pt>
                <c:pt idx="12464">
                  <c:v>34.62222222222222</c:v>
                </c:pt>
                <c:pt idx="12465">
                  <c:v>34.625</c:v>
                </c:pt>
                <c:pt idx="12466">
                  <c:v>34.62777777777778</c:v>
                </c:pt>
                <c:pt idx="12467">
                  <c:v>34.630555555555553</c:v>
                </c:pt>
                <c:pt idx="12468">
                  <c:v>34.633333333333333</c:v>
                </c:pt>
                <c:pt idx="12469">
                  <c:v>34.636111111111113</c:v>
                </c:pt>
                <c:pt idx="12470">
                  <c:v>34.638888888888886</c:v>
                </c:pt>
                <c:pt idx="12471">
                  <c:v>34.641666666666666</c:v>
                </c:pt>
                <c:pt idx="12472">
                  <c:v>34.644444444444446</c:v>
                </c:pt>
                <c:pt idx="12473">
                  <c:v>34.647222222222226</c:v>
                </c:pt>
                <c:pt idx="12474">
                  <c:v>34.65</c:v>
                </c:pt>
                <c:pt idx="12475">
                  <c:v>34.652777777777779</c:v>
                </c:pt>
                <c:pt idx="12476">
                  <c:v>34.655555555555559</c:v>
                </c:pt>
                <c:pt idx="12477">
                  <c:v>34.658333333333331</c:v>
                </c:pt>
                <c:pt idx="12478">
                  <c:v>34.661111111111111</c:v>
                </c:pt>
                <c:pt idx="12479">
                  <c:v>34.663888888888891</c:v>
                </c:pt>
                <c:pt idx="12480">
                  <c:v>34.666666666666664</c:v>
                </c:pt>
                <c:pt idx="12481">
                  <c:v>34.669444444444444</c:v>
                </c:pt>
                <c:pt idx="12482">
                  <c:v>34.672222222222224</c:v>
                </c:pt>
                <c:pt idx="12483">
                  <c:v>34.674999999999997</c:v>
                </c:pt>
                <c:pt idx="12484">
                  <c:v>34.677777777777777</c:v>
                </c:pt>
                <c:pt idx="12485">
                  <c:v>34.680555555555557</c:v>
                </c:pt>
                <c:pt idx="12486">
                  <c:v>34.68333333333333</c:v>
                </c:pt>
                <c:pt idx="12487">
                  <c:v>34.68611111111111</c:v>
                </c:pt>
                <c:pt idx="12488">
                  <c:v>34.68888888888889</c:v>
                </c:pt>
                <c:pt idx="12489">
                  <c:v>34.69166666666667</c:v>
                </c:pt>
                <c:pt idx="12490">
                  <c:v>34.694444444444443</c:v>
                </c:pt>
                <c:pt idx="12491">
                  <c:v>34.697222222222223</c:v>
                </c:pt>
                <c:pt idx="12492">
                  <c:v>34.700000000000003</c:v>
                </c:pt>
                <c:pt idx="12493">
                  <c:v>34.702777777777776</c:v>
                </c:pt>
                <c:pt idx="12494">
                  <c:v>34.705555555555556</c:v>
                </c:pt>
                <c:pt idx="12495">
                  <c:v>34.708333333333336</c:v>
                </c:pt>
                <c:pt idx="12496">
                  <c:v>34.711111111111109</c:v>
                </c:pt>
                <c:pt idx="12497">
                  <c:v>34.713888888888889</c:v>
                </c:pt>
                <c:pt idx="12498">
                  <c:v>34.716666666666669</c:v>
                </c:pt>
                <c:pt idx="12499">
                  <c:v>34.719444444444441</c:v>
                </c:pt>
                <c:pt idx="12500">
                  <c:v>34.722222222222221</c:v>
                </c:pt>
                <c:pt idx="12501">
                  <c:v>34.725000000000001</c:v>
                </c:pt>
                <c:pt idx="12502">
                  <c:v>34.727777777777774</c:v>
                </c:pt>
                <c:pt idx="12503">
                  <c:v>34.730555555555554</c:v>
                </c:pt>
                <c:pt idx="12504">
                  <c:v>34.733333333333334</c:v>
                </c:pt>
                <c:pt idx="12505">
                  <c:v>34.736111111111114</c:v>
                </c:pt>
                <c:pt idx="12506">
                  <c:v>34.738888888888887</c:v>
                </c:pt>
                <c:pt idx="12507">
                  <c:v>34.741666666666667</c:v>
                </c:pt>
                <c:pt idx="12508">
                  <c:v>34.744444444444447</c:v>
                </c:pt>
                <c:pt idx="12509">
                  <c:v>34.74722222222222</c:v>
                </c:pt>
                <c:pt idx="12510">
                  <c:v>34.75</c:v>
                </c:pt>
                <c:pt idx="12511">
                  <c:v>34.75277777777778</c:v>
                </c:pt>
                <c:pt idx="12512">
                  <c:v>34.755555555555553</c:v>
                </c:pt>
                <c:pt idx="12513">
                  <c:v>34.758333333333333</c:v>
                </c:pt>
                <c:pt idx="12514">
                  <c:v>34.761111111111113</c:v>
                </c:pt>
                <c:pt idx="12515">
                  <c:v>34.763888888888886</c:v>
                </c:pt>
                <c:pt idx="12516">
                  <c:v>34.766666666666666</c:v>
                </c:pt>
                <c:pt idx="12517">
                  <c:v>34.769444444444446</c:v>
                </c:pt>
                <c:pt idx="12518">
                  <c:v>34.772222222222226</c:v>
                </c:pt>
                <c:pt idx="12519">
                  <c:v>34.774999999999999</c:v>
                </c:pt>
                <c:pt idx="12520">
                  <c:v>34.777777777777779</c:v>
                </c:pt>
                <c:pt idx="12521">
                  <c:v>34.780555555555559</c:v>
                </c:pt>
                <c:pt idx="12522">
                  <c:v>34.783333333333331</c:v>
                </c:pt>
                <c:pt idx="12523">
                  <c:v>34.786111111111111</c:v>
                </c:pt>
                <c:pt idx="12524">
                  <c:v>34.788888888888891</c:v>
                </c:pt>
                <c:pt idx="12525">
                  <c:v>34.791666666666664</c:v>
                </c:pt>
                <c:pt idx="12526">
                  <c:v>34.794444444444444</c:v>
                </c:pt>
                <c:pt idx="12527">
                  <c:v>34.797222222222224</c:v>
                </c:pt>
                <c:pt idx="12528">
                  <c:v>34.799999999999997</c:v>
                </c:pt>
                <c:pt idx="12529">
                  <c:v>34.802777777777777</c:v>
                </c:pt>
                <c:pt idx="12530">
                  <c:v>34.805555555555557</c:v>
                </c:pt>
                <c:pt idx="12531">
                  <c:v>34.80833333333333</c:v>
                </c:pt>
                <c:pt idx="12532">
                  <c:v>34.81111111111111</c:v>
                </c:pt>
                <c:pt idx="12533">
                  <c:v>34.81388888888889</c:v>
                </c:pt>
                <c:pt idx="12534">
                  <c:v>34.81666666666667</c:v>
                </c:pt>
                <c:pt idx="12535">
                  <c:v>34.819444444444443</c:v>
                </c:pt>
                <c:pt idx="12536">
                  <c:v>34.822222222222223</c:v>
                </c:pt>
                <c:pt idx="12537">
                  <c:v>34.825000000000003</c:v>
                </c:pt>
                <c:pt idx="12538">
                  <c:v>34.827777777777776</c:v>
                </c:pt>
                <c:pt idx="12539">
                  <c:v>34.830555555555556</c:v>
                </c:pt>
                <c:pt idx="12540">
                  <c:v>34.833333333333336</c:v>
                </c:pt>
                <c:pt idx="12541">
                  <c:v>34.836111111111109</c:v>
                </c:pt>
                <c:pt idx="12542">
                  <c:v>34.838888888888889</c:v>
                </c:pt>
                <c:pt idx="12543">
                  <c:v>34.841666666666669</c:v>
                </c:pt>
                <c:pt idx="12544">
                  <c:v>34.844444444444441</c:v>
                </c:pt>
                <c:pt idx="12545">
                  <c:v>34.847222222222221</c:v>
                </c:pt>
                <c:pt idx="12546">
                  <c:v>34.85</c:v>
                </c:pt>
                <c:pt idx="12547">
                  <c:v>34.852777777777774</c:v>
                </c:pt>
                <c:pt idx="12548">
                  <c:v>34.855555555555554</c:v>
                </c:pt>
                <c:pt idx="12549">
                  <c:v>34.858333333333334</c:v>
                </c:pt>
                <c:pt idx="12550">
                  <c:v>34.861111111111114</c:v>
                </c:pt>
                <c:pt idx="12551">
                  <c:v>34.863888888888887</c:v>
                </c:pt>
                <c:pt idx="12552">
                  <c:v>34.866666666666667</c:v>
                </c:pt>
                <c:pt idx="12553">
                  <c:v>34.869444444444447</c:v>
                </c:pt>
                <c:pt idx="12554">
                  <c:v>34.87222222222222</c:v>
                </c:pt>
                <c:pt idx="12555">
                  <c:v>34.875</c:v>
                </c:pt>
                <c:pt idx="12556">
                  <c:v>34.87777777777778</c:v>
                </c:pt>
                <c:pt idx="12557">
                  <c:v>34.880555555555553</c:v>
                </c:pt>
                <c:pt idx="12558">
                  <c:v>34.883333333333333</c:v>
                </c:pt>
                <c:pt idx="12559">
                  <c:v>34.886111111111113</c:v>
                </c:pt>
                <c:pt idx="12560">
                  <c:v>34.888888888888886</c:v>
                </c:pt>
                <c:pt idx="12561">
                  <c:v>34.891666666666666</c:v>
                </c:pt>
                <c:pt idx="12562">
                  <c:v>34.894444444444446</c:v>
                </c:pt>
                <c:pt idx="12563">
                  <c:v>34.897222222222226</c:v>
                </c:pt>
                <c:pt idx="12564">
                  <c:v>34.9</c:v>
                </c:pt>
                <c:pt idx="12565">
                  <c:v>34.902777777777779</c:v>
                </c:pt>
                <c:pt idx="12566">
                  <c:v>34.905555555555559</c:v>
                </c:pt>
                <c:pt idx="12567">
                  <c:v>34.908333333333331</c:v>
                </c:pt>
                <c:pt idx="12568">
                  <c:v>34.911111111111111</c:v>
                </c:pt>
                <c:pt idx="12569">
                  <c:v>34.913888888888891</c:v>
                </c:pt>
                <c:pt idx="12570">
                  <c:v>34.916666666666664</c:v>
                </c:pt>
                <c:pt idx="12571">
                  <c:v>34.919444444444444</c:v>
                </c:pt>
                <c:pt idx="12572">
                  <c:v>34.922222222222224</c:v>
                </c:pt>
                <c:pt idx="12573">
                  <c:v>34.924999999999997</c:v>
                </c:pt>
                <c:pt idx="12574">
                  <c:v>34.927777777777777</c:v>
                </c:pt>
                <c:pt idx="12575">
                  <c:v>34.930555555555557</c:v>
                </c:pt>
                <c:pt idx="12576">
                  <c:v>34.93333333333333</c:v>
                </c:pt>
                <c:pt idx="12577">
                  <c:v>34.93611111111111</c:v>
                </c:pt>
                <c:pt idx="12578">
                  <c:v>34.93888888888889</c:v>
                </c:pt>
                <c:pt idx="12579">
                  <c:v>34.94166666666667</c:v>
                </c:pt>
                <c:pt idx="12580">
                  <c:v>34.944444444444443</c:v>
                </c:pt>
                <c:pt idx="12581">
                  <c:v>34.947222222222223</c:v>
                </c:pt>
                <c:pt idx="12582">
                  <c:v>34.950000000000003</c:v>
                </c:pt>
                <c:pt idx="12583">
                  <c:v>34.952777777777776</c:v>
                </c:pt>
                <c:pt idx="12584">
                  <c:v>34.955555555555556</c:v>
                </c:pt>
                <c:pt idx="12585">
                  <c:v>34.958333333333336</c:v>
                </c:pt>
                <c:pt idx="12586">
                  <c:v>34.961111111111109</c:v>
                </c:pt>
                <c:pt idx="12587">
                  <c:v>34.963888888888889</c:v>
                </c:pt>
                <c:pt idx="12588">
                  <c:v>34.966666666666669</c:v>
                </c:pt>
                <c:pt idx="12589">
                  <c:v>34.969444444444441</c:v>
                </c:pt>
                <c:pt idx="12590">
                  <c:v>34.972222222222221</c:v>
                </c:pt>
                <c:pt idx="12591">
                  <c:v>34.975000000000001</c:v>
                </c:pt>
                <c:pt idx="12592">
                  <c:v>34.977777777777774</c:v>
                </c:pt>
                <c:pt idx="12593">
                  <c:v>34.980555555555554</c:v>
                </c:pt>
                <c:pt idx="12594">
                  <c:v>34.983333333333334</c:v>
                </c:pt>
                <c:pt idx="12595">
                  <c:v>34.986111111111114</c:v>
                </c:pt>
                <c:pt idx="12596">
                  <c:v>34.988888888888887</c:v>
                </c:pt>
                <c:pt idx="12597">
                  <c:v>34.991666666666667</c:v>
                </c:pt>
                <c:pt idx="12598">
                  <c:v>34.994444444444447</c:v>
                </c:pt>
                <c:pt idx="12599">
                  <c:v>34.99722222222222</c:v>
                </c:pt>
                <c:pt idx="12600">
                  <c:v>35</c:v>
                </c:pt>
                <c:pt idx="12601">
                  <c:v>35.00277777777778</c:v>
                </c:pt>
                <c:pt idx="12602">
                  <c:v>35.005555555555553</c:v>
                </c:pt>
                <c:pt idx="12603">
                  <c:v>35.008333333333333</c:v>
                </c:pt>
                <c:pt idx="12604">
                  <c:v>35.011111111111113</c:v>
                </c:pt>
                <c:pt idx="12605">
                  <c:v>35.013888888888886</c:v>
                </c:pt>
                <c:pt idx="12606">
                  <c:v>35.016666666666666</c:v>
                </c:pt>
                <c:pt idx="12607">
                  <c:v>35.019444444444446</c:v>
                </c:pt>
                <c:pt idx="12608">
                  <c:v>35.022222222222226</c:v>
                </c:pt>
                <c:pt idx="12609">
                  <c:v>35.024999999999999</c:v>
                </c:pt>
                <c:pt idx="12610">
                  <c:v>35.027777777777779</c:v>
                </c:pt>
                <c:pt idx="12611">
                  <c:v>35.030555555555559</c:v>
                </c:pt>
                <c:pt idx="12612">
                  <c:v>35.033333333333331</c:v>
                </c:pt>
                <c:pt idx="12613">
                  <c:v>35.036111111111111</c:v>
                </c:pt>
                <c:pt idx="12614">
                  <c:v>35.038888888888891</c:v>
                </c:pt>
                <c:pt idx="12615">
                  <c:v>35.041666666666664</c:v>
                </c:pt>
                <c:pt idx="12616">
                  <c:v>35.044444444444444</c:v>
                </c:pt>
                <c:pt idx="12617">
                  <c:v>35.047222222222224</c:v>
                </c:pt>
                <c:pt idx="12618">
                  <c:v>35.049999999999997</c:v>
                </c:pt>
                <c:pt idx="12619">
                  <c:v>35.052777777777777</c:v>
                </c:pt>
                <c:pt idx="12620">
                  <c:v>35.055555555555557</c:v>
                </c:pt>
                <c:pt idx="12621">
                  <c:v>35.05833333333333</c:v>
                </c:pt>
                <c:pt idx="12622">
                  <c:v>35.06111111111111</c:v>
                </c:pt>
                <c:pt idx="12623">
                  <c:v>35.06388888888889</c:v>
                </c:pt>
                <c:pt idx="12624">
                  <c:v>35.06666666666667</c:v>
                </c:pt>
                <c:pt idx="12625">
                  <c:v>35.069444444444443</c:v>
                </c:pt>
                <c:pt idx="12626">
                  <c:v>35.072222222222223</c:v>
                </c:pt>
                <c:pt idx="12627">
                  <c:v>35.075000000000003</c:v>
                </c:pt>
                <c:pt idx="12628">
                  <c:v>35.077777777777776</c:v>
                </c:pt>
                <c:pt idx="12629">
                  <c:v>35.080555555555556</c:v>
                </c:pt>
                <c:pt idx="12630">
                  <c:v>35.083333333333336</c:v>
                </c:pt>
                <c:pt idx="12631">
                  <c:v>35.086111111111109</c:v>
                </c:pt>
                <c:pt idx="12632">
                  <c:v>35.088888888888889</c:v>
                </c:pt>
                <c:pt idx="12633">
                  <c:v>35.091666666666669</c:v>
                </c:pt>
                <c:pt idx="12634">
                  <c:v>35.094444444444441</c:v>
                </c:pt>
                <c:pt idx="12635">
                  <c:v>35.097222222222221</c:v>
                </c:pt>
                <c:pt idx="12636">
                  <c:v>35.1</c:v>
                </c:pt>
                <c:pt idx="12637">
                  <c:v>35.102777777777774</c:v>
                </c:pt>
                <c:pt idx="12638">
                  <c:v>35.105555555555554</c:v>
                </c:pt>
                <c:pt idx="12639">
                  <c:v>35.108333333333334</c:v>
                </c:pt>
                <c:pt idx="12640">
                  <c:v>35.111111111111114</c:v>
                </c:pt>
                <c:pt idx="12641">
                  <c:v>35.113888888888887</c:v>
                </c:pt>
                <c:pt idx="12642">
                  <c:v>35.116666666666667</c:v>
                </c:pt>
                <c:pt idx="12643">
                  <c:v>35.119444444444447</c:v>
                </c:pt>
                <c:pt idx="12644">
                  <c:v>35.12222222222222</c:v>
                </c:pt>
                <c:pt idx="12645">
                  <c:v>35.125</c:v>
                </c:pt>
                <c:pt idx="12646">
                  <c:v>35.12777777777778</c:v>
                </c:pt>
                <c:pt idx="12647">
                  <c:v>35.130555555555553</c:v>
                </c:pt>
                <c:pt idx="12648">
                  <c:v>35.133333333333333</c:v>
                </c:pt>
                <c:pt idx="12649">
                  <c:v>35.136111111111113</c:v>
                </c:pt>
                <c:pt idx="12650">
                  <c:v>35.138888888888886</c:v>
                </c:pt>
                <c:pt idx="12651">
                  <c:v>35.141666666666666</c:v>
                </c:pt>
                <c:pt idx="12652">
                  <c:v>35.144444444444446</c:v>
                </c:pt>
                <c:pt idx="12653">
                  <c:v>35.147222222222226</c:v>
                </c:pt>
                <c:pt idx="12654">
                  <c:v>35.15</c:v>
                </c:pt>
                <c:pt idx="12655">
                  <c:v>35.152777777777779</c:v>
                </c:pt>
                <c:pt idx="12656">
                  <c:v>35.155555555555559</c:v>
                </c:pt>
                <c:pt idx="12657">
                  <c:v>35.158333333333331</c:v>
                </c:pt>
                <c:pt idx="12658">
                  <c:v>35.161111111111111</c:v>
                </c:pt>
                <c:pt idx="12659">
                  <c:v>35.163888888888891</c:v>
                </c:pt>
                <c:pt idx="12660">
                  <c:v>35.166666666666664</c:v>
                </c:pt>
                <c:pt idx="12661">
                  <c:v>35.169444444444444</c:v>
                </c:pt>
                <c:pt idx="12662">
                  <c:v>35.172222222222224</c:v>
                </c:pt>
                <c:pt idx="12663">
                  <c:v>35.174999999999997</c:v>
                </c:pt>
                <c:pt idx="12664">
                  <c:v>35.177777777777777</c:v>
                </c:pt>
                <c:pt idx="12665">
                  <c:v>35.180555555555557</c:v>
                </c:pt>
                <c:pt idx="12666">
                  <c:v>35.18333333333333</c:v>
                </c:pt>
                <c:pt idx="12667">
                  <c:v>35.18611111111111</c:v>
                </c:pt>
                <c:pt idx="12668">
                  <c:v>35.18888888888889</c:v>
                </c:pt>
                <c:pt idx="12669">
                  <c:v>35.19166666666667</c:v>
                </c:pt>
                <c:pt idx="12670">
                  <c:v>35.194444444444443</c:v>
                </c:pt>
                <c:pt idx="12671">
                  <c:v>35.197222222222223</c:v>
                </c:pt>
                <c:pt idx="12672">
                  <c:v>35.200000000000003</c:v>
                </c:pt>
                <c:pt idx="12673">
                  <c:v>35.202777777777776</c:v>
                </c:pt>
                <c:pt idx="12674">
                  <c:v>35.205555555555556</c:v>
                </c:pt>
                <c:pt idx="12675">
                  <c:v>35.208333333333336</c:v>
                </c:pt>
                <c:pt idx="12676">
                  <c:v>35.211111111111109</c:v>
                </c:pt>
                <c:pt idx="12677">
                  <c:v>35.213888888888889</c:v>
                </c:pt>
                <c:pt idx="12678">
                  <c:v>35.216666666666669</c:v>
                </c:pt>
                <c:pt idx="12679">
                  <c:v>35.219444444444441</c:v>
                </c:pt>
                <c:pt idx="12680">
                  <c:v>35.222222222222221</c:v>
                </c:pt>
                <c:pt idx="12681">
                  <c:v>35.225000000000001</c:v>
                </c:pt>
                <c:pt idx="12682">
                  <c:v>35.227777777777774</c:v>
                </c:pt>
                <c:pt idx="12683">
                  <c:v>35.230555555555554</c:v>
                </c:pt>
                <c:pt idx="12684">
                  <c:v>35.233333333333334</c:v>
                </c:pt>
                <c:pt idx="12685">
                  <c:v>35.236111111111114</c:v>
                </c:pt>
                <c:pt idx="12686">
                  <c:v>35.238888888888887</c:v>
                </c:pt>
                <c:pt idx="12687">
                  <c:v>35.241666666666667</c:v>
                </c:pt>
                <c:pt idx="12688">
                  <c:v>35.244444444444447</c:v>
                </c:pt>
                <c:pt idx="12689">
                  <c:v>35.24722222222222</c:v>
                </c:pt>
                <c:pt idx="12690">
                  <c:v>35.25</c:v>
                </c:pt>
                <c:pt idx="12691">
                  <c:v>35.25277777777778</c:v>
                </c:pt>
                <c:pt idx="12692">
                  <c:v>35.255555555555553</c:v>
                </c:pt>
                <c:pt idx="12693">
                  <c:v>35.258333333333333</c:v>
                </c:pt>
                <c:pt idx="12694">
                  <c:v>35.261111111111113</c:v>
                </c:pt>
                <c:pt idx="12695">
                  <c:v>35.263888888888886</c:v>
                </c:pt>
                <c:pt idx="12696">
                  <c:v>35.266666666666666</c:v>
                </c:pt>
                <c:pt idx="12697">
                  <c:v>35.269444444444446</c:v>
                </c:pt>
                <c:pt idx="12698">
                  <c:v>35.272222222222226</c:v>
                </c:pt>
                <c:pt idx="12699">
                  <c:v>35.274999999999999</c:v>
                </c:pt>
                <c:pt idx="12700">
                  <c:v>35.277777777777779</c:v>
                </c:pt>
                <c:pt idx="12701">
                  <c:v>35.280555555555559</c:v>
                </c:pt>
                <c:pt idx="12702">
                  <c:v>35.283333333333331</c:v>
                </c:pt>
                <c:pt idx="12703">
                  <c:v>35.286111111111111</c:v>
                </c:pt>
                <c:pt idx="12704">
                  <c:v>35.288888888888891</c:v>
                </c:pt>
                <c:pt idx="12705">
                  <c:v>35.291666666666664</c:v>
                </c:pt>
                <c:pt idx="12706">
                  <c:v>35.294444444444444</c:v>
                </c:pt>
                <c:pt idx="12707">
                  <c:v>35.297222222222224</c:v>
                </c:pt>
                <c:pt idx="12708">
                  <c:v>35.299999999999997</c:v>
                </c:pt>
                <c:pt idx="12709">
                  <c:v>35.302777777777777</c:v>
                </c:pt>
                <c:pt idx="12710">
                  <c:v>35.305555555555557</c:v>
                </c:pt>
                <c:pt idx="12711">
                  <c:v>35.30833333333333</c:v>
                </c:pt>
                <c:pt idx="12712">
                  <c:v>35.31111111111111</c:v>
                </c:pt>
                <c:pt idx="12713">
                  <c:v>35.31388888888889</c:v>
                </c:pt>
                <c:pt idx="12714">
                  <c:v>35.31666666666667</c:v>
                </c:pt>
                <c:pt idx="12715">
                  <c:v>35.319444444444443</c:v>
                </c:pt>
                <c:pt idx="12716">
                  <c:v>35.322222222222223</c:v>
                </c:pt>
                <c:pt idx="12717">
                  <c:v>35.325000000000003</c:v>
                </c:pt>
                <c:pt idx="12718">
                  <c:v>35.327777777777776</c:v>
                </c:pt>
                <c:pt idx="12719">
                  <c:v>35.330555555555556</c:v>
                </c:pt>
                <c:pt idx="12720">
                  <c:v>35.333333333333336</c:v>
                </c:pt>
                <c:pt idx="12721">
                  <c:v>35.336111111111109</c:v>
                </c:pt>
                <c:pt idx="12722">
                  <c:v>35.338888888888889</c:v>
                </c:pt>
                <c:pt idx="12723">
                  <c:v>35.341666666666669</c:v>
                </c:pt>
                <c:pt idx="12724">
                  <c:v>35.344444444444441</c:v>
                </c:pt>
                <c:pt idx="12725">
                  <c:v>35.347222222222221</c:v>
                </c:pt>
                <c:pt idx="12726">
                  <c:v>35.35</c:v>
                </c:pt>
                <c:pt idx="12727">
                  <c:v>35.352777777777774</c:v>
                </c:pt>
                <c:pt idx="12728">
                  <c:v>35.355555555555554</c:v>
                </c:pt>
                <c:pt idx="12729">
                  <c:v>35.358333333333334</c:v>
                </c:pt>
                <c:pt idx="12730">
                  <c:v>35.361111111111114</c:v>
                </c:pt>
                <c:pt idx="12731">
                  <c:v>35.363888888888887</c:v>
                </c:pt>
                <c:pt idx="12732">
                  <c:v>35.366666666666667</c:v>
                </c:pt>
                <c:pt idx="12733">
                  <c:v>35.369444444444447</c:v>
                </c:pt>
                <c:pt idx="12734">
                  <c:v>35.37222222222222</c:v>
                </c:pt>
                <c:pt idx="12735">
                  <c:v>35.375</c:v>
                </c:pt>
                <c:pt idx="12736">
                  <c:v>35.37777777777778</c:v>
                </c:pt>
                <c:pt idx="12737">
                  <c:v>35.380555555555553</c:v>
                </c:pt>
                <c:pt idx="12738">
                  <c:v>35.383333333333333</c:v>
                </c:pt>
                <c:pt idx="12739">
                  <c:v>35.386111111111113</c:v>
                </c:pt>
                <c:pt idx="12740">
                  <c:v>35.388888888888886</c:v>
                </c:pt>
                <c:pt idx="12741">
                  <c:v>35.391666666666666</c:v>
                </c:pt>
                <c:pt idx="12742">
                  <c:v>35.394444444444446</c:v>
                </c:pt>
                <c:pt idx="12743">
                  <c:v>35.397222222222226</c:v>
                </c:pt>
                <c:pt idx="12744">
                  <c:v>35.4</c:v>
                </c:pt>
                <c:pt idx="12745">
                  <c:v>35.402777777777779</c:v>
                </c:pt>
                <c:pt idx="12746">
                  <c:v>35.405555555555559</c:v>
                </c:pt>
                <c:pt idx="12747">
                  <c:v>35.408333333333331</c:v>
                </c:pt>
                <c:pt idx="12748">
                  <c:v>35.411111111111111</c:v>
                </c:pt>
                <c:pt idx="12749">
                  <c:v>35.413888888888891</c:v>
                </c:pt>
                <c:pt idx="12750">
                  <c:v>35.416666666666664</c:v>
                </c:pt>
                <c:pt idx="12751">
                  <c:v>35.419444444444444</c:v>
                </c:pt>
                <c:pt idx="12752">
                  <c:v>35.422222222222224</c:v>
                </c:pt>
                <c:pt idx="12753">
                  <c:v>35.424999999999997</c:v>
                </c:pt>
                <c:pt idx="12754">
                  <c:v>35.427777777777777</c:v>
                </c:pt>
                <c:pt idx="12755">
                  <c:v>35.430555555555557</c:v>
                </c:pt>
                <c:pt idx="12756">
                  <c:v>35.43333333333333</c:v>
                </c:pt>
                <c:pt idx="12757">
                  <c:v>35.43611111111111</c:v>
                </c:pt>
                <c:pt idx="12758">
                  <c:v>35.43888888888889</c:v>
                </c:pt>
                <c:pt idx="12759">
                  <c:v>35.44166666666667</c:v>
                </c:pt>
                <c:pt idx="12760">
                  <c:v>35.444444444444443</c:v>
                </c:pt>
                <c:pt idx="12761">
                  <c:v>35.447222222222223</c:v>
                </c:pt>
                <c:pt idx="12762">
                  <c:v>35.450000000000003</c:v>
                </c:pt>
                <c:pt idx="12763">
                  <c:v>35.452777777777776</c:v>
                </c:pt>
                <c:pt idx="12764">
                  <c:v>35.455555555555556</c:v>
                </c:pt>
                <c:pt idx="12765">
                  <c:v>35.458333333333336</c:v>
                </c:pt>
                <c:pt idx="12766">
                  <c:v>35.461111111111109</c:v>
                </c:pt>
                <c:pt idx="12767">
                  <c:v>35.463888888888889</c:v>
                </c:pt>
                <c:pt idx="12768">
                  <c:v>35.466666666666669</c:v>
                </c:pt>
                <c:pt idx="12769">
                  <c:v>35.469444444444441</c:v>
                </c:pt>
                <c:pt idx="12770">
                  <c:v>35.472222222222221</c:v>
                </c:pt>
                <c:pt idx="12771">
                  <c:v>35.475000000000001</c:v>
                </c:pt>
                <c:pt idx="12772">
                  <c:v>35.477777777777774</c:v>
                </c:pt>
                <c:pt idx="12773">
                  <c:v>35.480555555555554</c:v>
                </c:pt>
                <c:pt idx="12774">
                  <c:v>35.483333333333334</c:v>
                </c:pt>
                <c:pt idx="12775">
                  <c:v>35.486111111111114</c:v>
                </c:pt>
                <c:pt idx="12776">
                  <c:v>35.488888888888887</c:v>
                </c:pt>
                <c:pt idx="12777">
                  <c:v>35.491666666666667</c:v>
                </c:pt>
                <c:pt idx="12778">
                  <c:v>35.494444444444447</c:v>
                </c:pt>
                <c:pt idx="12779">
                  <c:v>35.49722222222222</c:v>
                </c:pt>
                <c:pt idx="12780">
                  <c:v>35.5</c:v>
                </c:pt>
                <c:pt idx="12781">
                  <c:v>35.50277777777778</c:v>
                </c:pt>
                <c:pt idx="12782">
                  <c:v>35.505555555555553</c:v>
                </c:pt>
                <c:pt idx="12783">
                  <c:v>35.508333333333333</c:v>
                </c:pt>
                <c:pt idx="12784">
                  <c:v>35.511111111111113</c:v>
                </c:pt>
                <c:pt idx="12785">
                  <c:v>35.513888888888886</c:v>
                </c:pt>
                <c:pt idx="12786">
                  <c:v>35.516666666666666</c:v>
                </c:pt>
                <c:pt idx="12787">
                  <c:v>35.519444444444446</c:v>
                </c:pt>
                <c:pt idx="12788">
                  <c:v>35.522222222222226</c:v>
                </c:pt>
                <c:pt idx="12789">
                  <c:v>35.524999999999999</c:v>
                </c:pt>
                <c:pt idx="12790">
                  <c:v>35.527777777777779</c:v>
                </c:pt>
                <c:pt idx="12791">
                  <c:v>35.530555555555559</c:v>
                </c:pt>
                <c:pt idx="12792">
                  <c:v>35.533333333333331</c:v>
                </c:pt>
                <c:pt idx="12793">
                  <c:v>35.536111111111111</c:v>
                </c:pt>
                <c:pt idx="12794">
                  <c:v>35.538888888888891</c:v>
                </c:pt>
                <c:pt idx="12795">
                  <c:v>35.541666666666664</c:v>
                </c:pt>
                <c:pt idx="12796">
                  <c:v>35.544444444444444</c:v>
                </c:pt>
                <c:pt idx="12797">
                  <c:v>35.547222222222224</c:v>
                </c:pt>
                <c:pt idx="12798">
                  <c:v>35.549999999999997</c:v>
                </c:pt>
                <c:pt idx="12799">
                  <c:v>35.552777777777777</c:v>
                </c:pt>
                <c:pt idx="12800">
                  <c:v>35.555555555555557</c:v>
                </c:pt>
                <c:pt idx="12801">
                  <c:v>35.55833333333333</c:v>
                </c:pt>
                <c:pt idx="12802">
                  <c:v>35.56111111111111</c:v>
                </c:pt>
                <c:pt idx="12803">
                  <c:v>35.56388888888889</c:v>
                </c:pt>
                <c:pt idx="12804">
                  <c:v>35.56666666666667</c:v>
                </c:pt>
                <c:pt idx="12805">
                  <c:v>35.569444444444443</c:v>
                </c:pt>
                <c:pt idx="12806">
                  <c:v>35.572222222222223</c:v>
                </c:pt>
                <c:pt idx="12807">
                  <c:v>35.575000000000003</c:v>
                </c:pt>
                <c:pt idx="12808">
                  <c:v>35.577777777777776</c:v>
                </c:pt>
                <c:pt idx="12809">
                  <c:v>35.580555555555556</c:v>
                </c:pt>
                <c:pt idx="12810">
                  <c:v>35.583333333333336</c:v>
                </c:pt>
                <c:pt idx="12811">
                  <c:v>35.586111111111109</c:v>
                </c:pt>
                <c:pt idx="12812">
                  <c:v>35.588888888888889</c:v>
                </c:pt>
                <c:pt idx="12813">
                  <c:v>35.591666666666669</c:v>
                </c:pt>
                <c:pt idx="12814">
                  <c:v>35.594444444444441</c:v>
                </c:pt>
                <c:pt idx="12815">
                  <c:v>35.597222222222221</c:v>
                </c:pt>
                <c:pt idx="12816">
                  <c:v>35.6</c:v>
                </c:pt>
                <c:pt idx="12817">
                  <c:v>35.602777777777774</c:v>
                </c:pt>
                <c:pt idx="12818">
                  <c:v>35.605555555555554</c:v>
                </c:pt>
                <c:pt idx="12819">
                  <c:v>35.608333333333334</c:v>
                </c:pt>
                <c:pt idx="12820">
                  <c:v>35.611111111111114</c:v>
                </c:pt>
                <c:pt idx="12821">
                  <c:v>35.613888888888887</c:v>
                </c:pt>
                <c:pt idx="12822">
                  <c:v>35.616666666666667</c:v>
                </c:pt>
                <c:pt idx="12823">
                  <c:v>35.619444444444447</c:v>
                </c:pt>
                <c:pt idx="12824">
                  <c:v>35.62222222222222</c:v>
                </c:pt>
                <c:pt idx="12825">
                  <c:v>35.625</c:v>
                </c:pt>
                <c:pt idx="12826">
                  <c:v>35.62777777777778</c:v>
                </c:pt>
                <c:pt idx="12827">
                  <c:v>35.630555555555553</c:v>
                </c:pt>
                <c:pt idx="12828">
                  <c:v>35.633333333333333</c:v>
                </c:pt>
                <c:pt idx="12829">
                  <c:v>35.636111111111113</c:v>
                </c:pt>
                <c:pt idx="12830">
                  <c:v>35.638888888888886</c:v>
                </c:pt>
                <c:pt idx="12831">
                  <c:v>35.641666666666666</c:v>
                </c:pt>
                <c:pt idx="12832">
                  <c:v>35.644444444444446</c:v>
                </c:pt>
                <c:pt idx="12833">
                  <c:v>35.647222222222226</c:v>
                </c:pt>
                <c:pt idx="12834">
                  <c:v>35.65</c:v>
                </c:pt>
                <c:pt idx="12835">
                  <c:v>35.652777777777779</c:v>
                </c:pt>
                <c:pt idx="12836">
                  <c:v>35.655555555555559</c:v>
                </c:pt>
                <c:pt idx="12837">
                  <c:v>35.658333333333331</c:v>
                </c:pt>
                <c:pt idx="12838">
                  <c:v>35.661111111111111</c:v>
                </c:pt>
                <c:pt idx="12839">
                  <c:v>35.663888888888891</c:v>
                </c:pt>
                <c:pt idx="12840">
                  <c:v>35.666666666666664</c:v>
                </c:pt>
                <c:pt idx="12841">
                  <c:v>35.669444444444444</c:v>
                </c:pt>
                <c:pt idx="12842">
                  <c:v>35.672222222222224</c:v>
                </c:pt>
                <c:pt idx="12843">
                  <c:v>35.674999999999997</c:v>
                </c:pt>
                <c:pt idx="12844">
                  <c:v>35.677777777777777</c:v>
                </c:pt>
                <c:pt idx="12845">
                  <c:v>35.680555555555557</c:v>
                </c:pt>
                <c:pt idx="12846">
                  <c:v>35.68333333333333</c:v>
                </c:pt>
                <c:pt idx="12847">
                  <c:v>35.68611111111111</c:v>
                </c:pt>
                <c:pt idx="12848">
                  <c:v>35.68888888888889</c:v>
                </c:pt>
                <c:pt idx="12849">
                  <c:v>35.69166666666667</c:v>
                </c:pt>
                <c:pt idx="12850">
                  <c:v>35.694444444444443</c:v>
                </c:pt>
                <c:pt idx="12851">
                  <c:v>35.697222222222223</c:v>
                </c:pt>
                <c:pt idx="12852">
                  <c:v>35.700000000000003</c:v>
                </c:pt>
                <c:pt idx="12853">
                  <c:v>35.702777777777776</c:v>
                </c:pt>
                <c:pt idx="12854">
                  <c:v>35.705555555555556</c:v>
                </c:pt>
                <c:pt idx="12855">
                  <c:v>35.708333333333336</c:v>
                </c:pt>
                <c:pt idx="12856">
                  <c:v>35.711111111111109</c:v>
                </c:pt>
                <c:pt idx="12857">
                  <c:v>35.713888888888889</c:v>
                </c:pt>
                <c:pt idx="12858">
                  <c:v>35.716666666666669</c:v>
                </c:pt>
                <c:pt idx="12859">
                  <c:v>35.719444444444441</c:v>
                </c:pt>
                <c:pt idx="12860">
                  <c:v>35.722222222222221</c:v>
                </c:pt>
                <c:pt idx="12861">
                  <c:v>35.725000000000001</c:v>
                </c:pt>
                <c:pt idx="12862">
                  <c:v>35.727777777777774</c:v>
                </c:pt>
                <c:pt idx="12863">
                  <c:v>35.730555555555554</c:v>
                </c:pt>
                <c:pt idx="12864">
                  <c:v>35.733333333333334</c:v>
                </c:pt>
                <c:pt idx="12865">
                  <c:v>35.736111111111114</c:v>
                </c:pt>
                <c:pt idx="12866">
                  <c:v>35.738888888888887</c:v>
                </c:pt>
                <c:pt idx="12867">
                  <c:v>35.741666666666667</c:v>
                </c:pt>
                <c:pt idx="12868">
                  <c:v>35.744444444444447</c:v>
                </c:pt>
                <c:pt idx="12869">
                  <c:v>35.74722222222222</c:v>
                </c:pt>
                <c:pt idx="12870">
                  <c:v>35.75</c:v>
                </c:pt>
                <c:pt idx="12871">
                  <c:v>35.75277777777778</c:v>
                </c:pt>
                <c:pt idx="12872">
                  <c:v>35.755555555555553</c:v>
                </c:pt>
                <c:pt idx="12873">
                  <c:v>35.758333333333333</c:v>
                </c:pt>
                <c:pt idx="12874">
                  <c:v>35.761111111111113</c:v>
                </c:pt>
                <c:pt idx="12875">
                  <c:v>35.763888888888886</c:v>
                </c:pt>
                <c:pt idx="12876">
                  <c:v>35.766666666666666</c:v>
                </c:pt>
                <c:pt idx="12877">
                  <c:v>35.769444444444446</c:v>
                </c:pt>
                <c:pt idx="12878">
                  <c:v>35.772222222222226</c:v>
                </c:pt>
                <c:pt idx="12879">
                  <c:v>35.774999999999999</c:v>
                </c:pt>
                <c:pt idx="12880">
                  <c:v>35.777777777777779</c:v>
                </c:pt>
                <c:pt idx="12881">
                  <c:v>35.780555555555559</c:v>
                </c:pt>
                <c:pt idx="12882">
                  <c:v>35.783333333333331</c:v>
                </c:pt>
                <c:pt idx="12883">
                  <c:v>35.786111111111111</c:v>
                </c:pt>
                <c:pt idx="12884">
                  <c:v>35.788888888888891</c:v>
                </c:pt>
                <c:pt idx="12885">
                  <c:v>35.791666666666664</c:v>
                </c:pt>
                <c:pt idx="12886">
                  <c:v>35.794444444444444</c:v>
                </c:pt>
                <c:pt idx="12887">
                  <c:v>35.797222222222224</c:v>
                </c:pt>
                <c:pt idx="12888">
                  <c:v>35.799999999999997</c:v>
                </c:pt>
                <c:pt idx="12889">
                  <c:v>35.802777777777777</c:v>
                </c:pt>
                <c:pt idx="12890">
                  <c:v>35.805555555555557</c:v>
                </c:pt>
                <c:pt idx="12891">
                  <c:v>35.80833333333333</c:v>
                </c:pt>
                <c:pt idx="12892">
                  <c:v>35.81111111111111</c:v>
                </c:pt>
                <c:pt idx="12893">
                  <c:v>35.81388888888889</c:v>
                </c:pt>
                <c:pt idx="12894">
                  <c:v>35.81666666666667</c:v>
                </c:pt>
                <c:pt idx="12895">
                  <c:v>35.819444444444443</c:v>
                </c:pt>
                <c:pt idx="12896">
                  <c:v>35.822222222222223</c:v>
                </c:pt>
                <c:pt idx="12897">
                  <c:v>35.825000000000003</c:v>
                </c:pt>
                <c:pt idx="12898">
                  <c:v>35.827777777777776</c:v>
                </c:pt>
                <c:pt idx="12899">
                  <c:v>35.830555555555556</c:v>
                </c:pt>
                <c:pt idx="12900">
                  <c:v>35.833333333333336</c:v>
                </c:pt>
                <c:pt idx="12901">
                  <c:v>35.836111111111109</c:v>
                </c:pt>
                <c:pt idx="12902">
                  <c:v>35.838888888888889</c:v>
                </c:pt>
                <c:pt idx="12903">
                  <c:v>35.841666666666669</c:v>
                </c:pt>
                <c:pt idx="12904">
                  <c:v>35.844444444444441</c:v>
                </c:pt>
                <c:pt idx="12905">
                  <c:v>35.847222222222221</c:v>
                </c:pt>
                <c:pt idx="12906">
                  <c:v>35.85</c:v>
                </c:pt>
                <c:pt idx="12907">
                  <c:v>35.852777777777774</c:v>
                </c:pt>
                <c:pt idx="12908">
                  <c:v>35.855555555555554</c:v>
                </c:pt>
                <c:pt idx="12909">
                  <c:v>35.858333333333334</c:v>
                </c:pt>
                <c:pt idx="12910">
                  <c:v>35.861111111111114</c:v>
                </c:pt>
                <c:pt idx="12911">
                  <c:v>35.863888888888887</c:v>
                </c:pt>
                <c:pt idx="12912">
                  <c:v>35.866666666666667</c:v>
                </c:pt>
                <c:pt idx="12913">
                  <c:v>35.869444444444447</c:v>
                </c:pt>
                <c:pt idx="12914">
                  <c:v>35.87222222222222</c:v>
                </c:pt>
                <c:pt idx="12915">
                  <c:v>35.875</c:v>
                </c:pt>
                <c:pt idx="12916">
                  <c:v>35.87777777777778</c:v>
                </c:pt>
                <c:pt idx="12917">
                  <c:v>35.880555555555553</c:v>
                </c:pt>
                <c:pt idx="12918">
                  <c:v>35.883333333333333</c:v>
                </c:pt>
                <c:pt idx="12919">
                  <c:v>35.886111111111113</c:v>
                </c:pt>
                <c:pt idx="12920">
                  <c:v>35.888888888888886</c:v>
                </c:pt>
                <c:pt idx="12921">
                  <c:v>35.891666666666666</c:v>
                </c:pt>
                <c:pt idx="12922">
                  <c:v>35.894444444444446</c:v>
                </c:pt>
                <c:pt idx="12923">
                  <c:v>35.897222222222226</c:v>
                </c:pt>
                <c:pt idx="12924">
                  <c:v>35.9</c:v>
                </c:pt>
                <c:pt idx="12925">
                  <c:v>35.902777777777779</c:v>
                </c:pt>
                <c:pt idx="12926">
                  <c:v>35.905555555555559</c:v>
                </c:pt>
                <c:pt idx="12927">
                  <c:v>35.908333333333331</c:v>
                </c:pt>
                <c:pt idx="12928">
                  <c:v>35.911111111111111</c:v>
                </c:pt>
                <c:pt idx="12929">
                  <c:v>35.913888888888891</c:v>
                </c:pt>
                <c:pt idx="12930">
                  <c:v>35.916666666666664</c:v>
                </c:pt>
                <c:pt idx="12931">
                  <c:v>35.919444444444444</c:v>
                </c:pt>
                <c:pt idx="12932">
                  <c:v>35.922222222222224</c:v>
                </c:pt>
                <c:pt idx="12933">
                  <c:v>35.924999999999997</c:v>
                </c:pt>
                <c:pt idx="12934">
                  <c:v>35.927777777777777</c:v>
                </c:pt>
                <c:pt idx="12935">
                  <c:v>35.930555555555557</c:v>
                </c:pt>
                <c:pt idx="12936">
                  <c:v>35.93333333333333</c:v>
                </c:pt>
                <c:pt idx="12937">
                  <c:v>35.93611111111111</c:v>
                </c:pt>
                <c:pt idx="12938">
                  <c:v>35.93888888888889</c:v>
                </c:pt>
                <c:pt idx="12939">
                  <c:v>35.94166666666667</c:v>
                </c:pt>
                <c:pt idx="12940">
                  <c:v>35.944444444444443</c:v>
                </c:pt>
                <c:pt idx="12941">
                  <c:v>35.947222222222223</c:v>
                </c:pt>
                <c:pt idx="12942">
                  <c:v>35.950000000000003</c:v>
                </c:pt>
                <c:pt idx="12943">
                  <c:v>35.952777777777776</c:v>
                </c:pt>
                <c:pt idx="12944">
                  <c:v>35.955555555555556</c:v>
                </c:pt>
                <c:pt idx="12945">
                  <c:v>35.958333333333336</c:v>
                </c:pt>
                <c:pt idx="12946">
                  <c:v>35.961111111111109</c:v>
                </c:pt>
                <c:pt idx="12947">
                  <c:v>35.963888888888889</c:v>
                </c:pt>
                <c:pt idx="12948">
                  <c:v>35.966666666666669</c:v>
                </c:pt>
                <c:pt idx="12949">
                  <c:v>35.969444444444441</c:v>
                </c:pt>
                <c:pt idx="12950">
                  <c:v>35.972222222222221</c:v>
                </c:pt>
                <c:pt idx="12951">
                  <c:v>35.975000000000001</c:v>
                </c:pt>
                <c:pt idx="12952">
                  <c:v>35.977777777777774</c:v>
                </c:pt>
                <c:pt idx="12953">
                  <c:v>35.980555555555554</c:v>
                </c:pt>
                <c:pt idx="12954">
                  <c:v>35.983333333333334</c:v>
                </c:pt>
                <c:pt idx="12955">
                  <c:v>35.986111111111114</c:v>
                </c:pt>
                <c:pt idx="12956">
                  <c:v>35.988888888888887</c:v>
                </c:pt>
                <c:pt idx="12957">
                  <c:v>35.991666666666667</c:v>
                </c:pt>
                <c:pt idx="12958">
                  <c:v>35.994444444444447</c:v>
                </c:pt>
                <c:pt idx="12959">
                  <c:v>35.99722222222222</c:v>
                </c:pt>
                <c:pt idx="12960">
                  <c:v>36</c:v>
                </c:pt>
                <c:pt idx="12961">
                  <c:v>36.00277777777778</c:v>
                </c:pt>
                <c:pt idx="12962">
                  <c:v>36.005555555555553</c:v>
                </c:pt>
                <c:pt idx="12963">
                  <c:v>36.008333333333333</c:v>
                </c:pt>
                <c:pt idx="12964">
                  <c:v>36.011111111111113</c:v>
                </c:pt>
                <c:pt idx="12965">
                  <c:v>36.013888888888886</c:v>
                </c:pt>
                <c:pt idx="12966">
                  <c:v>36.016666666666666</c:v>
                </c:pt>
                <c:pt idx="12967">
                  <c:v>36.019444444444446</c:v>
                </c:pt>
                <c:pt idx="12968">
                  <c:v>36.022222222222226</c:v>
                </c:pt>
                <c:pt idx="12969">
                  <c:v>36.024999999999999</c:v>
                </c:pt>
                <c:pt idx="12970">
                  <c:v>36.027777777777779</c:v>
                </c:pt>
                <c:pt idx="12971">
                  <c:v>36.030555555555559</c:v>
                </c:pt>
                <c:pt idx="12972">
                  <c:v>36.033333333333331</c:v>
                </c:pt>
                <c:pt idx="12973">
                  <c:v>36.036111111111111</c:v>
                </c:pt>
                <c:pt idx="12974">
                  <c:v>36.038888888888891</c:v>
                </c:pt>
                <c:pt idx="12975">
                  <c:v>36.041666666666664</c:v>
                </c:pt>
                <c:pt idx="12976">
                  <c:v>36.044444444444444</c:v>
                </c:pt>
                <c:pt idx="12977">
                  <c:v>36.047222222222224</c:v>
                </c:pt>
                <c:pt idx="12978">
                  <c:v>36.049999999999997</c:v>
                </c:pt>
                <c:pt idx="12979">
                  <c:v>36.052777777777777</c:v>
                </c:pt>
                <c:pt idx="12980">
                  <c:v>36.055555555555557</c:v>
                </c:pt>
                <c:pt idx="12981">
                  <c:v>36.05833333333333</c:v>
                </c:pt>
                <c:pt idx="12982">
                  <c:v>36.06111111111111</c:v>
                </c:pt>
                <c:pt idx="12983">
                  <c:v>36.06388888888889</c:v>
                </c:pt>
                <c:pt idx="12984">
                  <c:v>36.06666666666667</c:v>
                </c:pt>
                <c:pt idx="12985">
                  <c:v>36.069444444444443</c:v>
                </c:pt>
                <c:pt idx="12986">
                  <c:v>36.072222222222223</c:v>
                </c:pt>
                <c:pt idx="12987">
                  <c:v>36.075000000000003</c:v>
                </c:pt>
                <c:pt idx="12988">
                  <c:v>36.077777777777776</c:v>
                </c:pt>
                <c:pt idx="12989">
                  <c:v>36.080555555555556</c:v>
                </c:pt>
                <c:pt idx="12990">
                  <c:v>36.083333333333336</c:v>
                </c:pt>
                <c:pt idx="12991">
                  <c:v>36.086111111111109</c:v>
                </c:pt>
                <c:pt idx="12992">
                  <c:v>36.088888888888889</c:v>
                </c:pt>
                <c:pt idx="12993">
                  <c:v>36.091666666666669</c:v>
                </c:pt>
                <c:pt idx="12994">
                  <c:v>36.094444444444441</c:v>
                </c:pt>
                <c:pt idx="12995">
                  <c:v>36.097222222222221</c:v>
                </c:pt>
                <c:pt idx="12996">
                  <c:v>36.1</c:v>
                </c:pt>
                <c:pt idx="12997">
                  <c:v>36.102777777777774</c:v>
                </c:pt>
                <c:pt idx="12998">
                  <c:v>36.105555555555554</c:v>
                </c:pt>
                <c:pt idx="12999">
                  <c:v>36.108333333333334</c:v>
                </c:pt>
                <c:pt idx="13000">
                  <c:v>36.111111111111114</c:v>
                </c:pt>
                <c:pt idx="13001">
                  <c:v>36.113888888888887</c:v>
                </c:pt>
                <c:pt idx="13002">
                  <c:v>36.116666666666667</c:v>
                </c:pt>
                <c:pt idx="13003">
                  <c:v>36.119444444444447</c:v>
                </c:pt>
                <c:pt idx="13004">
                  <c:v>36.12222222222222</c:v>
                </c:pt>
                <c:pt idx="13005">
                  <c:v>36.125</c:v>
                </c:pt>
                <c:pt idx="13006">
                  <c:v>36.12777777777778</c:v>
                </c:pt>
                <c:pt idx="13007">
                  <c:v>36.130555555555553</c:v>
                </c:pt>
                <c:pt idx="13008">
                  <c:v>36.133333333333333</c:v>
                </c:pt>
                <c:pt idx="13009">
                  <c:v>36.136111111111113</c:v>
                </c:pt>
                <c:pt idx="13010">
                  <c:v>36.138888888888886</c:v>
                </c:pt>
                <c:pt idx="13011">
                  <c:v>36.141666666666666</c:v>
                </c:pt>
                <c:pt idx="13012">
                  <c:v>36.144444444444446</c:v>
                </c:pt>
                <c:pt idx="13013">
                  <c:v>36.147222222222226</c:v>
                </c:pt>
                <c:pt idx="13014">
                  <c:v>36.15</c:v>
                </c:pt>
                <c:pt idx="13015">
                  <c:v>36.152777777777779</c:v>
                </c:pt>
                <c:pt idx="13016">
                  <c:v>36.155555555555559</c:v>
                </c:pt>
                <c:pt idx="13017">
                  <c:v>36.158333333333331</c:v>
                </c:pt>
                <c:pt idx="13018">
                  <c:v>36.161111111111111</c:v>
                </c:pt>
                <c:pt idx="13019">
                  <c:v>36.163888888888891</c:v>
                </c:pt>
                <c:pt idx="13020">
                  <c:v>36.166666666666664</c:v>
                </c:pt>
                <c:pt idx="13021">
                  <c:v>36.169444444444444</c:v>
                </c:pt>
                <c:pt idx="13022">
                  <c:v>36.172222222222224</c:v>
                </c:pt>
                <c:pt idx="13023">
                  <c:v>36.174999999999997</c:v>
                </c:pt>
                <c:pt idx="13024">
                  <c:v>36.177777777777777</c:v>
                </c:pt>
                <c:pt idx="13025">
                  <c:v>36.180555555555557</c:v>
                </c:pt>
                <c:pt idx="13026">
                  <c:v>36.18333333333333</c:v>
                </c:pt>
                <c:pt idx="13027">
                  <c:v>36.18611111111111</c:v>
                </c:pt>
                <c:pt idx="13028">
                  <c:v>36.18888888888889</c:v>
                </c:pt>
                <c:pt idx="13029">
                  <c:v>36.19166666666667</c:v>
                </c:pt>
                <c:pt idx="13030">
                  <c:v>36.194444444444443</c:v>
                </c:pt>
                <c:pt idx="13031">
                  <c:v>36.197222222222223</c:v>
                </c:pt>
                <c:pt idx="13032">
                  <c:v>36.200000000000003</c:v>
                </c:pt>
                <c:pt idx="13033">
                  <c:v>36.202777777777776</c:v>
                </c:pt>
                <c:pt idx="13034">
                  <c:v>36.205555555555556</c:v>
                </c:pt>
                <c:pt idx="13035">
                  <c:v>36.208333333333336</c:v>
                </c:pt>
                <c:pt idx="13036">
                  <c:v>36.211111111111109</c:v>
                </c:pt>
                <c:pt idx="13037">
                  <c:v>36.213888888888889</c:v>
                </c:pt>
                <c:pt idx="13038">
                  <c:v>36.216666666666669</c:v>
                </c:pt>
                <c:pt idx="13039">
                  <c:v>36.219444444444441</c:v>
                </c:pt>
                <c:pt idx="13040">
                  <c:v>36.222222222222221</c:v>
                </c:pt>
                <c:pt idx="13041">
                  <c:v>36.225000000000001</c:v>
                </c:pt>
                <c:pt idx="13042">
                  <c:v>36.227777777777774</c:v>
                </c:pt>
                <c:pt idx="13043">
                  <c:v>36.230555555555554</c:v>
                </c:pt>
                <c:pt idx="13044">
                  <c:v>36.233333333333334</c:v>
                </c:pt>
                <c:pt idx="13045">
                  <c:v>36.236111111111114</c:v>
                </c:pt>
                <c:pt idx="13046">
                  <c:v>36.238888888888887</c:v>
                </c:pt>
                <c:pt idx="13047">
                  <c:v>36.241666666666667</c:v>
                </c:pt>
                <c:pt idx="13048">
                  <c:v>36.244444444444447</c:v>
                </c:pt>
                <c:pt idx="13049">
                  <c:v>36.24722222222222</c:v>
                </c:pt>
                <c:pt idx="13050">
                  <c:v>36.25</c:v>
                </c:pt>
                <c:pt idx="13051">
                  <c:v>36.25277777777778</c:v>
                </c:pt>
                <c:pt idx="13052">
                  <c:v>36.255555555555553</c:v>
                </c:pt>
                <c:pt idx="13053">
                  <c:v>36.258333333333333</c:v>
                </c:pt>
                <c:pt idx="13054">
                  <c:v>36.261111111111113</c:v>
                </c:pt>
                <c:pt idx="13055">
                  <c:v>36.263888888888886</c:v>
                </c:pt>
                <c:pt idx="13056">
                  <c:v>36.266666666666666</c:v>
                </c:pt>
                <c:pt idx="13057">
                  <c:v>36.269444444444446</c:v>
                </c:pt>
                <c:pt idx="13058">
                  <c:v>36.272222222222226</c:v>
                </c:pt>
                <c:pt idx="13059">
                  <c:v>36.274999999999999</c:v>
                </c:pt>
                <c:pt idx="13060">
                  <c:v>36.277777777777779</c:v>
                </c:pt>
                <c:pt idx="13061">
                  <c:v>36.280555555555559</c:v>
                </c:pt>
                <c:pt idx="13062">
                  <c:v>36.283333333333331</c:v>
                </c:pt>
                <c:pt idx="13063">
                  <c:v>36.286111111111111</c:v>
                </c:pt>
                <c:pt idx="13064">
                  <c:v>36.288888888888891</c:v>
                </c:pt>
                <c:pt idx="13065">
                  <c:v>36.291666666666664</c:v>
                </c:pt>
                <c:pt idx="13066">
                  <c:v>36.294444444444444</c:v>
                </c:pt>
                <c:pt idx="13067">
                  <c:v>36.297222222222224</c:v>
                </c:pt>
                <c:pt idx="13068">
                  <c:v>36.299999999999997</c:v>
                </c:pt>
                <c:pt idx="13069">
                  <c:v>36.302777777777777</c:v>
                </c:pt>
                <c:pt idx="13070">
                  <c:v>36.305555555555557</c:v>
                </c:pt>
                <c:pt idx="13071">
                  <c:v>36.30833333333333</c:v>
                </c:pt>
                <c:pt idx="13072">
                  <c:v>36.31111111111111</c:v>
                </c:pt>
                <c:pt idx="13073">
                  <c:v>36.31388888888889</c:v>
                </c:pt>
                <c:pt idx="13074">
                  <c:v>36.31666666666667</c:v>
                </c:pt>
                <c:pt idx="13075">
                  <c:v>36.319444444444443</c:v>
                </c:pt>
                <c:pt idx="13076">
                  <c:v>36.322222222222223</c:v>
                </c:pt>
                <c:pt idx="13077">
                  <c:v>36.325000000000003</c:v>
                </c:pt>
                <c:pt idx="13078">
                  <c:v>36.327777777777776</c:v>
                </c:pt>
                <c:pt idx="13079">
                  <c:v>36.330555555555556</c:v>
                </c:pt>
                <c:pt idx="13080">
                  <c:v>36.333333333333336</c:v>
                </c:pt>
                <c:pt idx="13081">
                  <c:v>36.336111111111109</c:v>
                </c:pt>
                <c:pt idx="13082">
                  <c:v>36.338888888888889</c:v>
                </c:pt>
                <c:pt idx="13083">
                  <c:v>36.341666666666669</c:v>
                </c:pt>
                <c:pt idx="13084">
                  <c:v>36.344444444444441</c:v>
                </c:pt>
                <c:pt idx="13085">
                  <c:v>36.347222222222221</c:v>
                </c:pt>
                <c:pt idx="13086">
                  <c:v>36.35</c:v>
                </c:pt>
                <c:pt idx="13087">
                  <c:v>36.352777777777774</c:v>
                </c:pt>
                <c:pt idx="13088">
                  <c:v>36.355555555555554</c:v>
                </c:pt>
                <c:pt idx="13089">
                  <c:v>36.358333333333334</c:v>
                </c:pt>
                <c:pt idx="13090">
                  <c:v>36.361111111111114</c:v>
                </c:pt>
                <c:pt idx="13091">
                  <c:v>36.363888888888887</c:v>
                </c:pt>
                <c:pt idx="13092">
                  <c:v>36.366666666666667</c:v>
                </c:pt>
                <c:pt idx="13093">
                  <c:v>36.369444444444447</c:v>
                </c:pt>
                <c:pt idx="13094">
                  <c:v>36.37222222222222</c:v>
                </c:pt>
                <c:pt idx="13095">
                  <c:v>36.375</c:v>
                </c:pt>
                <c:pt idx="13096">
                  <c:v>36.37777777777778</c:v>
                </c:pt>
                <c:pt idx="13097">
                  <c:v>36.380555555555553</c:v>
                </c:pt>
                <c:pt idx="13098">
                  <c:v>36.383333333333333</c:v>
                </c:pt>
                <c:pt idx="13099">
                  <c:v>36.386111111111113</c:v>
                </c:pt>
                <c:pt idx="13100">
                  <c:v>36.388888888888886</c:v>
                </c:pt>
                <c:pt idx="13101">
                  <c:v>36.391666666666666</c:v>
                </c:pt>
                <c:pt idx="13102">
                  <c:v>36.394444444444446</c:v>
                </c:pt>
                <c:pt idx="13103">
                  <c:v>36.397222222222226</c:v>
                </c:pt>
                <c:pt idx="13104">
                  <c:v>36.4</c:v>
                </c:pt>
                <c:pt idx="13105">
                  <c:v>36.402777777777779</c:v>
                </c:pt>
                <c:pt idx="13106">
                  <c:v>36.405555555555559</c:v>
                </c:pt>
                <c:pt idx="13107">
                  <c:v>36.408333333333331</c:v>
                </c:pt>
                <c:pt idx="13108">
                  <c:v>36.411111111111111</c:v>
                </c:pt>
                <c:pt idx="13109">
                  <c:v>36.413888888888891</c:v>
                </c:pt>
                <c:pt idx="13110">
                  <c:v>36.416666666666664</c:v>
                </c:pt>
                <c:pt idx="13111">
                  <c:v>36.419444444444444</c:v>
                </c:pt>
                <c:pt idx="13112">
                  <c:v>36.422222222222224</c:v>
                </c:pt>
                <c:pt idx="13113">
                  <c:v>36.424999999999997</c:v>
                </c:pt>
                <c:pt idx="13114">
                  <c:v>36.427777777777777</c:v>
                </c:pt>
                <c:pt idx="13115">
                  <c:v>36.430555555555557</c:v>
                </c:pt>
                <c:pt idx="13116">
                  <c:v>36.43333333333333</c:v>
                </c:pt>
                <c:pt idx="13117">
                  <c:v>36.43611111111111</c:v>
                </c:pt>
                <c:pt idx="13118">
                  <c:v>36.43888888888889</c:v>
                </c:pt>
                <c:pt idx="13119">
                  <c:v>36.44166666666667</c:v>
                </c:pt>
                <c:pt idx="13120">
                  <c:v>36.444444444444443</c:v>
                </c:pt>
                <c:pt idx="13121">
                  <c:v>36.447222222222223</c:v>
                </c:pt>
                <c:pt idx="13122">
                  <c:v>36.450000000000003</c:v>
                </c:pt>
                <c:pt idx="13123">
                  <c:v>36.452777777777776</c:v>
                </c:pt>
                <c:pt idx="13124">
                  <c:v>36.455555555555556</c:v>
                </c:pt>
                <c:pt idx="13125">
                  <c:v>36.458333333333336</c:v>
                </c:pt>
                <c:pt idx="13126">
                  <c:v>36.461111111111109</c:v>
                </c:pt>
                <c:pt idx="13127">
                  <c:v>36.463888888888889</c:v>
                </c:pt>
                <c:pt idx="13128">
                  <c:v>36.466666666666669</c:v>
                </c:pt>
                <c:pt idx="13129">
                  <c:v>36.469444444444441</c:v>
                </c:pt>
                <c:pt idx="13130">
                  <c:v>36.472222222222221</c:v>
                </c:pt>
                <c:pt idx="13131">
                  <c:v>36.475000000000001</c:v>
                </c:pt>
                <c:pt idx="13132">
                  <c:v>36.477777777777774</c:v>
                </c:pt>
                <c:pt idx="13133">
                  <c:v>36.480555555555554</c:v>
                </c:pt>
                <c:pt idx="13134">
                  <c:v>36.483333333333334</c:v>
                </c:pt>
                <c:pt idx="13135">
                  <c:v>36.486111111111114</c:v>
                </c:pt>
                <c:pt idx="13136">
                  <c:v>36.488888888888887</c:v>
                </c:pt>
                <c:pt idx="13137">
                  <c:v>36.491666666666667</c:v>
                </c:pt>
                <c:pt idx="13138">
                  <c:v>36.494444444444447</c:v>
                </c:pt>
                <c:pt idx="13139">
                  <c:v>36.49722222222222</c:v>
                </c:pt>
                <c:pt idx="13140">
                  <c:v>36.5</c:v>
                </c:pt>
                <c:pt idx="13141">
                  <c:v>36.50277777777778</c:v>
                </c:pt>
                <c:pt idx="13142">
                  <c:v>36.505555555555553</c:v>
                </c:pt>
                <c:pt idx="13143">
                  <c:v>36.508333333333333</c:v>
                </c:pt>
                <c:pt idx="13144">
                  <c:v>36.511111111111113</c:v>
                </c:pt>
                <c:pt idx="13145">
                  <c:v>36.513888888888886</c:v>
                </c:pt>
                <c:pt idx="13146">
                  <c:v>36.516666666666666</c:v>
                </c:pt>
                <c:pt idx="13147">
                  <c:v>36.519444444444446</c:v>
                </c:pt>
                <c:pt idx="13148">
                  <c:v>36.522222222222226</c:v>
                </c:pt>
                <c:pt idx="13149">
                  <c:v>36.524999999999999</c:v>
                </c:pt>
                <c:pt idx="13150">
                  <c:v>36.527777777777779</c:v>
                </c:pt>
                <c:pt idx="13151">
                  <c:v>36.530555555555559</c:v>
                </c:pt>
                <c:pt idx="13152">
                  <c:v>36.533333333333331</c:v>
                </c:pt>
                <c:pt idx="13153">
                  <c:v>36.536111111111111</c:v>
                </c:pt>
                <c:pt idx="13154">
                  <c:v>36.538888888888891</c:v>
                </c:pt>
                <c:pt idx="13155">
                  <c:v>36.541666666666664</c:v>
                </c:pt>
                <c:pt idx="13156">
                  <c:v>36.544444444444444</c:v>
                </c:pt>
                <c:pt idx="13157">
                  <c:v>36.547222222222224</c:v>
                </c:pt>
                <c:pt idx="13158">
                  <c:v>36.549999999999997</c:v>
                </c:pt>
                <c:pt idx="13159">
                  <c:v>36.552777777777777</c:v>
                </c:pt>
                <c:pt idx="13160">
                  <c:v>36.555555555555557</c:v>
                </c:pt>
                <c:pt idx="13161">
                  <c:v>36.55833333333333</c:v>
                </c:pt>
                <c:pt idx="13162">
                  <c:v>36.56111111111111</c:v>
                </c:pt>
                <c:pt idx="13163">
                  <c:v>36.56388888888889</c:v>
                </c:pt>
                <c:pt idx="13164">
                  <c:v>36.56666666666667</c:v>
                </c:pt>
                <c:pt idx="13165">
                  <c:v>36.569444444444443</c:v>
                </c:pt>
                <c:pt idx="13166">
                  <c:v>36.572222222222223</c:v>
                </c:pt>
                <c:pt idx="13167">
                  <c:v>36.575000000000003</c:v>
                </c:pt>
                <c:pt idx="13168">
                  <c:v>36.577777777777776</c:v>
                </c:pt>
                <c:pt idx="13169">
                  <c:v>36.580555555555556</c:v>
                </c:pt>
                <c:pt idx="13170">
                  <c:v>36.583333333333336</c:v>
                </c:pt>
                <c:pt idx="13171">
                  <c:v>36.586111111111109</c:v>
                </c:pt>
                <c:pt idx="13172">
                  <c:v>36.588888888888889</c:v>
                </c:pt>
                <c:pt idx="13173">
                  <c:v>36.591666666666669</c:v>
                </c:pt>
                <c:pt idx="13174">
                  <c:v>36.594444444444441</c:v>
                </c:pt>
                <c:pt idx="13175">
                  <c:v>36.597222222222221</c:v>
                </c:pt>
                <c:pt idx="13176">
                  <c:v>36.6</c:v>
                </c:pt>
                <c:pt idx="13177">
                  <c:v>36.602777777777774</c:v>
                </c:pt>
                <c:pt idx="13178">
                  <c:v>36.605555555555554</c:v>
                </c:pt>
                <c:pt idx="13179">
                  <c:v>36.608333333333334</c:v>
                </c:pt>
                <c:pt idx="13180">
                  <c:v>36.611111111111114</c:v>
                </c:pt>
                <c:pt idx="13181">
                  <c:v>36.613888888888887</c:v>
                </c:pt>
                <c:pt idx="13182">
                  <c:v>36.616666666666667</c:v>
                </c:pt>
                <c:pt idx="13183">
                  <c:v>36.619444444444447</c:v>
                </c:pt>
                <c:pt idx="13184">
                  <c:v>36.62222222222222</c:v>
                </c:pt>
                <c:pt idx="13185">
                  <c:v>36.625</c:v>
                </c:pt>
                <c:pt idx="13186">
                  <c:v>36.62777777777778</c:v>
                </c:pt>
                <c:pt idx="13187">
                  <c:v>36.630555555555553</c:v>
                </c:pt>
                <c:pt idx="13188">
                  <c:v>36.633333333333333</c:v>
                </c:pt>
                <c:pt idx="13189">
                  <c:v>36.636111111111113</c:v>
                </c:pt>
                <c:pt idx="13190">
                  <c:v>36.638888888888886</c:v>
                </c:pt>
                <c:pt idx="13191">
                  <c:v>36.641666666666666</c:v>
                </c:pt>
                <c:pt idx="13192">
                  <c:v>36.644444444444446</c:v>
                </c:pt>
                <c:pt idx="13193">
                  <c:v>36.647222222222226</c:v>
                </c:pt>
                <c:pt idx="13194">
                  <c:v>36.65</c:v>
                </c:pt>
                <c:pt idx="13195">
                  <c:v>36.652777777777779</c:v>
                </c:pt>
                <c:pt idx="13196">
                  <c:v>36.655555555555559</c:v>
                </c:pt>
                <c:pt idx="13197">
                  <c:v>36.658333333333331</c:v>
                </c:pt>
                <c:pt idx="13198">
                  <c:v>36.661111111111111</c:v>
                </c:pt>
                <c:pt idx="13199">
                  <c:v>36.663888888888891</c:v>
                </c:pt>
                <c:pt idx="13200">
                  <c:v>36.666666666666664</c:v>
                </c:pt>
                <c:pt idx="13201">
                  <c:v>36.669444444444444</c:v>
                </c:pt>
                <c:pt idx="13202">
                  <c:v>36.672222222222224</c:v>
                </c:pt>
                <c:pt idx="13203">
                  <c:v>36.674999999999997</c:v>
                </c:pt>
                <c:pt idx="13204">
                  <c:v>36.677777777777777</c:v>
                </c:pt>
                <c:pt idx="13205">
                  <c:v>36.680555555555557</c:v>
                </c:pt>
                <c:pt idx="13206">
                  <c:v>36.68333333333333</c:v>
                </c:pt>
                <c:pt idx="13207">
                  <c:v>36.68611111111111</c:v>
                </c:pt>
                <c:pt idx="13208">
                  <c:v>36.68888888888889</c:v>
                </c:pt>
                <c:pt idx="13209">
                  <c:v>36.69166666666667</c:v>
                </c:pt>
                <c:pt idx="13210">
                  <c:v>36.694444444444443</c:v>
                </c:pt>
                <c:pt idx="13211">
                  <c:v>36.697222222222223</c:v>
                </c:pt>
                <c:pt idx="13212">
                  <c:v>36.700000000000003</c:v>
                </c:pt>
                <c:pt idx="13213">
                  <c:v>36.702777777777776</c:v>
                </c:pt>
                <c:pt idx="13214">
                  <c:v>36.705555555555556</c:v>
                </c:pt>
                <c:pt idx="13215">
                  <c:v>36.708333333333336</c:v>
                </c:pt>
                <c:pt idx="13216">
                  <c:v>36.711111111111109</c:v>
                </c:pt>
                <c:pt idx="13217">
                  <c:v>36.713888888888889</c:v>
                </c:pt>
                <c:pt idx="13218">
                  <c:v>36.716666666666669</c:v>
                </c:pt>
                <c:pt idx="13219">
                  <c:v>36.719444444444441</c:v>
                </c:pt>
                <c:pt idx="13220">
                  <c:v>36.722222222222221</c:v>
                </c:pt>
                <c:pt idx="13221">
                  <c:v>36.725000000000001</c:v>
                </c:pt>
                <c:pt idx="13222">
                  <c:v>36.727777777777774</c:v>
                </c:pt>
                <c:pt idx="13223">
                  <c:v>36.730555555555554</c:v>
                </c:pt>
                <c:pt idx="13224">
                  <c:v>36.733333333333334</c:v>
                </c:pt>
                <c:pt idx="13225">
                  <c:v>36.736111111111114</c:v>
                </c:pt>
                <c:pt idx="13226">
                  <c:v>36.738888888888887</c:v>
                </c:pt>
                <c:pt idx="13227">
                  <c:v>36.741666666666667</c:v>
                </c:pt>
                <c:pt idx="13228">
                  <c:v>36.744444444444447</c:v>
                </c:pt>
                <c:pt idx="13229">
                  <c:v>36.74722222222222</c:v>
                </c:pt>
                <c:pt idx="13230">
                  <c:v>36.75</c:v>
                </c:pt>
                <c:pt idx="13231">
                  <c:v>36.75277777777778</c:v>
                </c:pt>
                <c:pt idx="13232">
                  <c:v>36.755555555555553</c:v>
                </c:pt>
                <c:pt idx="13233">
                  <c:v>36.758333333333333</c:v>
                </c:pt>
                <c:pt idx="13234">
                  <c:v>36.761111111111113</c:v>
                </c:pt>
                <c:pt idx="13235">
                  <c:v>36.763888888888886</c:v>
                </c:pt>
                <c:pt idx="13236">
                  <c:v>36.766666666666666</c:v>
                </c:pt>
                <c:pt idx="13237">
                  <c:v>36.769444444444446</c:v>
                </c:pt>
                <c:pt idx="13238">
                  <c:v>36.772222222222226</c:v>
                </c:pt>
                <c:pt idx="13239">
                  <c:v>36.774999999999999</c:v>
                </c:pt>
                <c:pt idx="13240">
                  <c:v>36.777777777777779</c:v>
                </c:pt>
                <c:pt idx="13241">
                  <c:v>36.780555555555559</c:v>
                </c:pt>
                <c:pt idx="13242">
                  <c:v>36.783333333333331</c:v>
                </c:pt>
                <c:pt idx="13243">
                  <c:v>36.786111111111111</c:v>
                </c:pt>
                <c:pt idx="13244">
                  <c:v>36.788888888888891</c:v>
                </c:pt>
                <c:pt idx="13245">
                  <c:v>36.791666666666664</c:v>
                </c:pt>
                <c:pt idx="13246">
                  <c:v>36.794444444444444</c:v>
                </c:pt>
                <c:pt idx="13247">
                  <c:v>36.797222222222224</c:v>
                </c:pt>
                <c:pt idx="13248">
                  <c:v>36.799999999999997</c:v>
                </c:pt>
                <c:pt idx="13249">
                  <c:v>36.802777777777777</c:v>
                </c:pt>
                <c:pt idx="13250">
                  <c:v>36.805555555555557</c:v>
                </c:pt>
                <c:pt idx="13251">
                  <c:v>36.80833333333333</c:v>
                </c:pt>
                <c:pt idx="13252">
                  <c:v>36.81111111111111</c:v>
                </c:pt>
                <c:pt idx="13253">
                  <c:v>36.81388888888889</c:v>
                </c:pt>
                <c:pt idx="13254">
                  <c:v>36.81666666666667</c:v>
                </c:pt>
                <c:pt idx="13255">
                  <c:v>36.819444444444443</c:v>
                </c:pt>
                <c:pt idx="13256">
                  <c:v>36.822222222222223</c:v>
                </c:pt>
                <c:pt idx="13257">
                  <c:v>36.825000000000003</c:v>
                </c:pt>
                <c:pt idx="13258">
                  <c:v>36.827777777777776</c:v>
                </c:pt>
                <c:pt idx="13259">
                  <c:v>36.830555555555556</c:v>
                </c:pt>
                <c:pt idx="13260">
                  <c:v>36.833333333333336</c:v>
                </c:pt>
                <c:pt idx="13261">
                  <c:v>36.836111111111109</c:v>
                </c:pt>
                <c:pt idx="13262">
                  <c:v>36.838888888888889</c:v>
                </c:pt>
                <c:pt idx="13263">
                  <c:v>36.841666666666669</c:v>
                </c:pt>
                <c:pt idx="13264">
                  <c:v>36.844444444444441</c:v>
                </c:pt>
                <c:pt idx="13265">
                  <c:v>36.847222222222221</c:v>
                </c:pt>
                <c:pt idx="13266">
                  <c:v>36.85</c:v>
                </c:pt>
                <c:pt idx="13267">
                  <c:v>36.852777777777774</c:v>
                </c:pt>
                <c:pt idx="13268">
                  <c:v>36.855555555555554</c:v>
                </c:pt>
                <c:pt idx="13269">
                  <c:v>36.858333333333334</c:v>
                </c:pt>
                <c:pt idx="13270">
                  <c:v>36.861111111111114</c:v>
                </c:pt>
                <c:pt idx="13271">
                  <c:v>36.863888888888887</c:v>
                </c:pt>
                <c:pt idx="13272">
                  <c:v>36.866666666666667</c:v>
                </c:pt>
                <c:pt idx="13273">
                  <c:v>36.869444444444447</c:v>
                </c:pt>
                <c:pt idx="13274">
                  <c:v>36.87222222222222</c:v>
                </c:pt>
                <c:pt idx="13275">
                  <c:v>36.875</c:v>
                </c:pt>
                <c:pt idx="13276">
                  <c:v>36.87777777777778</c:v>
                </c:pt>
                <c:pt idx="13277">
                  <c:v>36.880555555555553</c:v>
                </c:pt>
                <c:pt idx="13278">
                  <c:v>36.883333333333333</c:v>
                </c:pt>
                <c:pt idx="13279">
                  <c:v>36.886111111111113</c:v>
                </c:pt>
                <c:pt idx="13280">
                  <c:v>36.888888888888886</c:v>
                </c:pt>
                <c:pt idx="13281">
                  <c:v>36.891666666666666</c:v>
                </c:pt>
                <c:pt idx="13282">
                  <c:v>36.894444444444446</c:v>
                </c:pt>
                <c:pt idx="13283">
                  <c:v>36.897222222222226</c:v>
                </c:pt>
                <c:pt idx="13284">
                  <c:v>36.9</c:v>
                </c:pt>
                <c:pt idx="13285">
                  <c:v>36.902777777777779</c:v>
                </c:pt>
                <c:pt idx="13286">
                  <c:v>36.905555555555559</c:v>
                </c:pt>
                <c:pt idx="13287">
                  <c:v>36.908333333333331</c:v>
                </c:pt>
                <c:pt idx="13288">
                  <c:v>36.911111111111111</c:v>
                </c:pt>
                <c:pt idx="13289">
                  <c:v>36.913888888888891</c:v>
                </c:pt>
                <c:pt idx="13290">
                  <c:v>36.916666666666664</c:v>
                </c:pt>
                <c:pt idx="13291">
                  <c:v>36.919444444444444</c:v>
                </c:pt>
                <c:pt idx="13292">
                  <c:v>36.922222222222224</c:v>
                </c:pt>
                <c:pt idx="13293">
                  <c:v>36.924999999999997</c:v>
                </c:pt>
                <c:pt idx="13294">
                  <c:v>36.927777777777777</c:v>
                </c:pt>
                <c:pt idx="13295">
                  <c:v>36.930555555555557</c:v>
                </c:pt>
                <c:pt idx="13296">
                  <c:v>36.93333333333333</c:v>
                </c:pt>
                <c:pt idx="13297">
                  <c:v>36.93611111111111</c:v>
                </c:pt>
                <c:pt idx="13298">
                  <c:v>36.93888888888889</c:v>
                </c:pt>
                <c:pt idx="13299">
                  <c:v>36.94166666666667</c:v>
                </c:pt>
                <c:pt idx="13300">
                  <c:v>36.944444444444443</c:v>
                </c:pt>
                <c:pt idx="13301">
                  <c:v>36.947222222222223</c:v>
                </c:pt>
                <c:pt idx="13302">
                  <c:v>36.950000000000003</c:v>
                </c:pt>
                <c:pt idx="13303">
                  <c:v>36.952777777777776</c:v>
                </c:pt>
                <c:pt idx="13304">
                  <c:v>36.955555555555556</c:v>
                </c:pt>
                <c:pt idx="13305">
                  <c:v>36.958333333333336</c:v>
                </c:pt>
                <c:pt idx="13306">
                  <c:v>36.961111111111109</c:v>
                </c:pt>
                <c:pt idx="13307">
                  <c:v>36.963888888888889</c:v>
                </c:pt>
                <c:pt idx="13308">
                  <c:v>36.966666666666669</c:v>
                </c:pt>
                <c:pt idx="13309">
                  <c:v>36.969444444444441</c:v>
                </c:pt>
                <c:pt idx="13310">
                  <c:v>36.972222222222221</c:v>
                </c:pt>
                <c:pt idx="13311">
                  <c:v>36.975000000000001</c:v>
                </c:pt>
                <c:pt idx="13312">
                  <c:v>36.977777777777774</c:v>
                </c:pt>
                <c:pt idx="13313">
                  <c:v>36.980555555555554</c:v>
                </c:pt>
                <c:pt idx="13314">
                  <c:v>36.983333333333334</c:v>
                </c:pt>
                <c:pt idx="13315">
                  <c:v>36.986111111111114</c:v>
                </c:pt>
                <c:pt idx="13316">
                  <c:v>36.988888888888887</c:v>
                </c:pt>
                <c:pt idx="13317">
                  <c:v>36.991666666666667</c:v>
                </c:pt>
                <c:pt idx="13318">
                  <c:v>36.994444444444447</c:v>
                </c:pt>
                <c:pt idx="13319">
                  <c:v>36.99722222222222</c:v>
                </c:pt>
                <c:pt idx="13320">
                  <c:v>37</c:v>
                </c:pt>
                <c:pt idx="13321">
                  <c:v>37.00277777777778</c:v>
                </c:pt>
                <c:pt idx="13322">
                  <c:v>37.005555555555553</c:v>
                </c:pt>
                <c:pt idx="13323">
                  <c:v>37.008333333333333</c:v>
                </c:pt>
                <c:pt idx="13324">
                  <c:v>37.011111111111113</c:v>
                </c:pt>
                <c:pt idx="13325">
                  <c:v>37.013888888888886</c:v>
                </c:pt>
                <c:pt idx="13326">
                  <c:v>37.016666666666666</c:v>
                </c:pt>
                <c:pt idx="13327">
                  <c:v>37.019444444444446</c:v>
                </c:pt>
                <c:pt idx="13328">
                  <c:v>37.022222222222226</c:v>
                </c:pt>
                <c:pt idx="13329">
                  <c:v>37.024999999999999</c:v>
                </c:pt>
                <c:pt idx="13330">
                  <c:v>37.027777777777779</c:v>
                </c:pt>
                <c:pt idx="13331">
                  <c:v>37.030555555555559</c:v>
                </c:pt>
                <c:pt idx="13332">
                  <c:v>37.033333333333331</c:v>
                </c:pt>
                <c:pt idx="13333">
                  <c:v>37.036111111111111</c:v>
                </c:pt>
                <c:pt idx="13334">
                  <c:v>37.038888888888891</c:v>
                </c:pt>
                <c:pt idx="13335">
                  <c:v>37.041666666666664</c:v>
                </c:pt>
                <c:pt idx="13336">
                  <c:v>37.044444444444444</c:v>
                </c:pt>
                <c:pt idx="13337">
                  <c:v>37.047222222222224</c:v>
                </c:pt>
                <c:pt idx="13338">
                  <c:v>37.049999999999997</c:v>
                </c:pt>
                <c:pt idx="13339">
                  <c:v>37.052777777777777</c:v>
                </c:pt>
                <c:pt idx="13340">
                  <c:v>37.055555555555557</c:v>
                </c:pt>
                <c:pt idx="13341">
                  <c:v>37.05833333333333</c:v>
                </c:pt>
                <c:pt idx="13342">
                  <c:v>37.06111111111111</c:v>
                </c:pt>
                <c:pt idx="13343">
                  <c:v>37.06388888888889</c:v>
                </c:pt>
                <c:pt idx="13344">
                  <c:v>37.06666666666667</c:v>
                </c:pt>
                <c:pt idx="13345">
                  <c:v>37.069444444444443</c:v>
                </c:pt>
                <c:pt idx="13346">
                  <c:v>37.072222222222223</c:v>
                </c:pt>
                <c:pt idx="13347">
                  <c:v>37.075000000000003</c:v>
                </c:pt>
                <c:pt idx="13348">
                  <c:v>37.077777777777776</c:v>
                </c:pt>
                <c:pt idx="13349">
                  <c:v>37.080555555555556</c:v>
                </c:pt>
                <c:pt idx="13350">
                  <c:v>37.083333333333336</c:v>
                </c:pt>
                <c:pt idx="13351">
                  <c:v>37.086111111111109</c:v>
                </c:pt>
                <c:pt idx="13352">
                  <c:v>37.088888888888889</c:v>
                </c:pt>
                <c:pt idx="13353">
                  <c:v>37.091666666666669</c:v>
                </c:pt>
                <c:pt idx="13354">
                  <c:v>37.094444444444441</c:v>
                </c:pt>
                <c:pt idx="13355">
                  <c:v>37.097222222222221</c:v>
                </c:pt>
                <c:pt idx="13356">
                  <c:v>37.1</c:v>
                </c:pt>
                <c:pt idx="13357">
                  <c:v>37.102777777777774</c:v>
                </c:pt>
                <c:pt idx="13358">
                  <c:v>37.105555555555554</c:v>
                </c:pt>
                <c:pt idx="13359">
                  <c:v>37.108333333333334</c:v>
                </c:pt>
                <c:pt idx="13360">
                  <c:v>37.111111111111114</c:v>
                </c:pt>
                <c:pt idx="13361">
                  <c:v>37.113888888888887</c:v>
                </c:pt>
                <c:pt idx="13362">
                  <c:v>37.116666666666667</c:v>
                </c:pt>
                <c:pt idx="13363">
                  <c:v>37.119444444444447</c:v>
                </c:pt>
                <c:pt idx="13364">
                  <c:v>37.12222222222222</c:v>
                </c:pt>
                <c:pt idx="13365">
                  <c:v>37.125</c:v>
                </c:pt>
                <c:pt idx="13366">
                  <c:v>37.12777777777778</c:v>
                </c:pt>
                <c:pt idx="13367">
                  <c:v>37.130555555555553</c:v>
                </c:pt>
                <c:pt idx="13368">
                  <c:v>37.133333333333333</c:v>
                </c:pt>
                <c:pt idx="13369">
                  <c:v>37.136111111111113</c:v>
                </c:pt>
                <c:pt idx="13370">
                  <c:v>37.138888888888886</c:v>
                </c:pt>
                <c:pt idx="13371">
                  <c:v>37.141666666666666</c:v>
                </c:pt>
                <c:pt idx="13372">
                  <c:v>37.144444444444446</c:v>
                </c:pt>
                <c:pt idx="13373">
                  <c:v>37.147222222222226</c:v>
                </c:pt>
                <c:pt idx="13374">
                  <c:v>37.15</c:v>
                </c:pt>
                <c:pt idx="13375">
                  <c:v>37.152777777777779</c:v>
                </c:pt>
                <c:pt idx="13376">
                  <c:v>37.155555555555559</c:v>
                </c:pt>
                <c:pt idx="13377">
                  <c:v>37.158333333333331</c:v>
                </c:pt>
                <c:pt idx="13378">
                  <c:v>37.161111111111111</c:v>
                </c:pt>
                <c:pt idx="13379">
                  <c:v>37.163888888888891</c:v>
                </c:pt>
                <c:pt idx="13380">
                  <c:v>37.166666666666664</c:v>
                </c:pt>
                <c:pt idx="13381">
                  <c:v>37.169444444444444</c:v>
                </c:pt>
                <c:pt idx="13382">
                  <c:v>37.172222222222224</c:v>
                </c:pt>
                <c:pt idx="13383">
                  <c:v>37.174999999999997</c:v>
                </c:pt>
                <c:pt idx="13384">
                  <c:v>37.177777777777777</c:v>
                </c:pt>
                <c:pt idx="13385">
                  <c:v>37.180555555555557</c:v>
                </c:pt>
                <c:pt idx="13386">
                  <c:v>37.18333333333333</c:v>
                </c:pt>
                <c:pt idx="13387">
                  <c:v>37.18611111111111</c:v>
                </c:pt>
                <c:pt idx="13388">
                  <c:v>37.18888888888889</c:v>
                </c:pt>
                <c:pt idx="13389">
                  <c:v>37.19166666666667</c:v>
                </c:pt>
                <c:pt idx="13390">
                  <c:v>37.194444444444443</c:v>
                </c:pt>
                <c:pt idx="13391">
                  <c:v>37.197222222222223</c:v>
                </c:pt>
                <c:pt idx="13392">
                  <c:v>37.200000000000003</c:v>
                </c:pt>
                <c:pt idx="13393">
                  <c:v>37.202777777777776</c:v>
                </c:pt>
                <c:pt idx="13394">
                  <c:v>37.205555555555556</c:v>
                </c:pt>
                <c:pt idx="13395">
                  <c:v>37.208333333333336</c:v>
                </c:pt>
                <c:pt idx="13396">
                  <c:v>37.211111111111109</c:v>
                </c:pt>
                <c:pt idx="13397">
                  <c:v>37.213888888888889</c:v>
                </c:pt>
                <c:pt idx="13398">
                  <c:v>37.216666666666669</c:v>
                </c:pt>
                <c:pt idx="13399">
                  <c:v>37.219444444444441</c:v>
                </c:pt>
                <c:pt idx="13400">
                  <c:v>37.222222222222221</c:v>
                </c:pt>
                <c:pt idx="13401">
                  <c:v>37.225000000000001</c:v>
                </c:pt>
                <c:pt idx="13402">
                  <c:v>37.227777777777774</c:v>
                </c:pt>
                <c:pt idx="13403">
                  <c:v>37.230555555555554</c:v>
                </c:pt>
                <c:pt idx="13404">
                  <c:v>37.233333333333334</c:v>
                </c:pt>
                <c:pt idx="13405">
                  <c:v>37.236111111111114</c:v>
                </c:pt>
                <c:pt idx="13406">
                  <c:v>37.238888888888887</c:v>
                </c:pt>
                <c:pt idx="13407">
                  <c:v>37.241666666666667</c:v>
                </c:pt>
                <c:pt idx="13408">
                  <c:v>37.244444444444447</c:v>
                </c:pt>
                <c:pt idx="13409">
                  <c:v>37.24722222222222</c:v>
                </c:pt>
                <c:pt idx="13410">
                  <c:v>37.25</c:v>
                </c:pt>
                <c:pt idx="13411">
                  <c:v>37.25277777777778</c:v>
                </c:pt>
                <c:pt idx="13412">
                  <c:v>37.255555555555553</c:v>
                </c:pt>
                <c:pt idx="13413">
                  <c:v>37.258333333333333</c:v>
                </c:pt>
                <c:pt idx="13414">
                  <c:v>37.261111111111113</c:v>
                </c:pt>
                <c:pt idx="13415">
                  <c:v>37.263888888888886</c:v>
                </c:pt>
                <c:pt idx="13416">
                  <c:v>37.266666666666666</c:v>
                </c:pt>
                <c:pt idx="13417">
                  <c:v>37.269444444444446</c:v>
                </c:pt>
                <c:pt idx="13418">
                  <c:v>37.272222222222226</c:v>
                </c:pt>
                <c:pt idx="13419">
                  <c:v>37.274999999999999</c:v>
                </c:pt>
                <c:pt idx="13420">
                  <c:v>37.277777777777779</c:v>
                </c:pt>
                <c:pt idx="13421">
                  <c:v>37.280555555555559</c:v>
                </c:pt>
                <c:pt idx="13422">
                  <c:v>37.283333333333331</c:v>
                </c:pt>
                <c:pt idx="13423">
                  <c:v>37.286111111111111</c:v>
                </c:pt>
                <c:pt idx="13424">
                  <c:v>37.288888888888891</c:v>
                </c:pt>
                <c:pt idx="13425">
                  <c:v>37.291666666666664</c:v>
                </c:pt>
                <c:pt idx="13426">
                  <c:v>37.294444444444444</c:v>
                </c:pt>
                <c:pt idx="13427">
                  <c:v>37.297222222222224</c:v>
                </c:pt>
                <c:pt idx="13428">
                  <c:v>37.299999999999997</c:v>
                </c:pt>
                <c:pt idx="13429">
                  <c:v>37.302777777777777</c:v>
                </c:pt>
                <c:pt idx="13430">
                  <c:v>37.305555555555557</c:v>
                </c:pt>
                <c:pt idx="13431">
                  <c:v>37.30833333333333</c:v>
                </c:pt>
                <c:pt idx="13432">
                  <c:v>37.31111111111111</c:v>
                </c:pt>
                <c:pt idx="13433">
                  <c:v>37.31388888888889</c:v>
                </c:pt>
                <c:pt idx="13434">
                  <c:v>37.31666666666667</c:v>
                </c:pt>
                <c:pt idx="13435">
                  <c:v>37.319444444444443</c:v>
                </c:pt>
                <c:pt idx="13436">
                  <c:v>37.322222222222223</c:v>
                </c:pt>
                <c:pt idx="13437">
                  <c:v>37.325000000000003</c:v>
                </c:pt>
                <c:pt idx="13438">
                  <c:v>37.327777777777776</c:v>
                </c:pt>
                <c:pt idx="13439">
                  <c:v>37.330555555555556</c:v>
                </c:pt>
                <c:pt idx="13440">
                  <c:v>37.333333333333336</c:v>
                </c:pt>
                <c:pt idx="13441">
                  <c:v>37.336111111111109</c:v>
                </c:pt>
                <c:pt idx="13442">
                  <c:v>37.338888888888889</c:v>
                </c:pt>
                <c:pt idx="13443">
                  <c:v>37.341666666666669</c:v>
                </c:pt>
                <c:pt idx="13444">
                  <c:v>37.344444444444441</c:v>
                </c:pt>
                <c:pt idx="13445">
                  <c:v>37.347222222222221</c:v>
                </c:pt>
                <c:pt idx="13446">
                  <c:v>37.35</c:v>
                </c:pt>
                <c:pt idx="13447">
                  <c:v>37.352777777777774</c:v>
                </c:pt>
                <c:pt idx="13448">
                  <c:v>37.355555555555554</c:v>
                </c:pt>
                <c:pt idx="13449">
                  <c:v>37.358333333333334</c:v>
                </c:pt>
                <c:pt idx="13450">
                  <c:v>37.361111111111114</c:v>
                </c:pt>
                <c:pt idx="13451">
                  <c:v>37.363888888888887</c:v>
                </c:pt>
                <c:pt idx="13452">
                  <c:v>37.366666666666667</c:v>
                </c:pt>
                <c:pt idx="13453">
                  <c:v>37.369444444444447</c:v>
                </c:pt>
                <c:pt idx="13454">
                  <c:v>37.37222222222222</c:v>
                </c:pt>
                <c:pt idx="13455">
                  <c:v>37.375</c:v>
                </c:pt>
                <c:pt idx="13456">
                  <c:v>37.37777777777778</c:v>
                </c:pt>
                <c:pt idx="13457">
                  <c:v>37.380555555555553</c:v>
                </c:pt>
                <c:pt idx="13458">
                  <c:v>37.383333333333333</c:v>
                </c:pt>
                <c:pt idx="13459">
                  <c:v>37.386111111111113</c:v>
                </c:pt>
                <c:pt idx="13460">
                  <c:v>37.388888888888886</c:v>
                </c:pt>
                <c:pt idx="13461">
                  <c:v>37.391666666666666</c:v>
                </c:pt>
                <c:pt idx="13462">
                  <c:v>37.394444444444446</c:v>
                </c:pt>
                <c:pt idx="13463">
                  <c:v>37.397222222222226</c:v>
                </c:pt>
                <c:pt idx="13464">
                  <c:v>37.4</c:v>
                </c:pt>
                <c:pt idx="13465">
                  <c:v>37.402777777777779</c:v>
                </c:pt>
                <c:pt idx="13466">
                  <c:v>37.405555555555559</c:v>
                </c:pt>
                <c:pt idx="13467">
                  <c:v>37.408333333333331</c:v>
                </c:pt>
                <c:pt idx="13468">
                  <c:v>37.411111111111111</c:v>
                </c:pt>
                <c:pt idx="13469">
                  <c:v>37.413888888888891</c:v>
                </c:pt>
                <c:pt idx="13470">
                  <c:v>37.416666666666664</c:v>
                </c:pt>
                <c:pt idx="13471">
                  <c:v>37.419444444444444</c:v>
                </c:pt>
                <c:pt idx="13472">
                  <c:v>37.422222222222224</c:v>
                </c:pt>
                <c:pt idx="13473">
                  <c:v>37.424999999999997</c:v>
                </c:pt>
                <c:pt idx="13474">
                  <c:v>37.427777777777777</c:v>
                </c:pt>
                <c:pt idx="13475">
                  <c:v>37.430555555555557</c:v>
                </c:pt>
                <c:pt idx="13476">
                  <c:v>37.43333333333333</c:v>
                </c:pt>
                <c:pt idx="13477">
                  <c:v>37.43611111111111</c:v>
                </c:pt>
                <c:pt idx="13478">
                  <c:v>37.43888888888889</c:v>
                </c:pt>
                <c:pt idx="13479">
                  <c:v>37.44166666666667</c:v>
                </c:pt>
                <c:pt idx="13480">
                  <c:v>37.444444444444443</c:v>
                </c:pt>
                <c:pt idx="13481">
                  <c:v>37.447222222222223</c:v>
                </c:pt>
                <c:pt idx="13482">
                  <c:v>37.450000000000003</c:v>
                </c:pt>
                <c:pt idx="13483">
                  <c:v>37.452777777777776</c:v>
                </c:pt>
                <c:pt idx="13484">
                  <c:v>37.455555555555556</c:v>
                </c:pt>
                <c:pt idx="13485">
                  <c:v>37.458333333333336</c:v>
                </c:pt>
                <c:pt idx="13486">
                  <c:v>37.461111111111109</c:v>
                </c:pt>
                <c:pt idx="13487">
                  <c:v>37.463888888888889</c:v>
                </c:pt>
                <c:pt idx="13488">
                  <c:v>37.466666666666669</c:v>
                </c:pt>
                <c:pt idx="13489">
                  <c:v>37.469444444444441</c:v>
                </c:pt>
                <c:pt idx="13490">
                  <c:v>37.472222222222221</c:v>
                </c:pt>
                <c:pt idx="13491">
                  <c:v>37.475000000000001</c:v>
                </c:pt>
                <c:pt idx="13492">
                  <c:v>37.477777777777774</c:v>
                </c:pt>
                <c:pt idx="13493">
                  <c:v>37.480555555555554</c:v>
                </c:pt>
                <c:pt idx="13494">
                  <c:v>37.483333333333334</c:v>
                </c:pt>
                <c:pt idx="13495">
                  <c:v>37.486111111111114</c:v>
                </c:pt>
                <c:pt idx="13496">
                  <c:v>37.488888888888887</c:v>
                </c:pt>
                <c:pt idx="13497">
                  <c:v>37.491666666666667</c:v>
                </c:pt>
                <c:pt idx="13498">
                  <c:v>37.494444444444447</c:v>
                </c:pt>
                <c:pt idx="13499">
                  <c:v>37.49722222222222</c:v>
                </c:pt>
                <c:pt idx="13500">
                  <c:v>37.5</c:v>
                </c:pt>
                <c:pt idx="13501">
                  <c:v>37.50277777777778</c:v>
                </c:pt>
                <c:pt idx="13502">
                  <c:v>37.505555555555553</c:v>
                </c:pt>
                <c:pt idx="13503">
                  <c:v>37.508333333333333</c:v>
                </c:pt>
                <c:pt idx="13504">
                  <c:v>37.511111111111113</c:v>
                </c:pt>
                <c:pt idx="13505">
                  <c:v>37.513888888888886</c:v>
                </c:pt>
                <c:pt idx="13506">
                  <c:v>37.516666666666666</c:v>
                </c:pt>
                <c:pt idx="13507">
                  <c:v>37.519444444444446</c:v>
                </c:pt>
                <c:pt idx="13508">
                  <c:v>37.522222222222226</c:v>
                </c:pt>
                <c:pt idx="13509">
                  <c:v>37.524999999999999</c:v>
                </c:pt>
                <c:pt idx="13510">
                  <c:v>37.527777777777779</c:v>
                </c:pt>
                <c:pt idx="13511">
                  <c:v>37.530555555555559</c:v>
                </c:pt>
                <c:pt idx="13512">
                  <c:v>37.533333333333331</c:v>
                </c:pt>
                <c:pt idx="13513">
                  <c:v>37.536111111111111</c:v>
                </c:pt>
                <c:pt idx="13514">
                  <c:v>37.538888888888891</c:v>
                </c:pt>
                <c:pt idx="13515">
                  <c:v>37.541666666666664</c:v>
                </c:pt>
                <c:pt idx="13516">
                  <c:v>37.544444444444444</c:v>
                </c:pt>
                <c:pt idx="13517">
                  <c:v>37.547222222222224</c:v>
                </c:pt>
                <c:pt idx="13518">
                  <c:v>37.549999999999997</c:v>
                </c:pt>
                <c:pt idx="13519">
                  <c:v>37.552777777777777</c:v>
                </c:pt>
                <c:pt idx="13520">
                  <c:v>37.555555555555557</c:v>
                </c:pt>
                <c:pt idx="13521">
                  <c:v>37.55833333333333</c:v>
                </c:pt>
                <c:pt idx="13522">
                  <c:v>37.56111111111111</c:v>
                </c:pt>
                <c:pt idx="13523">
                  <c:v>37.56388888888889</c:v>
                </c:pt>
                <c:pt idx="13524">
                  <c:v>37.56666666666667</c:v>
                </c:pt>
                <c:pt idx="13525">
                  <c:v>37.569444444444443</c:v>
                </c:pt>
                <c:pt idx="13526">
                  <c:v>37.572222222222223</c:v>
                </c:pt>
                <c:pt idx="13527">
                  <c:v>37.575000000000003</c:v>
                </c:pt>
                <c:pt idx="13528">
                  <c:v>37.577777777777776</c:v>
                </c:pt>
                <c:pt idx="13529">
                  <c:v>37.580555555555556</c:v>
                </c:pt>
                <c:pt idx="13530">
                  <c:v>37.583333333333336</c:v>
                </c:pt>
                <c:pt idx="13531">
                  <c:v>37.586111111111109</c:v>
                </c:pt>
                <c:pt idx="13532">
                  <c:v>37.588888888888889</c:v>
                </c:pt>
                <c:pt idx="13533">
                  <c:v>37.591666666666669</c:v>
                </c:pt>
                <c:pt idx="13534">
                  <c:v>37.594444444444441</c:v>
                </c:pt>
                <c:pt idx="13535">
                  <c:v>37.597222222222221</c:v>
                </c:pt>
                <c:pt idx="13536">
                  <c:v>37.6</c:v>
                </c:pt>
                <c:pt idx="13537">
                  <c:v>37.602777777777774</c:v>
                </c:pt>
                <c:pt idx="13538">
                  <c:v>37.605555555555554</c:v>
                </c:pt>
                <c:pt idx="13539">
                  <c:v>37.608333333333334</c:v>
                </c:pt>
                <c:pt idx="13540">
                  <c:v>37.611111111111114</c:v>
                </c:pt>
                <c:pt idx="13541">
                  <c:v>37.613888888888887</c:v>
                </c:pt>
                <c:pt idx="13542">
                  <c:v>37.616666666666667</c:v>
                </c:pt>
                <c:pt idx="13543">
                  <c:v>37.619444444444447</c:v>
                </c:pt>
                <c:pt idx="13544">
                  <c:v>37.62222222222222</c:v>
                </c:pt>
                <c:pt idx="13545">
                  <c:v>37.625</c:v>
                </c:pt>
                <c:pt idx="13546">
                  <c:v>37.62777777777778</c:v>
                </c:pt>
                <c:pt idx="13547">
                  <c:v>37.630555555555553</c:v>
                </c:pt>
                <c:pt idx="13548">
                  <c:v>37.633333333333333</c:v>
                </c:pt>
                <c:pt idx="13549">
                  <c:v>37.636111111111113</c:v>
                </c:pt>
                <c:pt idx="13550">
                  <c:v>37.638888888888886</c:v>
                </c:pt>
                <c:pt idx="13551">
                  <c:v>37.641666666666666</c:v>
                </c:pt>
                <c:pt idx="13552">
                  <c:v>37.644444444444446</c:v>
                </c:pt>
                <c:pt idx="13553">
                  <c:v>37.647222222222226</c:v>
                </c:pt>
                <c:pt idx="13554">
                  <c:v>37.65</c:v>
                </c:pt>
                <c:pt idx="13555">
                  <c:v>37.652777777777779</c:v>
                </c:pt>
                <c:pt idx="13556">
                  <c:v>37.655555555555559</c:v>
                </c:pt>
                <c:pt idx="13557">
                  <c:v>37.658333333333331</c:v>
                </c:pt>
                <c:pt idx="13558">
                  <c:v>37.661111111111111</c:v>
                </c:pt>
                <c:pt idx="13559">
                  <c:v>37.663888888888891</c:v>
                </c:pt>
                <c:pt idx="13560">
                  <c:v>37.666666666666664</c:v>
                </c:pt>
                <c:pt idx="13561">
                  <c:v>37.669444444444444</c:v>
                </c:pt>
                <c:pt idx="13562">
                  <c:v>37.672222222222224</c:v>
                </c:pt>
                <c:pt idx="13563">
                  <c:v>37.674999999999997</c:v>
                </c:pt>
                <c:pt idx="13564">
                  <c:v>37.677777777777777</c:v>
                </c:pt>
                <c:pt idx="13565">
                  <c:v>37.680555555555557</c:v>
                </c:pt>
                <c:pt idx="13566">
                  <c:v>37.68333333333333</c:v>
                </c:pt>
                <c:pt idx="13567">
                  <c:v>37.68611111111111</c:v>
                </c:pt>
                <c:pt idx="13568">
                  <c:v>37.68888888888889</c:v>
                </c:pt>
                <c:pt idx="13569">
                  <c:v>37.69166666666667</c:v>
                </c:pt>
                <c:pt idx="13570">
                  <c:v>37.694444444444443</c:v>
                </c:pt>
                <c:pt idx="13571">
                  <c:v>37.697222222222223</c:v>
                </c:pt>
                <c:pt idx="13572">
                  <c:v>37.700000000000003</c:v>
                </c:pt>
                <c:pt idx="13573">
                  <c:v>37.702777777777776</c:v>
                </c:pt>
                <c:pt idx="13574">
                  <c:v>37.705555555555556</c:v>
                </c:pt>
                <c:pt idx="13575">
                  <c:v>37.708333333333336</c:v>
                </c:pt>
                <c:pt idx="13576">
                  <c:v>37.711111111111109</c:v>
                </c:pt>
                <c:pt idx="13577">
                  <c:v>37.713888888888889</c:v>
                </c:pt>
                <c:pt idx="13578">
                  <c:v>37.716666666666669</c:v>
                </c:pt>
                <c:pt idx="13579">
                  <c:v>37.719444444444441</c:v>
                </c:pt>
                <c:pt idx="13580">
                  <c:v>37.722222222222221</c:v>
                </c:pt>
                <c:pt idx="13581">
                  <c:v>37.725000000000001</c:v>
                </c:pt>
                <c:pt idx="13582">
                  <c:v>37.727777777777774</c:v>
                </c:pt>
                <c:pt idx="13583">
                  <c:v>37.730555555555554</c:v>
                </c:pt>
                <c:pt idx="13584">
                  <c:v>37.733333333333334</c:v>
                </c:pt>
                <c:pt idx="13585">
                  <c:v>37.736111111111114</c:v>
                </c:pt>
                <c:pt idx="13586">
                  <c:v>37.738888888888887</c:v>
                </c:pt>
                <c:pt idx="13587">
                  <c:v>37.741666666666667</c:v>
                </c:pt>
                <c:pt idx="13588">
                  <c:v>37.744444444444447</c:v>
                </c:pt>
                <c:pt idx="13589">
                  <c:v>37.74722222222222</c:v>
                </c:pt>
                <c:pt idx="13590">
                  <c:v>37.75</c:v>
                </c:pt>
                <c:pt idx="13591">
                  <c:v>37.75277777777778</c:v>
                </c:pt>
                <c:pt idx="13592">
                  <c:v>37.755555555555553</c:v>
                </c:pt>
                <c:pt idx="13593">
                  <c:v>37.758333333333333</c:v>
                </c:pt>
                <c:pt idx="13594">
                  <c:v>37.761111111111113</c:v>
                </c:pt>
                <c:pt idx="13595">
                  <c:v>37.763888888888886</c:v>
                </c:pt>
                <c:pt idx="13596">
                  <c:v>37.766666666666666</c:v>
                </c:pt>
                <c:pt idx="13597">
                  <c:v>37.769444444444446</c:v>
                </c:pt>
                <c:pt idx="13598">
                  <c:v>37.772222222222226</c:v>
                </c:pt>
                <c:pt idx="13599">
                  <c:v>37.774999999999999</c:v>
                </c:pt>
                <c:pt idx="13600">
                  <c:v>37.777777777777779</c:v>
                </c:pt>
                <c:pt idx="13601">
                  <c:v>37.780555555555559</c:v>
                </c:pt>
                <c:pt idx="13602">
                  <c:v>37.783333333333331</c:v>
                </c:pt>
                <c:pt idx="13603">
                  <c:v>37.786111111111111</c:v>
                </c:pt>
                <c:pt idx="13604">
                  <c:v>37.788888888888891</c:v>
                </c:pt>
                <c:pt idx="13605">
                  <c:v>37.791666666666664</c:v>
                </c:pt>
                <c:pt idx="13606">
                  <c:v>37.794444444444444</c:v>
                </c:pt>
                <c:pt idx="13607">
                  <c:v>37.797222222222224</c:v>
                </c:pt>
                <c:pt idx="13608">
                  <c:v>37.799999999999997</c:v>
                </c:pt>
                <c:pt idx="13609">
                  <c:v>37.802777777777777</c:v>
                </c:pt>
                <c:pt idx="13610">
                  <c:v>37.805555555555557</c:v>
                </c:pt>
                <c:pt idx="13611">
                  <c:v>37.80833333333333</c:v>
                </c:pt>
                <c:pt idx="13612">
                  <c:v>37.81111111111111</c:v>
                </c:pt>
                <c:pt idx="13613">
                  <c:v>37.81388888888889</c:v>
                </c:pt>
                <c:pt idx="13614">
                  <c:v>37.81666666666667</c:v>
                </c:pt>
                <c:pt idx="13615">
                  <c:v>37.819444444444443</c:v>
                </c:pt>
                <c:pt idx="13616">
                  <c:v>37.822222222222223</c:v>
                </c:pt>
                <c:pt idx="13617">
                  <c:v>37.825000000000003</c:v>
                </c:pt>
                <c:pt idx="13618">
                  <c:v>37.827777777777776</c:v>
                </c:pt>
                <c:pt idx="13619">
                  <c:v>37.830555555555556</c:v>
                </c:pt>
                <c:pt idx="13620">
                  <c:v>37.833333333333336</c:v>
                </c:pt>
                <c:pt idx="13621">
                  <c:v>37.836111111111109</c:v>
                </c:pt>
                <c:pt idx="13622">
                  <c:v>37.838888888888889</c:v>
                </c:pt>
                <c:pt idx="13623">
                  <c:v>37.841666666666669</c:v>
                </c:pt>
                <c:pt idx="13624">
                  <c:v>37.844444444444441</c:v>
                </c:pt>
                <c:pt idx="13625">
                  <c:v>37.847222222222221</c:v>
                </c:pt>
                <c:pt idx="13626">
                  <c:v>37.85</c:v>
                </c:pt>
                <c:pt idx="13627">
                  <c:v>37.852777777777774</c:v>
                </c:pt>
                <c:pt idx="13628">
                  <c:v>37.855555555555554</c:v>
                </c:pt>
                <c:pt idx="13629">
                  <c:v>37.858333333333334</c:v>
                </c:pt>
                <c:pt idx="13630">
                  <c:v>37.861111111111114</c:v>
                </c:pt>
                <c:pt idx="13631">
                  <c:v>37.863888888888887</c:v>
                </c:pt>
                <c:pt idx="13632">
                  <c:v>37.866666666666667</c:v>
                </c:pt>
                <c:pt idx="13633">
                  <c:v>37.869444444444447</c:v>
                </c:pt>
                <c:pt idx="13634">
                  <c:v>37.87222222222222</c:v>
                </c:pt>
                <c:pt idx="13635">
                  <c:v>37.875</c:v>
                </c:pt>
                <c:pt idx="13636">
                  <c:v>37.87777777777778</c:v>
                </c:pt>
                <c:pt idx="13637">
                  <c:v>37.880555555555553</c:v>
                </c:pt>
                <c:pt idx="13638">
                  <c:v>37.883333333333333</c:v>
                </c:pt>
                <c:pt idx="13639">
                  <c:v>37.886111111111113</c:v>
                </c:pt>
                <c:pt idx="13640">
                  <c:v>37.888888888888886</c:v>
                </c:pt>
                <c:pt idx="13641">
                  <c:v>37.891666666666666</c:v>
                </c:pt>
                <c:pt idx="13642">
                  <c:v>37.894444444444446</c:v>
                </c:pt>
                <c:pt idx="13643">
                  <c:v>37.897222222222226</c:v>
                </c:pt>
                <c:pt idx="13644">
                  <c:v>37.9</c:v>
                </c:pt>
                <c:pt idx="13645">
                  <c:v>37.902777777777779</c:v>
                </c:pt>
                <c:pt idx="13646">
                  <c:v>37.905555555555559</c:v>
                </c:pt>
                <c:pt idx="13647">
                  <c:v>37.908333333333331</c:v>
                </c:pt>
                <c:pt idx="13648">
                  <c:v>37.911111111111111</c:v>
                </c:pt>
                <c:pt idx="13649">
                  <c:v>37.913888888888891</c:v>
                </c:pt>
                <c:pt idx="13650">
                  <c:v>37.916666666666664</c:v>
                </c:pt>
                <c:pt idx="13651">
                  <c:v>37.919444444444444</c:v>
                </c:pt>
                <c:pt idx="13652">
                  <c:v>37.922222222222224</c:v>
                </c:pt>
                <c:pt idx="13653">
                  <c:v>37.924999999999997</c:v>
                </c:pt>
                <c:pt idx="13654">
                  <c:v>37.927777777777777</c:v>
                </c:pt>
                <c:pt idx="13655">
                  <c:v>37.930555555555557</c:v>
                </c:pt>
                <c:pt idx="13656">
                  <c:v>37.93333333333333</c:v>
                </c:pt>
                <c:pt idx="13657">
                  <c:v>37.93611111111111</c:v>
                </c:pt>
                <c:pt idx="13658">
                  <c:v>37.93888888888889</c:v>
                </c:pt>
                <c:pt idx="13659">
                  <c:v>37.94166666666667</c:v>
                </c:pt>
                <c:pt idx="13660">
                  <c:v>37.944444444444443</c:v>
                </c:pt>
                <c:pt idx="13661">
                  <c:v>37.947222222222223</c:v>
                </c:pt>
                <c:pt idx="13662">
                  <c:v>37.950000000000003</c:v>
                </c:pt>
                <c:pt idx="13663">
                  <c:v>37.952777777777776</c:v>
                </c:pt>
                <c:pt idx="13664">
                  <c:v>37.955555555555556</c:v>
                </c:pt>
                <c:pt idx="13665">
                  <c:v>37.958333333333336</c:v>
                </c:pt>
                <c:pt idx="13666">
                  <c:v>37.961111111111109</c:v>
                </c:pt>
                <c:pt idx="13667">
                  <c:v>37.963888888888889</c:v>
                </c:pt>
                <c:pt idx="13668">
                  <c:v>37.966666666666669</c:v>
                </c:pt>
                <c:pt idx="13669">
                  <c:v>37.969444444444441</c:v>
                </c:pt>
                <c:pt idx="13670">
                  <c:v>37.972222222222221</c:v>
                </c:pt>
                <c:pt idx="13671">
                  <c:v>37.975000000000001</c:v>
                </c:pt>
                <c:pt idx="13672">
                  <c:v>37.977777777777774</c:v>
                </c:pt>
                <c:pt idx="13673">
                  <c:v>37.980555555555554</c:v>
                </c:pt>
                <c:pt idx="13674">
                  <c:v>37.983333333333334</c:v>
                </c:pt>
                <c:pt idx="13675">
                  <c:v>37.986111111111114</c:v>
                </c:pt>
                <c:pt idx="13676">
                  <c:v>37.988888888888887</c:v>
                </c:pt>
                <c:pt idx="13677">
                  <c:v>37.991666666666667</c:v>
                </c:pt>
                <c:pt idx="13678">
                  <c:v>37.994444444444447</c:v>
                </c:pt>
                <c:pt idx="13679">
                  <c:v>37.99722222222222</c:v>
                </c:pt>
                <c:pt idx="13680">
                  <c:v>38</c:v>
                </c:pt>
                <c:pt idx="13681">
                  <c:v>38.00277777777778</c:v>
                </c:pt>
                <c:pt idx="13682">
                  <c:v>38.005555555555553</c:v>
                </c:pt>
                <c:pt idx="13683">
                  <c:v>38.008333333333333</c:v>
                </c:pt>
                <c:pt idx="13684">
                  <c:v>38.011111111111113</c:v>
                </c:pt>
                <c:pt idx="13685">
                  <c:v>38.013888888888886</c:v>
                </c:pt>
                <c:pt idx="13686">
                  <c:v>38.016666666666666</c:v>
                </c:pt>
                <c:pt idx="13687">
                  <c:v>38.019444444444446</c:v>
                </c:pt>
                <c:pt idx="13688">
                  <c:v>38.022222222222226</c:v>
                </c:pt>
                <c:pt idx="13689">
                  <c:v>38.024999999999999</c:v>
                </c:pt>
                <c:pt idx="13690">
                  <c:v>38.027777777777779</c:v>
                </c:pt>
                <c:pt idx="13691">
                  <c:v>38.030555555555559</c:v>
                </c:pt>
                <c:pt idx="13692">
                  <c:v>38.033333333333331</c:v>
                </c:pt>
                <c:pt idx="13693">
                  <c:v>38.036111111111111</c:v>
                </c:pt>
                <c:pt idx="13694">
                  <c:v>38.038888888888891</c:v>
                </c:pt>
                <c:pt idx="13695">
                  <c:v>38.041666666666664</c:v>
                </c:pt>
                <c:pt idx="13696">
                  <c:v>38.044444444444444</c:v>
                </c:pt>
                <c:pt idx="13697">
                  <c:v>38.047222222222224</c:v>
                </c:pt>
                <c:pt idx="13698">
                  <c:v>38.049999999999997</c:v>
                </c:pt>
                <c:pt idx="13699">
                  <c:v>38.052777777777777</c:v>
                </c:pt>
                <c:pt idx="13700">
                  <c:v>38.055555555555557</c:v>
                </c:pt>
                <c:pt idx="13701">
                  <c:v>38.05833333333333</c:v>
                </c:pt>
                <c:pt idx="13702">
                  <c:v>38.06111111111111</c:v>
                </c:pt>
                <c:pt idx="13703">
                  <c:v>38.06388888888889</c:v>
                </c:pt>
                <c:pt idx="13704">
                  <c:v>38.06666666666667</c:v>
                </c:pt>
                <c:pt idx="13705">
                  <c:v>38.069444444444443</c:v>
                </c:pt>
                <c:pt idx="13706">
                  <c:v>38.072222222222223</c:v>
                </c:pt>
                <c:pt idx="13707">
                  <c:v>38.075000000000003</c:v>
                </c:pt>
                <c:pt idx="13708">
                  <c:v>38.077777777777776</c:v>
                </c:pt>
                <c:pt idx="13709">
                  <c:v>38.080555555555556</c:v>
                </c:pt>
                <c:pt idx="13710">
                  <c:v>38.083333333333336</c:v>
                </c:pt>
                <c:pt idx="13711">
                  <c:v>38.086111111111109</c:v>
                </c:pt>
                <c:pt idx="13712">
                  <c:v>38.088888888888889</c:v>
                </c:pt>
                <c:pt idx="13713">
                  <c:v>38.091666666666669</c:v>
                </c:pt>
                <c:pt idx="13714">
                  <c:v>38.094444444444441</c:v>
                </c:pt>
                <c:pt idx="13715">
                  <c:v>38.097222222222221</c:v>
                </c:pt>
                <c:pt idx="13716">
                  <c:v>38.1</c:v>
                </c:pt>
                <c:pt idx="13717">
                  <c:v>38.102777777777774</c:v>
                </c:pt>
                <c:pt idx="13718">
                  <c:v>38.105555555555554</c:v>
                </c:pt>
                <c:pt idx="13719">
                  <c:v>38.108333333333334</c:v>
                </c:pt>
                <c:pt idx="13720">
                  <c:v>38.111111111111114</c:v>
                </c:pt>
                <c:pt idx="13721">
                  <c:v>38.113888888888887</c:v>
                </c:pt>
                <c:pt idx="13722">
                  <c:v>38.116666666666667</c:v>
                </c:pt>
                <c:pt idx="13723">
                  <c:v>38.119444444444447</c:v>
                </c:pt>
                <c:pt idx="13724">
                  <c:v>38.12222222222222</c:v>
                </c:pt>
                <c:pt idx="13725">
                  <c:v>38.125</c:v>
                </c:pt>
                <c:pt idx="13726">
                  <c:v>38.12777777777778</c:v>
                </c:pt>
                <c:pt idx="13727">
                  <c:v>38.130555555555553</c:v>
                </c:pt>
                <c:pt idx="13728">
                  <c:v>38.133333333333333</c:v>
                </c:pt>
                <c:pt idx="13729">
                  <c:v>38.136111111111113</c:v>
                </c:pt>
                <c:pt idx="13730">
                  <c:v>38.138888888888886</c:v>
                </c:pt>
                <c:pt idx="13731">
                  <c:v>38.141666666666666</c:v>
                </c:pt>
                <c:pt idx="13732">
                  <c:v>38.144444444444446</c:v>
                </c:pt>
                <c:pt idx="13733">
                  <c:v>38.147222222222226</c:v>
                </c:pt>
                <c:pt idx="13734">
                  <c:v>38.15</c:v>
                </c:pt>
                <c:pt idx="13735">
                  <c:v>38.152777777777779</c:v>
                </c:pt>
                <c:pt idx="13736">
                  <c:v>38.155555555555559</c:v>
                </c:pt>
                <c:pt idx="13737">
                  <c:v>38.158333333333331</c:v>
                </c:pt>
                <c:pt idx="13738">
                  <c:v>38.161111111111111</c:v>
                </c:pt>
                <c:pt idx="13739">
                  <c:v>38.163888888888891</c:v>
                </c:pt>
                <c:pt idx="13740">
                  <c:v>38.166666666666664</c:v>
                </c:pt>
                <c:pt idx="13741">
                  <c:v>38.169444444444444</c:v>
                </c:pt>
                <c:pt idx="13742">
                  <c:v>38.172222222222224</c:v>
                </c:pt>
                <c:pt idx="13743">
                  <c:v>38.174999999999997</c:v>
                </c:pt>
                <c:pt idx="13744">
                  <c:v>38.177777777777777</c:v>
                </c:pt>
                <c:pt idx="13745">
                  <c:v>38.180555555555557</c:v>
                </c:pt>
                <c:pt idx="13746">
                  <c:v>38.18333333333333</c:v>
                </c:pt>
                <c:pt idx="13747">
                  <c:v>38.18611111111111</c:v>
                </c:pt>
                <c:pt idx="13748">
                  <c:v>38.18888888888889</c:v>
                </c:pt>
                <c:pt idx="13749">
                  <c:v>38.19166666666667</c:v>
                </c:pt>
                <c:pt idx="13750">
                  <c:v>38.194444444444443</c:v>
                </c:pt>
                <c:pt idx="13751">
                  <c:v>38.197222222222223</c:v>
                </c:pt>
                <c:pt idx="13752">
                  <c:v>38.200000000000003</c:v>
                </c:pt>
                <c:pt idx="13753">
                  <c:v>38.202777777777776</c:v>
                </c:pt>
                <c:pt idx="13754">
                  <c:v>38.205555555555556</c:v>
                </c:pt>
                <c:pt idx="13755">
                  <c:v>38.208333333333336</c:v>
                </c:pt>
                <c:pt idx="13756">
                  <c:v>38.211111111111109</c:v>
                </c:pt>
                <c:pt idx="13757">
                  <c:v>38.213888888888889</c:v>
                </c:pt>
                <c:pt idx="13758">
                  <c:v>38.216666666666669</c:v>
                </c:pt>
                <c:pt idx="13759">
                  <c:v>38.219444444444441</c:v>
                </c:pt>
                <c:pt idx="13760">
                  <c:v>38.222222222222221</c:v>
                </c:pt>
                <c:pt idx="13761">
                  <c:v>38.225000000000001</c:v>
                </c:pt>
                <c:pt idx="13762">
                  <c:v>38.227777777777774</c:v>
                </c:pt>
                <c:pt idx="13763">
                  <c:v>38.230555555555554</c:v>
                </c:pt>
                <c:pt idx="13764">
                  <c:v>38.233333333333334</c:v>
                </c:pt>
                <c:pt idx="13765">
                  <c:v>38.236111111111114</c:v>
                </c:pt>
                <c:pt idx="13766">
                  <c:v>38.238888888888887</c:v>
                </c:pt>
                <c:pt idx="13767">
                  <c:v>38.241666666666667</c:v>
                </c:pt>
                <c:pt idx="13768">
                  <c:v>38.244444444444447</c:v>
                </c:pt>
                <c:pt idx="13769">
                  <c:v>38.24722222222222</c:v>
                </c:pt>
                <c:pt idx="13770">
                  <c:v>38.25</c:v>
                </c:pt>
                <c:pt idx="13771">
                  <c:v>38.25277777777778</c:v>
                </c:pt>
                <c:pt idx="13772">
                  <c:v>38.255555555555553</c:v>
                </c:pt>
                <c:pt idx="13773">
                  <c:v>38.258333333333333</c:v>
                </c:pt>
                <c:pt idx="13774">
                  <c:v>38.261111111111113</c:v>
                </c:pt>
                <c:pt idx="13775">
                  <c:v>38.263888888888886</c:v>
                </c:pt>
                <c:pt idx="13776">
                  <c:v>38.266666666666666</c:v>
                </c:pt>
                <c:pt idx="13777">
                  <c:v>38.269444444444446</c:v>
                </c:pt>
                <c:pt idx="13778">
                  <c:v>38.272222222222226</c:v>
                </c:pt>
                <c:pt idx="13779">
                  <c:v>38.274999999999999</c:v>
                </c:pt>
                <c:pt idx="13780">
                  <c:v>38.277777777777779</c:v>
                </c:pt>
                <c:pt idx="13781">
                  <c:v>38.280555555555559</c:v>
                </c:pt>
                <c:pt idx="13782">
                  <c:v>38.283333333333331</c:v>
                </c:pt>
                <c:pt idx="13783">
                  <c:v>38.286111111111111</c:v>
                </c:pt>
                <c:pt idx="13784">
                  <c:v>38.288888888888891</c:v>
                </c:pt>
                <c:pt idx="13785">
                  <c:v>38.291666666666664</c:v>
                </c:pt>
                <c:pt idx="13786">
                  <c:v>38.294444444444444</c:v>
                </c:pt>
                <c:pt idx="13787">
                  <c:v>38.297222222222224</c:v>
                </c:pt>
                <c:pt idx="13788">
                  <c:v>38.299999999999997</c:v>
                </c:pt>
                <c:pt idx="13789">
                  <c:v>38.302777777777777</c:v>
                </c:pt>
                <c:pt idx="13790">
                  <c:v>38.305555555555557</c:v>
                </c:pt>
                <c:pt idx="13791">
                  <c:v>38.30833333333333</c:v>
                </c:pt>
                <c:pt idx="13792">
                  <c:v>38.31111111111111</c:v>
                </c:pt>
                <c:pt idx="13793">
                  <c:v>38.31388888888889</c:v>
                </c:pt>
                <c:pt idx="13794">
                  <c:v>38.31666666666667</c:v>
                </c:pt>
                <c:pt idx="13795">
                  <c:v>38.319444444444443</c:v>
                </c:pt>
                <c:pt idx="13796">
                  <c:v>38.322222222222223</c:v>
                </c:pt>
                <c:pt idx="13797">
                  <c:v>38.325000000000003</c:v>
                </c:pt>
                <c:pt idx="13798">
                  <c:v>38.327777777777776</c:v>
                </c:pt>
                <c:pt idx="13799">
                  <c:v>38.330555555555556</c:v>
                </c:pt>
                <c:pt idx="13800">
                  <c:v>38.333333333333336</c:v>
                </c:pt>
                <c:pt idx="13801">
                  <c:v>38.336111111111109</c:v>
                </c:pt>
                <c:pt idx="13802">
                  <c:v>38.338888888888889</c:v>
                </c:pt>
                <c:pt idx="13803">
                  <c:v>38.341666666666669</c:v>
                </c:pt>
                <c:pt idx="13804">
                  <c:v>38.344444444444441</c:v>
                </c:pt>
                <c:pt idx="13805">
                  <c:v>38.347222222222221</c:v>
                </c:pt>
                <c:pt idx="13806">
                  <c:v>38.35</c:v>
                </c:pt>
                <c:pt idx="13807">
                  <c:v>38.352777777777774</c:v>
                </c:pt>
                <c:pt idx="13808">
                  <c:v>38.355555555555554</c:v>
                </c:pt>
                <c:pt idx="13809">
                  <c:v>38.358333333333334</c:v>
                </c:pt>
                <c:pt idx="13810">
                  <c:v>38.361111111111114</c:v>
                </c:pt>
                <c:pt idx="13811">
                  <c:v>38.363888888888887</c:v>
                </c:pt>
                <c:pt idx="13812">
                  <c:v>38.366666666666667</c:v>
                </c:pt>
                <c:pt idx="13813">
                  <c:v>38.369444444444447</c:v>
                </c:pt>
                <c:pt idx="13814">
                  <c:v>38.37222222222222</c:v>
                </c:pt>
                <c:pt idx="13815">
                  <c:v>38.375</c:v>
                </c:pt>
                <c:pt idx="13816">
                  <c:v>38.37777777777778</c:v>
                </c:pt>
                <c:pt idx="13817">
                  <c:v>38.380555555555553</c:v>
                </c:pt>
                <c:pt idx="13818">
                  <c:v>38.383333333333333</c:v>
                </c:pt>
                <c:pt idx="13819">
                  <c:v>38.386111111111113</c:v>
                </c:pt>
                <c:pt idx="13820">
                  <c:v>38.388888888888886</c:v>
                </c:pt>
                <c:pt idx="13821">
                  <c:v>38.391666666666666</c:v>
                </c:pt>
                <c:pt idx="13822">
                  <c:v>38.394444444444446</c:v>
                </c:pt>
                <c:pt idx="13823">
                  <c:v>38.397222222222226</c:v>
                </c:pt>
                <c:pt idx="13824">
                  <c:v>38.4</c:v>
                </c:pt>
                <c:pt idx="13825">
                  <c:v>38.402777777777779</c:v>
                </c:pt>
                <c:pt idx="13826">
                  <c:v>38.405555555555559</c:v>
                </c:pt>
                <c:pt idx="13827">
                  <c:v>38.408333333333331</c:v>
                </c:pt>
                <c:pt idx="13828">
                  <c:v>38.411111111111111</c:v>
                </c:pt>
                <c:pt idx="13829">
                  <c:v>38.413888888888891</c:v>
                </c:pt>
                <c:pt idx="13830">
                  <c:v>38.416666666666664</c:v>
                </c:pt>
                <c:pt idx="13831">
                  <c:v>38.419444444444444</c:v>
                </c:pt>
                <c:pt idx="13832">
                  <c:v>38.422222222222224</c:v>
                </c:pt>
                <c:pt idx="13833">
                  <c:v>38.424999999999997</c:v>
                </c:pt>
                <c:pt idx="13834">
                  <c:v>38.427777777777777</c:v>
                </c:pt>
                <c:pt idx="13835">
                  <c:v>38.430555555555557</c:v>
                </c:pt>
                <c:pt idx="13836">
                  <c:v>38.43333333333333</c:v>
                </c:pt>
                <c:pt idx="13837">
                  <c:v>38.43611111111111</c:v>
                </c:pt>
                <c:pt idx="13838">
                  <c:v>38.43888888888889</c:v>
                </c:pt>
                <c:pt idx="13839">
                  <c:v>38.44166666666667</c:v>
                </c:pt>
                <c:pt idx="13840">
                  <c:v>38.444444444444443</c:v>
                </c:pt>
                <c:pt idx="13841">
                  <c:v>38.447222222222223</c:v>
                </c:pt>
                <c:pt idx="13842">
                  <c:v>38.450000000000003</c:v>
                </c:pt>
                <c:pt idx="13843">
                  <c:v>38.452777777777776</c:v>
                </c:pt>
                <c:pt idx="13844">
                  <c:v>38.455555555555556</c:v>
                </c:pt>
                <c:pt idx="13845">
                  <c:v>38.458333333333336</c:v>
                </c:pt>
                <c:pt idx="13846">
                  <c:v>38.461111111111109</c:v>
                </c:pt>
                <c:pt idx="13847">
                  <c:v>38.463888888888889</c:v>
                </c:pt>
                <c:pt idx="13848">
                  <c:v>38.466666666666669</c:v>
                </c:pt>
                <c:pt idx="13849">
                  <c:v>38.469444444444441</c:v>
                </c:pt>
                <c:pt idx="13850">
                  <c:v>38.472222222222221</c:v>
                </c:pt>
                <c:pt idx="13851">
                  <c:v>38.475000000000001</c:v>
                </c:pt>
                <c:pt idx="13852">
                  <c:v>38.477777777777774</c:v>
                </c:pt>
                <c:pt idx="13853">
                  <c:v>38.480555555555554</c:v>
                </c:pt>
                <c:pt idx="13854">
                  <c:v>38.483333333333334</c:v>
                </c:pt>
                <c:pt idx="13855">
                  <c:v>38.486111111111114</c:v>
                </c:pt>
                <c:pt idx="13856">
                  <c:v>38.488888888888887</c:v>
                </c:pt>
                <c:pt idx="13857">
                  <c:v>38.491666666666667</c:v>
                </c:pt>
                <c:pt idx="13858">
                  <c:v>38.494444444444447</c:v>
                </c:pt>
                <c:pt idx="13859">
                  <c:v>38.49722222222222</c:v>
                </c:pt>
                <c:pt idx="13860">
                  <c:v>38.5</c:v>
                </c:pt>
                <c:pt idx="13861">
                  <c:v>38.50277777777778</c:v>
                </c:pt>
                <c:pt idx="13862">
                  <c:v>38.505555555555553</c:v>
                </c:pt>
                <c:pt idx="13863">
                  <c:v>38.508333333333333</c:v>
                </c:pt>
                <c:pt idx="13864">
                  <c:v>38.511111111111113</c:v>
                </c:pt>
                <c:pt idx="13865">
                  <c:v>38.513888888888886</c:v>
                </c:pt>
                <c:pt idx="13866">
                  <c:v>38.516666666666666</c:v>
                </c:pt>
                <c:pt idx="13867">
                  <c:v>38.519444444444446</c:v>
                </c:pt>
                <c:pt idx="13868">
                  <c:v>38.522222222222226</c:v>
                </c:pt>
                <c:pt idx="13869">
                  <c:v>38.524999999999999</c:v>
                </c:pt>
                <c:pt idx="13870">
                  <c:v>38.527777777777779</c:v>
                </c:pt>
                <c:pt idx="13871">
                  <c:v>38.530555555555559</c:v>
                </c:pt>
                <c:pt idx="13872">
                  <c:v>38.533333333333331</c:v>
                </c:pt>
                <c:pt idx="13873">
                  <c:v>38.536111111111111</c:v>
                </c:pt>
                <c:pt idx="13874">
                  <c:v>38.538888888888891</c:v>
                </c:pt>
                <c:pt idx="13875">
                  <c:v>38.541666666666664</c:v>
                </c:pt>
                <c:pt idx="13876">
                  <c:v>38.544444444444444</c:v>
                </c:pt>
                <c:pt idx="13877">
                  <c:v>38.547222222222224</c:v>
                </c:pt>
                <c:pt idx="13878">
                  <c:v>38.549999999999997</c:v>
                </c:pt>
                <c:pt idx="13879">
                  <c:v>38.552777777777777</c:v>
                </c:pt>
                <c:pt idx="13880">
                  <c:v>38.555555555555557</c:v>
                </c:pt>
                <c:pt idx="13881">
                  <c:v>38.55833333333333</c:v>
                </c:pt>
                <c:pt idx="13882">
                  <c:v>38.56111111111111</c:v>
                </c:pt>
                <c:pt idx="13883">
                  <c:v>38.56388888888889</c:v>
                </c:pt>
                <c:pt idx="13884">
                  <c:v>38.56666666666667</c:v>
                </c:pt>
                <c:pt idx="13885">
                  <c:v>38.569444444444443</c:v>
                </c:pt>
                <c:pt idx="13886">
                  <c:v>38.572222222222223</c:v>
                </c:pt>
                <c:pt idx="13887">
                  <c:v>38.575000000000003</c:v>
                </c:pt>
                <c:pt idx="13888">
                  <c:v>38.577777777777776</c:v>
                </c:pt>
                <c:pt idx="13889">
                  <c:v>38.580555555555556</c:v>
                </c:pt>
                <c:pt idx="13890">
                  <c:v>38.583333333333336</c:v>
                </c:pt>
                <c:pt idx="13891">
                  <c:v>38.586111111111109</c:v>
                </c:pt>
                <c:pt idx="13892">
                  <c:v>38.588888888888889</c:v>
                </c:pt>
                <c:pt idx="13893">
                  <c:v>38.591666666666669</c:v>
                </c:pt>
                <c:pt idx="13894">
                  <c:v>38.594444444444441</c:v>
                </c:pt>
                <c:pt idx="13895">
                  <c:v>38.597222222222221</c:v>
                </c:pt>
                <c:pt idx="13896">
                  <c:v>38.6</c:v>
                </c:pt>
                <c:pt idx="13897">
                  <c:v>38.602777777777774</c:v>
                </c:pt>
                <c:pt idx="13898">
                  <c:v>38.605555555555554</c:v>
                </c:pt>
                <c:pt idx="13899">
                  <c:v>38.608333333333334</c:v>
                </c:pt>
                <c:pt idx="13900">
                  <c:v>38.611111111111114</c:v>
                </c:pt>
                <c:pt idx="13901">
                  <c:v>38.613888888888887</c:v>
                </c:pt>
                <c:pt idx="13902">
                  <c:v>38.616666666666667</c:v>
                </c:pt>
                <c:pt idx="13903">
                  <c:v>38.619444444444447</c:v>
                </c:pt>
                <c:pt idx="13904">
                  <c:v>38.62222222222222</c:v>
                </c:pt>
                <c:pt idx="13905">
                  <c:v>38.625</c:v>
                </c:pt>
                <c:pt idx="13906">
                  <c:v>38.62777777777778</c:v>
                </c:pt>
                <c:pt idx="13907">
                  <c:v>38.630555555555553</c:v>
                </c:pt>
                <c:pt idx="13908">
                  <c:v>38.633333333333333</c:v>
                </c:pt>
                <c:pt idx="13909">
                  <c:v>38.636111111111113</c:v>
                </c:pt>
                <c:pt idx="13910">
                  <c:v>38.638888888888886</c:v>
                </c:pt>
                <c:pt idx="13911">
                  <c:v>38.641666666666666</c:v>
                </c:pt>
                <c:pt idx="13912">
                  <c:v>38.644444444444446</c:v>
                </c:pt>
                <c:pt idx="13913">
                  <c:v>38.647222222222226</c:v>
                </c:pt>
                <c:pt idx="13914">
                  <c:v>38.65</c:v>
                </c:pt>
                <c:pt idx="13915">
                  <c:v>38.652777777777779</c:v>
                </c:pt>
                <c:pt idx="13916">
                  <c:v>38.655555555555559</c:v>
                </c:pt>
                <c:pt idx="13917">
                  <c:v>38.658333333333331</c:v>
                </c:pt>
                <c:pt idx="13918">
                  <c:v>38.661111111111111</c:v>
                </c:pt>
                <c:pt idx="13919">
                  <c:v>38.663888888888891</c:v>
                </c:pt>
                <c:pt idx="13920">
                  <c:v>38.666666666666664</c:v>
                </c:pt>
                <c:pt idx="13921">
                  <c:v>38.669444444444444</c:v>
                </c:pt>
                <c:pt idx="13922">
                  <c:v>38.672222222222224</c:v>
                </c:pt>
                <c:pt idx="13923">
                  <c:v>38.674999999999997</c:v>
                </c:pt>
                <c:pt idx="13924">
                  <c:v>38.677777777777777</c:v>
                </c:pt>
                <c:pt idx="13925">
                  <c:v>38.680555555555557</c:v>
                </c:pt>
                <c:pt idx="13926">
                  <c:v>38.68333333333333</c:v>
                </c:pt>
                <c:pt idx="13927">
                  <c:v>38.68611111111111</c:v>
                </c:pt>
                <c:pt idx="13928">
                  <c:v>38.68888888888889</c:v>
                </c:pt>
                <c:pt idx="13929">
                  <c:v>38.69166666666667</c:v>
                </c:pt>
                <c:pt idx="13930">
                  <c:v>38.694444444444443</c:v>
                </c:pt>
                <c:pt idx="13931">
                  <c:v>38.697222222222223</c:v>
                </c:pt>
                <c:pt idx="13932">
                  <c:v>38.700000000000003</c:v>
                </c:pt>
                <c:pt idx="13933">
                  <c:v>38.702777777777776</c:v>
                </c:pt>
                <c:pt idx="13934">
                  <c:v>38.705555555555556</c:v>
                </c:pt>
                <c:pt idx="13935">
                  <c:v>38.708333333333336</c:v>
                </c:pt>
                <c:pt idx="13936">
                  <c:v>38.711111111111109</c:v>
                </c:pt>
                <c:pt idx="13937">
                  <c:v>38.713888888888889</c:v>
                </c:pt>
                <c:pt idx="13938">
                  <c:v>38.716666666666669</c:v>
                </c:pt>
                <c:pt idx="13939">
                  <c:v>38.719444444444441</c:v>
                </c:pt>
                <c:pt idx="13940">
                  <c:v>38.722222222222221</c:v>
                </c:pt>
                <c:pt idx="13941">
                  <c:v>38.725000000000001</c:v>
                </c:pt>
                <c:pt idx="13942">
                  <c:v>38.727777777777774</c:v>
                </c:pt>
                <c:pt idx="13943">
                  <c:v>38.730555555555554</c:v>
                </c:pt>
                <c:pt idx="13944">
                  <c:v>38.733333333333334</c:v>
                </c:pt>
                <c:pt idx="13945">
                  <c:v>38.736111111111114</c:v>
                </c:pt>
                <c:pt idx="13946">
                  <c:v>38.738888888888887</c:v>
                </c:pt>
                <c:pt idx="13947">
                  <c:v>38.741666666666667</c:v>
                </c:pt>
                <c:pt idx="13948">
                  <c:v>38.744444444444447</c:v>
                </c:pt>
                <c:pt idx="13949">
                  <c:v>38.74722222222222</c:v>
                </c:pt>
                <c:pt idx="13950">
                  <c:v>38.75</c:v>
                </c:pt>
                <c:pt idx="13951">
                  <c:v>38.75277777777778</c:v>
                </c:pt>
                <c:pt idx="13952">
                  <c:v>38.755555555555553</c:v>
                </c:pt>
                <c:pt idx="13953">
                  <c:v>38.758333333333333</c:v>
                </c:pt>
                <c:pt idx="13954">
                  <c:v>38.761111111111113</c:v>
                </c:pt>
                <c:pt idx="13955">
                  <c:v>38.763888888888886</c:v>
                </c:pt>
                <c:pt idx="13956">
                  <c:v>38.766666666666666</c:v>
                </c:pt>
                <c:pt idx="13957">
                  <c:v>38.769444444444446</c:v>
                </c:pt>
                <c:pt idx="13958">
                  <c:v>38.772222222222226</c:v>
                </c:pt>
                <c:pt idx="13959">
                  <c:v>38.774999999999999</c:v>
                </c:pt>
                <c:pt idx="13960">
                  <c:v>38.777777777777779</c:v>
                </c:pt>
                <c:pt idx="13961">
                  <c:v>38.780555555555559</c:v>
                </c:pt>
                <c:pt idx="13962">
                  <c:v>38.783333333333331</c:v>
                </c:pt>
                <c:pt idx="13963">
                  <c:v>38.786111111111111</c:v>
                </c:pt>
                <c:pt idx="13964">
                  <c:v>38.788888888888891</c:v>
                </c:pt>
                <c:pt idx="13965">
                  <c:v>38.791666666666664</c:v>
                </c:pt>
                <c:pt idx="13966">
                  <c:v>38.794444444444444</c:v>
                </c:pt>
                <c:pt idx="13967">
                  <c:v>38.797222222222224</c:v>
                </c:pt>
                <c:pt idx="13968">
                  <c:v>38.799999999999997</c:v>
                </c:pt>
                <c:pt idx="13969">
                  <c:v>38.802777777777777</c:v>
                </c:pt>
                <c:pt idx="13970">
                  <c:v>38.805555555555557</c:v>
                </c:pt>
                <c:pt idx="13971">
                  <c:v>38.80833333333333</c:v>
                </c:pt>
                <c:pt idx="13972">
                  <c:v>38.81111111111111</c:v>
                </c:pt>
                <c:pt idx="13973">
                  <c:v>38.81388888888889</c:v>
                </c:pt>
                <c:pt idx="13974">
                  <c:v>38.81666666666667</c:v>
                </c:pt>
                <c:pt idx="13975">
                  <c:v>38.819444444444443</c:v>
                </c:pt>
                <c:pt idx="13976">
                  <c:v>38.822222222222223</c:v>
                </c:pt>
                <c:pt idx="13977">
                  <c:v>38.825000000000003</c:v>
                </c:pt>
                <c:pt idx="13978">
                  <c:v>38.827777777777776</c:v>
                </c:pt>
                <c:pt idx="13979">
                  <c:v>38.830555555555556</c:v>
                </c:pt>
                <c:pt idx="13980">
                  <c:v>38.833333333333336</c:v>
                </c:pt>
                <c:pt idx="13981">
                  <c:v>38.836111111111109</c:v>
                </c:pt>
                <c:pt idx="13982">
                  <c:v>38.838888888888889</c:v>
                </c:pt>
                <c:pt idx="13983">
                  <c:v>38.841666666666669</c:v>
                </c:pt>
                <c:pt idx="13984">
                  <c:v>38.844444444444441</c:v>
                </c:pt>
                <c:pt idx="13985">
                  <c:v>38.847222222222221</c:v>
                </c:pt>
                <c:pt idx="13986">
                  <c:v>38.85</c:v>
                </c:pt>
                <c:pt idx="13987">
                  <c:v>38.852777777777774</c:v>
                </c:pt>
                <c:pt idx="13988">
                  <c:v>38.855555555555554</c:v>
                </c:pt>
                <c:pt idx="13989">
                  <c:v>38.858333333333334</c:v>
                </c:pt>
                <c:pt idx="13990">
                  <c:v>38.861111111111114</c:v>
                </c:pt>
                <c:pt idx="13991">
                  <c:v>38.863888888888887</c:v>
                </c:pt>
                <c:pt idx="13992">
                  <c:v>38.866666666666667</c:v>
                </c:pt>
                <c:pt idx="13993">
                  <c:v>38.869444444444447</c:v>
                </c:pt>
                <c:pt idx="13994">
                  <c:v>38.87222222222222</c:v>
                </c:pt>
                <c:pt idx="13995">
                  <c:v>38.875</c:v>
                </c:pt>
                <c:pt idx="13996">
                  <c:v>38.87777777777778</c:v>
                </c:pt>
                <c:pt idx="13997">
                  <c:v>38.880555555555553</c:v>
                </c:pt>
                <c:pt idx="13998">
                  <c:v>38.883333333333333</c:v>
                </c:pt>
                <c:pt idx="13999">
                  <c:v>38.886111111111113</c:v>
                </c:pt>
                <c:pt idx="14000">
                  <c:v>38.888888888888886</c:v>
                </c:pt>
                <c:pt idx="14001">
                  <c:v>38.891666666666666</c:v>
                </c:pt>
                <c:pt idx="14002">
                  <c:v>38.894444444444446</c:v>
                </c:pt>
                <c:pt idx="14003">
                  <c:v>38.897222222222226</c:v>
                </c:pt>
                <c:pt idx="14004">
                  <c:v>38.9</c:v>
                </c:pt>
                <c:pt idx="14005">
                  <c:v>38.902777777777779</c:v>
                </c:pt>
                <c:pt idx="14006">
                  <c:v>38.905555555555559</c:v>
                </c:pt>
                <c:pt idx="14007">
                  <c:v>38.908333333333331</c:v>
                </c:pt>
                <c:pt idx="14008">
                  <c:v>38.911111111111111</c:v>
                </c:pt>
                <c:pt idx="14009">
                  <c:v>38.913888888888891</c:v>
                </c:pt>
                <c:pt idx="14010">
                  <c:v>38.916666666666664</c:v>
                </c:pt>
                <c:pt idx="14011">
                  <c:v>38.919444444444444</c:v>
                </c:pt>
                <c:pt idx="14012">
                  <c:v>38.922222222222224</c:v>
                </c:pt>
                <c:pt idx="14013">
                  <c:v>38.924999999999997</c:v>
                </c:pt>
                <c:pt idx="14014">
                  <c:v>38.927777777777777</c:v>
                </c:pt>
                <c:pt idx="14015">
                  <c:v>38.930555555555557</c:v>
                </c:pt>
                <c:pt idx="14016">
                  <c:v>38.93333333333333</c:v>
                </c:pt>
                <c:pt idx="14017">
                  <c:v>38.93611111111111</c:v>
                </c:pt>
                <c:pt idx="14018">
                  <c:v>38.93888888888889</c:v>
                </c:pt>
                <c:pt idx="14019">
                  <c:v>38.94166666666667</c:v>
                </c:pt>
                <c:pt idx="14020">
                  <c:v>38.944444444444443</c:v>
                </c:pt>
                <c:pt idx="14021">
                  <c:v>38.947222222222223</c:v>
                </c:pt>
                <c:pt idx="14022">
                  <c:v>38.950000000000003</c:v>
                </c:pt>
                <c:pt idx="14023">
                  <c:v>38.952777777777776</c:v>
                </c:pt>
                <c:pt idx="14024">
                  <c:v>38.955555555555556</c:v>
                </c:pt>
                <c:pt idx="14025">
                  <c:v>38.958333333333336</c:v>
                </c:pt>
                <c:pt idx="14026">
                  <c:v>38.961111111111109</c:v>
                </c:pt>
                <c:pt idx="14027">
                  <c:v>38.963888888888889</c:v>
                </c:pt>
                <c:pt idx="14028">
                  <c:v>38.966666666666669</c:v>
                </c:pt>
                <c:pt idx="14029">
                  <c:v>38.969444444444441</c:v>
                </c:pt>
                <c:pt idx="14030">
                  <c:v>38.972222222222221</c:v>
                </c:pt>
                <c:pt idx="14031">
                  <c:v>38.975000000000001</c:v>
                </c:pt>
                <c:pt idx="14032">
                  <c:v>38.977777777777774</c:v>
                </c:pt>
                <c:pt idx="14033">
                  <c:v>38.980555555555554</c:v>
                </c:pt>
                <c:pt idx="14034">
                  <c:v>38.983333333333334</c:v>
                </c:pt>
                <c:pt idx="14035">
                  <c:v>38.986111111111114</c:v>
                </c:pt>
                <c:pt idx="14036">
                  <c:v>38.988888888888887</c:v>
                </c:pt>
                <c:pt idx="14037">
                  <c:v>38.991666666666667</c:v>
                </c:pt>
                <c:pt idx="14038">
                  <c:v>38.994444444444447</c:v>
                </c:pt>
                <c:pt idx="14039">
                  <c:v>38.99722222222222</c:v>
                </c:pt>
                <c:pt idx="14040">
                  <c:v>39</c:v>
                </c:pt>
                <c:pt idx="14041">
                  <c:v>39.00277777777778</c:v>
                </c:pt>
                <c:pt idx="14042">
                  <c:v>39.005555555555553</c:v>
                </c:pt>
                <c:pt idx="14043">
                  <c:v>39.008333333333333</c:v>
                </c:pt>
                <c:pt idx="14044">
                  <c:v>39.011111111111113</c:v>
                </c:pt>
                <c:pt idx="14045">
                  <c:v>39.013888888888886</c:v>
                </c:pt>
                <c:pt idx="14046">
                  <c:v>39.016666666666666</c:v>
                </c:pt>
                <c:pt idx="14047">
                  <c:v>39.019444444444446</c:v>
                </c:pt>
                <c:pt idx="14048">
                  <c:v>39.022222222222226</c:v>
                </c:pt>
                <c:pt idx="14049">
                  <c:v>39.024999999999999</c:v>
                </c:pt>
                <c:pt idx="14050">
                  <c:v>39.027777777777779</c:v>
                </c:pt>
                <c:pt idx="14051">
                  <c:v>39.030555555555559</c:v>
                </c:pt>
                <c:pt idx="14052">
                  <c:v>39.033333333333331</c:v>
                </c:pt>
                <c:pt idx="14053">
                  <c:v>39.036111111111111</c:v>
                </c:pt>
                <c:pt idx="14054">
                  <c:v>39.038888888888891</c:v>
                </c:pt>
                <c:pt idx="14055">
                  <c:v>39.041666666666664</c:v>
                </c:pt>
                <c:pt idx="14056">
                  <c:v>39.044444444444444</c:v>
                </c:pt>
                <c:pt idx="14057">
                  <c:v>39.047222222222224</c:v>
                </c:pt>
                <c:pt idx="14058">
                  <c:v>39.049999999999997</c:v>
                </c:pt>
                <c:pt idx="14059">
                  <c:v>39.052777777777777</c:v>
                </c:pt>
                <c:pt idx="14060">
                  <c:v>39.055555555555557</c:v>
                </c:pt>
                <c:pt idx="14061">
                  <c:v>39.05833333333333</c:v>
                </c:pt>
                <c:pt idx="14062">
                  <c:v>39.06111111111111</c:v>
                </c:pt>
                <c:pt idx="14063">
                  <c:v>39.06388888888889</c:v>
                </c:pt>
                <c:pt idx="14064">
                  <c:v>39.06666666666667</c:v>
                </c:pt>
                <c:pt idx="14065">
                  <c:v>39.069444444444443</c:v>
                </c:pt>
                <c:pt idx="14066">
                  <c:v>39.072222222222223</c:v>
                </c:pt>
                <c:pt idx="14067">
                  <c:v>39.075000000000003</c:v>
                </c:pt>
                <c:pt idx="14068">
                  <c:v>39.077777777777776</c:v>
                </c:pt>
                <c:pt idx="14069">
                  <c:v>39.080555555555556</c:v>
                </c:pt>
                <c:pt idx="14070">
                  <c:v>39.083333333333336</c:v>
                </c:pt>
                <c:pt idx="14071">
                  <c:v>39.086111111111109</c:v>
                </c:pt>
                <c:pt idx="14072">
                  <c:v>39.088888888888889</c:v>
                </c:pt>
                <c:pt idx="14073">
                  <c:v>39.091666666666669</c:v>
                </c:pt>
                <c:pt idx="14074">
                  <c:v>39.094444444444441</c:v>
                </c:pt>
                <c:pt idx="14075">
                  <c:v>39.097222222222221</c:v>
                </c:pt>
                <c:pt idx="14076">
                  <c:v>39.1</c:v>
                </c:pt>
                <c:pt idx="14077">
                  <c:v>39.102777777777774</c:v>
                </c:pt>
                <c:pt idx="14078">
                  <c:v>39.105555555555554</c:v>
                </c:pt>
                <c:pt idx="14079">
                  <c:v>39.108333333333334</c:v>
                </c:pt>
                <c:pt idx="14080">
                  <c:v>39.111111111111114</c:v>
                </c:pt>
                <c:pt idx="14081">
                  <c:v>39.113888888888887</c:v>
                </c:pt>
                <c:pt idx="14082">
                  <c:v>39.116666666666667</c:v>
                </c:pt>
                <c:pt idx="14083">
                  <c:v>39.119444444444447</c:v>
                </c:pt>
                <c:pt idx="14084">
                  <c:v>39.12222222222222</c:v>
                </c:pt>
                <c:pt idx="14085">
                  <c:v>39.125</c:v>
                </c:pt>
                <c:pt idx="14086">
                  <c:v>39.12777777777778</c:v>
                </c:pt>
                <c:pt idx="14087">
                  <c:v>39.130555555555553</c:v>
                </c:pt>
                <c:pt idx="14088">
                  <c:v>39.133333333333333</c:v>
                </c:pt>
                <c:pt idx="14089">
                  <c:v>39.136111111111113</c:v>
                </c:pt>
                <c:pt idx="14090">
                  <c:v>39.138888888888886</c:v>
                </c:pt>
                <c:pt idx="14091">
                  <c:v>39.141666666666666</c:v>
                </c:pt>
                <c:pt idx="14092">
                  <c:v>39.144444444444446</c:v>
                </c:pt>
                <c:pt idx="14093">
                  <c:v>39.147222222222226</c:v>
                </c:pt>
                <c:pt idx="14094">
                  <c:v>39.15</c:v>
                </c:pt>
                <c:pt idx="14095">
                  <c:v>39.152777777777779</c:v>
                </c:pt>
                <c:pt idx="14096">
                  <c:v>39.155555555555559</c:v>
                </c:pt>
                <c:pt idx="14097">
                  <c:v>39.158333333333331</c:v>
                </c:pt>
                <c:pt idx="14098">
                  <c:v>39.161111111111111</c:v>
                </c:pt>
                <c:pt idx="14099">
                  <c:v>39.163888888888891</c:v>
                </c:pt>
                <c:pt idx="14100">
                  <c:v>39.166666666666664</c:v>
                </c:pt>
                <c:pt idx="14101">
                  <c:v>39.169444444444444</c:v>
                </c:pt>
                <c:pt idx="14102">
                  <c:v>39.172222222222224</c:v>
                </c:pt>
                <c:pt idx="14103">
                  <c:v>39.174999999999997</c:v>
                </c:pt>
                <c:pt idx="14104">
                  <c:v>39.177777777777777</c:v>
                </c:pt>
                <c:pt idx="14105">
                  <c:v>39.180555555555557</c:v>
                </c:pt>
                <c:pt idx="14106">
                  <c:v>39.18333333333333</c:v>
                </c:pt>
                <c:pt idx="14107">
                  <c:v>39.18611111111111</c:v>
                </c:pt>
                <c:pt idx="14108">
                  <c:v>39.18888888888889</c:v>
                </c:pt>
                <c:pt idx="14109">
                  <c:v>39.19166666666667</c:v>
                </c:pt>
                <c:pt idx="14110">
                  <c:v>39.194444444444443</c:v>
                </c:pt>
                <c:pt idx="14111">
                  <c:v>39.197222222222223</c:v>
                </c:pt>
                <c:pt idx="14112">
                  <c:v>39.200000000000003</c:v>
                </c:pt>
                <c:pt idx="14113">
                  <c:v>39.202777777777776</c:v>
                </c:pt>
                <c:pt idx="14114">
                  <c:v>39.205555555555556</c:v>
                </c:pt>
                <c:pt idx="14115">
                  <c:v>39.208333333333336</c:v>
                </c:pt>
                <c:pt idx="14116">
                  <c:v>39.211111111111109</c:v>
                </c:pt>
                <c:pt idx="14117">
                  <c:v>39.213888888888889</c:v>
                </c:pt>
                <c:pt idx="14118">
                  <c:v>39.216666666666669</c:v>
                </c:pt>
                <c:pt idx="14119">
                  <c:v>39.219444444444441</c:v>
                </c:pt>
                <c:pt idx="14120">
                  <c:v>39.222222222222221</c:v>
                </c:pt>
                <c:pt idx="14121">
                  <c:v>39.225000000000001</c:v>
                </c:pt>
                <c:pt idx="14122">
                  <c:v>39.227777777777774</c:v>
                </c:pt>
                <c:pt idx="14123">
                  <c:v>39.230555555555554</c:v>
                </c:pt>
                <c:pt idx="14124">
                  <c:v>39.233333333333334</c:v>
                </c:pt>
                <c:pt idx="14125">
                  <c:v>39.236111111111114</c:v>
                </c:pt>
                <c:pt idx="14126">
                  <c:v>39.238888888888887</c:v>
                </c:pt>
                <c:pt idx="14127">
                  <c:v>39.241666666666667</c:v>
                </c:pt>
                <c:pt idx="14128">
                  <c:v>39.244444444444447</c:v>
                </c:pt>
                <c:pt idx="14129">
                  <c:v>39.24722222222222</c:v>
                </c:pt>
                <c:pt idx="14130">
                  <c:v>39.25</c:v>
                </c:pt>
                <c:pt idx="14131">
                  <c:v>39.25277777777778</c:v>
                </c:pt>
                <c:pt idx="14132">
                  <c:v>39.255555555555553</c:v>
                </c:pt>
                <c:pt idx="14133">
                  <c:v>39.258333333333333</c:v>
                </c:pt>
                <c:pt idx="14134">
                  <c:v>39.261111111111113</c:v>
                </c:pt>
                <c:pt idx="14135">
                  <c:v>39.263888888888886</c:v>
                </c:pt>
                <c:pt idx="14136">
                  <c:v>39.266666666666666</c:v>
                </c:pt>
                <c:pt idx="14137">
                  <c:v>39.269444444444446</c:v>
                </c:pt>
                <c:pt idx="14138">
                  <c:v>39.272222222222226</c:v>
                </c:pt>
                <c:pt idx="14139">
                  <c:v>39.274999999999999</c:v>
                </c:pt>
                <c:pt idx="14140">
                  <c:v>39.277777777777779</c:v>
                </c:pt>
                <c:pt idx="14141">
                  <c:v>39.280555555555559</c:v>
                </c:pt>
                <c:pt idx="14142">
                  <c:v>39.283333333333331</c:v>
                </c:pt>
                <c:pt idx="14143">
                  <c:v>39.286111111111111</c:v>
                </c:pt>
                <c:pt idx="14144">
                  <c:v>39.288888888888891</c:v>
                </c:pt>
                <c:pt idx="14145">
                  <c:v>39.291666666666664</c:v>
                </c:pt>
                <c:pt idx="14146">
                  <c:v>39.294444444444444</c:v>
                </c:pt>
                <c:pt idx="14147">
                  <c:v>39.297222222222224</c:v>
                </c:pt>
                <c:pt idx="14148">
                  <c:v>39.299999999999997</c:v>
                </c:pt>
                <c:pt idx="14149">
                  <c:v>39.302777777777777</c:v>
                </c:pt>
                <c:pt idx="14150">
                  <c:v>39.305555555555557</c:v>
                </c:pt>
                <c:pt idx="14151">
                  <c:v>39.30833333333333</c:v>
                </c:pt>
                <c:pt idx="14152">
                  <c:v>39.31111111111111</c:v>
                </c:pt>
                <c:pt idx="14153">
                  <c:v>39.31388888888889</c:v>
                </c:pt>
                <c:pt idx="14154">
                  <c:v>39.31666666666667</c:v>
                </c:pt>
                <c:pt idx="14155">
                  <c:v>39.319444444444443</c:v>
                </c:pt>
                <c:pt idx="14156">
                  <c:v>39.322222222222223</c:v>
                </c:pt>
                <c:pt idx="14157">
                  <c:v>39.325000000000003</c:v>
                </c:pt>
                <c:pt idx="14158">
                  <c:v>39.327777777777776</c:v>
                </c:pt>
                <c:pt idx="14159">
                  <c:v>39.330555555555556</c:v>
                </c:pt>
                <c:pt idx="14160">
                  <c:v>39.333333333333336</c:v>
                </c:pt>
                <c:pt idx="14161">
                  <c:v>39.336111111111109</c:v>
                </c:pt>
                <c:pt idx="14162">
                  <c:v>39.338888888888889</c:v>
                </c:pt>
                <c:pt idx="14163">
                  <c:v>39.341666666666669</c:v>
                </c:pt>
                <c:pt idx="14164">
                  <c:v>39.344444444444441</c:v>
                </c:pt>
                <c:pt idx="14165">
                  <c:v>39.347222222222221</c:v>
                </c:pt>
                <c:pt idx="14166">
                  <c:v>39.35</c:v>
                </c:pt>
                <c:pt idx="14167">
                  <c:v>39.352777777777774</c:v>
                </c:pt>
                <c:pt idx="14168">
                  <c:v>39.355555555555554</c:v>
                </c:pt>
                <c:pt idx="14169">
                  <c:v>39.358333333333334</c:v>
                </c:pt>
                <c:pt idx="14170">
                  <c:v>39.361111111111114</c:v>
                </c:pt>
                <c:pt idx="14171">
                  <c:v>39.363888888888887</c:v>
                </c:pt>
                <c:pt idx="14172">
                  <c:v>39.366666666666667</c:v>
                </c:pt>
                <c:pt idx="14173">
                  <c:v>39.369444444444447</c:v>
                </c:pt>
                <c:pt idx="14174">
                  <c:v>39.37222222222222</c:v>
                </c:pt>
                <c:pt idx="14175">
                  <c:v>39.375</c:v>
                </c:pt>
                <c:pt idx="14176">
                  <c:v>39.37777777777778</c:v>
                </c:pt>
                <c:pt idx="14177">
                  <c:v>39.380555555555553</c:v>
                </c:pt>
                <c:pt idx="14178">
                  <c:v>39.383333333333333</c:v>
                </c:pt>
                <c:pt idx="14179">
                  <c:v>39.386111111111113</c:v>
                </c:pt>
                <c:pt idx="14180">
                  <c:v>39.388888888888886</c:v>
                </c:pt>
                <c:pt idx="14181">
                  <c:v>39.391666666666666</c:v>
                </c:pt>
                <c:pt idx="14182">
                  <c:v>39.394444444444446</c:v>
                </c:pt>
                <c:pt idx="14183">
                  <c:v>39.397222222222226</c:v>
                </c:pt>
                <c:pt idx="14184">
                  <c:v>39.4</c:v>
                </c:pt>
                <c:pt idx="14185">
                  <c:v>39.402777777777779</c:v>
                </c:pt>
                <c:pt idx="14186">
                  <c:v>39.405555555555559</c:v>
                </c:pt>
                <c:pt idx="14187">
                  <c:v>39.408333333333331</c:v>
                </c:pt>
                <c:pt idx="14188">
                  <c:v>39.411111111111111</c:v>
                </c:pt>
                <c:pt idx="14189">
                  <c:v>39.413888888888891</c:v>
                </c:pt>
                <c:pt idx="14190">
                  <c:v>39.416666666666664</c:v>
                </c:pt>
                <c:pt idx="14191">
                  <c:v>39.419444444444444</c:v>
                </c:pt>
                <c:pt idx="14192">
                  <c:v>39.422222222222224</c:v>
                </c:pt>
                <c:pt idx="14193">
                  <c:v>39.424999999999997</c:v>
                </c:pt>
                <c:pt idx="14194">
                  <c:v>39.427777777777777</c:v>
                </c:pt>
                <c:pt idx="14195">
                  <c:v>39.430555555555557</c:v>
                </c:pt>
                <c:pt idx="14196">
                  <c:v>39.43333333333333</c:v>
                </c:pt>
                <c:pt idx="14197">
                  <c:v>39.43611111111111</c:v>
                </c:pt>
                <c:pt idx="14198">
                  <c:v>39.43888888888889</c:v>
                </c:pt>
                <c:pt idx="14199">
                  <c:v>39.44166666666667</c:v>
                </c:pt>
                <c:pt idx="14200">
                  <c:v>39.444444444444443</c:v>
                </c:pt>
                <c:pt idx="14201">
                  <c:v>39.447222222222223</c:v>
                </c:pt>
                <c:pt idx="14202">
                  <c:v>39.450000000000003</c:v>
                </c:pt>
                <c:pt idx="14203">
                  <c:v>39.452777777777776</c:v>
                </c:pt>
                <c:pt idx="14204">
                  <c:v>39.455555555555556</c:v>
                </c:pt>
                <c:pt idx="14205">
                  <c:v>39.458333333333336</c:v>
                </c:pt>
                <c:pt idx="14206">
                  <c:v>39.461111111111109</c:v>
                </c:pt>
                <c:pt idx="14207">
                  <c:v>39.463888888888889</c:v>
                </c:pt>
                <c:pt idx="14208">
                  <c:v>39.466666666666669</c:v>
                </c:pt>
                <c:pt idx="14209">
                  <c:v>39.469444444444441</c:v>
                </c:pt>
                <c:pt idx="14210">
                  <c:v>39.472222222222221</c:v>
                </c:pt>
                <c:pt idx="14211">
                  <c:v>39.475000000000001</c:v>
                </c:pt>
                <c:pt idx="14212">
                  <c:v>39.477777777777774</c:v>
                </c:pt>
                <c:pt idx="14213">
                  <c:v>39.480555555555554</c:v>
                </c:pt>
                <c:pt idx="14214">
                  <c:v>39.483333333333334</c:v>
                </c:pt>
                <c:pt idx="14215">
                  <c:v>39.486111111111114</c:v>
                </c:pt>
                <c:pt idx="14216">
                  <c:v>39.488888888888887</c:v>
                </c:pt>
                <c:pt idx="14217">
                  <c:v>39.491666666666667</c:v>
                </c:pt>
                <c:pt idx="14218">
                  <c:v>39.494444444444447</c:v>
                </c:pt>
                <c:pt idx="14219">
                  <c:v>39.49722222222222</c:v>
                </c:pt>
                <c:pt idx="14220">
                  <c:v>39.5</c:v>
                </c:pt>
                <c:pt idx="14221">
                  <c:v>39.50277777777778</c:v>
                </c:pt>
                <c:pt idx="14222">
                  <c:v>39.505555555555553</c:v>
                </c:pt>
                <c:pt idx="14223">
                  <c:v>39.508333333333333</c:v>
                </c:pt>
                <c:pt idx="14224">
                  <c:v>39.511111111111113</c:v>
                </c:pt>
                <c:pt idx="14225">
                  <c:v>39.513888888888886</c:v>
                </c:pt>
                <c:pt idx="14226">
                  <c:v>39.516666666666666</c:v>
                </c:pt>
                <c:pt idx="14227">
                  <c:v>39.519444444444446</c:v>
                </c:pt>
                <c:pt idx="14228">
                  <c:v>39.522222222222226</c:v>
                </c:pt>
                <c:pt idx="14229">
                  <c:v>39.524999999999999</c:v>
                </c:pt>
                <c:pt idx="14230">
                  <c:v>39.527777777777779</c:v>
                </c:pt>
                <c:pt idx="14231">
                  <c:v>39.530555555555559</c:v>
                </c:pt>
                <c:pt idx="14232">
                  <c:v>39.533333333333331</c:v>
                </c:pt>
                <c:pt idx="14233">
                  <c:v>39.536111111111111</c:v>
                </c:pt>
                <c:pt idx="14234">
                  <c:v>39.538888888888891</c:v>
                </c:pt>
                <c:pt idx="14235">
                  <c:v>39.541666666666664</c:v>
                </c:pt>
                <c:pt idx="14236">
                  <c:v>39.544444444444444</c:v>
                </c:pt>
                <c:pt idx="14237">
                  <c:v>39.547222222222224</c:v>
                </c:pt>
                <c:pt idx="14238">
                  <c:v>39.549999999999997</c:v>
                </c:pt>
                <c:pt idx="14239">
                  <c:v>39.552777777777777</c:v>
                </c:pt>
                <c:pt idx="14240">
                  <c:v>39.555555555555557</c:v>
                </c:pt>
                <c:pt idx="14241">
                  <c:v>39.55833333333333</c:v>
                </c:pt>
                <c:pt idx="14242">
                  <c:v>39.56111111111111</c:v>
                </c:pt>
                <c:pt idx="14243">
                  <c:v>39.56388888888889</c:v>
                </c:pt>
                <c:pt idx="14244">
                  <c:v>39.56666666666667</c:v>
                </c:pt>
                <c:pt idx="14245">
                  <c:v>39.569444444444443</c:v>
                </c:pt>
                <c:pt idx="14246">
                  <c:v>39.572222222222223</c:v>
                </c:pt>
                <c:pt idx="14247">
                  <c:v>39.575000000000003</c:v>
                </c:pt>
                <c:pt idx="14248">
                  <c:v>39.577777777777776</c:v>
                </c:pt>
                <c:pt idx="14249">
                  <c:v>39.580555555555556</c:v>
                </c:pt>
                <c:pt idx="14250">
                  <c:v>39.583333333333336</c:v>
                </c:pt>
                <c:pt idx="14251">
                  <c:v>39.586111111111109</c:v>
                </c:pt>
                <c:pt idx="14252">
                  <c:v>39.588888888888889</c:v>
                </c:pt>
                <c:pt idx="14253">
                  <c:v>39.591666666666669</c:v>
                </c:pt>
                <c:pt idx="14254">
                  <c:v>39.594444444444441</c:v>
                </c:pt>
                <c:pt idx="14255">
                  <c:v>39.597222222222221</c:v>
                </c:pt>
                <c:pt idx="14256">
                  <c:v>39.6</c:v>
                </c:pt>
                <c:pt idx="14257">
                  <c:v>39.602777777777774</c:v>
                </c:pt>
                <c:pt idx="14258">
                  <c:v>39.605555555555554</c:v>
                </c:pt>
                <c:pt idx="14259">
                  <c:v>39.608333333333334</c:v>
                </c:pt>
                <c:pt idx="14260">
                  <c:v>39.611111111111114</c:v>
                </c:pt>
                <c:pt idx="14261">
                  <c:v>39.613888888888887</c:v>
                </c:pt>
                <c:pt idx="14262">
                  <c:v>39.616666666666667</c:v>
                </c:pt>
                <c:pt idx="14263">
                  <c:v>39.619444444444447</c:v>
                </c:pt>
                <c:pt idx="14264">
                  <c:v>39.62222222222222</c:v>
                </c:pt>
                <c:pt idx="14265">
                  <c:v>39.625</c:v>
                </c:pt>
                <c:pt idx="14266">
                  <c:v>39.62777777777778</c:v>
                </c:pt>
                <c:pt idx="14267">
                  <c:v>39.630555555555553</c:v>
                </c:pt>
                <c:pt idx="14268">
                  <c:v>39.633333333333333</c:v>
                </c:pt>
                <c:pt idx="14269">
                  <c:v>39.636111111111113</c:v>
                </c:pt>
                <c:pt idx="14270">
                  <c:v>39.638888888888886</c:v>
                </c:pt>
                <c:pt idx="14271">
                  <c:v>39.641666666666666</c:v>
                </c:pt>
                <c:pt idx="14272">
                  <c:v>39.644444444444446</c:v>
                </c:pt>
                <c:pt idx="14273">
                  <c:v>39.647222222222226</c:v>
                </c:pt>
                <c:pt idx="14274">
                  <c:v>39.65</c:v>
                </c:pt>
                <c:pt idx="14275">
                  <c:v>39.652777777777779</c:v>
                </c:pt>
                <c:pt idx="14276">
                  <c:v>39.655555555555559</c:v>
                </c:pt>
                <c:pt idx="14277">
                  <c:v>39.658333333333331</c:v>
                </c:pt>
                <c:pt idx="14278">
                  <c:v>39.661111111111111</c:v>
                </c:pt>
                <c:pt idx="14279">
                  <c:v>39.663888888888891</c:v>
                </c:pt>
                <c:pt idx="14280">
                  <c:v>39.666666666666664</c:v>
                </c:pt>
                <c:pt idx="14281">
                  <c:v>39.669444444444444</c:v>
                </c:pt>
                <c:pt idx="14282">
                  <c:v>39.672222222222224</c:v>
                </c:pt>
                <c:pt idx="14283">
                  <c:v>39.674999999999997</c:v>
                </c:pt>
                <c:pt idx="14284">
                  <c:v>39.677777777777777</c:v>
                </c:pt>
                <c:pt idx="14285">
                  <c:v>39.680555555555557</c:v>
                </c:pt>
                <c:pt idx="14286">
                  <c:v>39.68333333333333</c:v>
                </c:pt>
                <c:pt idx="14287">
                  <c:v>39.68611111111111</c:v>
                </c:pt>
                <c:pt idx="14288">
                  <c:v>39.68888888888889</c:v>
                </c:pt>
                <c:pt idx="14289">
                  <c:v>39.69166666666667</c:v>
                </c:pt>
                <c:pt idx="14290">
                  <c:v>39.694444444444443</c:v>
                </c:pt>
                <c:pt idx="14291">
                  <c:v>39.697222222222223</c:v>
                </c:pt>
                <c:pt idx="14292">
                  <c:v>39.700000000000003</c:v>
                </c:pt>
                <c:pt idx="14293">
                  <c:v>39.702777777777776</c:v>
                </c:pt>
                <c:pt idx="14294">
                  <c:v>39.705555555555556</c:v>
                </c:pt>
                <c:pt idx="14295">
                  <c:v>39.708333333333336</c:v>
                </c:pt>
                <c:pt idx="14296">
                  <c:v>39.711111111111109</c:v>
                </c:pt>
                <c:pt idx="14297">
                  <c:v>39.713888888888889</c:v>
                </c:pt>
                <c:pt idx="14298">
                  <c:v>39.716666666666669</c:v>
                </c:pt>
                <c:pt idx="14299">
                  <c:v>39.719444444444441</c:v>
                </c:pt>
                <c:pt idx="14300">
                  <c:v>39.722222222222221</c:v>
                </c:pt>
                <c:pt idx="14301">
                  <c:v>39.725000000000001</c:v>
                </c:pt>
                <c:pt idx="14302">
                  <c:v>39.727777777777774</c:v>
                </c:pt>
                <c:pt idx="14303">
                  <c:v>39.730555555555554</c:v>
                </c:pt>
                <c:pt idx="14304">
                  <c:v>39.733333333333334</c:v>
                </c:pt>
                <c:pt idx="14305">
                  <c:v>39.736111111111114</c:v>
                </c:pt>
                <c:pt idx="14306">
                  <c:v>39.738888888888887</c:v>
                </c:pt>
                <c:pt idx="14307">
                  <c:v>39.741666666666667</c:v>
                </c:pt>
                <c:pt idx="14308">
                  <c:v>39.744444444444447</c:v>
                </c:pt>
                <c:pt idx="14309">
                  <c:v>39.74722222222222</c:v>
                </c:pt>
                <c:pt idx="14310">
                  <c:v>39.75</c:v>
                </c:pt>
                <c:pt idx="14311">
                  <c:v>39.75277777777778</c:v>
                </c:pt>
                <c:pt idx="14312">
                  <c:v>39.755555555555553</c:v>
                </c:pt>
                <c:pt idx="14313">
                  <c:v>39.758333333333333</c:v>
                </c:pt>
                <c:pt idx="14314">
                  <c:v>39.761111111111113</c:v>
                </c:pt>
                <c:pt idx="14315">
                  <c:v>39.763888888888886</c:v>
                </c:pt>
                <c:pt idx="14316">
                  <c:v>39.766666666666666</c:v>
                </c:pt>
                <c:pt idx="14317">
                  <c:v>39.769444444444446</c:v>
                </c:pt>
                <c:pt idx="14318">
                  <c:v>39.772222222222226</c:v>
                </c:pt>
                <c:pt idx="14319">
                  <c:v>39.774999999999999</c:v>
                </c:pt>
                <c:pt idx="14320">
                  <c:v>39.777777777777779</c:v>
                </c:pt>
                <c:pt idx="14321">
                  <c:v>39.780555555555559</c:v>
                </c:pt>
                <c:pt idx="14322">
                  <c:v>39.783333333333331</c:v>
                </c:pt>
                <c:pt idx="14323">
                  <c:v>39.786111111111111</c:v>
                </c:pt>
                <c:pt idx="14324">
                  <c:v>39.788888888888891</c:v>
                </c:pt>
                <c:pt idx="14325">
                  <c:v>39.791666666666664</c:v>
                </c:pt>
                <c:pt idx="14326">
                  <c:v>39.794444444444444</c:v>
                </c:pt>
                <c:pt idx="14327">
                  <c:v>39.797222222222224</c:v>
                </c:pt>
                <c:pt idx="14328">
                  <c:v>39.799999999999997</c:v>
                </c:pt>
                <c:pt idx="14329">
                  <c:v>39.802777777777777</c:v>
                </c:pt>
                <c:pt idx="14330">
                  <c:v>39.805555555555557</c:v>
                </c:pt>
                <c:pt idx="14331">
                  <c:v>39.80833333333333</c:v>
                </c:pt>
                <c:pt idx="14332">
                  <c:v>39.81111111111111</c:v>
                </c:pt>
                <c:pt idx="14333">
                  <c:v>39.81388888888889</c:v>
                </c:pt>
                <c:pt idx="14334">
                  <c:v>39.81666666666667</c:v>
                </c:pt>
                <c:pt idx="14335">
                  <c:v>39.819444444444443</c:v>
                </c:pt>
                <c:pt idx="14336">
                  <c:v>39.822222222222223</c:v>
                </c:pt>
                <c:pt idx="14337">
                  <c:v>39.825000000000003</c:v>
                </c:pt>
                <c:pt idx="14338">
                  <c:v>39.827777777777776</c:v>
                </c:pt>
                <c:pt idx="14339">
                  <c:v>39.830555555555556</c:v>
                </c:pt>
                <c:pt idx="14340">
                  <c:v>39.833333333333336</c:v>
                </c:pt>
                <c:pt idx="14341">
                  <c:v>39.836111111111109</c:v>
                </c:pt>
                <c:pt idx="14342">
                  <c:v>39.838888888888889</c:v>
                </c:pt>
                <c:pt idx="14343">
                  <c:v>39.841666666666669</c:v>
                </c:pt>
                <c:pt idx="14344">
                  <c:v>39.844444444444441</c:v>
                </c:pt>
                <c:pt idx="14345">
                  <c:v>39.847222222222221</c:v>
                </c:pt>
                <c:pt idx="14346">
                  <c:v>39.85</c:v>
                </c:pt>
                <c:pt idx="14347">
                  <c:v>39.852777777777774</c:v>
                </c:pt>
                <c:pt idx="14348">
                  <c:v>39.855555555555554</c:v>
                </c:pt>
                <c:pt idx="14349">
                  <c:v>39.858333333333334</c:v>
                </c:pt>
                <c:pt idx="14350">
                  <c:v>39.861111111111114</c:v>
                </c:pt>
                <c:pt idx="14351">
                  <c:v>39.863888888888887</c:v>
                </c:pt>
                <c:pt idx="14352">
                  <c:v>39.866666666666667</c:v>
                </c:pt>
                <c:pt idx="14353">
                  <c:v>39.869444444444447</c:v>
                </c:pt>
                <c:pt idx="14354">
                  <c:v>39.87222222222222</c:v>
                </c:pt>
                <c:pt idx="14355">
                  <c:v>39.875</c:v>
                </c:pt>
                <c:pt idx="14356">
                  <c:v>39.87777777777778</c:v>
                </c:pt>
                <c:pt idx="14357">
                  <c:v>39.880555555555553</c:v>
                </c:pt>
                <c:pt idx="14358">
                  <c:v>39.883333333333333</c:v>
                </c:pt>
                <c:pt idx="14359">
                  <c:v>39.886111111111113</c:v>
                </c:pt>
                <c:pt idx="14360">
                  <c:v>39.888888888888886</c:v>
                </c:pt>
                <c:pt idx="14361">
                  <c:v>39.891666666666666</c:v>
                </c:pt>
                <c:pt idx="14362">
                  <c:v>39.894444444444446</c:v>
                </c:pt>
                <c:pt idx="14363">
                  <c:v>39.897222222222226</c:v>
                </c:pt>
                <c:pt idx="14364">
                  <c:v>39.9</c:v>
                </c:pt>
                <c:pt idx="14365">
                  <c:v>39.902777777777779</c:v>
                </c:pt>
                <c:pt idx="14366">
                  <c:v>39.905555555555559</c:v>
                </c:pt>
                <c:pt idx="14367">
                  <c:v>39.908333333333331</c:v>
                </c:pt>
                <c:pt idx="14368">
                  <c:v>39.911111111111111</c:v>
                </c:pt>
                <c:pt idx="14369">
                  <c:v>39.913888888888891</c:v>
                </c:pt>
                <c:pt idx="14370">
                  <c:v>39.916666666666664</c:v>
                </c:pt>
                <c:pt idx="14371">
                  <c:v>39.919444444444444</c:v>
                </c:pt>
                <c:pt idx="14372">
                  <c:v>39.922222222222224</c:v>
                </c:pt>
                <c:pt idx="14373">
                  <c:v>39.924999999999997</c:v>
                </c:pt>
                <c:pt idx="14374">
                  <c:v>39.927777777777777</c:v>
                </c:pt>
                <c:pt idx="14375">
                  <c:v>39.930555555555557</c:v>
                </c:pt>
                <c:pt idx="14376">
                  <c:v>39.93333333333333</c:v>
                </c:pt>
                <c:pt idx="14377">
                  <c:v>39.93611111111111</c:v>
                </c:pt>
                <c:pt idx="14378">
                  <c:v>39.93888888888889</c:v>
                </c:pt>
                <c:pt idx="14379">
                  <c:v>39.94166666666667</c:v>
                </c:pt>
                <c:pt idx="14380">
                  <c:v>39.944444444444443</c:v>
                </c:pt>
                <c:pt idx="14381">
                  <c:v>39.947222222222223</c:v>
                </c:pt>
                <c:pt idx="14382">
                  <c:v>39.950000000000003</c:v>
                </c:pt>
                <c:pt idx="14383">
                  <c:v>39.952777777777776</c:v>
                </c:pt>
                <c:pt idx="14384">
                  <c:v>39.955555555555556</c:v>
                </c:pt>
                <c:pt idx="14385">
                  <c:v>39.958333333333336</c:v>
                </c:pt>
                <c:pt idx="14386">
                  <c:v>39.961111111111109</c:v>
                </c:pt>
                <c:pt idx="14387">
                  <c:v>39.963888888888889</c:v>
                </c:pt>
                <c:pt idx="14388">
                  <c:v>39.966666666666669</c:v>
                </c:pt>
                <c:pt idx="14389">
                  <c:v>39.969444444444441</c:v>
                </c:pt>
                <c:pt idx="14390">
                  <c:v>39.972222222222221</c:v>
                </c:pt>
                <c:pt idx="14391">
                  <c:v>39.975000000000001</c:v>
                </c:pt>
                <c:pt idx="14392">
                  <c:v>39.977777777777774</c:v>
                </c:pt>
                <c:pt idx="14393">
                  <c:v>39.980555555555554</c:v>
                </c:pt>
                <c:pt idx="14394">
                  <c:v>39.983333333333334</c:v>
                </c:pt>
                <c:pt idx="14395">
                  <c:v>39.986111111111114</c:v>
                </c:pt>
                <c:pt idx="14396">
                  <c:v>39.988888888888887</c:v>
                </c:pt>
                <c:pt idx="14397">
                  <c:v>39.991666666666667</c:v>
                </c:pt>
                <c:pt idx="14398">
                  <c:v>39.994444444444447</c:v>
                </c:pt>
                <c:pt idx="14399">
                  <c:v>39.99722222222222</c:v>
                </c:pt>
                <c:pt idx="14400">
                  <c:v>40</c:v>
                </c:pt>
                <c:pt idx="14401">
                  <c:v>40.00277777777778</c:v>
                </c:pt>
                <c:pt idx="14402">
                  <c:v>40.005555555555553</c:v>
                </c:pt>
                <c:pt idx="14403">
                  <c:v>40.008333333333333</c:v>
                </c:pt>
                <c:pt idx="14404">
                  <c:v>40.011111111111113</c:v>
                </c:pt>
                <c:pt idx="14405">
                  <c:v>40.013888888888886</c:v>
                </c:pt>
                <c:pt idx="14406">
                  <c:v>40.016666666666666</c:v>
                </c:pt>
                <c:pt idx="14407">
                  <c:v>40.019444444444446</c:v>
                </c:pt>
                <c:pt idx="14408">
                  <c:v>40.022222222222226</c:v>
                </c:pt>
                <c:pt idx="14409">
                  <c:v>40.024999999999999</c:v>
                </c:pt>
                <c:pt idx="14410">
                  <c:v>40.027777777777779</c:v>
                </c:pt>
                <c:pt idx="14411">
                  <c:v>40.030555555555559</c:v>
                </c:pt>
                <c:pt idx="14412">
                  <c:v>40.033333333333331</c:v>
                </c:pt>
                <c:pt idx="14413">
                  <c:v>40.036111111111111</c:v>
                </c:pt>
                <c:pt idx="14414">
                  <c:v>40.038888888888891</c:v>
                </c:pt>
                <c:pt idx="14415">
                  <c:v>40.041666666666664</c:v>
                </c:pt>
                <c:pt idx="14416">
                  <c:v>40.044444444444444</c:v>
                </c:pt>
                <c:pt idx="14417">
                  <c:v>40.047222222222224</c:v>
                </c:pt>
                <c:pt idx="14418">
                  <c:v>40.049999999999997</c:v>
                </c:pt>
                <c:pt idx="14419">
                  <c:v>40.052777777777777</c:v>
                </c:pt>
                <c:pt idx="14420">
                  <c:v>40.055555555555557</c:v>
                </c:pt>
                <c:pt idx="14421">
                  <c:v>40.05833333333333</c:v>
                </c:pt>
                <c:pt idx="14422">
                  <c:v>40.06111111111111</c:v>
                </c:pt>
                <c:pt idx="14423">
                  <c:v>40.06388888888889</c:v>
                </c:pt>
                <c:pt idx="14424">
                  <c:v>40.06666666666667</c:v>
                </c:pt>
                <c:pt idx="14425">
                  <c:v>40.069444444444443</c:v>
                </c:pt>
                <c:pt idx="14426">
                  <c:v>40.072222222222223</c:v>
                </c:pt>
                <c:pt idx="14427">
                  <c:v>40.075000000000003</c:v>
                </c:pt>
                <c:pt idx="14428">
                  <c:v>40.077777777777776</c:v>
                </c:pt>
                <c:pt idx="14429">
                  <c:v>40.080555555555556</c:v>
                </c:pt>
                <c:pt idx="14430">
                  <c:v>40.083333333333336</c:v>
                </c:pt>
                <c:pt idx="14431">
                  <c:v>40.086111111111109</c:v>
                </c:pt>
                <c:pt idx="14432">
                  <c:v>40.088888888888889</c:v>
                </c:pt>
                <c:pt idx="14433">
                  <c:v>40.091666666666669</c:v>
                </c:pt>
                <c:pt idx="14434">
                  <c:v>40.094444444444441</c:v>
                </c:pt>
                <c:pt idx="14435">
                  <c:v>40.097222222222221</c:v>
                </c:pt>
                <c:pt idx="14436">
                  <c:v>40.1</c:v>
                </c:pt>
                <c:pt idx="14437">
                  <c:v>40.102777777777774</c:v>
                </c:pt>
                <c:pt idx="14438">
                  <c:v>40.105555555555554</c:v>
                </c:pt>
                <c:pt idx="14439">
                  <c:v>40.108333333333334</c:v>
                </c:pt>
                <c:pt idx="14440">
                  <c:v>40.111111111111114</c:v>
                </c:pt>
                <c:pt idx="14441">
                  <c:v>40.113888888888887</c:v>
                </c:pt>
                <c:pt idx="14442">
                  <c:v>40.116666666666667</c:v>
                </c:pt>
                <c:pt idx="14443">
                  <c:v>40.119444444444447</c:v>
                </c:pt>
                <c:pt idx="14444">
                  <c:v>40.12222222222222</c:v>
                </c:pt>
                <c:pt idx="14445">
                  <c:v>40.125</c:v>
                </c:pt>
                <c:pt idx="14446">
                  <c:v>40.12777777777778</c:v>
                </c:pt>
                <c:pt idx="14447">
                  <c:v>40.130555555555553</c:v>
                </c:pt>
                <c:pt idx="14448">
                  <c:v>40.133333333333333</c:v>
                </c:pt>
                <c:pt idx="14449">
                  <c:v>40.136111111111113</c:v>
                </c:pt>
                <c:pt idx="14450">
                  <c:v>40.138888888888886</c:v>
                </c:pt>
                <c:pt idx="14451">
                  <c:v>40.141666666666666</c:v>
                </c:pt>
                <c:pt idx="14452">
                  <c:v>40.144444444444446</c:v>
                </c:pt>
                <c:pt idx="14453">
                  <c:v>40.147222222222226</c:v>
                </c:pt>
                <c:pt idx="14454">
                  <c:v>40.15</c:v>
                </c:pt>
                <c:pt idx="14455">
                  <c:v>40.152777777777779</c:v>
                </c:pt>
                <c:pt idx="14456">
                  <c:v>40.155555555555559</c:v>
                </c:pt>
                <c:pt idx="14457">
                  <c:v>40.158333333333331</c:v>
                </c:pt>
                <c:pt idx="14458">
                  <c:v>40.161111111111111</c:v>
                </c:pt>
                <c:pt idx="14459">
                  <c:v>40.163888888888891</c:v>
                </c:pt>
                <c:pt idx="14460">
                  <c:v>40.166666666666664</c:v>
                </c:pt>
                <c:pt idx="14461">
                  <c:v>40.169444444444444</c:v>
                </c:pt>
                <c:pt idx="14462">
                  <c:v>40.172222222222224</c:v>
                </c:pt>
                <c:pt idx="14463">
                  <c:v>40.174999999999997</c:v>
                </c:pt>
                <c:pt idx="14464">
                  <c:v>40.177777777777777</c:v>
                </c:pt>
                <c:pt idx="14465">
                  <c:v>40.180555555555557</c:v>
                </c:pt>
                <c:pt idx="14466">
                  <c:v>40.18333333333333</c:v>
                </c:pt>
                <c:pt idx="14467">
                  <c:v>40.18611111111111</c:v>
                </c:pt>
                <c:pt idx="14468">
                  <c:v>40.18888888888889</c:v>
                </c:pt>
                <c:pt idx="14469">
                  <c:v>40.19166666666667</c:v>
                </c:pt>
                <c:pt idx="14470">
                  <c:v>40.194444444444443</c:v>
                </c:pt>
                <c:pt idx="14471">
                  <c:v>40.197222222222223</c:v>
                </c:pt>
                <c:pt idx="14472">
                  <c:v>40.200000000000003</c:v>
                </c:pt>
                <c:pt idx="14473">
                  <c:v>40.202777777777776</c:v>
                </c:pt>
                <c:pt idx="14474">
                  <c:v>40.205555555555556</c:v>
                </c:pt>
                <c:pt idx="14475">
                  <c:v>40.208333333333336</c:v>
                </c:pt>
                <c:pt idx="14476">
                  <c:v>40.211111111111109</c:v>
                </c:pt>
                <c:pt idx="14477">
                  <c:v>40.213888888888889</c:v>
                </c:pt>
                <c:pt idx="14478">
                  <c:v>40.216666666666669</c:v>
                </c:pt>
                <c:pt idx="14479">
                  <c:v>40.219444444444441</c:v>
                </c:pt>
                <c:pt idx="14480">
                  <c:v>40.222222222222221</c:v>
                </c:pt>
                <c:pt idx="14481">
                  <c:v>40.225000000000001</c:v>
                </c:pt>
                <c:pt idx="14482">
                  <c:v>40.227777777777774</c:v>
                </c:pt>
                <c:pt idx="14483">
                  <c:v>40.230555555555554</c:v>
                </c:pt>
                <c:pt idx="14484">
                  <c:v>40.233333333333334</c:v>
                </c:pt>
                <c:pt idx="14485">
                  <c:v>40.236111111111114</c:v>
                </c:pt>
                <c:pt idx="14486">
                  <c:v>40.238888888888887</c:v>
                </c:pt>
                <c:pt idx="14487">
                  <c:v>40.241666666666667</c:v>
                </c:pt>
                <c:pt idx="14488">
                  <c:v>40.244444444444447</c:v>
                </c:pt>
                <c:pt idx="14489">
                  <c:v>40.24722222222222</c:v>
                </c:pt>
                <c:pt idx="14490">
                  <c:v>40.25</c:v>
                </c:pt>
                <c:pt idx="14491">
                  <c:v>40.25277777777778</c:v>
                </c:pt>
                <c:pt idx="14492">
                  <c:v>40.255555555555553</c:v>
                </c:pt>
                <c:pt idx="14493">
                  <c:v>40.258333333333333</c:v>
                </c:pt>
                <c:pt idx="14494">
                  <c:v>40.261111111111113</c:v>
                </c:pt>
                <c:pt idx="14495">
                  <c:v>40.263888888888886</c:v>
                </c:pt>
                <c:pt idx="14496">
                  <c:v>40.266666666666666</c:v>
                </c:pt>
                <c:pt idx="14497">
                  <c:v>40.269444444444446</c:v>
                </c:pt>
                <c:pt idx="14498">
                  <c:v>40.272222222222226</c:v>
                </c:pt>
                <c:pt idx="14499">
                  <c:v>40.274999999999999</c:v>
                </c:pt>
                <c:pt idx="14500">
                  <c:v>40.277777777777779</c:v>
                </c:pt>
                <c:pt idx="14501">
                  <c:v>40.280555555555559</c:v>
                </c:pt>
                <c:pt idx="14502">
                  <c:v>40.283333333333331</c:v>
                </c:pt>
                <c:pt idx="14503">
                  <c:v>40.286111111111111</c:v>
                </c:pt>
                <c:pt idx="14504">
                  <c:v>40.288888888888891</c:v>
                </c:pt>
                <c:pt idx="14505">
                  <c:v>40.291666666666664</c:v>
                </c:pt>
                <c:pt idx="14506">
                  <c:v>40.294444444444444</c:v>
                </c:pt>
                <c:pt idx="14507">
                  <c:v>40.297222222222224</c:v>
                </c:pt>
                <c:pt idx="14508">
                  <c:v>40.299999999999997</c:v>
                </c:pt>
                <c:pt idx="14509">
                  <c:v>40.302777777777777</c:v>
                </c:pt>
                <c:pt idx="14510">
                  <c:v>40.305555555555557</c:v>
                </c:pt>
                <c:pt idx="14511">
                  <c:v>40.30833333333333</c:v>
                </c:pt>
                <c:pt idx="14512">
                  <c:v>40.31111111111111</c:v>
                </c:pt>
                <c:pt idx="14513">
                  <c:v>40.31388888888889</c:v>
                </c:pt>
                <c:pt idx="14514">
                  <c:v>40.31666666666667</c:v>
                </c:pt>
                <c:pt idx="14515">
                  <c:v>40.319444444444443</c:v>
                </c:pt>
                <c:pt idx="14516">
                  <c:v>40.322222222222223</c:v>
                </c:pt>
                <c:pt idx="14517">
                  <c:v>40.325000000000003</c:v>
                </c:pt>
                <c:pt idx="14518">
                  <c:v>40.327777777777776</c:v>
                </c:pt>
                <c:pt idx="14519">
                  <c:v>40.330555555555556</c:v>
                </c:pt>
                <c:pt idx="14520">
                  <c:v>40.333333333333336</c:v>
                </c:pt>
                <c:pt idx="14521">
                  <c:v>40.336111111111109</c:v>
                </c:pt>
                <c:pt idx="14522">
                  <c:v>40.338888888888889</c:v>
                </c:pt>
                <c:pt idx="14523">
                  <c:v>40.341666666666669</c:v>
                </c:pt>
                <c:pt idx="14524">
                  <c:v>40.344444444444441</c:v>
                </c:pt>
                <c:pt idx="14525">
                  <c:v>40.347222222222221</c:v>
                </c:pt>
                <c:pt idx="14526">
                  <c:v>40.35</c:v>
                </c:pt>
                <c:pt idx="14527">
                  <c:v>40.352777777777774</c:v>
                </c:pt>
                <c:pt idx="14528">
                  <c:v>40.355555555555554</c:v>
                </c:pt>
                <c:pt idx="14529">
                  <c:v>40.358333333333334</c:v>
                </c:pt>
                <c:pt idx="14530">
                  <c:v>40.361111111111114</c:v>
                </c:pt>
                <c:pt idx="14531">
                  <c:v>40.363888888888887</c:v>
                </c:pt>
                <c:pt idx="14532">
                  <c:v>40.366666666666667</c:v>
                </c:pt>
                <c:pt idx="14533">
                  <c:v>40.369444444444447</c:v>
                </c:pt>
                <c:pt idx="14534">
                  <c:v>40.37222222222222</c:v>
                </c:pt>
                <c:pt idx="14535">
                  <c:v>40.375</c:v>
                </c:pt>
                <c:pt idx="14536">
                  <c:v>40.37777777777778</c:v>
                </c:pt>
                <c:pt idx="14537">
                  <c:v>40.380555555555553</c:v>
                </c:pt>
                <c:pt idx="14538">
                  <c:v>40.383333333333333</c:v>
                </c:pt>
                <c:pt idx="14539">
                  <c:v>40.386111111111113</c:v>
                </c:pt>
                <c:pt idx="14540">
                  <c:v>40.388888888888886</c:v>
                </c:pt>
                <c:pt idx="14541">
                  <c:v>40.391666666666666</c:v>
                </c:pt>
                <c:pt idx="14542">
                  <c:v>40.394444444444446</c:v>
                </c:pt>
                <c:pt idx="14543">
                  <c:v>40.397222222222226</c:v>
                </c:pt>
                <c:pt idx="14544">
                  <c:v>40.4</c:v>
                </c:pt>
                <c:pt idx="14545">
                  <c:v>40.402777777777779</c:v>
                </c:pt>
                <c:pt idx="14546">
                  <c:v>40.405555555555559</c:v>
                </c:pt>
                <c:pt idx="14547">
                  <c:v>40.408333333333331</c:v>
                </c:pt>
                <c:pt idx="14548">
                  <c:v>40.411111111111111</c:v>
                </c:pt>
                <c:pt idx="14549">
                  <c:v>40.413888888888891</c:v>
                </c:pt>
                <c:pt idx="14550">
                  <c:v>40.416666666666664</c:v>
                </c:pt>
                <c:pt idx="14551">
                  <c:v>40.419444444444444</c:v>
                </c:pt>
                <c:pt idx="14552">
                  <c:v>40.422222222222224</c:v>
                </c:pt>
                <c:pt idx="14553">
                  <c:v>40.424999999999997</c:v>
                </c:pt>
                <c:pt idx="14554">
                  <c:v>40.427777777777777</c:v>
                </c:pt>
                <c:pt idx="14555">
                  <c:v>40.430555555555557</c:v>
                </c:pt>
                <c:pt idx="14556">
                  <c:v>40.43333333333333</c:v>
                </c:pt>
                <c:pt idx="14557">
                  <c:v>40.43611111111111</c:v>
                </c:pt>
                <c:pt idx="14558">
                  <c:v>40.43888888888889</c:v>
                </c:pt>
                <c:pt idx="14559">
                  <c:v>40.44166666666667</c:v>
                </c:pt>
                <c:pt idx="14560">
                  <c:v>40.444444444444443</c:v>
                </c:pt>
                <c:pt idx="14561">
                  <c:v>40.447222222222223</c:v>
                </c:pt>
                <c:pt idx="14562">
                  <c:v>40.450000000000003</c:v>
                </c:pt>
                <c:pt idx="14563">
                  <c:v>40.452777777777776</c:v>
                </c:pt>
                <c:pt idx="14564">
                  <c:v>40.455555555555556</c:v>
                </c:pt>
                <c:pt idx="14565">
                  <c:v>40.458333333333336</c:v>
                </c:pt>
                <c:pt idx="14566">
                  <c:v>40.461111111111109</c:v>
                </c:pt>
                <c:pt idx="14567">
                  <c:v>40.463888888888889</c:v>
                </c:pt>
                <c:pt idx="14568">
                  <c:v>40.466666666666669</c:v>
                </c:pt>
                <c:pt idx="14569">
                  <c:v>40.469444444444441</c:v>
                </c:pt>
                <c:pt idx="14570">
                  <c:v>40.472222222222221</c:v>
                </c:pt>
                <c:pt idx="14571">
                  <c:v>40.475000000000001</c:v>
                </c:pt>
                <c:pt idx="14572">
                  <c:v>40.477777777777774</c:v>
                </c:pt>
                <c:pt idx="14573">
                  <c:v>40.480555555555554</c:v>
                </c:pt>
                <c:pt idx="14574">
                  <c:v>40.483333333333334</c:v>
                </c:pt>
                <c:pt idx="14575">
                  <c:v>40.486111111111114</c:v>
                </c:pt>
                <c:pt idx="14576">
                  <c:v>40.488888888888887</c:v>
                </c:pt>
                <c:pt idx="14577">
                  <c:v>40.491666666666667</c:v>
                </c:pt>
                <c:pt idx="14578">
                  <c:v>40.494444444444447</c:v>
                </c:pt>
                <c:pt idx="14579">
                  <c:v>40.49722222222222</c:v>
                </c:pt>
                <c:pt idx="14580">
                  <c:v>40.5</c:v>
                </c:pt>
                <c:pt idx="14581">
                  <c:v>40.50277777777778</c:v>
                </c:pt>
                <c:pt idx="14582">
                  <c:v>40.505555555555553</c:v>
                </c:pt>
                <c:pt idx="14583">
                  <c:v>40.508333333333333</c:v>
                </c:pt>
                <c:pt idx="14584">
                  <c:v>40.511111111111113</c:v>
                </c:pt>
                <c:pt idx="14585">
                  <c:v>40.513888888888886</c:v>
                </c:pt>
                <c:pt idx="14586">
                  <c:v>40.516666666666666</c:v>
                </c:pt>
                <c:pt idx="14587">
                  <c:v>40.519444444444446</c:v>
                </c:pt>
                <c:pt idx="14588">
                  <c:v>40.522222222222226</c:v>
                </c:pt>
                <c:pt idx="14589">
                  <c:v>40.524999999999999</c:v>
                </c:pt>
                <c:pt idx="14590">
                  <c:v>40.527777777777779</c:v>
                </c:pt>
                <c:pt idx="14591">
                  <c:v>40.530555555555559</c:v>
                </c:pt>
                <c:pt idx="14592">
                  <c:v>40.533333333333331</c:v>
                </c:pt>
                <c:pt idx="14593">
                  <c:v>40.536111111111111</c:v>
                </c:pt>
                <c:pt idx="14594">
                  <c:v>40.538888888888891</c:v>
                </c:pt>
                <c:pt idx="14595">
                  <c:v>40.541666666666664</c:v>
                </c:pt>
                <c:pt idx="14596">
                  <c:v>40.544444444444444</c:v>
                </c:pt>
                <c:pt idx="14597">
                  <c:v>40.547222222222224</c:v>
                </c:pt>
                <c:pt idx="14598">
                  <c:v>40.549999999999997</c:v>
                </c:pt>
                <c:pt idx="14599">
                  <c:v>40.552777777777777</c:v>
                </c:pt>
                <c:pt idx="14600">
                  <c:v>40.555555555555557</c:v>
                </c:pt>
                <c:pt idx="14601">
                  <c:v>40.55833333333333</c:v>
                </c:pt>
                <c:pt idx="14602">
                  <c:v>40.56111111111111</c:v>
                </c:pt>
                <c:pt idx="14603">
                  <c:v>40.56388888888889</c:v>
                </c:pt>
                <c:pt idx="14604">
                  <c:v>40.56666666666667</c:v>
                </c:pt>
                <c:pt idx="14605">
                  <c:v>40.569444444444443</c:v>
                </c:pt>
                <c:pt idx="14606">
                  <c:v>40.572222222222223</c:v>
                </c:pt>
                <c:pt idx="14607">
                  <c:v>40.575000000000003</c:v>
                </c:pt>
                <c:pt idx="14608">
                  <c:v>40.577777777777776</c:v>
                </c:pt>
                <c:pt idx="14609">
                  <c:v>40.580555555555556</c:v>
                </c:pt>
                <c:pt idx="14610">
                  <c:v>40.583333333333336</c:v>
                </c:pt>
                <c:pt idx="14611">
                  <c:v>40.586111111111109</c:v>
                </c:pt>
                <c:pt idx="14612">
                  <c:v>40.588888888888889</c:v>
                </c:pt>
                <c:pt idx="14613">
                  <c:v>40.591666666666669</c:v>
                </c:pt>
                <c:pt idx="14614">
                  <c:v>40.594444444444441</c:v>
                </c:pt>
                <c:pt idx="14615">
                  <c:v>40.597222222222221</c:v>
                </c:pt>
                <c:pt idx="14616">
                  <c:v>40.6</c:v>
                </c:pt>
                <c:pt idx="14617">
                  <c:v>40.602777777777774</c:v>
                </c:pt>
                <c:pt idx="14618">
                  <c:v>40.605555555555554</c:v>
                </c:pt>
                <c:pt idx="14619">
                  <c:v>40.608333333333334</c:v>
                </c:pt>
                <c:pt idx="14620">
                  <c:v>40.611111111111114</c:v>
                </c:pt>
                <c:pt idx="14621">
                  <c:v>40.613888888888887</c:v>
                </c:pt>
                <c:pt idx="14622">
                  <c:v>40.616666666666667</c:v>
                </c:pt>
                <c:pt idx="14623">
                  <c:v>40.619444444444447</c:v>
                </c:pt>
                <c:pt idx="14624">
                  <c:v>40.62222222222222</c:v>
                </c:pt>
                <c:pt idx="14625">
                  <c:v>40.625</c:v>
                </c:pt>
                <c:pt idx="14626">
                  <c:v>40.62777777777778</c:v>
                </c:pt>
                <c:pt idx="14627">
                  <c:v>40.630555555555553</c:v>
                </c:pt>
                <c:pt idx="14628">
                  <c:v>40.633333333333333</c:v>
                </c:pt>
                <c:pt idx="14629">
                  <c:v>40.636111111111113</c:v>
                </c:pt>
                <c:pt idx="14630">
                  <c:v>40.638888888888886</c:v>
                </c:pt>
                <c:pt idx="14631">
                  <c:v>40.641666666666666</c:v>
                </c:pt>
                <c:pt idx="14632">
                  <c:v>40.644444444444446</c:v>
                </c:pt>
                <c:pt idx="14633">
                  <c:v>40.647222222222226</c:v>
                </c:pt>
                <c:pt idx="14634">
                  <c:v>40.65</c:v>
                </c:pt>
                <c:pt idx="14635">
                  <c:v>40.652777777777779</c:v>
                </c:pt>
                <c:pt idx="14636">
                  <c:v>40.655555555555559</c:v>
                </c:pt>
                <c:pt idx="14637">
                  <c:v>40.658333333333331</c:v>
                </c:pt>
                <c:pt idx="14638">
                  <c:v>40.661111111111111</c:v>
                </c:pt>
                <c:pt idx="14639">
                  <c:v>40.663888888888891</c:v>
                </c:pt>
                <c:pt idx="14640">
                  <c:v>40.666666666666664</c:v>
                </c:pt>
                <c:pt idx="14641">
                  <c:v>40.669444444444444</c:v>
                </c:pt>
                <c:pt idx="14642">
                  <c:v>40.672222222222224</c:v>
                </c:pt>
                <c:pt idx="14643">
                  <c:v>40.674999999999997</c:v>
                </c:pt>
                <c:pt idx="14644">
                  <c:v>40.677777777777777</c:v>
                </c:pt>
                <c:pt idx="14645">
                  <c:v>40.680555555555557</c:v>
                </c:pt>
                <c:pt idx="14646">
                  <c:v>40.68333333333333</c:v>
                </c:pt>
                <c:pt idx="14647">
                  <c:v>40.68611111111111</c:v>
                </c:pt>
                <c:pt idx="14648">
                  <c:v>40.68888888888889</c:v>
                </c:pt>
                <c:pt idx="14649">
                  <c:v>40.69166666666667</c:v>
                </c:pt>
                <c:pt idx="14650">
                  <c:v>40.694444444444443</c:v>
                </c:pt>
                <c:pt idx="14651">
                  <c:v>40.697222222222223</c:v>
                </c:pt>
                <c:pt idx="14652">
                  <c:v>40.700000000000003</c:v>
                </c:pt>
                <c:pt idx="14653">
                  <c:v>40.702777777777776</c:v>
                </c:pt>
                <c:pt idx="14654">
                  <c:v>40.705555555555556</c:v>
                </c:pt>
                <c:pt idx="14655">
                  <c:v>40.708333333333336</c:v>
                </c:pt>
                <c:pt idx="14656">
                  <c:v>40.711111111111109</c:v>
                </c:pt>
                <c:pt idx="14657">
                  <c:v>40.713888888888889</c:v>
                </c:pt>
                <c:pt idx="14658">
                  <c:v>40.716666666666669</c:v>
                </c:pt>
                <c:pt idx="14659">
                  <c:v>40.719444444444441</c:v>
                </c:pt>
                <c:pt idx="14660">
                  <c:v>40.722222222222221</c:v>
                </c:pt>
                <c:pt idx="14661">
                  <c:v>40.725000000000001</c:v>
                </c:pt>
                <c:pt idx="14662">
                  <c:v>40.727777777777774</c:v>
                </c:pt>
                <c:pt idx="14663">
                  <c:v>40.730555555555554</c:v>
                </c:pt>
                <c:pt idx="14664">
                  <c:v>40.733333333333334</c:v>
                </c:pt>
                <c:pt idx="14665">
                  <c:v>40.736111111111114</c:v>
                </c:pt>
                <c:pt idx="14666">
                  <c:v>40.738888888888887</c:v>
                </c:pt>
                <c:pt idx="14667">
                  <c:v>40.741666666666667</c:v>
                </c:pt>
                <c:pt idx="14668">
                  <c:v>40.744444444444447</c:v>
                </c:pt>
                <c:pt idx="14669">
                  <c:v>40.74722222222222</c:v>
                </c:pt>
                <c:pt idx="14670">
                  <c:v>40.75</c:v>
                </c:pt>
                <c:pt idx="14671">
                  <c:v>40.75277777777778</c:v>
                </c:pt>
                <c:pt idx="14672">
                  <c:v>40.755555555555553</c:v>
                </c:pt>
                <c:pt idx="14673">
                  <c:v>40.758333333333333</c:v>
                </c:pt>
                <c:pt idx="14674">
                  <c:v>40.761111111111113</c:v>
                </c:pt>
                <c:pt idx="14675">
                  <c:v>40.763888888888886</c:v>
                </c:pt>
                <c:pt idx="14676">
                  <c:v>40.766666666666666</c:v>
                </c:pt>
                <c:pt idx="14677">
                  <c:v>40.769444444444446</c:v>
                </c:pt>
                <c:pt idx="14678">
                  <c:v>40.772222222222226</c:v>
                </c:pt>
                <c:pt idx="14679">
                  <c:v>40.774999999999999</c:v>
                </c:pt>
                <c:pt idx="14680">
                  <c:v>40.777777777777779</c:v>
                </c:pt>
                <c:pt idx="14681">
                  <c:v>40.780555555555559</c:v>
                </c:pt>
                <c:pt idx="14682">
                  <c:v>40.783333333333331</c:v>
                </c:pt>
                <c:pt idx="14683">
                  <c:v>40.786111111111111</c:v>
                </c:pt>
                <c:pt idx="14684">
                  <c:v>40.788888888888891</c:v>
                </c:pt>
                <c:pt idx="14685">
                  <c:v>40.791666666666664</c:v>
                </c:pt>
                <c:pt idx="14686">
                  <c:v>40.794444444444444</c:v>
                </c:pt>
                <c:pt idx="14687">
                  <c:v>40.797222222222224</c:v>
                </c:pt>
                <c:pt idx="14688">
                  <c:v>40.799999999999997</c:v>
                </c:pt>
                <c:pt idx="14689">
                  <c:v>40.802777777777777</c:v>
                </c:pt>
                <c:pt idx="14690">
                  <c:v>40.805555555555557</c:v>
                </c:pt>
                <c:pt idx="14691">
                  <c:v>40.80833333333333</c:v>
                </c:pt>
                <c:pt idx="14692">
                  <c:v>40.81111111111111</c:v>
                </c:pt>
                <c:pt idx="14693">
                  <c:v>40.81388888888889</c:v>
                </c:pt>
                <c:pt idx="14694">
                  <c:v>40.81666666666667</c:v>
                </c:pt>
                <c:pt idx="14695">
                  <c:v>40.819444444444443</c:v>
                </c:pt>
                <c:pt idx="14696">
                  <c:v>40.822222222222223</c:v>
                </c:pt>
                <c:pt idx="14697">
                  <c:v>40.825000000000003</c:v>
                </c:pt>
                <c:pt idx="14698">
                  <c:v>40.827777777777776</c:v>
                </c:pt>
                <c:pt idx="14699">
                  <c:v>40.830555555555556</c:v>
                </c:pt>
                <c:pt idx="14700">
                  <c:v>40.833333333333336</c:v>
                </c:pt>
                <c:pt idx="14701">
                  <c:v>40.836111111111109</c:v>
                </c:pt>
                <c:pt idx="14702">
                  <c:v>40.838888888888889</c:v>
                </c:pt>
                <c:pt idx="14703">
                  <c:v>40.841666666666669</c:v>
                </c:pt>
                <c:pt idx="14704">
                  <c:v>40.844444444444441</c:v>
                </c:pt>
                <c:pt idx="14705">
                  <c:v>40.847222222222221</c:v>
                </c:pt>
                <c:pt idx="14706">
                  <c:v>40.85</c:v>
                </c:pt>
                <c:pt idx="14707">
                  <c:v>40.852777777777774</c:v>
                </c:pt>
                <c:pt idx="14708">
                  <c:v>40.855555555555554</c:v>
                </c:pt>
                <c:pt idx="14709">
                  <c:v>40.858333333333334</c:v>
                </c:pt>
                <c:pt idx="14710">
                  <c:v>40.861111111111114</c:v>
                </c:pt>
                <c:pt idx="14711">
                  <c:v>40.863888888888887</c:v>
                </c:pt>
                <c:pt idx="14712">
                  <c:v>40.866666666666667</c:v>
                </c:pt>
                <c:pt idx="14713">
                  <c:v>40.869444444444447</c:v>
                </c:pt>
                <c:pt idx="14714">
                  <c:v>40.87222222222222</c:v>
                </c:pt>
                <c:pt idx="14715">
                  <c:v>40.875</c:v>
                </c:pt>
                <c:pt idx="14716">
                  <c:v>40.87777777777778</c:v>
                </c:pt>
                <c:pt idx="14717">
                  <c:v>40.880555555555553</c:v>
                </c:pt>
                <c:pt idx="14718">
                  <c:v>40.883333333333333</c:v>
                </c:pt>
                <c:pt idx="14719">
                  <c:v>40.886111111111113</c:v>
                </c:pt>
                <c:pt idx="14720">
                  <c:v>40.888888888888886</c:v>
                </c:pt>
                <c:pt idx="14721">
                  <c:v>40.891666666666666</c:v>
                </c:pt>
                <c:pt idx="14722">
                  <c:v>40.894444444444446</c:v>
                </c:pt>
                <c:pt idx="14723">
                  <c:v>40.897222222222226</c:v>
                </c:pt>
                <c:pt idx="14724">
                  <c:v>40.9</c:v>
                </c:pt>
                <c:pt idx="14725">
                  <c:v>40.902777777777779</c:v>
                </c:pt>
                <c:pt idx="14726">
                  <c:v>40.905555555555559</c:v>
                </c:pt>
                <c:pt idx="14727">
                  <c:v>40.908333333333331</c:v>
                </c:pt>
                <c:pt idx="14728">
                  <c:v>40.911111111111111</c:v>
                </c:pt>
                <c:pt idx="14729">
                  <c:v>40.913888888888891</c:v>
                </c:pt>
                <c:pt idx="14730">
                  <c:v>40.916666666666664</c:v>
                </c:pt>
                <c:pt idx="14731">
                  <c:v>40.919444444444444</c:v>
                </c:pt>
                <c:pt idx="14732">
                  <c:v>40.922222222222224</c:v>
                </c:pt>
                <c:pt idx="14733">
                  <c:v>40.924999999999997</c:v>
                </c:pt>
                <c:pt idx="14734">
                  <c:v>40.927777777777777</c:v>
                </c:pt>
                <c:pt idx="14735">
                  <c:v>40.930555555555557</c:v>
                </c:pt>
                <c:pt idx="14736">
                  <c:v>40.93333333333333</c:v>
                </c:pt>
                <c:pt idx="14737">
                  <c:v>40.93611111111111</c:v>
                </c:pt>
                <c:pt idx="14738">
                  <c:v>40.93888888888889</c:v>
                </c:pt>
                <c:pt idx="14739">
                  <c:v>40.94166666666667</c:v>
                </c:pt>
                <c:pt idx="14740">
                  <c:v>40.944444444444443</c:v>
                </c:pt>
                <c:pt idx="14741">
                  <c:v>40.947222222222223</c:v>
                </c:pt>
                <c:pt idx="14742">
                  <c:v>40.950000000000003</c:v>
                </c:pt>
                <c:pt idx="14743">
                  <c:v>40.952777777777776</c:v>
                </c:pt>
                <c:pt idx="14744">
                  <c:v>40.955555555555556</c:v>
                </c:pt>
                <c:pt idx="14745">
                  <c:v>40.958333333333336</c:v>
                </c:pt>
                <c:pt idx="14746">
                  <c:v>40.961111111111109</c:v>
                </c:pt>
                <c:pt idx="14747">
                  <c:v>40.963888888888889</c:v>
                </c:pt>
                <c:pt idx="14748">
                  <c:v>40.966666666666669</c:v>
                </c:pt>
                <c:pt idx="14749">
                  <c:v>40.969444444444441</c:v>
                </c:pt>
                <c:pt idx="14750">
                  <c:v>40.972222222222221</c:v>
                </c:pt>
                <c:pt idx="14751">
                  <c:v>40.975000000000001</c:v>
                </c:pt>
                <c:pt idx="14752">
                  <c:v>40.977777777777774</c:v>
                </c:pt>
                <c:pt idx="14753">
                  <c:v>40.980555555555554</c:v>
                </c:pt>
                <c:pt idx="14754">
                  <c:v>40.983333333333334</c:v>
                </c:pt>
                <c:pt idx="14755">
                  <c:v>40.986111111111114</c:v>
                </c:pt>
                <c:pt idx="14756">
                  <c:v>40.988888888888887</c:v>
                </c:pt>
                <c:pt idx="14757">
                  <c:v>40.991666666666667</c:v>
                </c:pt>
                <c:pt idx="14758">
                  <c:v>40.994444444444447</c:v>
                </c:pt>
                <c:pt idx="14759">
                  <c:v>40.99722222222222</c:v>
                </c:pt>
                <c:pt idx="14760">
                  <c:v>41</c:v>
                </c:pt>
                <c:pt idx="14761">
                  <c:v>41.00277777777778</c:v>
                </c:pt>
                <c:pt idx="14762">
                  <c:v>41.005555555555553</c:v>
                </c:pt>
                <c:pt idx="14763">
                  <c:v>41.008333333333333</c:v>
                </c:pt>
                <c:pt idx="14764">
                  <c:v>41.011111111111113</c:v>
                </c:pt>
                <c:pt idx="14765">
                  <c:v>41.013888888888886</c:v>
                </c:pt>
                <c:pt idx="14766">
                  <c:v>41.016666666666666</c:v>
                </c:pt>
                <c:pt idx="14767">
                  <c:v>41.019444444444446</c:v>
                </c:pt>
                <c:pt idx="14768">
                  <c:v>41.022222222222226</c:v>
                </c:pt>
                <c:pt idx="14769">
                  <c:v>41.024999999999999</c:v>
                </c:pt>
                <c:pt idx="14770">
                  <c:v>41.027777777777779</c:v>
                </c:pt>
                <c:pt idx="14771">
                  <c:v>41.030555555555559</c:v>
                </c:pt>
                <c:pt idx="14772">
                  <c:v>41.033333333333331</c:v>
                </c:pt>
                <c:pt idx="14773">
                  <c:v>41.036111111111111</c:v>
                </c:pt>
                <c:pt idx="14774">
                  <c:v>41.038888888888891</c:v>
                </c:pt>
                <c:pt idx="14775">
                  <c:v>41.041666666666664</c:v>
                </c:pt>
                <c:pt idx="14776">
                  <c:v>41.044444444444444</c:v>
                </c:pt>
                <c:pt idx="14777">
                  <c:v>41.047222222222224</c:v>
                </c:pt>
                <c:pt idx="14778">
                  <c:v>41.05</c:v>
                </c:pt>
                <c:pt idx="14779">
                  <c:v>41.052777777777777</c:v>
                </c:pt>
                <c:pt idx="14780">
                  <c:v>41.055555555555557</c:v>
                </c:pt>
                <c:pt idx="14781">
                  <c:v>41.05833333333333</c:v>
                </c:pt>
                <c:pt idx="14782">
                  <c:v>41.06111111111111</c:v>
                </c:pt>
                <c:pt idx="14783">
                  <c:v>41.06388888888889</c:v>
                </c:pt>
                <c:pt idx="14784">
                  <c:v>41.06666666666667</c:v>
                </c:pt>
                <c:pt idx="14785">
                  <c:v>41.069444444444443</c:v>
                </c:pt>
                <c:pt idx="14786">
                  <c:v>41.072222222222223</c:v>
                </c:pt>
                <c:pt idx="14787">
                  <c:v>41.075000000000003</c:v>
                </c:pt>
                <c:pt idx="14788">
                  <c:v>41.077777777777776</c:v>
                </c:pt>
                <c:pt idx="14789">
                  <c:v>41.080555555555556</c:v>
                </c:pt>
                <c:pt idx="14790">
                  <c:v>41.083333333333336</c:v>
                </c:pt>
                <c:pt idx="14791">
                  <c:v>41.086111111111109</c:v>
                </c:pt>
                <c:pt idx="14792">
                  <c:v>41.088888888888889</c:v>
                </c:pt>
                <c:pt idx="14793">
                  <c:v>41.091666666666669</c:v>
                </c:pt>
                <c:pt idx="14794">
                  <c:v>41.094444444444441</c:v>
                </c:pt>
                <c:pt idx="14795">
                  <c:v>41.097222222222221</c:v>
                </c:pt>
                <c:pt idx="14796">
                  <c:v>41.1</c:v>
                </c:pt>
                <c:pt idx="14797">
                  <c:v>41.102777777777774</c:v>
                </c:pt>
                <c:pt idx="14798">
                  <c:v>41.105555555555554</c:v>
                </c:pt>
                <c:pt idx="14799">
                  <c:v>41.108333333333334</c:v>
                </c:pt>
                <c:pt idx="14800">
                  <c:v>41.111111111111114</c:v>
                </c:pt>
                <c:pt idx="14801">
                  <c:v>41.113888888888887</c:v>
                </c:pt>
                <c:pt idx="14802">
                  <c:v>41.116666666666667</c:v>
                </c:pt>
                <c:pt idx="14803">
                  <c:v>41.119444444444447</c:v>
                </c:pt>
                <c:pt idx="14804">
                  <c:v>41.12222222222222</c:v>
                </c:pt>
                <c:pt idx="14805">
                  <c:v>41.125</c:v>
                </c:pt>
                <c:pt idx="14806">
                  <c:v>41.12777777777778</c:v>
                </c:pt>
                <c:pt idx="14807">
                  <c:v>41.130555555555553</c:v>
                </c:pt>
                <c:pt idx="14808">
                  <c:v>41.133333333333333</c:v>
                </c:pt>
                <c:pt idx="14809">
                  <c:v>41.136111111111113</c:v>
                </c:pt>
                <c:pt idx="14810">
                  <c:v>41.138888888888886</c:v>
                </c:pt>
                <c:pt idx="14811">
                  <c:v>41.141666666666666</c:v>
                </c:pt>
                <c:pt idx="14812">
                  <c:v>41.144444444444446</c:v>
                </c:pt>
                <c:pt idx="14813">
                  <c:v>41.147222222222226</c:v>
                </c:pt>
                <c:pt idx="14814">
                  <c:v>41.15</c:v>
                </c:pt>
                <c:pt idx="14815">
                  <c:v>41.152777777777779</c:v>
                </c:pt>
                <c:pt idx="14816">
                  <c:v>41.155555555555559</c:v>
                </c:pt>
                <c:pt idx="14817">
                  <c:v>41.158333333333331</c:v>
                </c:pt>
                <c:pt idx="14818">
                  <c:v>41.161111111111111</c:v>
                </c:pt>
                <c:pt idx="14819">
                  <c:v>41.163888888888891</c:v>
                </c:pt>
                <c:pt idx="14820">
                  <c:v>41.166666666666664</c:v>
                </c:pt>
                <c:pt idx="14821">
                  <c:v>41.169444444444444</c:v>
                </c:pt>
                <c:pt idx="14822">
                  <c:v>41.172222222222224</c:v>
                </c:pt>
                <c:pt idx="14823">
                  <c:v>41.174999999999997</c:v>
                </c:pt>
                <c:pt idx="14824">
                  <c:v>41.177777777777777</c:v>
                </c:pt>
                <c:pt idx="14825">
                  <c:v>41.180555555555557</c:v>
                </c:pt>
                <c:pt idx="14826">
                  <c:v>41.18333333333333</c:v>
                </c:pt>
                <c:pt idx="14827">
                  <c:v>41.18611111111111</c:v>
                </c:pt>
                <c:pt idx="14828">
                  <c:v>41.18888888888889</c:v>
                </c:pt>
                <c:pt idx="14829">
                  <c:v>41.19166666666667</c:v>
                </c:pt>
                <c:pt idx="14830">
                  <c:v>41.194444444444443</c:v>
                </c:pt>
                <c:pt idx="14831">
                  <c:v>41.197222222222223</c:v>
                </c:pt>
                <c:pt idx="14832">
                  <c:v>41.2</c:v>
                </c:pt>
                <c:pt idx="14833">
                  <c:v>41.202777777777776</c:v>
                </c:pt>
                <c:pt idx="14834">
                  <c:v>41.205555555555556</c:v>
                </c:pt>
                <c:pt idx="14835">
                  <c:v>41.208333333333336</c:v>
                </c:pt>
                <c:pt idx="14836">
                  <c:v>41.211111111111109</c:v>
                </c:pt>
                <c:pt idx="14837">
                  <c:v>41.213888888888889</c:v>
                </c:pt>
                <c:pt idx="14838">
                  <c:v>41.216666666666669</c:v>
                </c:pt>
                <c:pt idx="14839">
                  <c:v>41.219444444444441</c:v>
                </c:pt>
                <c:pt idx="14840">
                  <c:v>41.222222222222221</c:v>
                </c:pt>
                <c:pt idx="14841">
                  <c:v>41.225000000000001</c:v>
                </c:pt>
                <c:pt idx="14842">
                  <c:v>41.227777777777774</c:v>
                </c:pt>
                <c:pt idx="14843">
                  <c:v>41.230555555555554</c:v>
                </c:pt>
                <c:pt idx="14844">
                  <c:v>41.233333333333334</c:v>
                </c:pt>
                <c:pt idx="14845">
                  <c:v>41.236111111111114</c:v>
                </c:pt>
                <c:pt idx="14846">
                  <c:v>41.238888888888887</c:v>
                </c:pt>
                <c:pt idx="14847">
                  <c:v>41.241666666666667</c:v>
                </c:pt>
                <c:pt idx="14848">
                  <c:v>41.244444444444447</c:v>
                </c:pt>
                <c:pt idx="14849">
                  <c:v>41.24722222222222</c:v>
                </c:pt>
                <c:pt idx="14850">
                  <c:v>41.25</c:v>
                </c:pt>
                <c:pt idx="14851">
                  <c:v>41.25277777777778</c:v>
                </c:pt>
                <c:pt idx="14852">
                  <c:v>41.255555555555553</c:v>
                </c:pt>
                <c:pt idx="14853">
                  <c:v>41.258333333333333</c:v>
                </c:pt>
                <c:pt idx="14854">
                  <c:v>41.261111111111113</c:v>
                </c:pt>
                <c:pt idx="14855">
                  <c:v>41.263888888888886</c:v>
                </c:pt>
                <c:pt idx="14856">
                  <c:v>41.266666666666666</c:v>
                </c:pt>
                <c:pt idx="14857">
                  <c:v>41.269444444444446</c:v>
                </c:pt>
                <c:pt idx="14858">
                  <c:v>41.272222222222226</c:v>
                </c:pt>
                <c:pt idx="14859">
                  <c:v>41.274999999999999</c:v>
                </c:pt>
                <c:pt idx="14860">
                  <c:v>41.277777777777779</c:v>
                </c:pt>
                <c:pt idx="14861">
                  <c:v>41.280555555555559</c:v>
                </c:pt>
                <c:pt idx="14862">
                  <c:v>41.283333333333331</c:v>
                </c:pt>
                <c:pt idx="14863">
                  <c:v>41.286111111111111</c:v>
                </c:pt>
                <c:pt idx="14864">
                  <c:v>41.288888888888891</c:v>
                </c:pt>
                <c:pt idx="14865">
                  <c:v>41.291666666666664</c:v>
                </c:pt>
                <c:pt idx="14866">
                  <c:v>41.294444444444444</c:v>
                </c:pt>
                <c:pt idx="14867">
                  <c:v>41.297222222222224</c:v>
                </c:pt>
                <c:pt idx="14868">
                  <c:v>41.3</c:v>
                </c:pt>
                <c:pt idx="14869">
                  <c:v>41.302777777777777</c:v>
                </c:pt>
                <c:pt idx="14870">
                  <c:v>41.305555555555557</c:v>
                </c:pt>
                <c:pt idx="14871">
                  <c:v>41.30833333333333</c:v>
                </c:pt>
                <c:pt idx="14872">
                  <c:v>41.31111111111111</c:v>
                </c:pt>
                <c:pt idx="14873">
                  <c:v>41.31388888888889</c:v>
                </c:pt>
                <c:pt idx="14874">
                  <c:v>41.31666666666667</c:v>
                </c:pt>
                <c:pt idx="14875">
                  <c:v>41.319444444444443</c:v>
                </c:pt>
                <c:pt idx="14876">
                  <c:v>41.322222222222223</c:v>
                </c:pt>
                <c:pt idx="14877">
                  <c:v>41.325000000000003</c:v>
                </c:pt>
                <c:pt idx="14878">
                  <c:v>41.327777777777776</c:v>
                </c:pt>
                <c:pt idx="14879">
                  <c:v>41.330555555555556</c:v>
                </c:pt>
                <c:pt idx="14880">
                  <c:v>41.333333333333336</c:v>
                </c:pt>
                <c:pt idx="14881">
                  <c:v>41.336111111111109</c:v>
                </c:pt>
                <c:pt idx="14882">
                  <c:v>41.338888888888889</c:v>
                </c:pt>
                <c:pt idx="14883">
                  <c:v>41.341666666666669</c:v>
                </c:pt>
                <c:pt idx="14884">
                  <c:v>41.344444444444441</c:v>
                </c:pt>
                <c:pt idx="14885">
                  <c:v>41.347222222222221</c:v>
                </c:pt>
                <c:pt idx="14886">
                  <c:v>41.35</c:v>
                </c:pt>
                <c:pt idx="14887">
                  <c:v>41.352777777777774</c:v>
                </c:pt>
                <c:pt idx="14888">
                  <c:v>41.355555555555554</c:v>
                </c:pt>
                <c:pt idx="14889">
                  <c:v>41.358333333333334</c:v>
                </c:pt>
                <c:pt idx="14890">
                  <c:v>41.361111111111114</c:v>
                </c:pt>
                <c:pt idx="14891">
                  <c:v>41.363888888888887</c:v>
                </c:pt>
                <c:pt idx="14892">
                  <c:v>41.366666666666667</c:v>
                </c:pt>
                <c:pt idx="14893">
                  <c:v>41.369444444444447</c:v>
                </c:pt>
                <c:pt idx="14894">
                  <c:v>41.37222222222222</c:v>
                </c:pt>
                <c:pt idx="14895">
                  <c:v>41.375</c:v>
                </c:pt>
                <c:pt idx="14896">
                  <c:v>41.37777777777778</c:v>
                </c:pt>
                <c:pt idx="14897">
                  <c:v>41.380555555555553</c:v>
                </c:pt>
                <c:pt idx="14898">
                  <c:v>41.383333333333333</c:v>
                </c:pt>
                <c:pt idx="14899">
                  <c:v>41.386111111111113</c:v>
                </c:pt>
                <c:pt idx="14900">
                  <c:v>41.388888888888886</c:v>
                </c:pt>
                <c:pt idx="14901">
                  <c:v>41.391666666666666</c:v>
                </c:pt>
                <c:pt idx="14902">
                  <c:v>41.394444444444446</c:v>
                </c:pt>
                <c:pt idx="14903">
                  <c:v>41.397222222222226</c:v>
                </c:pt>
                <c:pt idx="14904">
                  <c:v>41.4</c:v>
                </c:pt>
                <c:pt idx="14905">
                  <c:v>41.402777777777779</c:v>
                </c:pt>
                <c:pt idx="14906">
                  <c:v>41.405555555555559</c:v>
                </c:pt>
                <c:pt idx="14907">
                  <c:v>41.408333333333331</c:v>
                </c:pt>
                <c:pt idx="14908">
                  <c:v>41.411111111111111</c:v>
                </c:pt>
                <c:pt idx="14909">
                  <c:v>41.413888888888891</c:v>
                </c:pt>
                <c:pt idx="14910">
                  <c:v>41.416666666666664</c:v>
                </c:pt>
                <c:pt idx="14911">
                  <c:v>41.419444444444444</c:v>
                </c:pt>
                <c:pt idx="14912">
                  <c:v>41.422222222222224</c:v>
                </c:pt>
                <c:pt idx="14913">
                  <c:v>41.424999999999997</c:v>
                </c:pt>
                <c:pt idx="14914">
                  <c:v>41.427777777777777</c:v>
                </c:pt>
                <c:pt idx="14915">
                  <c:v>41.430555555555557</c:v>
                </c:pt>
                <c:pt idx="14916">
                  <c:v>41.43333333333333</c:v>
                </c:pt>
                <c:pt idx="14917">
                  <c:v>41.43611111111111</c:v>
                </c:pt>
                <c:pt idx="14918">
                  <c:v>41.43888888888889</c:v>
                </c:pt>
                <c:pt idx="14919">
                  <c:v>41.44166666666667</c:v>
                </c:pt>
                <c:pt idx="14920">
                  <c:v>41.444444444444443</c:v>
                </c:pt>
                <c:pt idx="14921">
                  <c:v>41.447222222222223</c:v>
                </c:pt>
                <c:pt idx="14922">
                  <c:v>41.45</c:v>
                </c:pt>
                <c:pt idx="14923">
                  <c:v>41.452777777777776</c:v>
                </c:pt>
                <c:pt idx="14924">
                  <c:v>41.455555555555556</c:v>
                </c:pt>
                <c:pt idx="14925">
                  <c:v>41.458333333333336</c:v>
                </c:pt>
                <c:pt idx="14926">
                  <c:v>41.461111111111109</c:v>
                </c:pt>
                <c:pt idx="14927">
                  <c:v>41.463888888888889</c:v>
                </c:pt>
                <c:pt idx="14928">
                  <c:v>41.466666666666669</c:v>
                </c:pt>
                <c:pt idx="14929">
                  <c:v>41.469444444444441</c:v>
                </c:pt>
                <c:pt idx="14930">
                  <c:v>41.472222222222221</c:v>
                </c:pt>
                <c:pt idx="14931">
                  <c:v>41.475000000000001</c:v>
                </c:pt>
                <c:pt idx="14932">
                  <c:v>41.477777777777774</c:v>
                </c:pt>
                <c:pt idx="14933">
                  <c:v>41.480555555555554</c:v>
                </c:pt>
                <c:pt idx="14934">
                  <c:v>41.483333333333334</c:v>
                </c:pt>
                <c:pt idx="14935">
                  <c:v>41.486111111111114</c:v>
                </c:pt>
                <c:pt idx="14936">
                  <c:v>41.488888888888887</c:v>
                </c:pt>
                <c:pt idx="14937">
                  <c:v>41.491666666666667</c:v>
                </c:pt>
                <c:pt idx="14938">
                  <c:v>41.494444444444447</c:v>
                </c:pt>
                <c:pt idx="14939">
                  <c:v>41.49722222222222</c:v>
                </c:pt>
                <c:pt idx="14940">
                  <c:v>41.5</c:v>
                </c:pt>
                <c:pt idx="14941">
                  <c:v>41.50277777777778</c:v>
                </c:pt>
                <c:pt idx="14942">
                  <c:v>41.505555555555553</c:v>
                </c:pt>
                <c:pt idx="14943">
                  <c:v>41.508333333333333</c:v>
                </c:pt>
                <c:pt idx="14944">
                  <c:v>41.511111111111113</c:v>
                </c:pt>
                <c:pt idx="14945">
                  <c:v>41.513888888888886</c:v>
                </c:pt>
                <c:pt idx="14946">
                  <c:v>41.516666666666666</c:v>
                </c:pt>
                <c:pt idx="14947">
                  <c:v>41.519444444444446</c:v>
                </c:pt>
                <c:pt idx="14948">
                  <c:v>41.522222222222226</c:v>
                </c:pt>
                <c:pt idx="14949">
                  <c:v>41.524999999999999</c:v>
                </c:pt>
                <c:pt idx="14950">
                  <c:v>41.527777777777779</c:v>
                </c:pt>
                <c:pt idx="14951">
                  <c:v>41.530555555555559</c:v>
                </c:pt>
                <c:pt idx="14952">
                  <c:v>41.533333333333331</c:v>
                </c:pt>
                <c:pt idx="14953">
                  <c:v>41.536111111111111</c:v>
                </c:pt>
                <c:pt idx="14954">
                  <c:v>41.538888888888891</c:v>
                </c:pt>
                <c:pt idx="14955">
                  <c:v>41.541666666666664</c:v>
                </c:pt>
                <c:pt idx="14956">
                  <c:v>41.544444444444444</c:v>
                </c:pt>
                <c:pt idx="14957">
                  <c:v>41.547222222222224</c:v>
                </c:pt>
                <c:pt idx="14958">
                  <c:v>41.55</c:v>
                </c:pt>
                <c:pt idx="14959">
                  <c:v>41.552777777777777</c:v>
                </c:pt>
                <c:pt idx="14960">
                  <c:v>41.555555555555557</c:v>
                </c:pt>
                <c:pt idx="14961">
                  <c:v>41.55833333333333</c:v>
                </c:pt>
                <c:pt idx="14962">
                  <c:v>41.56111111111111</c:v>
                </c:pt>
                <c:pt idx="14963">
                  <c:v>41.56388888888889</c:v>
                </c:pt>
                <c:pt idx="14964">
                  <c:v>41.56666666666667</c:v>
                </c:pt>
                <c:pt idx="14965">
                  <c:v>41.569444444444443</c:v>
                </c:pt>
                <c:pt idx="14966">
                  <c:v>41.572222222222223</c:v>
                </c:pt>
                <c:pt idx="14967">
                  <c:v>41.575000000000003</c:v>
                </c:pt>
                <c:pt idx="14968">
                  <c:v>41.577777777777776</c:v>
                </c:pt>
                <c:pt idx="14969">
                  <c:v>41.580555555555556</c:v>
                </c:pt>
                <c:pt idx="14970">
                  <c:v>41.583333333333336</c:v>
                </c:pt>
                <c:pt idx="14971">
                  <c:v>41.586111111111109</c:v>
                </c:pt>
                <c:pt idx="14972">
                  <c:v>41.588888888888889</c:v>
                </c:pt>
                <c:pt idx="14973">
                  <c:v>41.591666666666669</c:v>
                </c:pt>
                <c:pt idx="14974">
                  <c:v>41.594444444444441</c:v>
                </c:pt>
                <c:pt idx="14975">
                  <c:v>41.597222222222221</c:v>
                </c:pt>
                <c:pt idx="14976">
                  <c:v>41.6</c:v>
                </c:pt>
                <c:pt idx="14977">
                  <c:v>41.602777777777774</c:v>
                </c:pt>
                <c:pt idx="14978">
                  <c:v>41.605555555555554</c:v>
                </c:pt>
                <c:pt idx="14979">
                  <c:v>41.608333333333334</c:v>
                </c:pt>
                <c:pt idx="14980">
                  <c:v>41.611111111111114</c:v>
                </c:pt>
                <c:pt idx="14981">
                  <c:v>41.613888888888887</c:v>
                </c:pt>
                <c:pt idx="14982">
                  <c:v>41.616666666666667</c:v>
                </c:pt>
                <c:pt idx="14983">
                  <c:v>41.619444444444447</c:v>
                </c:pt>
                <c:pt idx="14984">
                  <c:v>41.62222222222222</c:v>
                </c:pt>
                <c:pt idx="14985">
                  <c:v>41.625</c:v>
                </c:pt>
                <c:pt idx="14986">
                  <c:v>41.62777777777778</c:v>
                </c:pt>
                <c:pt idx="14987">
                  <c:v>41.630555555555553</c:v>
                </c:pt>
                <c:pt idx="14988">
                  <c:v>41.633333333333333</c:v>
                </c:pt>
                <c:pt idx="14989">
                  <c:v>41.636111111111113</c:v>
                </c:pt>
                <c:pt idx="14990">
                  <c:v>41.638888888888886</c:v>
                </c:pt>
                <c:pt idx="14991">
                  <c:v>41.641666666666666</c:v>
                </c:pt>
                <c:pt idx="14992">
                  <c:v>41.644444444444446</c:v>
                </c:pt>
                <c:pt idx="14993">
                  <c:v>41.647222222222226</c:v>
                </c:pt>
                <c:pt idx="14994">
                  <c:v>41.65</c:v>
                </c:pt>
                <c:pt idx="14995">
                  <c:v>41.652777777777779</c:v>
                </c:pt>
                <c:pt idx="14996">
                  <c:v>41.655555555555559</c:v>
                </c:pt>
                <c:pt idx="14997">
                  <c:v>41.658333333333331</c:v>
                </c:pt>
                <c:pt idx="14998">
                  <c:v>41.661111111111111</c:v>
                </c:pt>
                <c:pt idx="14999">
                  <c:v>41.663888888888891</c:v>
                </c:pt>
                <c:pt idx="15000">
                  <c:v>41.666666666666664</c:v>
                </c:pt>
                <c:pt idx="15001">
                  <c:v>41.669444444444444</c:v>
                </c:pt>
                <c:pt idx="15002">
                  <c:v>41.672222222222224</c:v>
                </c:pt>
                <c:pt idx="15003">
                  <c:v>41.674999999999997</c:v>
                </c:pt>
                <c:pt idx="15004">
                  <c:v>41.677777777777777</c:v>
                </c:pt>
                <c:pt idx="15005">
                  <c:v>41.680555555555557</c:v>
                </c:pt>
                <c:pt idx="15006">
                  <c:v>41.68333333333333</c:v>
                </c:pt>
                <c:pt idx="15007">
                  <c:v>41.68611111111111</c:v>
                </c:pt>
                <c:pt idx="15008">
                  <c:v>41.68888888888889</c:v>
                </c:pt>
                <c:pt idx="15009">
                  <c:v>41.69166666666667</c:v>
                </c:pt>
                <c:pt idx="15010">
                  <c:v>41.694444444444443</c:v>
                </c:pt>
                <c:pt idx="15011">
                  <c:v>41.697222222222223</c:v>
                </c:pt>
                <c:pt idx="15012">
                  <c:v>41.7</c:v>
                </c:pt>
                <c:pt idx="15013">
                  <c:v>41.702777777777776</c:v>
                </c:pt>
                <c:pt idx="15014">
                  <c:v>41.705555555555556</c:v>
                </c:pt>
                <c:pt idx="15015">
                  <c:v>41.708333333333336</c:v>
                </c:pt>
                <c:pt idx="15016">
                  <c:v>41.711111111111109</c:v>
                </c:pt>
                <c:pt idx="15017">
                  <c:v>41.713888888888889</c:v>
                </c:pt>
                <c:pt idx="15018">
                  <c:v>41.716666666666669</c:v>
                </c:pt>
                <c:pt idx="15019">
                  <c:v>41.719444444444441</c:v>
                </c:pt>
                <c:pt idx="15020">
                  <c:v>41.722222222222221</c:v>
                </c:pt>
                <c:pt idx="15021">
                  <c:v>41.725000000000001</c:v>
                </c:pt>
                <c:pt idx="15022">
                  <c:v>41.727777777777774</c:v>
                </c:pt>
                <c:pt idx="15023">
                  <c:v>41.730555555555554</c:v>
                </c:pt>
                <c:pt idx="15024">
                  <c:v>41.733333333333334</c:v>
                </c:pt>
                <c:pt idx="15025">
                  <c:v>41.736111111111114</c:v>
                </c:pt>
                <c:pt idx="15026">
                  <c:v>41.738888888888887</c:v>
                </c:pt>
                <c:pt idx="15027">
                  <c:v>41.741666666666667</c:v>
                </c:pt>
                <c:pt idx="15028">
                  <c:v>41.744444444444447</c:v>
                </c:pt>
                <c:pt idx="15029">
                  <c:v>41.74722222222222</c:v>
                </c:pt>
                <c:pt idx="15030">
                  <c:v>41.75</c:v>
                </c:pt>
                <c:pt idx="15031">
                  <c:v>41.75277777777778</c:v>
                </c:pt>
                <c:pt idx="15032">
                  <c:v>41.755555555555553</c:v>
                </c:pt>
                <c:pt idx="15033">
                  <c:v>41.758333333333333</c:v>
                </c:pt>
                <c:pt idx="15034">
                  <c:v>41.761111111111113</c:v>
                </c:pt>
                <c:pt idx="15035">
                  <c:v>41.763888888888886</c:v>
                </c:pt>
                <c:pt idx="15036">
                  <c:v>41.766666666666666</c:v>
                </c:pt>
                <c:pt idx="15037">
                  <c:v>41.769444444444446</c:v>
                </c:pt>
                <c:pt idx="15038">
                  <c:v>41.772222222222226</c:v>
                </c:pt>
                <c:pt idx="15039">
                  <c:v>41.774999999999999</c:v>
                </c:pt>
                <c:pt idx="15040">
                  <c:v>41.777777777777779</c:v>
                </c:pt>
                <c:pt idx="15041">
                  <c:v>41.780555555555559</c:v>
                </c:pt>
                <c:pt idx="15042">
                  <c:v>41.783333333333331</c:v>
                </c:pt>
                <c:pt idx="15043">
                  <c:v>41.786111111111111</c:v>
                </c:pt>
                <c:pt idx="15044">
                  <c:v>41.788888888888891</c:v>
                </c:pt>
                <c:pt idx="15045">
                  <c:v>41.791666666666664</c:v>
                </c:pt>
                <c:pt idx="15046">
                  <c:v>41.794444444444444</c:v>
                </c:pt>
                <c:pt idx="15047">
                  <c:v>41.797222222222224</c:v>
                </c:pt>
                <c:pt idx="15048">
                  <c:v>41.8</c:v>
                </c:pt>
                <c:pt idx="15049">
                  <c:v>41.802777777777777</c:v>
                </c:pt>
                <c:pt idx="15050">
                  <c:v>41.805555555555557</c:v>
                </c:pt>
                <c:pt idx="15051">
                  <c:v>41.80833333333333</c:v>
                </c:pt>
                <c:pt idx="15052">
                  <c:v>41.81111111111111</c:v>
                </c:pt>
                <c:pt idx="15053">
                  <c:v>41.81388888888889</c:v>
                </c:pt>
                <c:pt idx="15054">
                  <c:v>41.81666666666667</c:v>
                </c:pt>
                <c:pt idx="15055">
                  <c:v>41.819444444444443</c:v>
                </c:pt>
                <c:pt idx="15056">
                  <c:v>41.822222222222223</c:v>
                </c:pt>
                <c:pt idx="15057">
                  <c:v>41.825000000000003</c:v>
                </c:pt>
                <c:pt idx="15058">
                  <c:v>41.827777777777776</c:v>
                </c:pt>
                <c:pt idx="15059">
                  <c:v>41.830555555555556</c:v>
                </c:pt>
                <c:pt idx="15060">
                  <c:v>41.833333333333336</c:v>
                </c:pt>
                <c:pt idx="15061">
                  <c:v>41.836111111111109</c:v>
                </c:pt>
                <c:pt idx="15062">
                  <c:v>41.838888888888889</c:v>
                </c:pt>
                <c:pt idx="15063">
                  <c:v>41.841666666666669</c:v>
                </c:pt>
                <c:pt idx="15064">
                  <c:v>41.844444444444441</c:v>
                </c:pt>
                <c:pt idx="15065">
                  <c:v>41.847222222222221</c:v>
                </c:pt>
                <c:pt idx="15066">
                  <c:v>41.85</c:v>
                </c:pt>
                <c:pt idx="15067">
                  <c:v>41.852777777777774</c:v>
                </c:pt>
                <c:pt idx="15068">
                  <c:v>41.855555555555554</c:v>
                </c:pt>
                <c:pt idx="15069">
                  <c:v>41.858333333333334</c:v>
                </c:pt>
                <c:pt idx="15070">
                  <c:v>41.861111111111114</c:v>
                </c:pt>
                <c:pt idx="15071">
                  <c:v>41.863888888888887</c:v>
                </c:pt>
                <c:pt idx="15072">
                  <c:v>41.866666666666667</c:v>
                </c:pt>
                <c:pt idx="15073">
                  <c:v>41.869444444444447</c:v>
                </c:pt>
                <c:pt idx="15074">
                  <c:v>41.87222222222222</c:v>
                </c:pt>
                <c:pt idx="15075">
                  <c:v>41.875</c:v>
                </c:pt>
                <c:pt idx="15076">
                  <c:v>41.87777777777778</c:v>
                </c:pt>
                <c:pt idx="15077">
                  <c:v>41.880555555555553</c:v>
                </c:pt>
                <c:pt idx="15078">
                  <c:v>41.883333333333333</c:v>
                </c:pt>
                <c:pt idx="15079">
                  <c:v>41.886111111111113</c:v>
                </c:pt>
                <c:pt idx="15080">
                  <c:v>41.888888888888886</c:v>
                </c:pt>
                <c:pt idx="15081">
                  <c:v>41.891666666666666</c:v>
                </c:pt>
                <c:pt idx="15082">
                  <c:v>41.894444444444446</c:v>
                </c:pt>
                <c:pt idx="15083">
                  <c:v>41.897222222222226</c:v>
                </c:pt>
                <c:pt idx="15084">
                  <c:v>41.9</c:v>
                </c:pt>
                <c:pt idx="15085">
                  <c:v>41.902777777777779</c:v>
                </c:pt>
                <c:pt idx="15086">
                  <c:v>41.905555555555559</c:v>
                </c:pt>
                <c:pt idx="15087">
                  <c:v>41.908333333333331</c:v>
                </c:pt>
                <c:pt idx="15088">
                  <c:v>41.911111111111111</c:v>
                </c:pt>
                <c:pt idx="15089">
                  <c:v>41.913888888888891</c:v>
                </c:pt>
                <c:pt idx="15090">
                  <c:v>41.916666666666664</c:v>
                </c:pt>
                <c:pt idx="15091">
                  <c:v>41.919444444444444</c:v>
                </c:pt>
                <c:pt idx="15092">
                  <c:v>41.922222222222224</c:v>
                </c:pt>
                <c:pt idx="15093">
                  <c:v>41.924999999999997</c:v>
                </c:pt>
                <c:pt idx="15094">
                  <c:v>41.927777777777777</c:v>
                </c:pt>
                <c:pt idx="15095">
                  <c:v>41.930555555555557</c:v>
                </c:pt>
                <c:pt idx="15096">
                  <c:v>41.93333333333333</c:v>
                </c:pt>
                <c:pt idx="15097">
                  <c:v>41.93611111111111</c:v>
                </c:pt>
                <c:pt idx="15098">
                  <c:v>41.93888888888889</c:v>
                </c:pt>
                <c:pt idx="15099">
                  <c:v>41.94166666666667</c:v>
                </c:pt>
                <c:pt idx="15100">
                  <c:v>41.944444444444443</c:v>
                </c:pt>
                <c:pt idx="15101">
                  <c:v>41.947222222222223</c:v>
                </c:pt>
                <c:pt idx="15102">
                  <c:v>41.95</c:v>
                </c:pt>
                <c:pt idx="15103">
                  <c:v>41.952777777777776</c:v>
                </c:pt>
                <c:pt idx="15104">
                  <c:v>41.955555555555556</c:v>
                </c:pt>
                <c:pt idx="15105">
                  <c:v>41.958333333333336</c:v>
                </c:pt>
                <c:pt idx="15106">
                  <c:v>41.961111111111109</c:v>
                </c:pt>
                <c:pt idx="15107">
                  <c:v>41.963888888888889</c:v>
                </c:pt>
                <c:pt idx="15108">
                  <c:v>41.966666666666669</c:v>
                </c:pt>
                <c:pt idx="15109">
                  <c:v>41.969444444444441</c:v>
                </c:pt>
                <c:pt idx="15110">
                  <c:v>41.972222222222221</c:v>
                </c:pt>
                <c:pt idx="15111">
                  <c:v>41.975000000000001</c:v>
                </c:pt>
                <c:pt idx="15112">
                  <c:v>41.977777777777774</c:v>
                </c:pt>
                <c:pt idx="15113">
                  <c:v>41.980555555555554</c:v>
                </c:pt>
                <c:pt idx="15114">
                  <c:v>41.983333333333334</c:v>
                </c:pt>
                <c:pt idx="15115">
                  <c:v>41.986111111111114</c:v>
                </c:pt>
                <c:pt idx="15116">
                  <c:v>41.988888888888887</c:v>
                </c:pt>
                <c:pt idx="15117">
                  <c:v>41.991666666666667</c:v>
                </c:pt>
                <c:pt idx="15118">
                  <c:v>41.994444444444447</c:v>
                </c:pt>
                <c:pt idx="15119">
                  <c:v>41.99722222222222</c:v>
                </c:pt>
                <c:pt idx="15120">
                  <c:v>42</c:v>
                </c:pt>
                <c:pt idx="15121">
                  <c:v>42.00277777777778</c:v>
                </c:pt>
                <c:pt idx="15122">
                  <c:v>42.005555555555553</c:v>
                </c:pt>
                <c:pt idx="15123">
                  <c:v>42.008333333333333</c:v>
                </c:pt>
                <c:pt idx="15124">
                  <c:v>42.011111111111113</c:v>
                </c:pt>
                <c:pt idx="15125">
                  <c:v>42.013888888888886</c:v>
                </c:pt>
                <c:pt idx="15126">
                  <c:v>42.016666666666666</c:v>
                </c:pt>
                <c:pt idx="15127">
                  <c:v>42.019444444444446</c:v>
                </c:pt>
                <c:pt idx="15128">
                  <c:v>42.022222222222226</c:v>
                </c:pt>
                <c:pt idx="15129">
                  <c:v>42.024999999999999</c:v>
                </c:pt>
                <c:pt idx="15130">
                  <c:v>42.027777777777779</c:v>
                </c:pt>
                <c:pt idx="15131">
                  <c:v>42.030555555555559</c:v>
                </c:pt>
                <c:pt idx="15132">
                  <c:v>42.033333333333331</c:v>
                </c:pt>
                <c:pt idx="15133">
                  <c:v>42.036111111111111</c:v>
                </c:pt>
                <c:pt idx="15134">
                  <c:v>42.038888888888891</c:v>
                </c:pt>
                <c:pt idx="15135">
                  <c:v>42.041666666666664</c:v>
                </c:pt>
                <c:pt idx="15136">
                  <c:v>42.044444444444444</c:v>
                </c:pt>
                <c:pt idx="15137">
                  <c:v>42.047222222222224</c:v>
                </c:pt>
                <c:pt idx="15138">
                  <c:v>42.05</c:v>
                </c:pt>
                <c:pt idx="15139">
                  <c:v>42.052777777777777</c:v>
                </c:pt>
                <c:pt idx="15140">
                  <c:v>42.055555555555557</c:v>
                </c:pt>
                <c:pt idx="15141">
                  <c:v>42.05833333333333</c:v>
                </c:pt>
                <c:pt idx="15142">
                  <c:v>42.06111111111111</c:v>
                </c:pt>
                <c:pt idx="15143">
                  <c:v>42.06388888888889</c:v>
                </c:pt>
                <c:pt idx="15144">
                  <c:v>42.06666666666667</c:v>
                </c:pt>
                <c:pt idx="15145">
                  <c:v>42.069444444444443</c:v>
                </c:pt>
                <c:pt idx="15146">
                  <c:v>42.072222222222223</c:v>
                </c:pt>
                <c:pt idx="15147">
                  <c:v>42.075000000000003</c:v>
                </c:pt>
                <c:pt idx="15148">
                  <c:v>42.077777777777776</c:v>
                </c:pt>
                <c:pt idx="15149">
                  <c:v>42.080555555555556</c:v>
                </c:pt>
                <c:pt idx="15150">
                  <c:v>42.083333333333336</c:v>
                </c:pt>
                <c:pt idx="15151">
                  <c:v>42.086111111111109</c:v>
                </c:pt>
                <c:pt idx="15152">
                  <c:v>42.088888888888889</c:v>
                </c:pt>
                <c:pt idx="15153">
                  <c:v>42.091666666666669</c:v>
                </c:pt>
                <c:pt idx="15154">
                  <c:v>42.094444444444441</c:v>
                </c:pt>
                <c:pt idx="15155">
                  <c:v>42.097222222222221</c:v>
                </c:pt>
                <c:pt idx="15156">
                  <c:v>42.1</c:v>
                </c:pt>
                <c:pt idx="15157">
                  <c:v>42.102777777777774</c:v>
                </c:pt>
                <c:pt idx="15158">
                  <c:v>42.105555555555554</c:v>
                </c:pt>
                <c:pt idx="15159">
                  <c:v>42.108333333333334</c:v>
                </c:pt>
                <c:pt idx="15160">
                  <c:v>42.111111111111114</c:v>
                </c:pt>
                <c:pt idx="15161">
                  <c:v>42.113888888888887</c:v>
                </c:pt>
                <c:pt idx="15162">
                  <c:v>42.116666666666667</c:v>
                </c:pt>
                <c:pt idx="15163">
                  <c:v>42.119444444444447</c:v>
                </c:pt>
                <c:pt idx="15164">
                  <c:v>42.12222222222222</c:v>
                </c:pt>
                <c:pt idx="15165">
                  <c:v>42.125</c:v>
                </c:pt>
                <c:pt idx="15166">
                  <c:v>42.12777777777778</c:v>
                </c:pt>
                <c:pt idx="15167">
                  <c:v>42.130555555555553</c:v>
                </c:pt>
                <c:pt idx="15168">
                  <c:v>42.133333333333333</c:v>
                </c:pt>
                <c:pt idx="15169">
                  <c:v>42.136111111111113</c:v>
                </c:pt>
                <c:pt idx="15170">
                  <c:v>42.138888888888886</c:v>
                </c:pt>
                <c:pt idx="15171">
                  <c:v>42.141666666666666</c:v>
                </c:pt>
                <c:pt idx="15172">
                  <c:v>42.144444444444446</c:v>
                </c:pt>
                <c:pt idx="15173">
                  <c:v>42.147222222222226</c:v>
                </c:pt>
                <c:pt idx="15174">
                  <c:v>42.15</c:v>
                </c:pt>
                <c:pt idx="15175">
                  <c:v>42.152777777777779</c:v>
                </c:pt>
                <c:pt idx="15176">
                  <c:v>42.155555555555559</c:v>
                </c:pt>
                <c:pt idx="15177">
                  <c:v>42.158333333333331</c:v>
                </c:pt>
                <c:pt idx="15178">
                  <c:v>42.161111111111111</c:v>
                </c:pt>
                <c:pt idx="15179">
                  <c:v>42.163888888888891</c:v>
                </c:pt>
                <c:pt idx="15180">
                  <c:v>42.166666666666664</c:v>
                </c:pt>
                <c:pt idx="15181">
                  <c:v>42.169444444444444</c:v>
                </c:pt>
                <c:pt idx="15182">
                  <c:v>42.172222222222224</c:v>
                </c:pt>
                <c:pt idx="15183">
                  <c:v>42.174999999999997</c:v>
                </c:pt>
                <c:pt idx="15184">
                  <c:v>42.177777777777777</c:v>
                </c:pt>
                <c:pt idx="15185">
                  <c:v>42.180555555555557</c:v>
                </c:pt>
                <c:pt idx="15186">
                  <c:v>42.18333333333333</c:v>
                </c:pt>
                <c:pt idx="15187">
                  <c:v>42.18611111111111</c:v>
                </c:pt>
                <c:pt idx="15188">
                  <c:v>42.18888888888889</c:v>
                </c:pt>
                <c:pt idx="15189">
                  <c:v>42.19166666666667</c:v>
                </c:pt>
                <c:pt idx="15190">
                  <c:v>42.194444444444443</c:v>
                </c:pt>
                <c:pt idx="15191">
                  <c:v>42.197222222222223</c:v>
                </c:pt>
                <c:pt idx="15192">
                  <c:v>42.2</c:v>
                </c:pt>
                <c:pt idx="15193">
                  <c:v>42.202777777777776</c:v>
                </c:pt>
                <c:pt idx="15194">
                  <c:v>42.205555555555556</c:v>
                </c:pt>
                <c:pt idx="15195">
                  <c:v>42.208333333333336</c:v>
                </c:pt>
                <c:pt idx="15196">
                  <c:v>42.211111111111109</c:v>
                </c:pt>
                <c:pt idx="15197">
                  <c:v>42.213888888888889</c:v>
                </c:pt>
                <c:pt idx="15198">
                  <c:v>42.216666666666669</c:v>
                </c:pt>
                <c:pt idx="15199">
                  <c:v>42.219444444444441</c:v>
                </c:pt>
                <c:pt idx="15200">
                  <c:v>42.222222222222221</c:v>
                </c:pt>
                <c:pt idx="15201">
                  <c:v>42.225000000000001</c:v>
                </c:pt>
                <c:pt idx="15202">
                  <c:v>42.227777777777774</c:v>
                </c:pt>
                <c:pt idx="15203">
                  <c:v>42.230555555555554</c:v>
                </c:pt>
                <c:pt idx="15204">
                  <c:v>42.233333333333334</c:v>
                </c:pt>
                <c:pt idx="15205">
                  <c:v>42.236111111111114</c:v>
                </c:pt>
                <c:pt idx="15206">
                  <c:v>42.238888888888887</c:v>
                </c:pt>
                <c:pt idx="15207">
                  <c:v>42.241666666666667</c:v>
                </c:pt>
                <c:pt idx="15208">
                  <c:v>42.244444444444447</c:v>
                </c:pt>
                <c:pt idx="15209">
                  <c:v>42.24722222222222</c:v>
                </c:pt>
                <c:pt idx="15210">
                  <c:v>42.25</c:v>
                </c:pt>
                <c:pt idx="15211">
                  <c:v>42.25277777777778</c:v>
                </c:pt>
                <c:pt idx="15212">
                  <c:v>42.255555555555553</c:v>
                </c:pt>
                <c:pt idx="15213">
                  <c:v>42.258333333333333</c:v>
                </c:pt>
                <c:pt idx="15214">
                  <c:v>42.261111111111113</c:v>
                </c:pt>
                <c:pt idx="15215">
                  <c:v>42.263888888888886</c:v>
                </c:pt>
                <c:pt idx="15216">
                  <c:v>42.266666666666666</c:v>
                </c:pt>
                <c:pt idx="15217">
                  <c:v>42.269444444444446</c:v>
                </c:pt>
                <c:pt idx="15218">
                  <c:v>42.272222222222226</c:v>
                </c:pt>
                <c:pt idx="15219">
                  <c:v>42.274999999999999</c:v>
                </c:pt>
                <c:pt idx="15220">
                  <c:v>42.277777777777779</c:v>
                </c:pt>
                <c:pt idx="15221">
                  <c:v>42.280555555555559</c:v>
                </c:pt>
                <c:pt idx="15222">
                  <c:v>42.283333333333331</c:v>
                </c:pt>
                <c:pt idx="15223">
                  <c:v>42.286111111111111</c:v>
                </c:pt>
                <c:pt idx="15224">
                  <c:v>42.288888888888891</c:v>
                </c:pt>
                <c:pt idx="15225">
                  <c:v>42.291666666666664</c:v>
                </c:pt>
                <c:pt idx="15226">
                  <c:v>42.294444444444444</c:v>
                </c:pt>
                <c:pt idx="15227">
                  <c:v>42.297222222222224</c:v>
                </c:pt>
                <c:pt idx="15228">
                  <c:v>42.3</c:v>
                </c:pt>
                <c:pt idx="15229">
                  <c:v>42.302777777777777</c:v>
                </c:pt>
                <c:pt idx="15230">
                  <c:v>42.305555555555557</c:v>
                </c:pt>
                <c:pt idx="15231">
                  <c:v>42.30833333333333</c:v>
                </c:pt>
                <c:pt idx="15232">
                  <c:v>42.31111111111111</c:v>
                </c:pt>
                <c:pt idx="15233">
                  <c:v>42.31388888888889</c:v>
                </c:pt>
                <c:pt idx="15234">
                  <c:v>42.31666666666667</c:v>
                </c:pt>
                <c:pt idx="15235">
                  <c:v>42.319444444444443</c:v>
                </c:pt>
                <c:pt idx="15236">
                  <c:v>42.322222222222223</c:v>
                </c:pt>
                <c:pt idx="15237">
                  <c:v>42.325000000000003</c:v>
                </c:pt>
                <c:pt idx="15238">
                  <c:v>42.327777777777776</c:v>
                </c:pt>
                <c:pt idx="15239">
                  <c:v>42.330555555555556</c:v>
                </c:pt>
                <c:pt idx="15240">
                  <c:v>42.333333333333336</c:v>
                </c:pt>
                <c:pt idx="15241">
                  <c:v>42.336111111111109</c:v>
                </c:pt>
                <c:pt idx="15242">
                  <c:v>42.338888888888889</c:v>
                </c:pt>
                <c:pt idx="15243">
                  <c:v>42.341666666666669</c:v>
                </c:pt>
                <c:pt idx="15244">
                  <c:v>42.344444444444441</c:v>
                </c:pt>
                <c:pt idx="15245">
                  <c:v>42.347222222222221</c:v>
                </c:pt>
                <c:pt idx="15246">
                  <c:v>42.35</c:v>
                </c:pt>
                <c:pt idx="15247">
                  <c:v>42.352777777777774</c:v>
                </c:pt>
                <c:pt idx="15248">
                  <c:v>42.355555555555554</c:v>
                </c:pt>
                <c:pt idx="15249">
                  <c:v>42.358333333333334</c:v>
                </c:pt>
                <c:pt idx="15250">
                  <c:v>42.361111111111114</c:v>
                </c:pt>
                <c:pt idx="15251">
                  <c:v>42.363888888888887</c:v>
                </c:pt>
                <c:pt idx="15252">
                  <c:v>42.366666666666667</c:v>
                </c:pt>
                <c:pt idx="15253">
                  <c:v>42.369444444444447</c:v>
                </c:pt>
                <c:pt idx="15254">
                  <c:v>42.37222222222222</c:v>
                </c:pt>
                <c:pt idx="15255">
                  <c:v>42.375</c:v>
                </c:pt>
                <c:pt idx="15256">
                  <c:v>42.37777777777778</c:v>
                </c:pt>
                <c:pt idx="15257">
                  <c:v>42.380555555555553</c:v>
                </c:pt>
                <c:pt idx="15258">
                  <c:v>42.383333333333333</c:v>
                </c:pt>
                <c:pt idx="15259">
                  <c:v>42.386111111111113</c:v>
                </c:pt>
                <c:pt idx="15260">
                  <c:v>42.388888888888886</c:v>
                </c:pt>
                <c:pt idx="15261">
                  <c:v>42.391666666666666</c:v>
                </c:pt>
                <c:pt idx="15262">
                  <c:v>42.394444444444446</c:v>
                </c:pt>
                <c:pt idx="15263">
                  <c:v>42.397222222222226</c:v>
                </c:pt>
                <c:pt idx="15264">
                  <c:v>42.4</c:v>
                </c:pt>
                <c:pt idx="15265">
                  <c:v>42.402777777777779</c:v>
                </c:pt>
                <c:pt idx="15266">
                  <c:v>42.405555555555559</c:v>
                </c:pt>
                <c:pt idx="15267">
                  <c:v>42.408333333333331</c:v>
                </c:pt>
                <c:pt idx="15268">
                  <c:v>42.411111111111111</c:v>
                </c:pt>
                <c:pt idx="15269">
                  <c:v>42.413888888888891</c:v>
                </c:pt>
                <c:pt idx="15270">
                  <c:v>42.416666666666664</c:v>
                </c:pt>
                <c:pt idx="15271">
                  <c:v>42.419444444444444</c:v>
                </c:pt>
                <c:pt idx="15272">
                  <c:v>42.422222222222224</c:v>
                </c:pt>
                <c:pt idx="15273">
                  <c:v>42.424999999999997</c:v>
                </c:pt>
                <c:pt idx="15274">
                  <c:v>42.427777777777777</c:v>
                </c:pt>
                <c:pt idx="15275">
                  <c:v>42.430555555555557</c:v>
                </c:pt>
                <c:pt idx="15276">
                  <c:v>42.43333333333333</c:v>
                </c:pt>
                <c:pt idx="15277">
                  <c:v>42.43611111111111</c:v>
                </c:pt>
                <c:pt idx="15278">
                  <c:v>42.43888888888889</c:v>
                </c:pt>
                <c:pt idx="15279">
                  <c:v>42.44166666666667</c:v>
                </c:pt>
                <c:pt idx="15280">
                  <c:v>42.444444444444443</c:v>
                </c:pt>
                <c:pt idx="15281">
                  <c:v>42.447222222222223</c:v>
                </c:pt>
                <c:pt idx="15282">
                  <c:v>42.45</c:v>
                </c:pt>
                <c:pt idx="15283">
                  <c:v>42.452777777777776</c:v>
                </c:pt>
                <c:pt idx="15284">
                  <c:v>42.455555555555556</c:v>
                </c:pt>
                <c:pt idx="15285">
                  <c:v>42.458333333333336</c:v>
                </c:pt>
                <c:pt idx="15286">
                  <c:v>42.461111111111109</c:v>
                </c:pt>
                <c:pt idx="15287">
                  <c:v>42.463888888888889</c:v>
                </c:pt>
                <c:pt idx="15288">
                  <c:v>42.466666666666669</c:v>
                </c:pt>
                <c:pt idx="15289">
                  <c:v>42.469444444444441</c:v>
                </c:pt>
                <c:pt idx="15290">
                  <c:v>42.472222222222221</c:v>
                </c:pt>
                <c:pt idx="15291">
                  <c:v>42.475000000000001</c:v>
                </c:pt>
                <c:pt idx="15292">
                  <c:v>42.477777777777774</c:v>
                </c:pt>
                <c:pt idx="15293">
                  <c:v>42.480555555555554</c:v>
                </c:pt>
                <c:pt idx="15294">
                  <c:v>42.483333333333334</c:v>
                </c:pt>
                <c:pt idx="15295">
                  <c:v>42.486111111111114</c:v>
                </c:pt>
                <c:pt idx="15296">
                  <c:v>42.488888888888887</c:v>
                </c:pt>
                <c:pt idx="15297">
                  <c:v>42.491666666666667</c:v>
                </c:pt>
                <c:pt idx="15298">
                  <c:v>42.494444444444447</c:v>
                </c:pt>
                <c:pt idx="15299">
                  <c:v>42.49722222222222</c:v>
                </c:pt>
                <c:pt idx="15300">
                  <c:v>42.5</c:v>
                </c:pt>
                <c:pt idx="15301">
                  <c:v>42.50277777777778</c:v>
                </c:pt>
                <c:pt idx="15302">
                  <c:v>42.505555555555553</c:v>
                </c:pt>
                <c:pt idx="15303">
                  <c:v>42.508333333333333</c:v>
                </c:pt>
                <c:pt idx="15304">
                  <c:v>42.511111111111113</c:v>
                </c:pt>
                <c:pt idx="15305">
                  <c:v>42.513888888888886</c:v>
                </c:pt>
                <c:pt idx="15306">
                  <c:v>42.516666666666666</c:v>
                </c:pt>
                <c:pt idx="15307">
                  <c:v>42.519444444444446</c:v>
                </c:pt>
                <c:pt idx="15308">
                  <c:v>42.522222222222226</c:v>
                </c:pt>
                <c:pt idx="15309">
                  <c:v>42.524999999999999</c:v>
                </c:pt>
                <c:pt idx="15310">
                  <c:v>42.527777777777779</c:v>
                </c:pt>
                <c:pt idx="15311">
                  <c:v>42.530555555555559</c:v>
                </c:pt>
                <c:pt idx="15312">
                  <c:v>42.533333333333331</c:v>
                </c:pt>
                <c:pt idx="15313">
                  <c:v>42.536111111111111</c:v>
                </c:pt>
                <c:pt idx="15314">
                  <c:v>42.538888888888891</c:v>
                </c:pt>
                <c:pt idx="15315">
                  <c:v>42.541666666666664</c:v>
                </c:pt>
                <c:pt idx="15316">
                  <c:v>42.544444444444444</c:v>
                </c:pt>
                <c:pt idx="15317">
                  <c:v>42.547222222222224</c:v>
                </c:pt>
                <c:pt idx="15318">
                  <c:v>42.55</c:v>
                </c:pt>
                <c:pt idx="15319">
                  <c:v>42.552777777777777</c:v>
                </c:pt>
                <c:pt idx="15320">
                  <c:v>42.555555555555557</c:v>
                </c:pt>
                <c:pt idx="15321">
                  <c:v>42.55833333333333</c:v>
                </c:pt>
                <c:pt idx="15322">
                  <c:v>42.56111111111111</c:v>
                </c:pt>
                <c:pt idx="15323">
                  <c:v>42.56388888888889</c:v>
                </c:pt>
                <c:pt idx="15324">
                  <c:v>42.56666666666667</c:v>
                </c:pt>
                <c:pt idx="15325">
                  <c:v>42.569444444444443</c:v>
                </c:pt>
                <c:pt idx="15326">
                  <c:v>42.572222222222223</c:v>
                </c:pt>
                <c:pt idx="15327">
                  <c:v>42.575000000000003</c:v>
                </c:pt>
                <c:pt idx="15328">
                  <c:v>42.577777777777776</c:v>
                </c:pt>
                <c:pt idx="15329">
                  <c:v>42.580555555555556</c:v>
                </c:pt>
                <c:pt idx="15330">
                  <c:v>42.583333333333336</c:v>
                </c:pt>
                <c:pt idx="15331">
                  <c:v>42.586111111111109</c:v>
                </c:pt>
                <c:pt idx="15332">
                  <c:v>42.588888888888889</c:v>
                </c:pt>
                <c:pt idx="15333">
                  <c:v>42.591666666666669</c:v>
                </c:pt>
                <c:pt idx="15334">
                  <c:v>42.594444444444441</c:v>
                </c:pt>
                <c:pt idx="15335">
                  <c:v>42.597222222222221</c:v>
                </c:pt>
                <c:pt idx="15336">
                  <c:v>42.6</c:v>
                </c:pt>
                <c:pt idx="15337">
                  <c:v>42.602777777777774</c:v>
                </c:pt>
                <c:pt idx="15338">
                  <c:v>42.605555555555554</c:v>
                </c:pt>
                <c:pt idx="15339">
                  <c:v>42.608333333333334</c:v>
                </c:pt>
                <c:pt idx="15340">
                  <c:v>42.611111111111114</c:v>
                </c:pt>
                <c:pt idx="15341">
                  <c:v>42.613888888888887</c:v>
                </c:pt>
                <c:pt idx="15342">
                  <c:v>42.616666666666667</c:v>
                </c:pt>
                <c:pt idx="15343">
                  <c:v>42.619444444444447</c:v>
                </c:pt>
                <c:pt idx="15344">
                  <c:v>42.62222222222222</c:v>
                </c:pt>
                <c:pt idx="15345">
                  <c:v>42.625</c:v>
                </c:pt>
                <c:pt idx="15346">
                  <c:v>42.62777777777778</c:v>
                </c:pt>
                <c:pt idx="15347">
                  <c:v>42.630555555555553</c:v>
                </c:pt>
                <c:pt idx="15348">
                  <c:v>42.633333333333333</c:v>
                </c:pt>
                <c:pt idx="15349">
                  <c:v>42.636111111111113</c:v>
                </c:pt>
                <c:pt idx="15350">
                  <c:v>42.638888888888886</c:v>
                </c:pt>
                <c:pt idx="15351">
                  <c:v>42.641666666666666</c:v>
                </c:pt>
                <c:pt idx="15352">
                  <c:v>42.644444444444446</c:v>
                </c:pt>
                <c:pt idx="15353">
                  <c:v>42.647222222222226</c:v>
                </c:pt>
                <c:pt idx="15354">
                  <c:v>42.65</c:v>
                </c:pt>
                <c:pt idx="15355">
                  <c:v>42.652777777777779</c:v>
                </c:pt>
                <c:pt idx="15356">
                  <c:v>42.655555555555559</c:v>
                </c:pt>
                <c:pt idx="15357">
                  <c:v>42.658333333333331</c:v>
                </c:pt>
                <c:pt idx="15358">
                  <c:v>42.661111111111111</c:v>
                </c:pt>
                <c:pt idx="15359">
                  <c:v>42.663888888888891</c:v>
                </c:pt>
                <c:pt idx="15360">
                  <c:v>42.666666666666664</c:v>
                </c:pt>
                <c:pt idx="15361">
                  <c:v>42.669444444444444</c:v>
                </c:pt>
                <c:pt idx="15362">
                  <c:v>42.672222222222224</c:v>
                </c:pt>
                <c:pt idx="15363">
                  <c:v>42.674999999999997</c:v>
                </c:pt>
                <c:pt idx="15364">
                  <c:v>42.677777777777777</c:v>
                </c:pt>
                <c:pt idx="15365">
                  <c:v>42.680555555555557</c:v>
                </c:pt>
                <c:pt idx="15366">
                  <c:v>42.68333333333333</c:v>
                </c:pt>
                <c:pt idx="15367">
                  <c:v>42.68611111111111</c:v>
                </c:pt>
                <c:pt idx="15368">
                  <c:v>42.68888888888889</c:v>
                </c:pt>
                <c:pt idx="15369">
                  <c:v>42.69166666666667</c:v>
                </c:pt>
                <c:pt idx="15370">
                  <c:v>42.694444444444443</c:v>
                </c:pt>
                <c:pt idx="15371">
                  <c:v>42.697222222222223</c:v>
                </c:pt>
                <c:pt idx="15372">
                  <c:v>42.7</c:v>
                </c:pt>
                <c:pt idx="15373">
                  <c:v>42.702777777777776</c:v>
                </c:pt>
                <c:pt idx="15374">
                  <c:v>42.705555555555556</c:v>
                </c:pt>
                <c:pt idx="15375">
                  <c:v>42.708333333333336</c:v>
                </c:pt>
                <c:pt idx="15376">
                  <c:v>42.711111111111109</c:v>
                </c:pt>
                <c:pt idx="15377">
                  <c:v>42.713888888888889</c:v>
                </c:pt>
                <c:pt idx="15378">
                  <c:v>42.716666666666669</c:v>
                </c:pt>
                <c:pt idx="15379">
                  <c:v>42.719444444444441</c:v>
                </c:pt>
                <c:pt idx="15380">
                  <c:v>42.722222222222221</c:v>
                </c:pt>
                <c:pt idx="15381">
                  <c:v>42.725000000000001</c:v>
                </c:pt>
                <c:pt idx="15382">
                  <c:v>42.727777777777774</c:v>
                </c:pt>
                <c:pt idx="15383">
                  <c:v>42.730555555555554</c:v>
                </c:pt>
                <c:pt idx="15384">
                  <c:v>42.733333333333334</c:v>
                </c:pt>
                <c:pt idx="15385">
                  <c:v>42.736111111111114</c:v>
                </c:pt>
                <c:pt idx="15386">
                  <c:v>42.738888888888887</c:v>
                </c:pt>
                <c:pt idx="15387">
                  <c:v>42.741666666666667</c:v>
                </c:pt>
                <c:pt idx="15388">
                  <c:v>42.744444444444447</c:v>
                </c:pt>
                <c:pt idx="15389">
                  <c:v>42.74722222222222</c:v>
                </c:pt>
                <c:pt idx="15390">
                  <c:v>42.75</c:v>
                </c:pt>
                <c:pt idx="15391">
                  <c:v>42.75277777777778</c:v>
                </c:pt>
                <c:pt idx="15392">
                  <c:v>42.755555555555553</c:v>
                </c:pt>
                <c:pt idx="15393">
                  <c:v>42.758333333333333</c:v>
                </c:pt>
                <c:pt idx="15394">
                  <c:v>42.761111111111113</c:v>
                </c:pt>
                <c:pt idx="15395">
                  <c:v>42.763888888888886</c:v>
                </c:pt>
                <c:pt idx="15396">
                  <c:v>42.766666666666666</c:v>
                </c:pt>
                <c:pt idx="15397">
                  <c:v>42.769444444444446</c:v>
                </c:pt>
                <c:pt idx="15398">
                  <c:v>42.772222222222226</c:v>
                </c:pt>
                <c:pt idx="15399">
                  <c:v>42.774999999999999</c:v>
                </c:pt>
                <c:pt idx="15400">
                  <c:v>42.777777777777779</c:v>
                </c:pt>
                <c:pt idx="15401">
                  <c:v>42.780555555555559</c:v>
                </c:pt>
                <c:pt idx="15402">
                  <c:v>42.783333333333331</c:v>
                </c:pt>
                <c:pt idx="15403">
                  <c:v>42.786111111111111</c:v>
                </c:pt>
                <c:pt idx="15404">
                  <c:v>42.788888888888891</c:v>
                </c:pt>
                <c:pt idx="15405">
                  <c:v>42.791666666666664</c:v>
                </c:pt>
                <c:pt idx="15406">
                  <c:v>42.794444444444444</c:v>
                </c:pt>
                <c:pt idx="15407">
                  <c:v>42.797222222222224</c:v>
                </c:pt>
                <c:pt idx="15408">
                  <c:v>42.8</c:v>
                </c:pt>
                <c:pt idx="15409">
                  <c:v>42.802777777777777</c:v>
                </c:pt>
                <c:pt idx="15410">
                  <c:v>42.805555555555557</c:v>
                </c:pt>
                <c:pt idx="15411">
                  <c:v>42.80833333333333</c:v>
                </c:pt>
                <c:pt idx="15412">
                  <c:v>42.81111111111111</c:v>
                </c:pt>
                <c:pt idx="15413">
                  <c:v>42.81388888888889</c:v>
                </c:pt>
                <c:pt idx="15414">
                  <c:v>42.81666666666667</c:v>
                </c:pt>
                <c:pt idx="15415">
                  <c:v>42.819444444444443</c:v>
                </c:pt>
                <c:pt idx="15416">
                  <c:v>42.822222222222223</c:v>
                </c:pt>
                <c:pt idx="15417">
                  <c:v>42.825000000000003</c:v>
                </c:pt>
                <c:pt idx="15418">
                  <c:v>42.827777777777776</c:v>
                </c:pt>
                <c:pt idx="15419">
                  <c:v>42.830555555555556</c:v>
                </c:pt>
                <c:pt idx="15420">
                  <c:v>42.833333333333336</c:v>
                </c:pt>
                <c:pt idx="15421">
                  <c:v>42.836111111111109</c:v>
                </c:pt>
                <c:pt idx="15422">
                  <c:v>42.838888888888889</c:v>
                </c:pt>
                <c:pt idx="15423">
                  <c:v>42.841666666666669</c:v>
                </c:pt>
                <c:pt idx="15424">
                  <c:v>42.844444444444441</c:v>
                </c:pt>
                <c:pt idx="15425">
                  <c:v>42.847222222222221</c:v>
                </c:pt>
                <c:pt idx="15426">
                  <c:v>42.85</c:v>
                </c:pt>
                <c:pt idx="15427">
                  <c:v>42.852777777777774</c:v>
                </c:pt>
                <c:pt idx="15428">
                  <c:v>42.855555555555554</c:v>
                </c:pt>
                <c:pt idx="15429">
                  <c:v>42.858333333333334</c:v>
                </c:pt>
                <c:pt idx="15430">
                  <c:v>42.861111111111114</c:v>
                </c:pt>
                <c:pt idx="15431">
                  <c:v>42.863888888888887</c:v>
                </c:pt>
                <c:pt idx="15432">
                  <c:v>42.866666666666667</c:v>
                </c:pt>
                <c:pt idx="15433">
                  <c:v>42.869444444444447</c:v>
                </c:pt>
                <c:pt idx="15434">
                  <c:v>42.87222222222222</c:v>
                </c:pt>
                <c:pt idx="15435">
                  <c:v>42.875</c:v>
                </c:pt>
                <c:pt idx="15436">
                  <c:v>42.87777777777778</c:v>
                </c:pt>
                <c:pt idx="15437">
                  <c:v>42.880555555555553</c:v>
                </c:pt>
                <c:pt idx="15438">
                  <c:v>42.883333333333333</c:v>
                </c:pt>
                <c:pt idx="15439">
                  <c:v>42.886111111111113</c:v>
                </c:pt>
                <c:pt idx="15440">
                  <c:v>42.888888888888886</c:v>
                </c:pt>
                <c:pt idx="15441">
                  <c:v>42.891666666666666</c:v>
                </c:pt>
                <c:pt idx="15442">
                  <c:v>42.894444444444446</c:v>
                </c:pt>
                <c:pt idx="15443">
                  <c:v>42.897222222222226</c:v>
                </c:pt>
                <c:pt idx="15444">
                  <c:v>42.9</c:v>
                </c:pt>
                <c:pt idx="15445">
                  <c:v>42.902777777777779</c:v>
                </c:pt>
                <c:pt idx="15446">
                  <c:v>42.905555555555559</c:v>
                </c:pt>
                <c:pt idx="15447">
                  <c:v>42.908333333333331</c:v>
                </c:pt>
                <c:pt idx="15448">
                  <c:v>42.911111111111111</c:v>
                </c:pt>
                <c:pt idx="15449">
                  <c:v>42.913888888888891</c:v>
                </c:pt>
                <c:pt idx="15450">
                  <c:v>42.916666666666664</c:v>
                </c:pt>
                <c:pt idx="15451">
                  <c:v>42.919444444444444</c:v>
                </c:pt>
                <c:pt idx="15452">
                  <c:v>42.922222222222224</c:v>
                </c:pt>
                <c:pt idx="15453">
                  <c:v>42.924999999999997</c:v>
                </c:pt>
                <c:pt idx="15454">
                  <c:v>42.927777777777777</c:v>
                </c:pt>
                <c:pt idx="15455">
                  <c:v>42.930555555555557</c:v>
                </c:pt>
                <c:pt idx="15456">
                  <c:v>42.93333333333333</c:v>
                </c:pt>
                <c:pt idx="15457">
                  <c:v>42.93611111111111</c:v>
                </c:pt>
                <c:pt idx="15458">
                  <c:v>42.93888888888889</c:v>
                </c:pt>
                <c:pt idx="15459">
                  <c:v>42.94166666666667</c:v>
                </c:pt>
                <c:pt idx="15460">
                  <c:v>42.944444444444443</c:v>
                </c:pt>
                <c:pt idx="15461">
                  <c:v>42.947222222222223</c:v>
                </c:pt>
                <c:pt idx="15462">
                  <c:v>42.95</c:v>
                </c:pt>
                <c:pt idx="15463">
                  <c:v>42.952777777777776</c:v>
                </c:pt>
                <c:pt idx="15464">
                  <c:v>42.955555555555556</c:v>
                </c:pt>
                <c:pt idx="15465">
                  <c:v>42.958333333333336</c:v>
                </c:pt>
                <c:pt idx="15466">
                  <c:v>42.961111111111109</c:v>
                </c:pt>
                <c:pt idx="15467">
                  <c:v>42.963888888888889</c:v>
                </c:pt>
                <c:pt idx="15468">
                  <c:v>42.966666666666669</c:v>
                </c:pt>
                <c:pt idx="15469">
                  <c:v>42.969444444444441</c:v>
                </c:pt>
                <c:pt idx="15470">
                  <c:v>42.972222222222221</c:v>
                </c:pt>
                <c:pt idx="15471">
                  <c:v>42.975000000000001</c:v>
                </c:pt>
                <c:pt idx="15472">
                  <c:v>42.977777777777774</c:v>
                </c:pt>
                <c:pt idx="15473">
                  <c:v>42.980555555555554</c:v>
                </c:pt>
                <c:pt idx="15474">
                  <c:v>42.983333333333334</c:v>
                </c:pt>
                <c:pt idx="15475">
                  <c:v>42.986111111111114</c:v>
                </c:pt>
                <c:pt idx="15476">
                  <c:v>42.988888888888887</c:v>
                </c:pt>
                <c:pt idx="15477">
                  <c:v>42.991666666666667</c:v>
                </c:pt>
                <c:pt idx="15478">
                  <c:v>42.994444444444447</c:v>
                </c:pt>
                <c:pt idx="15479">
                  <c:v>42.99722222222222</c:v>
                </c:pt>
                <c:pt idx="15480">
                  <c:v>43</c:v>
                </c:pt>
                <c:pt idx="15481">
                  <c:v>43.00277777777778</c:v>
                </c:pt>
                <c:pt idx="15482">
                  <c:v>43.005555555555553</c:v>
                </c:pt>
                <c:pt idx="15483">
                  <c:v>43.008333333333333</c:v>
                </c:pt>
                <c:pt idx="15484">
                  <c:v>43.011111111111113</c:v>
                </c:pt>
                <c:pt idx="15485">
                  <c:v>43.013888888888886</c:v>
                </c:pt>
                <c:pt idx="15486">
                  <c:v>43.016666666666666</c:v>
                </c:pt>
                <c:pt idx="15487">
                  <c:v>43.019444444444446</c:v>
                </c:pt>
                <c:pt idx="15488">
                  <c:v>43.022222222222226</c:v>
                </c:pt>
                <c:pt idx="15489">
                  <c:v>43.024999999999999</c:v>
                </c:pt>
                <c:pt idx="15490">
                  <c:v>43.027777777777779</c:v>
                </c:pt>
                <c:pt idx="15491">
                  <c:v>43.030555555555559</c:v>
                </c:pt>
                <c:pt idx="15492">
                  <c:v>43.033333333333331</c:v>
                </c:pt>
                <c:pt idx="15493">
                  <c:v>43.036111111111111</c:v>
                </c:pt>
                <c:pt idx="15494">
                  <c:v>43.038888888888891</c:v>
                </c:pt>
                <c:pt idx="15495">
                  <c:v>43.041666666666664</c:v>
                </c:pt>
                <c:pt idx="15496">
                  <c:v>43.044444444444444</c:v>
                </c:pt>
                <c:pt idx="15497">
                  <c:v>43.047222222222224</c:v>
                </c:pt>
                <c:pt idx="15498">
                  <c:v>43.05</c:v>
                </c:pt>
                <c:pt idx="15499">
                  <c:v>43.052777777777777</c:v>
                </c:pt>
                <c:pt idx="15500">
                  <c:v>43.055555555555557</c:v>
                </c:pt>
                <c:pt idx="15501">
                  <c:v>43.05833333333333</c:v>
                </c:pt>
                <c:pt idx="15502">
                  <c:v>43.06111111111111</c:v>
                </c:pt>
                <c:pt idx="15503">
                  <c:v>43.06388888888889</c:v>
                </c:pt>
                <c:pt idx="15504">
                  <c:v>43.06666666666667</c:v>
                </c:pt>
                <c:pt idx="15505">
                  <c:v>43.069444444444443</c:v>
                </c:pt>
                <c:pt idx="15506">
                  <c:v>43.072222222222223</c:v>
                </c:pt>
                <c:pt idx="15507">
                  <c:v>43.075000000000003</c:v>
                </c:pt>
                <c:pt idx="15508">
                  <c:v>43.077777777777776</c:v>
                </c:pt>
                <c:pt idx="15509">
                  <c:v>43.080555555555556</c:v>
                </c:pt>
                <c:pt idx="15510">
                  <c:v>43.083333333333336</c:v>
                </c:pt>
                <c:pt idx="15511">
                  <c:v>43.086111111111109</c:v>
                </c:pt>
                <c:pt idx="15512">
                  <c:v>43.088888888888889</c:v>
                </c:pt>
                <c:pt idx="15513">
                  <c:v>43.091666666666669</c:v>
                </c:pt>
                <c:pt idx="15514">
                  <c:v>43.094444444444441</c:v>
                </c:pt>
                <c:pt idx="15515">
                  <c:v>43.097222222222221</c:v>
                </c:pt>
                <c:pt idx="15516">
                  <c:v>43.1</c:v>
                </c:pt>
                <c:pt idx="15517">
                  <c:v>43.102777777777774</c:v>
                </c:pt>
                <c:pt idx="15518">
                  <c:v>43.105555555555554</c:v>
                </c:pt>
                <c:pt idx="15519">
                  <c:v>43.108333333333334</c:v>
                </c:pt>
                <c:pt idx="15520">
                  <c:v>43.111111111111114</c:v>
                </c:pt>
                <c:pt idx="15521">
                  <c:v>43.113888888888887</c:v>
                </c:pt>
                <c:pt idx="15522">
                  <c:v>43.116666666666667</c:v>
                </c:pt>
                <c:pt idx="15523">
                  <c:v>43.119444444444447</c:v>
                </c:pt>
                <c:pt idx="15524">
                  <c:v>43.12222222222222</c:v>
                </c:pt>
                <c:pt idx="15525">
                  <c:v>43.125</c:v>
                </c:pt>
                <c:pt idx="15526">
                  <c:v>43.12777777777778</c:v>
                </c:pt>
                <c:pt idx="15527">
                  <c:v>43.130555555555553</c:v>
                </c:pt>
                <c:pt idx="15528">
                  <c:v>43.133333333333333</c:v>
                </c:pt>
                <c:pt idx="15529">
                  <c:v>43.136111111111113</c:v>
                </c:pt>
                <c:pt idx="15530">
                  <c:v>43.138888888888886</c:v>
                </c:pt>
                <c:pt idx="15531">
                  <c:v>43.141666666666666</c:v>
                </c:pt>
                <c:pt idx="15532">
                  <c:v>43.144444444444446</c:v>
                </c:pt>
                <c:pt idx="15533">
                  <c:v>43.147222222222226</c:v>
                </c:pt>
                <c:pt idx="15534">
                  <c:v>43.15</c:v>
                </c:pt>
                <c:pt idx="15535">
                  <c:v>43.152777777777779</c:v>
                </c:pt>
                <c:pt idx="15536">
                  <c:v>43.155555555555559</c:v>
                </c:pt>
                <c:pt idx="15537">
                  <c:v>43.158333333333331</c:v>
                </c:pt>
                <c:pt idx="15538">
                  <c:v>43.161111111111111</c:v>
                </c:pt>
                <c:pt idx="15539">
                  <c:v>43.163888888888891</c:v>
                </c:pt>
                <c:pt idx="15540">
                  <c:v>43.166666666666664</c:v>
                </c:pt>
                <c:pt idx="15541">
                  <c:v>43.169444444444444</c:v>
                </c:pt>
                <c:pt idx="15542">
                  <c:v>43.172222222222224</c:v>
                </c:pt>
                <c:pt idx="15543">
                  <c:v>43.174999999999997</c:v>
                </c:pt>
                <c:pt idx="15544">
                  <c:v>43.177777777777777</c:v>
                </c:pt>
                <c:pt idx="15545">
                  <c:v>43.180555555555557</c:v>
                </c:pt>
                <c:pt idx="15546">
                  <c:v>43.18333333333333</c:v>
                </c:pt>
                <c:pt idx="15547">
                  <c:v>43.18611111111111</c:v>
                </c:pt>
                <c:pt idx="15548">
                  <c:v>43.18888888888889</c:v>
                </c:pt>
                <c:pt idx="15549">
                  <c:v>43.19166666666667</c:v>
                </c:pt>
                <c:pt idx="15550">
                  <c:v>43.194444444444443</c:v>
                </c:pt>
                <c:pt idx="15551">
                  <c:v>43.197222222222223</c:v>
                </c:pt>
                <c:pt idx="15552">
                  <c:v>43.2</c:v>
                </c:pt>
                <c:pt idx="15553">
                  <c:v>43.202777777777776</c:v>
                </c:pt>
                <c:pt idx="15554">
                  <c:v>43.205555555555556</c:v>
                </c:pt>
                <c:pt idx="15555">
                  <c:v>43.208333333333336</c:v>
                </c:pt>
                <c:pt idx="15556">
                  <c:v>43.211111111111109</c:v>
                </c:pt>
                <c:pt idx="15557">
                  <c:v>43.213888888888889</c:v>
                </c:pt>
                <c:pt idx="15558">
                  <c:v>43.216666666666669</c:v>
                </c:pt>
                <c:pt idx="15559">
                  <c:v>43.219444444444441</c:v>
                </c:pt>
                <c:pt idx="15560">
                  <c:v>43.222222222222221</c:v>
                </c:pt>
                <c:pt idx="15561">
                  <c:v>43.225000000000001</c:v>
                </c:pt>
                <c:pt idx="15562">
                  <c:v>43.227777777777774</c:v>
                </c:pt>
                <c:pt idx="15563">
                  <c:v>43.230555555555554</c:v>
                </c:pt>
                <c:pt idx="15564">
                  <c:v>43.233333333333334</c:v>
                </c:pt>
                <c:pt idx="15565">
                  <c:v>43.236111111111114</c:v>
                </c:pt>
                <c:pt idx="15566">
                  <c:v>43.238888888888887</c:v>
                </c:pt>
                <c:pt idx="15567">
                  <c:v>43.241666666666667</c:v>
                </c:pt>
                <c:pt idx="15568">
                  <c:v>43.244444444444447</c:v>
                </c:pt>
                <c:pt idx="15569">
                  <c:v>43.24722222222222</c:v>
                </c:pt>
                <c:pt idx="15570">
                  <c:v>43.25</c:v>
                </c:pt>
                <c:pt idx="15571">
                  <c:v>43.25277777777778</c:v>
                </c:pt>
                <c:pt idx="15572">
                  <c:v>43.255555555555553</c:v>
                </c:pt>
                <c:pt idx="15573">
                  <c:v>43.258333333333333</c:v>
                </c:pt>
                <c:pt idx="15574">
                  <c:v>43.261111111111113</c:v>
                </c:pt>
                <c:pt idx="15575">
                  <c:v>43.263888888888886</c:v>
                </c:pt>
                <c:pt idx="15576">
                  <c:v>43.266666666666666</c:v>
                </c:pt>
                <c:pt idx="15577">
                  <c:v>43.269444444444446</c:v>
                </c:pt>
                <c:pt idx="15578">
                  <c:v>43.272222222222226</c:v>
                </c:pt>
                <c:pt idx="15579">
                  <c:v>43.274999999999999</c:v>
                </c:pt>
                <c:pt idx="15580">
                  <c:v>43.277777777777779</c:v>
                </c:pt>
                <c:pt idx="15581">
                  <c:v>43.280555555555559</c:v>
                </c:pt>
                <c:pt idx="15582">
                  <c:v>43.283333333333331</c:v>
                </c:pt>
                <c:pt idx="15583">
                  <c:v>43.286111111111111</c:v>
                </c:pt>
                <c:pt idx="15584">
                  <c:v>43.288888888888891</c:v>
                </c:pt>
                <c:pt idx="15585">
                  <c:v>43.291666666666664</c:v>
                </c:pt>
                <c:pt idx="15586">
                  <c:v>43.294444444444444</c:v>
                </c:pt>
                <c:pt idx="15587">
                  <c:v>43.297222222222224</c:v>
                </c:pt>
                <c:pt idx="15588">
                  <c:v>43.3</c:v>
                </c:pt>
                <c:pt idx="15589">
                  <c:v>43.302777777777777</c:v>
                </c:pt>
                <c:pt idx="15590">
                  <c:v>43.305555555555557</c:v>
                </c:pt>
                <c:pt idx="15591">
                  <c:v>43.30833333333333</c:v>
                </c:pt>
                <c:pt idx="15592">
                  <c:v>43.31111111111111</c:v>
                </c:pt>
                <c:pt idx="15593">
                  <c:v>43.31388888888889</c:v>
                </c:pt>
                <c:pt idx="15594">
                  <c:v>43.31666666666667</c:v>
                </c:pt>
                <c:pt idx="15595">
                  <c:v>43.319444444444443</c:v>
                </c:pt>
                <c:pt idx="15596">
                  <c:v>43.322222222222223</c:v>
                </c:pt>
                <c:pt idx="15597">
                  <c:v>43.325000000000003</c:v>
                </c:pt>
                <c:pt idx="15598">
                  <c:v>43.327777777777776</c:v>
                </c:pt>
                <c:pt idx="15599">
                  <c:v>43.330555555555556</c:v>
                </c:pt>
                <c:pt idx="15600">
                  <c:v>43.333333333333336</c:v>
                </c:pt>
                <c:pt idx="15601">
                  <c:v>43.336111111111109</c:v>
                </c:pt>
                <c:pt idx="15602">
                  <c:v>43.338888888888889</c:v>
                </c:pt>
                <c:pt idx="15603">
                  <c:v>43.341666666666669</c:v>
                </c:pt>
                <c:pt idx="15604">
                  <c:v>43.344444444444441</c:v>
                </c:pt>
                <c:pt idx="15605">
                  <c:v>43.347222222222221</c:v>
                </c:pt>
                <c:pt idx="15606">
                  <c:v>43.35</c:v>
                </c:pt>
                <c:pt idx="15607">
                  <c:v>43.352777777777774</c:v>
                </c:pt>
                <c:pt idx="15608">
                  <c:v>43.355555555555554</c:v>
                </c:pt>
                <c:pt idx="15609">
                  <c:v>43.358333333333334</c:v>
                </c:pt>
                <c:pt idx="15610">
                  <c:v>43.361111111111114</c:v>
                </c:pt>
                <c:pt idx="15611">
                  <c:v>43.363888888888887</c:v>
                </c:pt>
                <c:pt idx="15612">
                  <c:v>43.366666666666667</c:v>
                </c:pt>
                <c:pt idx="15613">
                  <c:v>43.369444444444447</c:v>
                </c:pt>
                <c:pt idx="15614">
                  <c:v>43.37222222222222</c:v>
                </c:pt>
                <c:pt idx="15615">
                  <c:v>43.375</c:v>
                </c:pt>
                <c:pt idx="15616">
                  <c:v>43.37777777777778</c:v>
                </c:pt>
                <c:pt idx="15617">
                  <c:v>43.380555555555553</c:v>
                </c:pt>
                <c:pt idx="15618">
                  <c:v>43.383333333333333</c:v>
                </c:pt>
                <c:pt idx="15619">
                  <c:v>43.386111111111113</c:v>
                </c:pt>
                <c:pt idx="15620">
                  <c:v>43.388888888888886</c:v>
                </c:pt>
                <c:pt idx="15621">
                  <c:v>43.391666666666666</c:v>
                </c:pt>
                <c:pt idx="15622">
                  <c:v>43.394444444444446</c:v>
                </c:pt>
                <c:pt idx="15623">
                  <c:v>43.397222222222226</c:v>
                </c:pt>
                <c:pt idx="15624">
                  <c:v>43.4</c:v>
                </c:pt>
                <c:pt idx="15625">
                  <c:v>43.402777777777779</c:v>
                </c:pt>
                <c:pt idx="15626">
                  <c:v>43.405555555555559</c:v>
                </c:pt>
                <c:pt idx="15627">
                  <c:v>43.408333333333331</c:v>
                </c:pt>
                <c:pt idx="15628">
                  <c:v>43.411111111111111</c:v>
                </c:pt>
                <c:pt idx="15629">
                  <c:v>43.413888888888891</c:v>
                </c:pt>
                <c:pt idx="15630">
                  <c:v>43.416666666666664</c:v>
                </c:pt>
                <c:pt idx="15631">
                  <c:v>43.419444444444444</c:v>
                </c:pt>
                <c:pt idx="15632">
                  <c:v>43.422222222222224</c:v>
                </c:pt>
                <c:pt idx="15633">
                  <c:v>43.424999999999997</c:v>
                </c:pt>
                <c:pt idx="15634">
                  <c:v>43.427777777777777</c:v>
                </c:pt>
                <c:pt idx="15635">
                  <c:v>43.430555555555557</c:v>
                </c:pt>
                <c:pt idx="15636">
                  <c:v>43.43333333333333</c:v>
                </c:pt>
                <c:pt idx="15637">
                  <c:v>43.43611111111111</c:v>
                </c:pt>
                <c:pt idx="15638">
                  <c:v>43.43888888888889</c:v>
                </c:pt>
                <c:pt idx="15639">
                  <c:v>43.44166666666667</c:v>
                </c:pt>
                <c:pt idx="15640">
                  <c:v>43.444444444444443</c:v>
                </c:pt>
                <c:pt idx="15641">
                  <c:v>43.447222222222223</c:v>
                </c:pt>
                <c:pt idx="15642">
                  <c:v>43.45</c:v>
                </c:pt>
                <c:pt idx="15643">
                  <c:v>43.452777777777776</c:v>
                </c:pt>
                <c:pt idx="15644">
                  <c:v>43.455555555555556</c:v>
                </c:pt>
                <c:pt idx="15645">
                  <c:v>43.458333333333336</c:v>
                </c:pt>
                <c:pt idx="15646">
                  <c:v>43.461111111111109</c:v>
                </c:pt>
                <c:pt idx="15647">
                  <c:v>43.463888888888889</c:v>
                </c:pt>
                <c:pt idx="15648">
                  <c:v>43.466666666666669</c:v>
                </c:pt>
                <c:pt idx="15649">
                  <c:v>43.469444444444441</c:v>
                </c:pt>
                <c:pt idx="15650">
                  <c:v>43.472222222222221</c:v>
                </c:pt>
                <c:pt idx="15651">
                  <c:v>43.475000000000001</c:v>
                </c:pt>
                <c:pt idx="15652">
                  <c:v>43.477777777777774</c:v>
                </c:pt>
                <c:pt idx="15653">
                  <c:v>43.480555555555554</c:v>
                </c:pt>
                <c:pt idx="15654">
                  <c:v>43.483333333333334</c:v>
                </c:pt>
                <c:pt idx="15655">
                  <c:v>43.486111111111114</c:v>
                </c:pt>
                <c:pt idx="15656">
                  <c:v>43.488888888888887</c:v>
                </c:pt>
                <c:pt idx="15657">
                  <c:v>43.491666666666667</c:v>
                </c:pt>
                <c:pt idx="15658">
                  <c:v>43.494444444444447</c:v>
                </c:pt>
                <c:pt idx="15659">
                  <c:v>43.49722222222222</c:v>
                </c:pt>
                <c:pt idx="15660">
                  <c:v>43.5</c:v>
                </c:pt>
                <c:pt idx="15661">
                  <c:v>43.50277777777778</c:v>
                </c:pt>
                <c:pt idx="15662">
                  <c:v>43.505555555555553</c:v>
                </c:pt>
                <c:pt idx="15663">
                  <c:v>43.508333333333333</c:v>
                </c:pt>
                <c:pt idx="15664">
                  <c:v>43.511111111111113</c:v>
                </c:pt>
                <c:pt idx="15665">
                  <c:v>43.513888888888886</c:v>
                </c:pt>
                <c:pt idx="15666">
                  <c:v>43.516666666666666</c:v>
                </c:pt>
                <c:pt idx="15667">
                  <c:v>43.519444444444446</c:v>
                </c:pt>
                <c:pt idx="15668">
                  <c:v>43.522222222222226</c:v>
                </c:pt>
                <c:pt idx="15669">
                  <c:v>43.524999999999999</c:v>
                </c:pt>
                <c:pt idx="15670">
                  <c:v>43.527777777777779</c:v>
                </c:pt>
                <c:pt idx="15671">
                  <c:v>43.530555555555559</c:v>
                </c:pt>
                <c:pt idx="15672">
                  <c:v>43.533333333333331</c:v>
                </c:pt>
                <c:pt idx="15673">
                  <c:v>43.536111111111111</c:v>
                </c:pt>
                <c:pt idx="15674">
                  <c:v>43.538888888888891</c:v>
                </c:pt>
                <c:pt idx="15675">
                  <c:v>43.541666666666664</c:v>
                </c:pt>
                <c:pt idx="15676">
                  <c:v>43.544444444444444</c:v>
                </c:pt>
                <c:pt idx="15677">
                  <c:v>43.547222222222224</c:v>
                </c:pt>
                <c:pt idx="15678">
                  <c:v>43.55</c:v>
                </c:pt>
                <c:pt idx="15679">
                  <c:v>43.552777777777777</c:v>
                </c:pt>
                <c:pt idx="15680">
                  <c:v>43.555555555555557</c:v>
                </c:pt>
                <c:pt idx="15681">
                  <c:v>43.55833333333333</c:v>
                </c:pt>
                <c:pt idx="15682">
                  <c:v>43.56111111111111</c:v>
                </c:pt>
                <c:pt idx="15683">
                  <c:v>43.56388888888889</c:v>
                </c:pt>
                <c:pt idx="15684">
                  <c:v>43.56666666666667</c:v>
                </c:pt>
                <c:pt idx="15685">
                  <c:v>43.569444444444443</c:v>
                </c:pt>
                <c:pt idx="15686">
                  <c:v>43.572222222222223</c:v>
                </c:pt>
                <c:pt idx="15687">
                  <c:v>43.575000000000003</c:v>
                </c:pt>
                <c:pt idx="15688">
                  <c:v>43.577777777777776</c:v>
                </c:pt>
                <c:pt idx="15689">
                  <c:v>43.580555555555556</c:v>
                </c:pt>
                <c:pt idx="15690">
                  <c:v>43.583333333333336</c:v>
                </c:pt>
                <c:pt idx="15691">
                  <c:v>43.586111111111109</c:v>
                </c:pt>
                <c:pt idx="15692">
                  <c:v>43.588888888888889</c:v>
                </c:pt>
                <c:pt idx="15693">
                  <c:v>43.591666666666669</c:v>
                </c:pt>
                <c:pt idx="15694">
                  <c:v>43.594444444444441</c:v>
                </c:pt>
                <c:pt idx="15695">
                  <c:v>43.597222222222221</c:v>
                </c:pt>
                <c:pt idx="15696">
                  <c:v>43.6</c:v>
                </c:pt>
                <c:pt idx="15697">
                  <c:v>43.602777777777774</c:v>
                </c:pt>
                <c:pt idx="15698">
                  <c:v>43.605555555555554</c:v>
                </c:pt>
                <c:pt idx="15699">
                  <c:v>43.608333333333334</c:v>
                </c:pt>
                <c:pt idx="15700">
                  <c:v>43.611111111111114</c:v>
                </c:pt>
                <c:pt idx="15701">
                  <c:v>43.613888888888887</c:v>
                </c:pt>
                <c:pt idx="15702">
                  <c:v>43.616666666666667</c:v>
                </c:pt>
                <c:pt idx="15703">
                  <c:v>43.619444444444447</c:v>
                </c:pt>
                <c:pt idx="15704">
                  <c:v>43.62222222222222</c:v>
                </c:pt>
                <c:pt idx="15705">
                  <c:v>43.625</c:v>
                </c:pt>
                <c:pt idx="15706">
                  <c:v>43.62777777777778</c:v>
                </c:pt>
                <c:pt idx="15707">
                  <c:v>43.630555555555553</c:v>
                </c:pt>
                <c:pt idx="15708">
                  <c:v>43.633333333333333</c:v>
                </c:pt>
                <c:pt idx="15709">
                  <c:v>43.636111111111113</c:v>
                </c:pt>
                <c:pt idx="15710">
                  <c:v>43.638888888888886</c:v>
                </c:pt>
                <c:pt idx="15711">
                  <c:v>43.641666666666666</c:v>
                </c:pt>
                <c:pt idx="15712">
                  <c:v>43.644444444444446</c:v>
                </c:pt>
                <c:pt idx="15713">
                  <c:v>43.647222222222226</c:v>
                </c:pt>
                <c:pt idx="15714">
                  <c:v>43.65</c:v>
                </c:pt>
                <c:pt idx="15715">
                  <c:v>43.652777777777779</c:v>
                </c:pt>
                <c:pt idx="15716">
                  <c:v>43.655555555555559</c:v>
                </c:pt>
                <c:pt idx="15717">
                  <c:v>43.658333333333331</c:v>
                </c:pt>
                <c:pt idx="15718">
                  <c:v>43.661111111111111</c:v>
                </c:pt>
                <c:pt idx="15719">
                  <c:v>43.663888888888891</c:v>
                </c:pt>
                <c:pt idx="15720">
                  <c:v>43.666666666666664</c:v>
                </c:pt>
                <c:pt idx="15721">
                  <c:v>43.669444444444444</c:v>
                </c:pt>
                <c:pt idx="15722">
                  <c:v>43.672222222222224</c:v>
                </c:pt>
                <c:pt idx="15723">
                  <c:v>43.674999999999997</c:v>
                </c:pt>
                <c:pt idx="15724">
                  <c:v>43.677777777777777</c:v>
                </c:pt>
                <c:pt idx="15725">
                  <c:v>43.680555555555557</c:v>
                </c:pt>
                <c:pt idx="15726">
                  <c:v>43.68333333333333</c:v>
                </c:pt>
                <c:pt idx="15727">
                  <c:v>43.68611111111111</c:v>
                </c:pt>
                <c:pt idx="15728">
                  <c:v>43.68888888888889</c:v>
                </c:pt>
                <c:pt idx="15729">
                  <c:v>43.69166666666667</c:v>
                </c:pt>
                <c:pt idx="15730">
                  <c:v>43.694444444444443</c:v>
                </c:pt>
                <c:pt idx="15731">
                  <c:v>43.697222222222223</c:v>
                </c:pt>
                <c:pt idx="15732">
                  <c:v>43.7</c:v>
                </c:pt>
                <c:pt idx="15733">
                  <c:v>43.702777777777776</c:v>
                </c:pt>
                <c:pt idx="15734">
                  <c:v>43.705555555555556</c:v>
                </c:pt>
                <c:pt idx="15735">
                  <c:v>43.708333333333336</c:v>
                </c:pt>
                <c:pt idx="15736">
                  <c:v>43.711111111111109</c:v>
                </c:pt>
                <c:pt idx="15737">
                  <c:v>43.713888888888889</c:v>
                </c:pt>
                <c:pt idx="15738">
                  <c:v>43.716666666666669</c:v>
                </c:pt>
                <c:pt idx="15739">
                  <c:v>43.719444444444441</c:v>
                </c:pt>
                <c:pt idx="15740">
                  <c:v>43.722222222222221</c:v>
                </c:pt>
                <c:pt idx="15741">
                  <c:v>43.725000000000001</c:v>
                </c:pt>
                <c:pt idx="15742">
                  <c:v>43.727777777777774</c:v>
                </c:pt>
                <c:pt idx="15743">
                  <c:v>43.730555555555554</c:v>
                </c:pt>
                <c:pt idx="15744">
                  <c:v>43.733333333333334</c:v>
                </c:pt>
                <c:pt idx="15745">
                  <c:v>43.736111111111114</c:v>
                </c:pt>
                <c:pt idx="15746">
                  <c:v>43.738888888888887</c:v>
                </c:pt>
                <c:pt idx="15747">
                  <c:v>43.741666666666667</c:v>
                </c:pt>
                <c:pt idx="15748">
                  <c:v>43.744444444444447</c:v>
                </c:pt>
                <c:pt idx="15749">
                  <c:v>43.74722222222222</c:v>
                </c:pt>
                <c:pt idx="15750">
                  <c:v>43.75</c:v>
                </c:pt>
                <c:pt idx="15751">
                  <c:v>43.75277777777778</c:v>
                </c:pt>
                <c:pt idx="15752">
                  <c:v>43.755555555555553</c:v>
                </c:pt>
                <c:pt idx="15753">
                  <c:v>43.758333333333333</c:v>
                </c:pt>
                <c:pt idx="15754">
                  <c:v>43.761111111111113</c:v>
                </c:pt>
                <c:pt idx="15755">
                  <c:v>43.763888888888886</c:v>
                </c:pt>
                <c:pt idx="15756">
                  <c:v>43.766666666666666</c:v>
                </c:pt>
                <c:pt idx="15757">
                  <c:v>43.769444444444446</c:v>
                </c:pt>
                <c:pt idx="15758">
                  <c:v>43.772222222222226</c:v>
                </c:pt>
                <c:pt idx="15759">
                  <c:v>43.774999999999999</c:v>
                </c:pt>
                <c:pt idx="15760">
                  <c:v>43.777777777777779</c:v>
                </c:pt>
                <c:pt idx="15761">
                  <c:v>43.780555555555559</c:v>
                </c:pt>
                <c:pt idx="15762">
                  <c:v>43.783333333333331</c:v>
                </c:pt>
                <c:pt idx="15763">
                  <c:v>43.786111111111111</c:v>
                </c:pt>
                <c:pt idx="15764">
                  <c:v>43.788888888888891</c:v>
                </c:pt>
                <c:pt idx="15765">
                  <c:v>43.791666666666664</c:v>
                </c:pt>
                <c:pt idx="15766">
                  <c:v>43.794444444444444</c:v>
                </c:pt>
                <c:pt idx="15767">
                  <c:v>43.797222222222224</c:v>
                </c:pt>
                <c:pt idx="15768">
                  <c:v>43.8</c:v>
                </c:pt>
                <c:pt idx="15769">
                  <c:v>43.802777777777777</c:v>
                </c:pt>
                <c:pt idx="15770">
                  <c:v>43.805555555555557</c:v>
                </c:pt>
                <c:pt idx="15771">
                  <c:v>43.80833333333333</c:v>
                </c:pt>
                <c:pt idx="15772">
                  <c:v>43.81111111111111</c:v>
                </c:pt>
                <c:pt idx="15773">
                  <c:v>43.81388888888889</c:v>
                </c:pt>
                <c:pt idx="15774">
                  <c:v>43.81666666666667</c:v>
                </c:pt>
                <c:pt idx="15775">
                  <c:v>43.819444444444443</c:v>
                </c:pt>
                <c:pt idx="15776">
                  <c:v>43.822222222222223</c:v>
                </c:pt>
                <c:pt idx="15777">
                  <c:v>43.825000000000003</c:v>
                </c:pt>
                <c:pt idx="15778">
                  <c:v>43.827777777777776</c:v>
                </c:pt>
                <c:pt idx="15779">
                  <c:v>43.830555555555556</c:v>
                </c:pt>
                <c:pt idx="15780">
                  <c:v>43.833333333333336</c:v>
                </c:pt>
                <c:pt idx="15781">
                  <c:v>43.836111111111109</c:v>
                </c:pt>
                <c:pt idx="15782">
                  <c:v>43.838888888888889</c:v>
                </c:pt>
                <c:pt idx="15783">
                  <c:v>43.841666666666669</c:v>
                </c:pt>
                <c:pt idx="15784">
                  <c:v>43.844444444444441</c:v>
                </c:pt>
                <c:pt idx="15785">
                  <c:v>43.847222222222221</c:v>
                </c:pt>
                <c:pt idx="15786">
                  <c:v>43.85</c:v>
                </c:pt>
                <c:pt idx="15787">
                  <c:v>43.852777777777774</c:v>
                </c:pt>
                <c:pt idx="15788">
                  <c:v>43.855555555555554</c:v>
                </c:pt>
                <c:pt idx="15789">
                  <c:v>43.858333333333334</c:v>
                </c:pt>
                <c:pt idx="15790">
                  <c:v>43.861111111111114</c:v>
                </c:pt>
                <c:pt idx="15791">
                  <c:v>43.863888888888887</c:v>
                </c:pt>
                <c:pt idx="15792">
                  <c:v>43.866666666666667</c:v>
                </c:pt>
                <c:pt idx="15793">
                  <c:v>43.869444444444447</c:v>
                </c:pt>
                <c:pt idx="15794">
                  <c:v>43.87222222222222</c:v>
                </c:pt>
                <c:pt idx="15795">
                  <c:v>43.875</c:v>
                </c:pt>
                <c:pt idx="15796">
                  <c:v>43.87777777777778</c:v>
                </c:pt>
                <c:pt idx="15797">
                  <c:v>43.880555555555553</c:v>
                </c:pt>
                <c:pt idx="15798">
                  <c:v>43.883333333333333</c:v>
                </c:pt>
                <c:pt idx="15799">
                  <c:v>43.886111111111113</c:v>
                </c:pt>
                <c:pt idx="15800">
                  <c:v>43.888888888888886</c:v>
                </c:pt>
                <c:pt idx="15801">
                  <c:v>43.891666666666666</c:v>
                </c:pt>
                <c:pt idx="15802">
                  <c:v>43.894444444444446</c:v>
                </c:pt>
                <c:pt idx="15803">
                  <c:v>43.897222222222226</c:v>
                </c:pt>
                <c:pt idx="15804">
                  <c:v>43.9</c:v>
                </c:pt>
                <c:pt idx="15805">
                  <c:v>43.902777777777779</c:v>
                </c:pt>
                <c:pt idx="15806">
                  <c:v>43.905555555555559</c:v>
                </c:pt>
                <c:pt idx="15807">
                  <c:v>43.908333333333331</c:v>
                </c:pt>
                <c:pt idx="15808">
                  <c:v>43.911111111111111</c:v>
                </c:pt>
                <c:pt idx="15809">
                  <c:v>43.913888888888891</c:v>
                </c:pt>
                <c:pt idx="15810">
                  <c:v>43.916666666666664</c:v>
                </c:pt>
                <c:pt idx="15811">
                  <c:v>43.919444444444444</c:v>
                </c:pt>
                <c:pt idx="15812">
                  <c:v>43.922222222222224</c:v>
                </c:pt>
                <c:pt idx="15813">
                  <c:v>43.924999999999997</c:v>
                </c:pt>
                <c:pt idx="15814">
                  <c:v>43.927777777777777</c:v>
                </c:pt>
                <c:pt idx="15815">
                  <c:v>43.930555555555557</c:v>
                </c:pt>
                <c:pt idx="15816">
                  <c:v>43.93333333333333</c:v>
                </c:pt>
                <c:pt idx="15817">
                  <c:v>43.93611111111111</c:v>
                </c:pt>
                <c:pt idx="15818">
                  <c:v>43.93888888888889</c:v>
                </c:pt>
                <c:pt idx="15819">
                  <c:v>43.94166666666667</c:v>
                </c:pt>
                <c:pt idx="15820">
                  <c:v>43.944444444444443</c:v>
                </c:pt>
                <c:pt idx="15821">
                  <c:v>43.947222222222223</c:v>
                </c:pt>
                <c:pt idx="15822">
                  <c:v>43.95</c:v>
                </c:pt>
                <c:pt idx="15823">
                  <c:v>43.952777777777776</c:v>
                </c:pt>
                <c:pt idx="15824">
                  <c:v>43.955555555555556</c:v>
                </c:pt>
                <c:pt idx="15825">
                  <c:v>43.958333333333336</c:v>
                </c:pt>
                <c:pt idx="15826">
                  <c:v>43.961111111111109</c:v>
                </c:pt>
                <c:pt idx="15827">
                  <c:v>43.963888888888889</c:v>
                </c:pt>
                <c:pt idx="15828">
                  <c:v>43.966666666666669</c:v>
                </c:pt>
                <c:pt idx="15829">
                  <c:v>43.969444444444441</c:v>
                </c:pt>
                <c:pt idx="15830">
                  <c:v>43.972222222222221</c:v>
                </c:pt>
                <c:pt idx="15831">
                  <c:v>43.975000000000001</c:v>
                </c:pt>
                <c:pt idx="15832">
                  <c:v>43.977777777777774</c:v>
                </c:pt>
                <c:pt idx="15833">
                  <c:v>43.980555555555554</c:v>
                </c:pt>
                <c:pt idx="15834">
                  <c:v>43.983333333333334</c:v>
                </c:pt>
                <c:pt idx="15835">
                  <c:v>43.986111111111114</c:v>
                </c:pt>
                <c:pt idx="15836">
                  <c:v>43.988888888888887</c:v>
                </c:pt>
                <c:pt idx="15837">
                  <c:v>43.991666666666667</c:v>
                </c:pt>
                <c:pt idx="15838">
                  <c:v>43.994444444444447</c:v>
                </c:pt>
                <c:pt idx="15839">
                  <c:v>43.99722222222222</c:v>
                </c:pt>
                <c:pt idx="15840">
                  <c:v>44</c:v>
                </c:pt>
                <c:pt idx="15841">
                  <c:v>44.00277777777778</c:v>
                </c:pt>
                <c:pt idx="15842">
                  <c:v>44.005555555555553</c:v>
                </c:pt>
                <c:pt idx="15843">
                  <c:v>44.008333333333333</c:v>
                </c:pt>
                <c:pt idx="15844">
                  <c:v>44.011111111111113</c:v>
                </c:pt>
                <c:pt idx="15845">
                  <c:v>44.013888888888886</c:v>
                </c:pt>
                <c:pt idx="15846">
                  <c:v>44.016666666666666</c:v>
                </c:pt>
                <c:pt idx="15847">
                  <c:v>44.019444444444446</c:v>
                </c:pt>
                <c:pt idx="15848">
                  <c:v>44.022222222222226</c:v>
                </c:pt>
                <c:pt idx="15849">
                  <c:v>44.024999999999999</c:v>
                </c:pt>
                <c:pt idx="15850">
                  <c:v>44.027777777777779</c:v>
                </c:pt>
                <c:pt idx="15851">
                  <c:v>44.030555555555559</c:v>
                </c:pt>
                <c:pt idx="15852">
                  <c:v>44.033333333333331</c:v>
                </c:pt>
                <c:pt idx="15853">
                  <c:v>44.036111111111111</c:v>
                </c:pt>
                <c:pt idx="15854">
                  <c:v>44.038888888888891</c:v>
                </c:pt>
                <c:pt idx="15855">
                  <c:v>44.041666666666664</c:v>
                </c:pt>
                <c:pt idx="15856">
                  <c:v>44.044444444444444</c:v>
                </c:pt>
                <c:pt idx="15857">
                  <c:v>44.047222222222224</c:v>
                </c:pt>
                <c:pt idx="15858">
                  <c:v>44.05</c:v>
                </c:pt>
                <c:pt idx="15859">
                  <c:v>44.052777777777777</c:v>
                </c:pt>
                <c:pt idx="15860">
                  <c:v>44.055555555555557</c:v>
                </c:pt>
                <c:pt idx="15861">
                  <c:v>44.05833333333333</c:v>
                </c:pt>
                <c:pt idx="15862">
                  <c:v>44.06111111111111</c:v>
                </c:pt>
                <c:pt idx="15863">
                  <c:v>44.06388888888889</c:v>
                </c:pt>
                <c:pt idx="15864">
                  <c:v>44.06666666666667</c:v>
                </c:pt>
                <c:pt idx="15865">
                  <c:v>44.069444444444443</c:v>
                </c:pt>
                <c:pt idx="15866">
                  <c:v>44.072222222222223</c:v>
                </c:pt>
                <c:pt idx="15867">
                  <c:v>44.075000000000003</c:v>
                </c:pt>
                <c:pt idx="15868">
                  <c:v>44.077777777777776</c:v>
                </c:pt>
                <c:pt idx="15869">
                  <c:v>44.080555555555556</c:v>
                </c:pt>
                <c:pt idx="15870">
                  <c:v>44.083333333333336</c:v>
                </c:pt>
                <c:pt idx="15871">
                  <c:v>44.086111111111109</c:v>
                </c:pt>
                <c:pt idx="15872">
                  <c:v>44.088888888888889</c:v>
                </c:pt>
                <c:pt idx="15873">
                  <c:v>44.091666666666669</c:v>
                </c:pt>
                <c:pt idx="15874">
                  <c:v>44.094444444444441</c:v>
                </c:pt>
                <c:pt idx="15875">
                  <c:v>44.097222222222221</c:v>
                </c:pt>
                <c:pt idx="15876">
                  <c:v>44.1</c:v>
                </c:pt>
                <c:pt idx="15877">
                  <c:v>44.102777777777774</c:v>
                </c:pt>
                <c:pt idx="15878">
                  <c:v>44.105555555555554</c:v>
                </c:pt>
                <c:pt idx="15879">
                  <c:v>44.108333333333334</c:v>
                </c:pt>
                <c:pt idx="15880">
                  <c:v>44.111111111111114</c:v>
                </c:pt>
                <c:pt idx="15881">
                  <c:v>44.113888888888887</c:v>
                </c:pt>
                <c:pt idx="15882">
                  <c:v>44.116666666666667</c:v>
                </c:pt>
                <c:pt idx="15883">
                  <c:v>44.119444444444447</c:v>
                </c:pt>
                <c:pt idx="15884">
                  <c:v>44.12222222222222</c:v>
                </c:pt>
                <c:pt idx="15885">
                  <c:v>44.125</c:v>
                </c:pt>
                <c:pt idx="15886">
                  <c:v>44.12777777777778</c:v>
                </c:pt>
                <c:pt idx="15887">
                  <c:v>44.130555555555553</c:v>
                </c:pt>
                <c:pt idx="15888">
                  <c:v>44.133333333333333</c:v>
                </c:pt>
                <c:pt idx="15889">
                  <c:v>44.136111111111113</c:v>
                </c:pt>
                <c:pt idx="15890">
                  <c:v>44.138888888888886</c:v>
                </c:pt>
                <c:pt idx="15891">
                  <c:v>44.141666666666666</c:v>
                </c:pt>
                <c:pt idx="15892">
                  <c:v>44.144444444444446</c:v>
                </c:pt>
                <c:pt idx="15893">
                  <c:v>44.147222222222226</c:v>
                </c:pt>
                <c:pt idx="15894">
                  <c:v>44.15</c:v>
                </c:pt>
                <c:pt idx="15895">
                  <c:v>44.152777777777779</c:v>
                </c:pt>
                <c:pt idx="15896">
                  <c:v>44.155555555555559</c:v>
                </c:pt>
                <c:pt idx="15897">
                  <c:v>44.158333333333331</c:v>
                </c:pt>
                <c:pt idx="15898">
                  <c:v>44.161111111111111</c:v>
                </c:pt>
                <c:pt idx="15899">
                  <c:v>44.163888888888891</c:v>
                </c:pt>
                <c:pt idx="15900">
                  <c:v>44.166666666666664</c:v>
                </c:pt>
                <c:pt idx="15901">
                  <c:v>44.169444444444444</c:v>
                </c:pt>
                <c:pt idx="15902">
                  <c:v>44.172222222222224</c:v>
                </c:pt>
                <c:pt idx="15903">
                  <c:v>44.174999999999997</c:v>
                </c:pt>
                <c:pt idx="15904">
                  <c:v>44.177777777777777</c:v>
                </c:pt>
                <c:pt idx="15905">
                  <c:v>44.180555555555557</c:v>
                </c:pt>
                <c:pt idx="15906">
                  <c:v>44.18333333333333</c:v>
                </c:pt>
                <c:pt idx="15907">
                  <c:v>44.18611111111111</c:v>
                </c:pt>
                <c:pt idx="15908">
                  <c:v>44.18888888888889</c:v>
                </c:pt>
                <c:pt idx="15909">
                  <c:v>44.19166666666667</c:v>
                </c:pt>
                <c:pt idx="15910">
                  <c:v>44.194444444444443</c:v>
                </c:pt>
                <c:pt idx="15911">
                  <c:v>44.197222222222223</c:v>
                </c:pt>
                <c:pt idx="15912">
                  <c:v>44.2</c:v>
                </c:pt>
                <c:pt idx="15913">
                  <c:v>44.202777777777776</c:v>
                </c:pt>
                <c:pt idx="15914">
                  <c:v>44.205555555555556</c:v>
                </c:pt>
                <c:pt idx="15915">
                  <c:v>44.208333333333336</c:v>
                </c:pt>
                <c:pt idx="15916">
                  <c:v>44.211111111111109</c:v>
                </c:pt>
                <c:pt idx="15917">
                  <c:v>44.213888888888889</c:v>
                </c:pt>
                <c:pt idx="15918">
                  <c:v>44.216666666666669</c:v>
                </c:pt>
                <c:pt idx="15919">
                  <c:v>44.219444444444441</c:v>
                </c:pt>
                <c:pt idx="15920">
                  <c:v>44.222222222222221</c:v>
                </c:pt>
                <c:pt idx="15921">
                  <c:v>44.225000000000001</c:v>
                </c:pt>
                <c:pt idx="15922">
                  <c:v>44.227777777777774</c:v>
                </c:pt>
                <c:pt idx="15923">
                  <c:v>44.230555555555554</c:v>
                </c:pt>
                <c:pt idx="15924">
                  <c:v>44.233333333333334</c:v>
                </c:pt>
                <c:pt idx="15925">
                  <c:v>44.236111111111114</c:v>
                </c:pt>
                <c:pt idx="15926">
                  <c:v>44.238888888888887</c:v>
                </c:pt>
                <c:pt idx="15927">
                  <c:v>44.241666666666667</c:v>
                </c:pt>
                <c:pt idx="15928">
                  <c:v>44.244444444444447</c:v>
                </c:pt>
                <c:pt idx="15929">
                  <c:v>44.24722222222222</c:v>
                </c:pt>
                <c:pt idx="15930">
                  <c:v>44.25</c:v>
                </c:pt>
                <c:pt idx="15931">
                  <c:v>44.25277777777778</c:v>
                </c:pt>
                <c:pt idx="15932">
                  <c:v>44.255555555555553</c:v>
                </c:pt>
                <c:pt idx="15933">
                  <c:v>44.258333333333333</c:v>
                </c:pt>
                <c:pt idx="15934">
                  <c:v>44.261111111111113</c:v>
                </c:pt>
                <c:pt idx="15935">
                  <c:v>44.263888888888886</c:v>
                </c:pt>
                <c:pt idx="15936">
                  <c:v>44.266666666666666</c:v>
                </c:pt>
                <c:pt idx="15937">
                  <c:v>44.269444444444446</c:v>
                </c:pt>
                <c:pt idx="15938">
                  <c:v>44.272222222222226</c:v>
                </c:pt>
                <c:pt idx="15939">
                  <c:v>44.274999999999999</c:v>
                </c:pt>
                <c:pt idx="15940">
                  <c:v>44.277777777777779</c:v>
                </c:pt>
                <c:pt idx="15941">
                  <c:v>44.280555555555559</c:v>
                </c:pt>
                <c:pt idx="15942">
                  <c:v>44.283333333333331</c:v>
                </c:pt>
                <c:pt idx="15943">
                  <c:v>44.286111111111111</c:v>
                </c:pt>
                <c:pt idx="15944">
                  <c:v>44.288888888888891</c:v>
                </c:pt>
                <c:pt idx="15945">
                  <c:v>44.291666666666664</c:v>
                </c:pt>
                <c:pt idx="15946">
                  <c:v>44.294444444444444</c:v>
                </c:pt>
                <c:pt idx="15947">
                  <c:v>44.297222222222224</c:v>
                </c:pt>
                <c:pt idx="15948">
                  <c:v>44.3</c:v>
                </c:pt>
                <c:pt idx="15949">
                  <c:v>44.302777777777777</c:v>
                </c:pt>
                <c:pt idx="15950">
                  <c:v>44.305555555555557</c:v>
                </c:pt>
                <c:pt idx="15951">
                  <c:v>44.30833333333333</c:v>
                </c:pt>
                <c:pt idx="15952">
                  <c:v>44.31111111111111</c:v>
                </c:pt>
                <c:pt idx="15953">
                  <c:v>44.31388888888889</c:v>
                </c:pt>
                <c:pt idx="15954">
                  <c:v>44.31666666666667</c:v>
                </c:pt>
                <c:pt idx="15955">
                  <c:v>44.319444444444443</c:v>
                </c:pt>
                <c:pt idx="15956">
                  <c:v>44.322222222222223</c:v>
                </c:pt>
                <c:pt idx="15957">
                  <c:v>44.325000000000003</c:v>
                </c:pt>
                <c:pt idx="15958">
                  <c:v>44.327777777777776</c:v>
                </c:pt>
                <c:pt idx="15959">
                  <c:v>44.330555555555556</c:v>
                </c:pt>
                <c:pt idx="15960">
                  <c:v>44.333333333333336</c:v>
                </c:pt>
                <c:pt idx="15961">
                  <c:v>44.336111111111109</c:v>
                </c:pt>
                <c:pt idx="15962">
                  <c:v>44.338888888888889</c:v>
                </c:pt>
                <c:pt idx="15963">
                  <c:v>44.341666666666669</c:v>
                </c:pt>
                <c:pt idx="15964">
                  <c:v>44.344444444444441</c:v>
                </c:pt>
                <c:pt idx="15965">
                  <c:v>44.347222222222221</c:v>
                </c:pt>
                <c:pt idx="15966">
                  <c:v>44.35</c:v>
                </c:pt>
                <c:pt idx="15967">
                  <c:v>44.352777777777774</c:v>
                </c:pt>
                <c:pt idx="15968">
                  <c:v>44.355555555555554</c:v>
                </c:pt>
                <c:pt idx="15969">
                  <c:v>44.358333333333334</c:v>
                </c:pt>
                <c:pt idx="15970">
                  <c:v>44.361111111111114</c:v>
                </c:pt>
                <c:pt idx="15971">
                  <c:v>44.363888888888887</c:v>
                </c:pt>
                <c:pt idx="15972">
                  <c:v>44.366666666666667</c:v>
                </c:pt>
                <c:pt idx="15973">
                  <c:v>44.369444444444447</c:v>
                </c:pt>
                <c:pt idx="15974">
                  <c:v>44.37222222222222</c:v>
                </c:pt>
                <c:pt idx="15975">
                  <c:v>44.375</c:v>
                </c:pt>
                <c:pt idx="15976">
                  <c:v>44.37777777777778</c:v>
                </c:pt>
                <c:pt idx="15977">
                  <c:v>44.380555555555553</c:v>
                </c:pt>
                <c:pt idx="15978">
                  <c:v>44.383333333333333</c:v>
                </c:pt>
                <c:pt idx="15979">
                  <c:v>44.386111111111113</c:v>
                </c:pt>
                <c:pt idx="15980">
                  <c:v>44.388888888888886</c:v>
                </c:pt>
                <c:pt idx="15981">
                  <c:v>44.391666666666666</c:v>
                </c:pt>
                <c:pt idx="15982">
                  <c:v>44.394444444444446</c:v>
                </c:pt>
                <c:pt idx="15983">
                  <c:v>44.397222222222226</c:v>
                </c:pt>
                <c:pt idx="15984">
                  <c:v>44.4</c:v>
                </c:pt>
                <c:pt idx="15985">
                  <c:v>44.402777777777779</c:v>
                </c:pt>
                <c:pt idx="15986">
                  <c:v>44.405555555555559</c:v>
                </c:pt>
                <c:pt idx="15987">
                  <c:v>44.408333333333331</c:v>
                </c:pt>
                <c:pt idx="15988">
                  <c:v>44.411111111111111</c:v>
                </c:pt>
                <c:pt idx="15989">
                  <c:v>44.413888888888891</c:v>
                </c:pt>
                <c:pt idx="15990">
                  <c:v>44.416666666666664</c:v>
                </c:pt>
                <c:pt idx="15991">
                  <c:v>44.419444444444444</c:v>
                </c:pt>
                <c:pt idx="15992">
                  <c:v>44.422222222222224</c:v>
                </c:pt>
                <c:pt idx="15993">
                  <c:v>44.424999999999997</c:v>
                </c:pt>
                <c:pt idx="15994">
                  <c:v>44.427777777777777</c:v>
                </c:pt>
                <c:pt idx="15995">
                  <c:v>44.430555555555557</c:v>
                </c:pt>
                <c:pt idx="15996">
                  <c:v>44.43333333333333</c:v>
                </c:pt>
                <c:pt idx="15997">
                  <c:v>44.43611111111111</c:v>
                </c:pt>
                <c:pt idx="15998">
                  <c:v>44.43888888888889</c:v>
                </c:pt>
                <c:pt idx="15999">
                  <c:v>44.44166666666667</c:v>
                </c:pt>
                <c:pt idx="16000">
                  <c:v>44.444444444444443</c:v>
                </c:pt>
                <c:pt idx="16001">
                  <c:v>44.447222222222223</c:v>
                </c:pt>
                <c:pt idx="16002">
                  <c:v>44.45</c:v>
                </c:pt>
                <c:pt idx="16003">
                  <c:v>44.452777777777776</c:v>
                </c:pt>
                <c:pt idx="16004">
                  <c:v>44.455555555555556</c:v>
                </c:pt>
                <c:pt idx="16005">
                  <c:v>44.458333333333336</c:v>
                </c:pt>
                <c:pt idx="16006">
                  <c:v>44.461111111111109</c:v>
                </c:pt>
                <c:pt idx="16007">
                  <c:v>44.463888888888889</c:v>
                </c:pt>
                <c:pt idx="16008">
                  <c:v>44.466666666666669</c:v>
                </c:pt>
                <c:pt idx="16009">
                  <c:v>44.469444444444441</c:v>
                </c:pt>
                <c:pt idx="16010">
                  <c:v>44.472222222222221</c:v>
                </c:pt>
                <c:pt idx="16011">
                  <c:v>44.475000000000001</c:v>
                </c:pt>
                <c:pt idx="16012">
                  <c:v>44.477777777777774</c:v>
                </c:pt>
                <c:pt idx="16013">
                  <c:v>44.480555555555554</c:v>
                </c:pt>
                <c:pt idx="16014">
                  <c:v>44.483333333333334</c:v>
                </c:pt>
                <c:pt idx="16015">
                  <c:v>44.486111111111114</c:v>
                </c:pt>
                <c:pt idx="16016">
                  <c:v>44.488888888888887</c:v>
                </c:pt>
                <c:pt idx="16017">
                  <c:v>44.491666666666667</c:v>
                </c:pt>
                <c:pt idx="16018">
                  <c:v>44.494444444444447</c:v>
                </c:pt>
                <c:pt idx="16019">
                  <c:v>44.49722222222222</c:v>
                </c:pt>
                <c:pt idx="16020">
                  <c:v>44.5</c:v>
                </c:pt>
                <c:pt idx="16021">
                  <c:v>44.50277777777778</c:v>
                </c:pt>
                <c:pt idx="16022">
                  <c:v>44.505555555555553</c:v>
                </c:pt>
                <c:pt idx="16023">
                  <c:v>44.508333333333333</c:v>
                </c:pt>
                <c:pt idx="16024">
                  <c:v>44.511111111111113</c:v>
                </c:pt>
                <c:pt idx="16025">
                  <c:v>44.513888888888886</c:v>
                </c:pt>
                <c:pt idx="16026">
                  <c:v>44.516666666666666</c:v>
                </c:pt>
                <c:pt idx="16027">
                  <c:v>44.519444444444446</c:v>
                </c:pt>
                <c:pt idx="16028">
                  <c:v>44.522222222222226</c:v>
                </c:pt>
                <c:pt idx="16029">
                  <c:v>44.524999999999999</c:v>
                </c:pt>
                <c:pt idx="16030">
                  <c:v>44.527777777777779</c:v>
                </c:pt>
                <c:pt idx="16031">
                  <c:v>44.530555555555559</c:v>
                </c:pt>
                <c:pt idx="16032">
                  <c:v>44.533333333333331</c:v>
                </c:pt>
                <c:pt idx="16033">
                  <c:v>44.536111111111111</c:v>
                </c:pt>
                <c:pt idx="16034">
                  <c:v>44.538888888888891</c:v>
                </c:pt>
                <c:pt idx="16035">
                  <c:v>44.541666666666664</c:v>
                </c:pt>
                <c:pt idx="16036">
                  <c:v>44.544444444444444</c:v>
                </c:pt>
                <c:pt idx="16037">
                  <c:v>44.547222222222224</c:v>
                </c:pt>
                <c:pt idx="16038">
                  <c:v>44.55</c:v>
                </c:pt>
                <c:pt idx="16039">
                  <c:v>44.552777777777777</c:v>
                </c:pt>
                <c:pt idx="16040">
                  <c:v>44.555555555555557</c:v>
                </c:pt>
                <c:pt idx="16041">
                  <c:v>44.55833333333333</c:v>
                </c:pt>
                <c:pt idx="16042">
                  <c:v>44.56111111111111</c:v>
                </c:pt>
                <c:pt idx="16043">
                  <c:v>44.56388888888889</c:v>
                </c:pt>
                <c:pt idx="16044">
                  <c:v>44.56666666666667</c:v>
                </c:pt>
                <c:pt idx="16045">
                  <c:v>44.569444444444443</c:v>
                </c:pt>
                <c:pt idx="16046">
                  <c:v>44.572222222222223</c:v>
                </c:pt>
                <c:pt idx="16047">
                  <c:v>44.575000000000003</c:v>
                </c:pt>
                <c:pt idx="16048">
                  <c:v>44.577777777777776</c:v>
                </c:pt>
                <c:pt idx="16049">
                  <c:v>44.580555555555556</c:v>
                </c:pt>
                <c:pt idx="16050">
                  <c:v>44.583333333333336</c:v>
                </c:pt>
                <c:pt idx="16051">
                  <c:v>44.586111111111109</c:v>
                </c:pt>
                <c:pt idx="16052">
                  <c:v>44.588888888888889</c:v>
                </c:pt>
                <c:pt idx="16053">
                  <c:v>44.591666666666669</c:v>
                </c:pt>
                <c:pt idx="16054">
                  <c:v>44.594444444444441</c:v>
                </c:pt>
                <c:pt idx="16055">
                  <c:v>44.597222222222221</c:v>
                </c:pt>
                <c:pt idx="16056">
                  <c:v>44.6</c:v>
                </c:pt>
                <c:pt idx="16057">
                  <c:v>44.602777777777774</c:v>
                </c:pt>
                <c:pt idx="16058">
                  <c:v>44.605555555555554</c:v>
                </c:pt>
                <c:pt idx="16059">
                  <c:v>44.608333333333334</c:v>
                </c:pt>
                <c:pt idx="16060">
                  <c:v>44.611111111111114</c:v>
                </c:pt>
                <c:pt idx="16061">
                  <c:v>44.613888888888887</c:v>
                </c:pt>
                <c:pt idx="16062">
                  <c:v>44.616666666666667</c:v>
                </c:pt>
                <c:pt idx="16063">
                  <c:v>44.619444444444447</c:v>
                </c:pt>
                <c:pt idx="16064">
                  <c:v>44.62222222222222</c:v>
                </c:pt>
                <c:pt idx="16065">
                  <c:v>44.625</c:v>
                </c:pt>
                <c:pt idx="16066">
                  <c:v>44.62777777777778</c:v>
                </c:pt>
                <c:pt idx="16067">
                  <c:v>44.630555555555553</c:v>
                </c:pt>
                <c:pt idx="16068">
                  <c:v>44.633333333333333</c:v>
                </c:pt>
                <c:pt idx="16069">
                  <c:v>44.636111111111113</c:v>
                </c:pt>
                <c:pt idx="16070">
                  <c:v>44.638888888888886</c:v>
                </c:pt>
                <c:pt idx="16071">
                  <c:v>44.641666666666666</c:v>
                </c:pt>
                <c:pt idx="16072">
                  <c:v>44.644444444444446</c:v>
                </c:pt>
                <c:pt idx="16073">
                  <c:v>44.647222222222226</c:v>
                </c:pt>
                <c:pt idx="16074">
                  <c:v>44.65</c:v>
                </c:pt>
                <c:pt idx="16075">
                  <c:v>44.652777777777779</c:v>
                </c:pt>
                <c:pt idx="16076">
                  <c:v>44.655555555555559</c:v>
                </c:pt>
                <c:pt idx="16077">
                  <c:v>44.658333333333331</c:v>
                </c:pt>
                <c:pt idx="16078">
                  <c:v>44.661111111111111</c:v>
                </c:pt>
                <c:pt idx="16079">
                  <c:v>44.663888888888891</c:v>
                </c:pt>
                <c:pt idx="16080">
                  <c:v>44.666666666666664</c:v>
                </c:pt>
                <c:pt idx="16081">
                  <c:v>44.669444444444444</c:v>
                </c:pt>
                <c:pt idx="16082">
                  <c:v>44.672222222222224</c:v>
                </c:pt>
                <c:pt idx="16083">
                  <c:v>44.674999999999997</c:v>
                </c:pt>
                <c:pt idx="16084">
                  <c:v>44.677777777777777</c:v>
                </c:pt>
                <c:pt idx="16085">
                  <c:v>44.680555555555557</c:v>
                </c:pt>
                <c:pt idx="16086">
                  <c:v>44.68333333333333</c:v>
                </c:pt>
                <c:pt idx="16087">
                  <c:v>44.68611111111111</c:v>
                </c:pt>
                <c:pt idx="16088">
                  <c:v>44.68888888888889</c:v>
                </c:pt>
                <c:pt idx="16089">
                  <c:v>44.69166666666667</c:v>
                </c:pt>
                <c:pt idx="16090">
                  <c:v>44.694444444444443</c:v>
                </c:pt>
                <c:pt idx="16091">
                  <c:v>44.697222222222223</c:v>
                </c:pt>
                <c:pt idx="16092">
                  <c:v>44.7</c:v>
                </c:pt>
                <c:pt idx="16093">
                  <c:v>44.702777777777776</c:v>
                </c:pt>
                <c:pt idx="16094">
                  <c:v>44.705555555555556</c:v>
                </c:pt>
                <c:pt idx="16095">
                  <c:v>44.708333333333336</c:v>
                </c:pt>
                <c:pt idx="16096">
                  <c:v>44.711111111111109</c:v>
                </c:pt>
                <c:pt idx="16097">
                  <c:v>44.713888888888889</c:v>
                </c:pt>
                <c:pt idx="16098">
                  <c:v>44.716666666666669</c:v>
                </c:pt>
                <c:pt idx="16099">
                  <c:v>44.719444444444441</c:v>
                </c:pt>
                <c:pt idx="16100">
                  <c:v>44.722222222222221</c:v>
                </c:pt>
                <c:pt idx="16101">
                  <c:v>44.725000000000001</c:v>
                </c:pt>
                <c:pt idx="16102">
                  <c:v>44.727777777777774</c:v>
                </c:pt>
                <c:pt idx="16103">
                  <c:v>44.730555555555554</c:v>
                </c:pt>
                <c:pt idx="16104">
                  <c:v>44.733333333333334</c:v>
                </c:pt>
                <c:pt idx="16105">
                  <c:v>44.736111111111114</c:v>
                </c:pt>
                <c:pt idx="16106">
                  <c:v>44.738888888888887</c:v>
                </c:pt>
                <c:pt idx="16107">
                  <c:v>44.741666666666667</c:v>
                </c:pt>
                <c:pt idx="16108">
                  <c:v>44.744444444444447</c:v>
                </c:pt>
                <c:pt idx="16109">
                  <c:v>44.74722222222222</c:v>
                </c:pt>
                <c:pt idx="16110">
                  <c:v>44.75</c:v>
                </c:pt>
                <c:pt idx="16111">
                  <c:v>44.75277777777778</c:v>
                </c:pt>
                <c:pt idx="16112">
                  <c:v>44.755555555555553</c:v>
                </c:pt>
                <c:pt idx="16113">
                  <c:v>44.758333333333333</c:v>
                </c:pt>
                <c:pt idx="16114">
                  <c:v>44.761111111111113</c:v>
                </c:pt>
                <c:pt idx="16115">
                  <c:v>44.763888888888886</c:v>
                </c:pt>
                <c:pt idx="16116">
                  <c:v>44.766666666666666</c:v>
                </c:pt>
                <c:pt idx="16117">
                  <c:v>44.769444444444446</c:v>
                </c:pt>
                <c:pt idx="16118">
                  <c:v>44.772222222222226</c:v>
                </c:pt>
                <c:pt idx="16119">
                  <c:v>44.774999999999999</c:v>
                </c:pt>
                <c:pt idx="16120">
                  <c:v>44.777777777777779</c:v>
                </c:pt>
                <c:pt idx="16121">
                  <c:v>44.780555555555559</c:v>
                </c:pt>
                <c:pt idx="16122">
                  <c:v>44.783333333333331</c:v>
                </c:pt>
                <c:pt idx="16123">
                  <c:v>44.786111111111111</c:v>
                </c:pt>
                <c:pt idx="16124">
                  <c:v>44.788888888888891</c:v>
                </c:pt>
                <c:pt idx="16125">
                  <c:v>44.791666666666664</c:v>
                </c:pt>
                <c:pt idx="16126">
                  <c:v>44.794444444444444</c:v>
                </c:pt>
                <c:pt idx="16127">
                  <c:v>44.797222222222224</c:v>
                </c:pt>
                <c:pt idx="16128">
                  <c:v>44.8</c:v>
                </c:pt>
                <c:pt idx="16129">
                  <c:v>44.802777777777777</c:v>
                </c:pt>
                <c:pt idx="16130">
                  <c:v>44.805555555555557</c:v>
                </c:pt>
                <c:pt idx="16131">
                  <c:v>44.80833333333333</c:v>
                </c:pt>
                <c:pt idx="16132">
                  <c:v>44.81111111111111</c:v>
                </c:pt>
                <c:pt idx="16133">
                  <c:v>44.81388888888889</c:v>
                </c:pt>
                <c:pt idx="16134">
                  <c:v>44.81666666666667</c:v>
                </c:pt>
                <c:pt idx="16135">
                  <c:v>44.819444444444443</c:v>
                </c:pt>
                <c:pt idx="16136">
                  <c:v>44.822222222222223</c:v>
                </c:pt>
                <c:pt idx="16137">
                  <c:v>44.825000000000003</c:v>
                </c:pt>
                <c:pt idx="16138">
                  <c:v>44.827777777777776</c:v>
                </c:pt>
                <c:pt idx="16139">
                  <c:v>44.830555555555556</c:v>
                </c:pt>
                <c:pt idx="16140">
                  <c:v>44.833333333333336</c:v>
                </c:pt>
                <c:pt idx="16141">
                  <c:v>44.836111111111109</c:v>
                </c:pt>
                <c:pt idx="16142">
                  <c:v>44.838888888888889</c:v>
                </c:pt>
                <c:pt idx="16143">
                  <c:v>44.841666666666669</c:v>
                </c:pt>
                <c:pt idx="16144">
                  <c:v>44.844444444444441</c:v>
                </c:pt>
                <c:pt idx="16145">
                  <c:v>44.847222222222221</c:v>
                </c:pt>
                <c:pt idx="16146">
                  <c:v>44.85</c:v>
                </c:pt>
                <c:pt idx="16147">
                  <c:v>44.852777777777774</c:v>
                </c:pt>
                <c:pt idx="16148">
                  <c:v>44.855555555555554</c:v>
                </c:pt>
                <c:pt idx="16149">
                  <c:v>44.858333333333334</c:v>
                </c:pt>
                <c:pt idx="16150">
                  <c:v>44.861111111111114</c:v>
                </c:pt>
                <c:pt idx="16151">
                  <c:v>44.863888888888887</c:v>
                </c:pt>
                <c:pt idx="16152">
                  <c:v>44.866666666666667</c:v>
                </c:pt>
                <c:pt idx="16153">
                  <c:v>44.869444444444447</c:v>
                </c:pt>
                <c:pt idx="16154">
                  <c:v>44.87222222222222</c:v>
                </c:pt>
                <c:pt idx="16155">
                  <c:v>44.875</c:v>
                </c:pt>
                <c:pt idx="16156">
                  <c:v>44.87777777777778</c:v>
                </c:pt>
                <c:pt idx="16157">
                  <c:v>44.880555555555553</c:v>
                </c:pt>
                <c:pt idx="16158">
                  <c:v>44.883333333333333</c:v>
                </c:pt>
                <c:pt idx="16159">
                  <c:v>44.886111111111113</c:v>
                </c:pt>
                <c:pt idx="16160">
                  <c:v>44.888888888888886</c:v>
                </c:pt>
                <c:pt idx="16161">
                  <c:v>44.891666666666666</c:v>
                </c:pt>
                <c:pt idx="16162">
                  <c:v>44.894444444444446</c:v>
                </c:pt>
                <c:pt idx="16163">
                  <c:v>44.897222222222226</c:v>
                </c:pt>
                <c:pt idx="16164">
                  <c:v>44.9</c:v>
                </c:pt>
                <c:pt idx="16165">
                  <c:v>44.902777777777779</c:v>
                </c:pt>
                <c:pt idx="16166">
                  <c:v>44.905555555555559</c:v>
                </c:pt>
                <c:pt idx="16167">
                  <c:v>44.908333333333331</c:v>
                </c:pt>
                <c:pt idx="16168">
                  <c:v>44.911111111111111</c:v>
                </c:pt>
                <c:pt idx="16169">
                  <c:v>44.913888888888891</c:v>
                </c:pt>
                <c:pt idx="16170">
                  <c:v>44.916666666666664</c:v>
                </c:pt>
                <c:pt idx="16171">
                  <c:v>44.919444444444444</c:v>
                </c:pt>
                <c:pt idx="16172">
                  <c:v>44.922222222222224</c:v>
                </c:pt>
                <c:pt idx="16173">
                  <c:v>44.924999999999997</c:v>
                </c:pt>
                <c:pt idx="16174">
                  <c:v>44.927777777777777</c:v>
                </c:pt>
                <c:pt idx="16175">
                  <c:v>44.930555555555557</c:v>
                </c:pt>
                <c:pt idx="16176">
                  <c:v>44.93333333333333</c:v>
                </c:pt>
                <c:pt idx="16177">
                  <c:v>44.93611111111111</c:v>
                </c:pt>
                <c:pt idx="16178">
                  <c:v>44.93888888888889</c:v>
                </c:pt>
                <c:pt idx="16179">
                  <c:v>44.94166666666667</c:v>
                </c:pt>
                <c:pt idx="16180">
                  <c:v>44.944444444444443</c:v>
                </c:pt>
                <c:pt idx="16181">
                  <c:v>44.947222222222223</c:v>
                </c:pt>
                <c:pt idx="16182">
                  <c:v>44.95</c:v>
                </c:pt>
                <c:pt idx="16183">
                  <c:v>44.952777777777776</c:v>
                </c:pt>
                <c:pt idx="16184">
                  <c:v>44.955555555555556</c:v>
                </c:pt>
                <c:pt idx="16185">
                  <c:v>44.958333333333336</c:v>
                </c:pt>
                <c:pt idx="16186">
                  <c:v>44.961111111111109</c:v>
                </c:pt>
                <c:pt idx="16187">
                  <c:v>44.963888888888889</c:v>
                </c:pt>
                <c:pt idx="16188">
                  <c:v>44.966666666666669</c:v>
                </c:pt>
                <c:pt idx="16189">
                  <c:v>44.969444444444441</c:v>
                </c:pt>
                <c:pt idx="16190">
                  <c:v>44.972222222222221</c:v>
                </c:pt>
                <c:pt idx="16191">
                  <c:v>44.975000000000001</c:v>
                </c:pt>
                <c:pt idx="16192">
                  <c:v>44.977777777777774</c:v>
                </c:pt>
                <c:pt idx="16193">
                  <c:v>44.980555555555554</c:v>
                </c:pt>
                <c:pt idx="16194">
                  <c:v>44.983333333333334</c:v>
                </c:pt>
                <c:pt idx="16195">
                  <c:v>44.986111111111114</c:v>
                </c:pt>
                <c:pt idx="16196">
                  <c:v>44.988888888888887</c:v>
                </c:pt>
                <c:pt idx="16197">
                  <c:v>44.991666666666667</c:v>
                </c:pt>
                <c:pt idx="16198">
                  <c:v>44.994444444444447</c:v>
                </c:pt>
                <c:pt idx="16199">
                  <c:v>44.99722222222222</c:v>
                </c:pt>
                <c:pt idx="16200">
                  <c:v>45</c:v>
                </c:pt>
                <c:pt idx="16201">
                  <c:v>45.00277777777778</c:v>
                </c:pt>
                <c:pt idx="16202">
                  <c:v>45.005555555555553</c:v>
                </c:pt>
                <c:pt idx="16203">
                  <c:v>45.008333333333333</c:v>
                </c:pt>
                <c:pt idx="16204">
                  <c:v>45.011111111111113</c:v>
                </c:pt>
                <c:pt idx="16205">
                  <c:v>45.013888888888886</c:v>
                </c:pt>
                <c:pt idx="16206">
                  <c:v>45.016666666666666</c:v>
                </c:pt>
                <c:pt idx="16207">
                  <c:v>45.019444444444446</c:v>
                </c:pt>
                <c:pt idx="16208">
                  <c:v>45.022222222222226</c:v>
                </c:pt>
                <c:pt idx="16209">
                  <c:v>45.024999999999999</c:v>
                </c:pt>
                <c:pt idx="16210">
                  <c:v>45.027777777777779</c:v>
                </c:pt>
                <c:pt idx="16211">
                  <c:v>45.030555555555559</c:v>
                </c:pt>
                <c:pt idx="16212">
                  <c:v>45.033333333333331</c:v>
                </c:pt>
                <c:pt idx="16213">
                  <c:v>45.036111111111111</c:v>
                </c:pt>
                <c:pt idx="16214">
                  <c:v>45.038888888888891</c:v>
                </c:pt>
                <c:pt idx="16215">
                  <c:v>45.041666666666664</c:v>
                </c:pt>
                <c:pt idx="16216">
                  <c:v>45.044444444444444</c:v>
                </c:pt>
                <c:pt idx="16217">
                  <c:v>45.047222222222224</c:v>
                </c:pt>
                <c:pt idx="16218">
                  <c:v>45.05</c:v>
                </c:pt>
                <c:pt idx="16219">
                  <c:v>45.052777777777777</c:v>
                </c:pt>
                <c:pt idx="16220">
                  <c:v>45.055555555555557</c:v>
                </c:pt>
                <c:pt idx="16221">
                  <c:v>45.05833333333333</c:v>
                </c:pt>
                <c:pt idx="16222">
                  <c:v>45.06111111111111</c:v>
                </c:pt>
                <c:pt idx="16223">
                  <c:v>45.06388888888889</c:v>
                </c:pt>
                <c:pt idx="16224">
                  <c:v>45.06666666666667</c:v>
                </c:pt>
                <c:pt idx="16225">
                  <c:v>45.069444444444443</c:v>
                </c:pt>
                <c:pt idx="16226">
                  <c:v>45.072222222222223</c:v>
                </c:pt>
                <c:pt idx="16227">
                  <c:v>45.075000000000003</c:v>
                </c:pt>
                <c:pt idx="16228">
                  <c:v>45.077777777777776</c:v>
                </c:pt>
                <c:pt idx="16229">
                  <c:v>45.080555555555556</c:v>
                </c:pt>
                <c:pt idx="16230">
                  <c:v>45.083333333333336</c:v>
                </c:pt>
                <c:pt idx="16231">
                  <c:v>45.086111111111109</c:v>
                </c:pt>
                <c:pt idx="16232">
                  <c:v>45.088888888888889</c:v>
                </c:pt>
                <c:pt idx="16233">
                  <c:v>45.091666666666669</c:v>
                </c:pt>
                <c:pt idx="16234">
                  <c:v>45.094444444444441</c:v>
                </c:pt>
                <c:pt idx="16235">
                  <c:v>45.097222222222221</c:v>
                </c:pt>
                <c:pt idx="16236">
                  <c:v>45.1</c:v>
                </c:pt>
                <c:pt idx="16237">
                  <c:v>45.102777777777774</c:v>
                </c:pt>
                <c:pt idx="16238">
                  <c:v>45.105555555555554</c:v>
                </c:pt>
                <c:pt idx="16239">
                  <c:v>45.108333333333334</c:v>
                </c:pt>
                <c:pt idx="16240">
                  <c:v>45.111111111111114</c:v>
                </c:pt>
                <c:pt idx="16241">
                  <c:v>45.113888888888887</c:v>
                </c:pt>
                <c:pt idx="16242">
                  <c:v>45.116666666666667</c:v>
                </c:pt>
                <c:pt idx="16243">
                  <c:v>45.119444444444447</c:v>
                </c:pt>
                <c:pt idx="16244">
                  <c:v>45.12222222222222</c:v>
                </c:pt>
                <c:pt idx="16245">
                  <c:v>45.125</c:v>
                </c:pt>
                <c:pt idx="16246">
                  <c:v>45.12777777777778</c:v>
                </c:pt>
                <c:pt idx="16247">
                  <c:v>45.130555555555553</c:v>
                </c:pt>
                <c:pt idx="16248">
                  <c:v>45.133333333333333</c:v>
                </c:pt>
                <c:pt idx="16249">
                  <c:v>45.136111111111113</c:v>
                </c:pt>
                <c:pt idx="16250">
                  <c:v>45.138888888888886</c:v>
                </c:pt>
                <c:pt idx="16251">
                  <c:v>45.141666666666666</c:v>
                </c:pt>
                <c:pt idx="16252">
                  <c:v>45.144444444444446</c:v>
                </c:pt>
                <c:pt idx="16253">
                  <c:v>45.147222222222226</c:v>
                </c:pt>
                <c:pt idx="16254">
                  <c:v>45.15</c:v>
                </c:pt>
                <c:pt idx="16255">
                  <c:v>45.152777777777779</c:v>
                </c:pt>
                <c:pt idx="16256">
                  <c:v>45.155555555555559</c:v>
                </c:pt>
                <c:pt idx="16257">
                  <c:v>45.158333333333331</c:v>
                </c:pt>
                <c:pt idx="16258">
                  <c:v>45.161111111111111</c:v>
                </c:pt>
                <c:pt idx="16259">
                  <c:v>45.163888888888891</c:v>
                </c:pt>
                <c:pt idx="16260">
                  <c:v>45.166666666666664</c:v>
                </c:pt>
                <c:pt idx="16261">
                  <c:v>45.169444444444444</c:v>
                </c:pt>
                <c:pt idx="16262">
                  <c:v>45.172222222222224</c:v>
                </c:pt>
                <c:pt idx="16263">
                  <c:v>45.174999999999997</c:v>
                </c:pt>
                <c:pt idx="16264">
                  <c:v>45.177777777777777</c:v>
                </c:pt>
                <c:pt idx="16265">
                  <c:v>45.180555555555557</c:v>
                </c:pt>
                <c:pt idx="16266">
                  <c:v>45.18333333333333</c:v>
                </c:pt>
                <c:pt idx="16267">
                  <c:v>45.18611111111111</c:v>
                </c:pt>
                <c:pt idx="16268">
                  <c:v>45.18888888888889</c:v>
                </c:pt>
                <c:pt idx="16269">
                  <c:v>45.19166666666667</c:v>
                </c:pt>
                <c:pt idx="16270">
                  <c:v>45.194444444444443</c:v>
                </c:pt>
                <c:pt idx="16271">
                  <c:v>45.197222222222223</c:v>
                </c:pt>
                <c:pt idx="16272">
                  <c:v>45.2</c:v>
                </c:pt>
                <c:pt idx="16273">
                  <c:v>45.202777777777776</c:v>
                </c:pt>
                <c:pt idx="16274">
                  <c:v>45.205555555555556</c:v>
                </c:pt>
                <c:pt idx="16275">
                  <c:v>45.208333333333336</c:v>
                </c:pt>
                <c:pt idx="16276">
                  <c:v>45.211111111111109</c:v>
                </c:pt>
                <c:pt idx="16277">
                  <c:v>45.213888888888889</c:v>
                </c:pt>
                <c:pt idx="16278">
                  <c:v>45.216666666666669</c:v>
                </c:pt>
                <c:pt idx="16279">
                  <c:v>45.219444444444441</c:v>
                </c:pt>
                <c:pt idx="16280">
                  <c:v>45.222222222222221</c:v>
                </c:pt>
                <c:pt idx="16281">
                  <c:v>45.225000000000001</c:v>
                </c:pt>
                <c:pt idx="16282">
                  <c:v>45.227777777777774</c:v>
                </c:pt>
                <c:pt idx="16283">
                  <c:v>45.230555555555554</c:v>
                </c:pt>
                <c:pt idx="16284">
                  <c:v>45.233333333333334</c:v>
                </c:pt>
                <c:pt idx="16285">
                  <c:v>45.236111111111114</c:v>
                </c:pt>
                <c:pt idx="16286">
                  <c:v>45.238888888888887</c:v>
                </c:pt>
                <c:pt idx="16287">
                  <c:v>45.241666666666667</c:v>
                </c:pt>
                <c:pt idx="16288">
                  <c:v>45.244444444444447</c:v>
                </c:pt>
                <c:pt idx="16289">
                  <c:v>45.24722222222222</c:v>
                </c:pt>
                <c:pt idx="16290">
                  <c:v>45.25</c:v>
                </c:pt>
                <c:pt idx="16291">
                  <c:v>45.25277777777778</c:v>
                </c:pt>
                <c:pt idx="16292">
                  <c:v>45.255555555555553</c:v>
                </c:pt>
                <c:pt idx="16293">
                  <c:v>45.258333333333333</c:v>
                </c:pt>
                <c:pt idx="16294">
                  <c:v>45.261111111111113</c:v>
                </c:pt>
                <c:pt idx="16295">
                  <c:v>45.263888888888886</c:v>
                </c:pt>
                <c:pt idx="16296">
                  <c:v>45.266666666666666</c:v>
                </c:pt>
                <c:pt idx="16297">
                  <c:v>45.269444444444446</c:v>
                </c:pt>
                <c:pt idx="16298">
                  <c:v>45.272222222222226</c:v>
                </c:pt>
                <c:pt idx="16299">
                  <c:v>45.274999999999999</c:v>
                </c:pt>
                <c:pt idx="16300">
                  <c:v>45.277777777777779</c:v>
                </c:pt>
                <c:pt idx="16301">
                  <c:v>45.280555555555559</c:v>
                </c:pt>
                <c:pt idx="16302">
                  <c:v>45.283333333333331</c:v>
                </c:pt>
                <c:pt idx="16303">
                  <c:v>45.286111111111111</c:v>
                </c:pt>
                <c:pt idx="16304">
                  <c:v>45.288888888888891</c:v>
                </c:pt>
                <c:pt idx="16305">
                  <c:v>45.291666666666664</c:v>
                </c:pt>
                <c:pt idx="16306">
                  <c:v>45.294444444444444</c:v>
                </c:pt>
                <c:pt idx="16307">
                  <c:v>45.297222222222224</c:v>
                </c:pt>
                <c:pt idx="16308">
                  <c:v>45.3</c:v>
                </c:pt>
                <c:pt idx="16309">
                  <c:v>45.302777777777777</c:v>
                </c:pt>
                <c:pt idx="16310">
                  <c:v>45.305555555555557</c:v>
                </c:pt>
                <c:pt idx="16311">
                  <c:v>45.30833333333333</c:v>
                </c:pt>
                <c:pt idx="16312">
                  <c:v>45.31111111111111</c:v>
                </c:pt>
                <c:pt idx="16313">
                  <c:v>45.31388888888889</c:v>
                </c:pt>
                <c:pt idx="16314">
                  <c:v>45.31666666666667</c:v>
                </c:pt>
                <c:pt idx="16315">
                  <c:v>45.319444444444443</c:v>
                </c:pt>
                <c:pt idx="16316">
                  <c:v>45.322222222222223</c:v>
                </c:pt>
                <c:pt idx="16317">
                  <c:v>45.325000000000003</c:v>
                </c:pt>
                <c:pt idx="16318">
                  <c:v>45.327777777777776</c:v>
                </c:pt>
                <c:pt idx="16319">
                  <c:v>45.330555555555556</c:v>
                </c:pt>
                <c:pt idx="16320">
                  <c:v>45.333333333333336</c:v>
                </c:pt>
                <c:pt idx="16321">
                  <c:v>45.336111111111109</c:v>
                </c:pt>
                <c:pt idx="16322">
                  <c:v>45.338888888888889</c:v>
                </c:pt>
                <c:pt idx="16323">
                  <c:v>45.341666666666669</c:v>
                </c:pt>
                <c:pt idx="16324">
                  <c:v>45.344444444444441</c:v>
                </c:pt>
                <c:pt idx="16325">
                  <c:v>45.347222222222221</c:v>
                </c:pt>
                <c:pt idx="16326">
                  <c:v>45.35</c:v>
                </c:pt>
                <c:pt idx="16327">
                  <c:v>45.352777777777774</c:v>
                </c:pt>
                <c:pt idx="16328">
                  <c:v>45.355555555555554</c:v>
                </c:pt>
                <c:pt idx="16329">
                  <c:v>45.358333333333334</c:v>
                </c:pt>
                <c:pt idx="16330">
                  <c:v>45.361111111111114</c:v>
                </c:pt>
                <c:pt idx="16331">
                  <c:v>45.363888888888887</c:v>
                </c:pt>
                <c:pt idx="16332">
                  <c:v>45.366666666666667</c:v>
                </c:pt>
                <c:pt idx="16333">
                  <c:v>45.369444444444447</c:v>
                </c:pt>
                <c:pt idx="16334">
                  <c:v>45.37222222222222</c:v>
                </c:pt>
                <c:pt idx="16335">
                  <c:v>45.375</c:v>
                </c:pt>
                <c:pt idx="16336">
                  <c:v>45.37777777777778</c:v>
                </c:pt>
                <c:pt idx="16337">
                  <c:v>45.380555555555553</c:v>
                </c:pt>
                <c:pt idx="16338">
                  <c:v>45.383333333333333</c:v>
                </c:pt>
                <c:pt idx="16339">
                  <c:v>45.386111111111113</c:v>
                </c:pt>
                <c:pt idx="16340">
                  <c:v>45.388888888888886</c:v>
                </c:pt>
                <c:pt idx="16341">
                  <c:v>45.391666666666666</c:v>
                </c:pt>
                <c:pt idx="16342">
                  <c:v>45.394444444444446</c:v>
                </c:pt>
                <c:pt idx="16343">
                  <c:v>45.397222222222226</c:v>
                </c:pt>
                <c:pt idx="16344">
                  <c:v>45.4</c:v>
                </c:pt>
                <c:pt idx="16345">
                  <c:v>45.402777777777779</c:v>
                </c:pt>
                <c:pt idx="16346">
                  <c:v>45.405555555555559</c:v>
                </c:pt>
                <c:pt idx="16347">
                  <c:v>45.408333333333331</c:v>
                </c:pt>
                <c:pt idx="16348">
                  <c:v>45.411111111111111</c:v>
                </c:pt>
                <c:pt idx="16349">
                  <c:v>45.413888888888891</c:v>
                </c:pt>
                <c:pt idx="16350">
                  <c:v>45.416666666666664</c:v>
                </c:pt>
                <c:pt idx="16351">
                  <c:v>45.419444444444444</c:v>
                </c:pt>
                <c:pt idx="16352">
                  <c:v>45.422222222222224</c:v>
                </c:pt>
                <c:pt idx="16353">
                  <c:v>45.424999999999997</c:v>
                </c:pt>
                <c:pt idx="16354">
                  <c:v>45.427777777777777</c:v>
                </c:pt>
                <c:pt idx="16355">
                  <c:v>45.430555555555557</c:v>
                </c:pt>
                <c:pt idx="16356">
                  <c:v>45.43333333333333</c:v>
                </c:pt>
                <c:pt idx="16357">
                  <c:v>45.43611111111111</c:v>
                </c:pt>
                <c:pt idx="16358">
                  <c:v>45.43888888888889</c:v>
                </c:pt>
                <c:pt idx="16359">
                  <c:v>45.44166666666667</c:v>
                </c:pt>
                <c:pt idx="16360">
                  <c:v>45.444444444444443</c:v>
                </c:pt>
                <c:pt idx="16361">
                  <c:v>45.447222222222223</c:v>
                </c:pt>
                <c:pt idx="16362">
                  <c:v>45.45</c:v>
                </c:pt>
                <c:pt idx="16363">
                  <c:v>45.452777777777776</c:v>
                </c:pt>
                <c:pt idx="16364">
                  <c:v>45.455555555555556</c:v>
                </c:pt>
                <c:pt idx="16365">
                  <c:v>45.458333333333336</c:v>
                </c:pt>
                <c:pt idx="16366">
                  <c:v>45.461111111111109</c:v>
                </c:pt>
                <c:pt idx="16367">
                  <c:v>45.463888888888889</c:v>
                </c:pt>
                <c:pt idx="16368">
                  <c:v>45.466666666666669</c:v>
                </c:pt>
                <c:pt idx="16369">
                  <c:v>45.469444444444441</c:v>
                </c:pt>
                <c:pt idx="16370">
                  <c:v>45.472222222222221</c:v>
                </c:pt>
                <c:pt idx="16371">
                  <c:v>45.475000000000001</c:v>
                </c:pt>
                <c:pt idx="16372">
                  <c:v>45.477777777777774</c:v>
                </c:pt>
                <c:pt idx="16373">
                  <c:v>45.480555555555554</c:v>
                </c:pt>
                <c:pt idx="16374">
                  <c:v>45.483333333333334</c:v>
                </c:pt>
                <c:pt idx="16375">
                  <c:v>45.486111111111114</c:v>
                </c:pt>
                <c:pt idx="16376">
                  <c:v>45.488888888888887</c:v>
                </c:pt>
                <c:pt idx="16377">
                  <c:v>45.491666666666667</c:v>
                </c:pt>
                <c:pt idx="16378">
                  <c:v>45.494444444444447</c:v>
                </c:pt>
                <c:pt idx="16379">
                  <c:v>45.49722222222222</c:v>
                </c:pt>
                <c:pt idx="16380">
                  <c:v>45.5</c:v>
                </c:pt>
                <c:pt idx="16381">
                  <c:v>45.50277777777778</c:v>
                </c:pt>
                <c:pt idx="16382">
                  <c:v>45.505555555555553</c:v>
                </c:pt>
                <c:pt idx="16383">
                  <c:v>45.508333333333333</c:v>
                </c:pt>
                <c:pt idx="16384">
                  <c:v>45.511111111111113</c:v>
                </c:pt>
                <c:pt idx="16385">
                  <c:v>45.513888888888886</c:v>
                </c:pt>
                <c:pt idx="16386">
                  <c:v>45.516666666666666</c:v>
                </c:pt>
                <c:pt idx="16387">
                  <c:v>45.519444444444446</c:v>
                </c:pt>
                <c:pt idx="16388">
                  <c:v>45.522222222222226</c:v>
                </c:pt>
                <c:pt idx="16389">
                  <c:v>45.524999999999999</c:v>
                </c:pt>
                <c:pt idx="16390">
                  <c:v>45.527777777777779</c:v>
                </c:pt>
                <c:pt idx="16391">
                  <c:v>45.530555555555559</c:v>
                </c:pt>
                <c:pt idx="16392">
                  <c:v>45.533333333333331</c:v>
                </c:pt>
                <c:pt idx="16393">
                  <c:v>45.536111111111111</c:v>
                </c:pt>
                <c:pt idx="16394">
                  <c:v>45.538888888888891</c:v>
                </c:pt>
                <c:pt idx="16395">
                  <c:v>45.541666666666664</c:v>
                </c:pt>
                <c:pt idx="16396">
                  <c:v>45.544444444444444</c:v>
                </c:pt>
                <c:pt idx="16397">
                  <c:v>45.547222222222224</c:v>
                </c:pt>
                <c:pt idx="16398">
                  <c:v>45.55</c:v>
                </c:pt>
                <c:pt idx="16399">
                  <c:v>45.552777777777777</c:v>
                </c:pt>
                <c:pt idx="16400">
                  <c:v>45.555555555555557</c:v>
                </c:pt>
                <c:pt idx="16401">
                  <c:v>45.55833333333333</c:v>
                </c:pt>
                <c:pt idx="16402">
                  <c:v>45.56111111111111</c:v>
                </c:pt>
                <c:pt idx="16403">
                  <c:v>45.56388888888889</c:v>
                </c:pt>
                <c:pt idx="16404">
                  <c:v>45.56666666666667</c:v>
                </c:pt>
                <c:pt idx="16405">
                  <c:v>45.569444444444443</c:v>
                </c:pt>
                <c:pt idx="16406">
                  <c:v>45.572222222222223</c:v>
                </c:pt>
                <c:pt idx="16407">
                  <c:v>45.575000000000003</c:v>
                </c:pt>
                <c:pt idx="16408">
                  <c:v>45.577777777777776</c:v>
                </c:pt>
                <c:pt idx="16409">
                  <c:v>45.580555555555556</c:v>
                </c:pt>
                <c:pt idx="16410">
                  <c:v>45.583333333333336</c:v>
                </c:pt>
                <c:pt idx="16411">
                  <c:v>45.586111111111109</c:v>
                </c:pt>
                <c:pt idx="16412">
                  <c:v>45.588888888888889</c:v>
                </c:pt>
                <c:pt idx="16413">
                  <c:v>45.591666666666669</c:v>
                </c:pt>
                <c:pt idx="16414">
                  <c:v>45.594444444444441</c:v>
                </c:pt>
                <c:pt idx="16415">
                  <c:v>45.597222222222221</c:v>
                </c:pt>
                <c:pt idx="16416">
                  <c:v>45.6</c:v>
                </c:pt>
                <c:pt idx="16417">
                  <c:v>45.602777777777774</c:v>
                </c:pt>
                <c:pt idx="16418">
                  <c:v>45.605555555555554</c:v>
                </c:pt>
                <c:pt idx="16419">
                  <c:v>45.608333333333334</c:v>
                </c:pt>
                <c:pt idx="16420">
                  <c:v>45.611111111111114</c:v>
                </c:pt>
                <c:pt idx="16421">
                  <c:v>45.613888888888887</c:v>
                </c:pt>
                <c:pt idx="16422">
                  <c:v>45.616666666666667</c:v>
                </c:pt>
                <c:pt idx="16423">
                  <c:v>45.619444444444447</c:v>
                </c:pt>
                <c:pt idx="16424">
                  <c:v>45.62222222222222</c:v>
                </c:pt>
                <c:pt idx="16425">
                  <c:v>45.625</c:v>
                </c:pt>
                <c:pt idx="16426">
                  <c:v>45.62777777777778</c:v>
                </c:pt>
                <c:pt idx="16427">
                  <c:v>45.630555555555553</c:v>
                </c:pt>
                <c:pt idx="16428">
                  <c:v>45.633333333333333</c:v>
                </c:pt>
                <c:pt idx="16429">
                  <c:v>45.636111111111113</c:v>
                </c:pt>
                <c:pt idx="16430">
                  <c:v>45.638888888888886</c:v>
                </c:pt>
                <c:pt idx="16431">
                  <c:v>45.641666666666666</c:v>
                </c:pt>
                <c:pt idx="16432">
                  <c:v>45.644444444444446</c:v>
                </c:pt>
                <c:pt idx="16433">
                  <c:v>45.647222222222226</c:v>
                </c:pt>
                <c:pt idx="16434">
                  <c:v>45.65</c:v>
                </c:pt>
                <c:pt idx="16435">
                  <c:v>45.652777777777779</c:v>
                </c:pt>
                <c:pt idx="16436">
                  <c:v>45.655555555555559</c:v>
                </c:pt>
                <c:pt idx="16437">
                  <c:v>45.658333333333331</c:v>
                </c:pt>
                <c:pt idx="16438">
                  <c:v>45.661111111111111</c:v>
                </c:pt>
                <c:pt idx="16439">
                  <c:v>45.663888888888891</c:v>
                </c:pt>
                <c:pt idx="16440">
                  <c:v>45.666666666666664</c:v>
                </c:pt>
                <c:pt idx="16441">
                  <c:v>45.669444444444444</c:v>
                </c:pt>
                <c:pt idx="16442">
                  <c:v>45.672222222222224</c:v>
                </c:pt>
                <c:pt idx="16443">
                  <c:v>45.674999999999997</c:v>
                </c:pt>
                <c:pt idx="16444">
                  <c:v>45.677777777777777</c:v>
                </c:pt>
                <c:pt idx="16445">
                  <c:v>45.680555555555557</c:v>
                </c:pt>
                <c:pt idx="16446">
                  <c:v>45.68333333333333</c:v>
                </c:pt>
                <c:pt idx="16447">
                  <c:v>45.68611111111111</c:v>
                </c:pt>
                <c:pt idx="16448">
                  <c:v>45.68888888888889</c:v>
                </c:pt>
                <c:pt idx="16449">
                  <c:v>45.69166666666667</c:v>
                </c:pt>
                <c:pt idx="16450">
                  <c:v>45.694444444444443</c:v>
                </c:pt>
                <c:pt idx="16451">
                  <c:v>45.697222222222223</c:v>
                </c:pt>
                <c:pt idx="16452">
                  <c:v>45.7</c:v>
                </c:pt>
                <c:pt idx="16453">
                  <c:v>45.702777777777776</c:v>
                </c:pt>
                <c:pt idx="16454">
                  <c:v>45.705555555555556</c:v>
                </c:pt>
                <c:pt idx="16455">
                  <c:v>45.708333333333336</c:v>
                </c:pt>
                <c:pt idx="16456">
                  <c:v>45.711111111111109</c:v>
                </c:pt>
                <c:pt idx="16457">
                  <c:v>45.713888888888889</c:v>
                </c:pt>
                <c:pt idx="16458">
                  <c:v>45.716666666666669</c:v>
                </c:pt>
                <c:pt idx="16459">
                  <c:v>45.719444444444441</c:v>
                </c:pt>
                <c:pt idx="16460">
                  <c:v>45.722222222222221</c:v>
                </c:pt>
                <c:pt idx="16461">
                  <c:v>45.725000000000001</c:v>
                </c:pt>
                <c:pt idx="16462">
                  <c:v>45.727777777777774</c:v>
                </c:pt>
                <c:pt idx="16463">
                  <c:v>45.730555555555554</c:v>
                </c:pt>
                <c:pt idx="16464">
                  <c:v>45.733333333333334</c:v>
                </c:pt>
                <c:pt idx="16465">
                  <c:v>45.736111111111114</c:v>
                </c:pt>
                <c:pt idx="16466">
                  <c:v>45.738888888888887</c:v>
                </c:pt>
                <c:pt idx="16467">
                  <c:v>45.741666666666667</c:v>
                </c:pt>
                <c:pt idx="16468">
                  <c:v>45.744444444444447</c:v>
                </c:pt>
                <c:pt idx="16469">
                  <c:v>45.74722222222222</c:v>
                </c:pt>
                <c:pt idx="16470">
                  <c:v>45.75</c:v>
                </c:pt>
                <c:pt idx="16471">
                  <c:v>45.75277777777778</c:v>
                </c:pt>
                <c:pt idx="16472">
                  <c:v>45.755555555555553</c:v>
                </c:pt>
                <c:pt idx="16473">
                  <c:v>45.758333333333333</c:v>
                </c:pt>
                <c:pt idx="16474">
                  <c:v>45.761111111111113</c:v>
                </c:pt>
                <c:pt idx="16475">
                  <c:v>45.763888888888886</c:v>
                </c:pt>
                <c:pt idx="16476">
                  <c:v>45.766666666666666</c:v>
                </c:pt>
                <c:pt idx="16477">
                  <c:v>45.769444444444446</c:v>
                </c:pt>
                <c:pt idx="16478">
                  <c:v>45.772222222222226</c:v>
                </c:pt>
                <c:pt idx="16479">
                  <c:v>45.774999999999999</c:v>
                </c:pt>
                <c:pt idx="16480">
                  <c:v>45.777777777777779</c:v>
                </c:pt>
                <c:pt idx="16481">
                  <c:v>45.780555555555559</c:v>
                </c:pt>
                <c:pt idx="16482">
                  <c:v>45.783333333333331</c:v>
                </c:pt>
                <c:pt idx="16483">
                  <c:v>45.786111111111111</c:v>
                </c:pt>
                <c:pt idx="16484">
                  <c:v>45.788888888888891</c:v>
                </c:pt>
                <c:pt idx="16485">
                  <c:v>45.791666666666664</c:v>
                </c:pt>
                <c:pt idx="16486">
                  <c:v>45.794444444444444</c:v>
                </c:pt>
                <c:pt idx="16487">
                  <c:v>45.797222222222224</c:v>
                </c:pt>
                <c:pt idx="16488">
                  <c:v>45.8</c:v>
                </c:pt>
                <c:pt idx="16489">
                  <c:v>45.802777777777777</c:v>
                </c:pt>
                <c:pt idx="16490">
                  <c:v>45.805555555555557</c:v>
                </c:pt>
                <c:pt idx="16491">
                  <c:v>45.80833333333333</c:v>
                </c:pt>
                <c:pt idx="16492">
                  <c:v>45.81111111111111</c:v>
                </c:pt>
                <c:pt idx="16493">
                  <c:v>45.81388888888889</c:v>
                </c:pt>
                <c:pt idx="16494">
                  <c:v>45.81666666666667</c:v>
                </c:pt>
                <c:pt idx="16495">
                  <c:v>45.819444444444443</c:v>
                </c:pt>
                <c:pt idx="16496">
                  <c:v>45.822222222222223</c:v>
                </c:pt>
                <c:pt idx="16497">
                  <c:v>45.825000000000003</c:v>
                </c:pt>
                <c:pt idx="16498">
                  <c:v>45.827777777777776</c:v>
                </c:pt>
                <c:pt idx="16499">
                  <c:v>45.830555555555556</c:v>
                </c:pt>
                <c:pt idx="16500">
                  <c:v>45.833333333333336</c:v>
                </c:pt>
                <c:pt idx="16501">
                  <c:v>45.836111111111109</c:v>
                </c:pt>
                <c:pt idx="16502">
                  <c:v>45.838888888888889</c:v>
                </c:pt>
                <c:pt idx="16503">
                  <c:v>45.841666666666669</c:v>
                </c:pt>
                <c:pt idx="16504">
                  <c:v>45.844444444444441</c:v>
                </c:pt>
                <c:pt idx="16505">
                  <c:v>45.847222222222221</c:v>
                </c:pt>
                <c:pt idx="16506">
                  <c:v>45.85</c:v>
                </c:pt>
                <c:pt idx="16507">
                  <c:v>45.852777777777774</c:v>
                </c:pt>
                <c:pt idx="16508">
                  <c:v>45.855555555555554</c:v>
                </c:pt>
                <c:pt idx="16509">
                  <c:v>45.858333333333334</c:v>
                </c:pt>
                <c:pt idx="16510">
                  <c:v>45.861111111111114</c:v>
                </c:pt>
                <c:pt idx="16511">
                  <c:v>45.863888888888887</c:v>
                </c:pt>
                <c:pt idx="16512">
                  <c:v>45.866666666666667</c:v>
                </c:pt>
                <c:pt idx="16513">
                  <c:v>45.869444444444447</c:v>
                </c:pt>
                <c:pt idx="16514">
                  <c:v>45.87222222222222</c:v>
                </c:pt>
                <c:pt idx="16515">
                  <c:v>45.875</c:v>
                </c:pt>
                <c:pt idx="16516">
                  <c:v>45.87777777777778</c:v>
                </c:pt>
                <c:pt idx="16517">
                  <c:v>45.880555555555553</c:v>
                </c:pt>
                <c:pt idx="16518">
                  <c:v>45.883333333333333</c:v>
                </c:pt>
                <c:pt idx="16519">
                  <c:v>45.886111111111113</c:v>
                </c:pt>
                <c:pt idx="16520">
                  <c:v>45.888888888888886</c:v>
                </c:pt>
                <c:pt idx="16521">
                  <c:v>45.891666666666666</c:v>
                </c:pt>
                <c:pt idx="16522">
                  <c:v>45.894444444444446</c:v>
                </c:pt>
                <c:pt idx="16523">
                  <c:v>45.897222222222226</c:v>
                </c:pt>
                <c:pt idx="16524">
                  <c:v>45.9</c:v>
                </c:pt>
                <c:pt idx="16525">
                  <c:v>45.902777777777779</c:v>
                </c:pt>
                <c:pt idx="16526">
                  <c:v>45.905555555555559</c:v>
                </c:pt>
                <c:pt idx="16527">
                  <c:v>45.908333333333331</c:v>
                </c:pt>
                <c:pt idx="16528">
                  <c:v>45.911111111111111</c:v>
                </c:pt>
                <c:pt idx="16529">
                  <c:v>45.913888888888891</c:v>
                </c:pt>
                <c:pt idx="16530">
                  <c:v>45.916666666666664</c:v>
                </c:pt>
                <c:pt idx="16531">
                  <c:v>45.919444444444444</c:v>
                </c:pt>
                <c:pt idx="16532">
                  <c:v>45.922222222222224</c:v>
                </c:pt>
                <c:pt idx="16533">
                  <c:v>45.924999999999997</c:v>
                </c:pt>
                <c:pt idx="16534">
                  <c:v>45.927777777777777</c:v>
                </c:pt>
                <c:pt idx="16535">
                  <c:v>45.930555555555557</c:v>
                </c:pt>
                <c:pt idx="16536">
                  <c:v>45.93333333333333</c:v>
                </c:pt>
                <c:pt idx="16537">
                  <c:v>45.93611111111111</c:v>
                </c:pt>
                <c:pt idx="16538">
                  <c:v>45.93888888888889</c:v>
                </c:pt>
                <c:pt idx="16539">
                  <c:v>45.94166666666667</c:v>
                </c:pt>
                <c:pt idx="16540">
                  <c:v>45.944444444444443</c:v>
                </c:pt>
                <c:pt idx="16541">
                  <c:v>45.947222222222223</c:v>
                </c:pt>
                <c:pt idx="16542">
                  <c:v>45.95</c:v>
                </c:pt>
                <c:pt idx="16543">
                  <c:v>45.952777777777776</c:v>
                </c:pt>
                <c:pt idx="16544">
                  <c:v>45.955555555555556</c:v>
                </c:pt>
                <c:pt idx="16545">
                  <c:v>45.958333333333336</c:v>
                </c:pt>
                <c:pt idx="16546">
                  <c:v>45.961111111111109</c:v>
                </c:pt>
                <c:pt idx="16547">
                  <c:v>45.963888888888889</c:v>
                </c:pt>
                <c:pt idx="16548">
                  <c:v>45.966666666666669</c:v>
                </c:pt>
                <c:pt idx="16549">
                  <c:v>45.969444444444441</c:v>
                </c:pt>
                <c:pt idx="16550">
                  <c:v>45.972222222222221</c:v>
                </c:pt>
                <c:pt idx="16551">
                  <c:v>45.975000000000001</c:v>
                </c:pt>
                <c:pt idx="16552">
                  <c:v>45.977777777777774</c:v>
                </c:pt>
                <c:pt idx="16553">
                  <c:v>45.980555555555554</c:v>
                </c:pt>
                <c:pt idx="16554">
                  <c:v>45.983333333333334</c:v>
                </c:pt>
                <c:pt idx="16555">
                  <c:v>45.986111111111114</c:v>
                </c:pt>
                <c:pt idx="16556">
                  <c:v>45.988888888888887</c:v>
                </c:pt>
                <c:pt idx="16557">
                  <c:v>45.991666666666667</c:v>
                </c:pt>
                <c:pt idx="16558">
                  <c:v>45.994444444444447</c:v>
                </c:pt>
                <c:pt idx="16559">
                  <c:v>45.99722222222222</c:v>
                </c:pt>
                <c:pt idx="16560">
                  <c:v>46</c:v>
                </c:pt>
                <c:pt idx="16561">
                  <c:v>46.00277777777778</c:v>
                </c:pt>
                <c:pt idx="16562">
                  <c:v>46.005555555555553</c:v>
                </c:pt>
                <c:pt idx="16563">
                  <c:v>46.008333333333333</c:v>
                </c:pt>
                <c:pt idx="16564">
                  <c:v>46.011111111111113</c:v>
                </c:pt>
                <c:pt idx="16565">
                  <c:v>46.013888888888886</c:v>
                </c:pt>
                <c:pt idx="16566">
                  <c:v>46.016666666666666</c:v>
                </c:pt>
                <c:pt idx="16567">
                  <c:v>46.019444444444446</c:v>
                </c:pt>
                <c:pt idx="16568">
                  <c:v>46.022222222222226</c:v>
                </c:pt>
                <c:pt idx="16569">
                  <c:v>46.024999999999999</c:v>
                </c:pt>
                <c:pt idx="16570">
                  <c:v>46.027777777777779</c:v>
                </c:pt>
                <c:pt idx="16571">
                  <c:v>46.030555555555559</c:v>
                </c:pt>
                <c:pt idx="16572">
                  <c:v>46.033333333333331</c:v>
                </c:pt>
                <c:pt idx="16573">
                  <c:v>46.036111111111111</c:v>
                </c:pt>
                <c:pt idx="16574">
                  <c:v>46.038888888888891</c:v>
                </c:pt>
                <c:pt idx="16575">
                  <c:v>46.041666666666664</c:v>
                </c:pt>
                <c:pt idx="16576">
                  <c:v>46.044444444444444</c:v>
                </c:pt>
                <c:pt idx="16577">
                  <c:v>46.047222222222224</c:v>
                </c:pt>
                <c:pt idx="16578">
                  <c:v>46.05</c:v>
                </c:pt>
                <c:pt idx="16579">
                  <c:v>46.052777777777777</c:v>
                </c:pt>
                <c:pt idx="16580">
                  <c:v>46.055555555555557</c:v>
                </c:pt>
                <c:pt idx="16581">
                  <c:v>46.05833333333333</c:v>
                </c:pt>
                <c:pt idx="16582">
                  <c:v>46.06111111111111</c:v>
                </c:pt>
                <c:pt idx="16583">
                  <c:v>46.06388888888889</c:v>
                </c:pt>
                <c:pt idx="16584">
                  <c:v>46.06666666666667</c:v>
                </c:pt>
                <c:pt idx="16585">
                  <c:v>46.069444444444443</c:v>
                </c:pt>
                <c:pt idx="16586">
                  <c:v>46.072222222222223</c:v>
                </c:pt>
                <c:pt idx="16587">
                  <c:v>46.075000000000003</c:v>
                </c:pt>
                <c:pt idx="16588">
                  <c:v>46.077777777777776</c:v>
                </c:pt>
                <c:pt idx="16589">
                  <c:v>46.080555555555556</c:v>
                </c:pt>
                <c:pt idx="16590">
                  <c:v>46.083333333333336</c:v>
                </c:pt>
                <c:pt idx="16591">
                  <c:v>46.086111111111109</c:v>
                </c:pt>
                <c:pt idx="16592">
                  <c:v>46.088888888888889</c:v>
                </c:pt>
                <c:pt idx="16593">
                  <c:v>46.091666666666669</c:v>
                </c:pt>
                <c:pt idx="16594">
                  <c:v>46.094444444444441</c:v>
                </c:pt>
                <c:pt idx="16595">
                  <c:v>46.097222222222221</c:v>
                </c:pt>
                <c:pt idx="16596">
                  <c:v>46.1</c:v>
                </c:pt>
                <c:pt idx="16597">
                  <c:v>46.102777777777774</c:v>
                </c:pt>
                <c:pt idx="16598">
                  <c:v>46.105555555555554</c:v>
                </c:pt>
                <c:pt idx="16599">
                  <c:v>46.108333333333334</c:v>
                </c:pt>
                <c:pt idx="16600">
                  <c:v>46.111111111111114</c:v>
                </c:pt>
                <c:pt idx="16601">
                  <c:v>46.113888888888887</c:v>
                </c:pt>
                <c:pt idx="16602">
                  <c:v>46.116666666666667</c:v>
                </c:pt>
                <c:pt idx="16603">
                  <c:v>46.119444444444447</c:v>
                </c:pt>
                <c:pt idx="16604">
                  <c:v>46.12222222222222</c:v>
                </c:pt>
                <c:pt idx="16605">
                  <c:v>46.125</c:v>
                </c:pt>
                <c:pt idx="16606">
                  <c:v>46.12777777777778</c:v>
                </c:pt>
                <c:pt idx="16607">
                  <c:v>46.130555555555553</c:v>
                </c:pt>
                <c:pt idx="16608">
                  <c:v>46.133333333333333</c:v>
                </c:pt>
                <c:pt idx="16609">
                  <c:v>46.136111111111113</c:v>
                </c:pt>
                <c:pt idx="16610">
                  <c:v>46.138888888888886</c:v>
                </c:pt>
                <c:pt idx="16611">
                  <c:v>46.141666666666666</c:v>
                </c:pt>
                <c:pt idx="16612">
                  <c:v>46.144444444444446</c:v>
                </c:pt>
                <c:pt idx="16613">
                  <c:v>46.147222222222226</c:v>
                </c:pt>
                <c:pt idx="16614">
                  <c:v>46.15</c:v>
                </c:pt>
                <c:pt idx="16615">
                  <c:v>46.152777777777779</c:v>
                </c:pt>
                <c:pt idx="16616">
                  <c:v>46.155555555555559</c:v>
                </c:pt>
                <c:pt idx="16617">
                  <c:v>46.158333333333331</c:v>
                </c:pt>
                <c:pt idx="16618">
                  <c:v>46.161111111111111</c:v>
                </c:pt>
                <c:pt idx="16619">
                  <c:v>46.163888888888891</c:v>
                </c:pt>
                <c:pt idx="16620">
                  <c:v>46.166666666666664</c:v>
                </c:pt>
                <c:pt idx="16621">
                  <c:v>46.169444444444444</c:v>
                </c:pt>
                <c:pt idx="16622">
                  <c:v>46.172222222222224</c:v>
                </c:pt>
                <c:pt idx="16623">
                  <c:v>46.174999999999997</c:v>
                </c:pt>
                <c:pt idx="16624">
                  <c:v>46.177777777777777</c:v>
                </c:pt>
                <c:pt idx="16625">
                  <c:v>46.180555555555557</c:v>
                </c:pt>
                <c:pt idx="16626">
                  <c:v>46.18333333333333</c:v>
                </c:pt>
                <c:pt idx="16627">
                  <c:v>46.18611111111111</c:v>
                </c:pt>
                <c:pt idx="16628">
                  <c:v>46.18888888888889</c:v>
                </c:pt>
                <c:pt idx="16629">
                  <c:v>46.19166666666667</c:v>
                </c:pt>
                <c:pt idx="16630">
                  <c:v>46.194444444444443</c:v>
                </c:pt>
                <c:pt idx="16631">
                  <c:v>46.197222222222223</c:v>
                </c:pt>
                <c:pt idx="16632">
                  <c:v>46.2</c:v>
                </c:pt>
                <c:pt idx="16633">
                  <c:v>46.202777777777776</c:v>
                </c:pt>
                <c:pt idx="16634">
                  <c:v>46.205555555555556</c:v>
                </c:pt>
                <c:pt idx="16635">
                  <c:v>46.208333333333336</c:v>
                </c:pt>
                <c:pt idx="16636">
                  <c:v>46.211111111111109</c:v>
                </c:pt>
                <c:pt idx="16637">
                  <c:v>46.213888888888889</c:v>
                </c:pt>
                <c:pt idx="16638">
                  <c:v>46.216666666666669</c:v>
                </c:pt>
                <c:pt idx="16639">
                  <c:v>46.219444444444441</c:v>
                </c:pt>
                <c:pt idx="16640">
                  <c:v>46.222222222222221</c:v>
                </c:pt>
                <c:pt idx="16641">
                  <c:v>46.225000000000001</c:v>
                </c:pt>
                <c:pt idx="16642">
                  <c:v>46.227777777777774</c:v>
                </c:pt>
                <c:pt idx="16643">
                  <c:v>46.230555555555554</c:v>
                </c:pt>
                <c:pt idx="16644">
                  <c:v>46.233333333333334</c:v>
                </c:pt>
                <c:pt idx="16645">
                  <c:v>46.236111111111114</c:v>
                </c:pt>
                <c:pt idx="16646">
                  <c:v>46.238888888888887</c:v>
                </c:pt>
                <c:pt idx="16647">
                  <c:v>46.241666666666667</c:v>
                </c:pt>
                <c:pt idx="16648">
                  <c:v>46.244444444444447</c:v>
                </c:pt>
                <c:pt idx="16649">
                  <c:v>46.24722222222222</c:v>
                </c:pt>
                <c:pt idx="16650">
                  <c:v>46.25</c:v>
                </c:pt>
                <c:pt idx="16651">
                  <c:v>46.25277777777778</c:v>
                </c:pt>
                <c:pt idx="16652">
                  <c:v>46.255555555555553</c:v>
                </c:pt>
                <c:pt idx="16653">
                  <c:v>46.258333333333333</c:v>
                </c:pt>
                <c:pt idx="16654">
                  <c:v>46.261111111111113</c:v>
                </c:pt>
                <c:pt idx="16655">
                  <c:v>46.263888888888886</c:v>
                </c:pt>
                <c:pt idx="16656">
                  <c:v>46.266666666666666</c:v>
                </c:pt>
                <c:pt idx="16657">
                  <c:v>46.269444444444446</c:v>
                </c:pt>
                <c:pt idx="16658">
                  <c:v>46.272222222222226</c:v>
                </c:pt>
                <c:pt idx="16659">
                  <c:v>46.274999999999999</c:v>
                </c:pt>
                <c:pt idx="16660">
                  <c:v>46.277777777777779</c:v>
                </c:pt>
                <c:pt idx="16661">
                  <c:v>46.280555555555559</c:v>
                </c:pt>
                <c:pt idx="16662">
                  <c:v>46.283333333333331</c:v>
                </c:pt>
                <c:pt idx="16663">
                  <c:v>46.286111111111111</c:v>
                </c:pt>
                <c:pt idx="16664">
                  <c:v>46.288888888888891</c:v>
                </c:pt>
                <c:pt idx="16665">
                  <c:v>46.291666666666664</c:v>
                </c:pt>
                <c:pt idx="16666">
                  <c:v>46.294444444444444</c:v>
                </c:pt>
                <c:pt idx="16667">
                  <c:v>46.297222222222224</c:v>
                </c:pt>
                <c:pt idx="16668">
                  <c:v>46.3</c:v>
                </c:pt>
                <c:pt idx="16669">
                  <c:v>46.302777777777777</c:v>
                </c:pt>
                <c:pt idx="16670">
                  <c:v>46.305555555555557</c:v>
                </c:pt>
                <c:pt idx="16671">
                  <c:v>46.30833333333333</c:v>
                </c:pt>
                <c:pt idx="16672">
                  <c:v>46.31111111111111</c:v>
                </c:pt>
                <c:pt idx="16673">
                  <c:v>46.31388888888889</c:v>
                </c:pt>
                <c:pt idx="16674">
                  <c:v>46.31666666666667</c:v>
                </c:pt>
                <c:pt idx="16675">
                  <c:v>46.319444444444443</c:v>
                </c:pt>
                <c:pt idx="16676">
                  <c:v>46.322222222222223</c:v>
                </c:pt>
                <c:pt idx="16677">
                  <c:v>46.325000000000003</c:v>
                </c:pt>
                <c:pt idx="16678">
                  <c:v>46.327777777777776</c:v>
                </c:pt>
                <c:pt idx="16679">
                  <c:v>46.330555555555556</c:v>
                </c:pt>
                <c:pt idx="16680">
                  <c:v>46.333333333333336</c:v>
                </c:pt>
                <c:pt idx="16681">
                  <c:v>46.336111111111109</c:v>
                </c:pt>
                <c:pt idx="16682">
                  <c:v>46.338888888888889</c:v>
                </c:pt>
                <c:pt idx="16683">
                  <c:v>46.341666666666669</c:v>
                </c:pt>
                <c:pt idx="16684">
                  <c:v>46.344444444444441</c:v>
                </c:pt>
                <c:pt idx="16685">
                  <c:v>46.347222222222221</c:v>
                </c:pt>
                <c:pt idx="16686">
                  <c:v>46.35</c:v>
                </c:pt>
                <c:pt idx="16687">
                  <c:v>46.352777777777774</c:v>
                </c:pt>
                <c:pt idx="16688">
                  <c:v>46.355555555555554</c:v>
                </c:pt>
                <c:pt idx="16689">
                  <c:v>46.358333333333334</c:v>
                </c:pt>
                <c:pt idx="16690">
                  <c:v>46.361111111111114</c:v>
                </c:pt>
                <c:pt idx="16691">
                  <c:v>46.363888888888887</c:v>
                </c:pt>
                <c:pt idx="16692">
                  <c:v>46.366666666666667</c:v>
                </c:pt>
                <c:pt idx="16693">
                  <c:v>46.369444444444447</c:v>
                </c:pt>
                <c:pt idx="16694">
                  <c:v>46.37222222222222</c:v>
                </c:pt>
                <c:pt idx="16695">
                  <c:v>46.375</c:v>
                </c:pt>
                <c:pt idx="16696">
                  <c:v>46.37777777777778</c:v>
                </c:pt>
                <c:pt idx="16697">
                  <c:v>46.380555555555553</c:v>
                </c:pt>
                <c:pt idx="16698">
                  <c:v>46.383333333333333</c:v>
                </c:pt>
                <c:pt idx="16699">
                  <c:v>46.386111111111113</c:v>
                </c:pt>
                <c:pt idx="16700">
                  <c:v>46.388888888888886</c:v>
                </c:pt>
                <c:pt idx="16701">
                  <c:v>46.391666666666666</c:v>
                </c:pt>
                <c:pt idx="16702">
                  <c:v>46.394444444444446</c:v>
                </c:pt>
                <c:pt idx="16703">
                  <c:v>46.397222222222226</c:v>
                </c:pt>
                <c:pt idx="16704">
                  <c:v>46.4</c:v>
                </c:pt>
                <c:pt idx="16705">
                  <c:v>46.402777777777779</c:v>
                </c:pt>
                <c:pt idx="16706">
                  <c:v>46.405555555555559</c:v>
                </c:pt>
                <c:pt idx="16707">
                  <c:v>46.408333333333331</c:v>
                </c:pt>
                <c:pt idx="16708">
                  <c:v>46.411111111111111</c:v>
                </c:pt>
                <c:pt idx="16709">
                  <c:v>46.413888888888891</c:v>
                </c:pt>
                <c:pt idx="16710">
                  <c:v>46.416666666666664</c:v>
                </c:pt>
                <c:pt idx="16711">
                  <c:v>46.419444444444444</c:v>
                </c:pt>
                <c:pt idx="16712">
                  <c:v>46.422222222222224</c:v>
                </c:pt>
                <c:pt idx="16713">
                  <c:v>46.424999999999997</c:v>
                </c:pt>
                <c:pt idx="16714">
                  <c:v>46.427777777777777</c:v>
                </c:pt>
                <c:pt idx="16715">
                  <c:v>46.430555555555557</c:v>
                </c:pt>
                <c:pt idx="16716">
                  <c:v>46.43333333333333</c:v>
                </c:pt>
                <c:pt idx="16717">
                  <c:v>46.43611111111111</c:v>
                </c:pt>
                <c:pt idx="16718">
                  <c:v>46.43888888888889</c:v>
                </c:pt>
                <c:pt idx="16719">
                  <c:v>46.44166666666667</c:v>
                </c:pt>
                <c:pt idx="16720">
                  <c:v>46.444444444444443</c:v>
                </c:pt>
                <c:pt idx="16721">
                  <c:v>46.447222222222223</c:v>
                </c:pt>
                <c:pt idx="16722">
                  <c:v>46.45</c:v>
                </c:pt>
                <c:pt idx="16723">
                  <c:v>46.452777777777776</c:v>
                </c:pt>
                <c:pt idx="16724">
                  <c:v>46.455555555555556</c:v>
                </c:pt>
                <c:pt idx="16725">
                  <c:v>46.458333333333336</c:v>
                </c:pt>
                <c:pt idx="16726">
                  <c:v>46.461111111111109</c:v>
                </c:pt>
                <c:pt idx="16727">
                  <c:v>46.463888888888889</c:v>
                </c:pt>
                <c:pt idx="16728">
                  <c:v>46.466666666666669</c:v>
                </c:pt>
                <c:pt idx="16729">
                  <c:v>46.469444444444441</c:v>
                </c:pt>
                <c:pt idx="16730">
                  <c:v>46.472222222222221</c:v>
                </c:pt>
                <c:pt idx="16731">
                  <c:v>46.475000000000001</c:v>
                </c:pt>
                <c:pt idx="16732">
                  <c:v>46.477777777777774</c:v>
                </c:pt>
                <c:pt idx="16733">
                  <c:v>46.480555555555554</c:v>
                </c:pt>
                <c:pt idx="16734">
                  <c:v>46.483333333333334</c:v>
                </c:pt>
                <c:pt idx="16735">
                  <c:v>46.486111111111114</c:v>
                </c:pt>
                <c:pt idx="16736">
                  <c:v>46.488888888888887</c:v>
                </c:pt>
                <c:pt idx="16737">
                  <c:v>46.491666666666667</c:v>
                </c:pt>
                <c:pt idx="16738">
                  <c:v>46.494444444444447</c:v>
                </c:pt>
                <c:pt idx="16739">
                  <c:v>46.49722222222222</c:v>
                </c:pt>
                <c:pt idx="16740">
                  <c:v>46.5</c:v>
                </c:pt>
                <c:pt idx="16741">
                  <c:v>46.50277777777778</c:v>
                </c:pt>
                <c:pt idx="16742">
                  <c:v>46.505555555555553</c:v>
                </c:pt>
                <c:pt idx="16743">
                  <c:v>46.508333333333333</c:v>
                </c:pt>
                <c:pt idx="16744">
                  <c:v>46.511111111111113</c:v>
                </c:pt>
                <c:pt idx="16745">
                  <c:v>46.513888888888886</c:v>
                </c:pt>
                <c:pt idx="16746">
                  <c:v>46.516666666666666</c:v>
                </c:pt>
                <c:pt idx="16747">
                  <c:v>46.519444444444446</c:v>
                </c:pt>
                <c:pt idx="16748">
                  <c:v>46.522222222222226</c:v>
                </c:pt>
                <c:pt idx="16749">
                  <c:v>46.524999999999999</c:v>
                </c:pt>
                <c:pt idx="16750">
                  <c:v>46.527777777777779</c:v>
                </c:pt>
                <c:pt idx="16751">
                  <c:v>46.530555555555559</c:v>
                </c:pt>
                <c:pt idx="16752">
                  <c:v>46.533333333333331</c:v>
                </c:pt>
                <c:pt idx="16753">
                  <c:v>46.536111111111111</c:v>
                </c:pt>
                <c:pt idx="16754">
                  <c:v>46.538888888888891</c:v>
                </c:pt>
                <c:pt idx="16755">
                  <c:v>46.541666666666664</c:v>
                </c:pt>
                <c:pt idx="16756">
                  <c:v>46.544444444444444</c:v>
                </c:pt>
                <c:pt idx="16757">
                  <c:v>46.547222222222224</c:v>
                </c:pt>
                <c:pt idx="16758">
                  <c:v>46.55</c:v>
                </c:pt>
                <c:pt idx="16759">
                  <c:v>46.552777777777777</c:v>
                </c:pt>
                <c:pt idx="16760">
                  <c:v>46.555555555555557</c:v>
                </c:pt>
                <c:pt idx="16761">
                  <c:v>46.55833333333333</c:v>
                </c:pt>
                <c:pt idx="16762">
                  <c:v>46.56111111111111</c:v>
                </c:pt>
                <c:pt idx="16763">
                  <c:v>46.56388888888889</c:v>
                </c:pt>
                <c:pt idx="16764">
                  <c:v>46.56666666666667</c:v>
                </c:pt>
                <c:pt idx="16765">
                  <c:v>46.569444444444443</c:v>
                </c:pt>
                <c:pt idx="16766">
                  <c:v>46.572222222222223</c:v>
                </c:pt>
                <c:pt idx="16767">
                  <c:v>46.575000000000003</c:v>
                </c:pt>
                <c:pt idx="16768">
                  <c:v>46.577777777777776</c:v>
                </c:pt>
                <c:pt idx="16769">
                  <c:v>46.580555555555556</c:v>
                </c:pt>
                <c:pt idx="16770">
                  <c:v>46.583333333333336</c:v>
                </c:pt>
                <c:pt idx="16771">
                  <c:v>46.586111111111109</c:v>
                </c:pt>
                <c:pt idx="16772">
                  <c:v>46.588888888888889</c:v>
                </c:pt>
                <c:pt idx="16773">
                  <c:v>46.591666666666669</c:v>
                </c:pt>
                <c:pt idx="16774">
                  <c:v>46.594444444444441</c:v>
                </c:pt>
                <c:pt idx="16775">
                  <c:v>46.597222222222221</c:v>
                </c:pt>
                <c:pt idx="16776">
                  <c:v>46.6</c:v>
                </c:pt>
                <c:pt idx="16777">
                  <c:v>46.602777777777774</c:v>
                </c:pt>
                <c:pt idx="16778">
                  <c:v>46.605555555555554</c:v>
                </c:pt>
                <c:pt idx="16779">
                  <c:v>46.608333333333334</c:v>
                </c:pt>
                <c:pt idx="16780">
                  <c:v>46.611111111111114</c:v>
                </c:pt>
                <c:pt idx="16781">
                  <c:v>46.613888888888887</c:v>
                </c:pt>
                <c:pt idx="16782">
                  <c:v>46.616666666666667</c:v>
                </c:pt>
                <c:pt idx="16783">
                  <c:v>46.619444444444447</c:v>
                </c:pt>
                <c:pt idx="16784">
                  <c:v>46.62222222222222</c:v>
                </c:pt>
                <c:pt idx="16785">
                  <c:v>46.625</c:v>
                </c:pt>
                <c:pt idx="16786">
                  <c:v>46.62777777777778</c:v>
                </c:pt>
                <c:pt idx="16787">
                  <c:v>46.630555555555553</c:v>
                </c:pt>
                <c:pt idx="16788">
                  <c:v>46.633333333333333</c:v>
                </c:pt>
                <c:pt idx="16789">
                  <c:v>46.636111111111113</c:v>
                </c:pt>
                <c:pt idx="16790">
                  <c:v>46.638888888888886</c:v>
                </c:pt>
                <c:pt idx="16791">
                  <c:v>46.641666666666666</c:v>
                </c:pt>
                <c:pt idx="16792">
                  <c:v>46.644444444444446</c:v>
                </c:pt>
                <c:pt idx="16793">
                  <c:v>46.647222222222226</c:v>
                </c:pt>
                <c:pt idx="16794">
                  <c:v>46.65</c:v>
                </c:pt>
                <c:pt idx="16795">
                  <c:v>46.652777777777779</c:v>
                </c:pt>
                <c:pt idx="16796">
                  <c:v>46.655555555555559</c:v>
                </c:pt>
                <c:pt idx="16797">
                  <c:v>46.658333333333331</c:v>
                </c:pt>
                <c:pt idx="16798">
                  <c:v>46.661111111111111</c:v>
                </c:pt>
                <c:pt idx="16799">
                  <c:v>46.663888888888891</c:v>
                </c:pt>
                <c:pt idx="16800">
                  <c:v>46.666666666666664</c:v>
                </c:pt>
                <c:pt idx="16801">
                  <c:v>46.669444444444444</c:v>
                </c:pt>
                <c:pt idx="16802">
                  <c:v>46.672222222222224</c:v>
                </c:pt>
                <c:pt idx="16803">
                  <c:v>46.674999999999997</c:v>
                </c:pt>
                <c:pt idx="16804">
                  <c:v>46.677777777777777</c:v>
                </c:pt>
                <c:pt idx="16805">
                  <c:v>46.680555555555557</c:v>
                </c:pt>
                <c:pt idx="16806">
                  <c:v>46.68333333333333</c:v>
                </c:pt>
                <c:pt idx="16807">
                  <c:v>46.68611111111111</c:v>
                </c:pt>
                <c:pt idx="16808">
                  <c:v>46.68888888888889</c:v>
                </c:pt>
                <c:pt idx="16809">
                  <c:v>46.69166666666667</c:v>
                </c:pt>
                <c:pt idx="16810">
                  <c:v>46.694444444444443</c:v>
                </c:pt>
                <c:pt idx="16811">
                  <c:v>46.697222222222223</c:v>
                </c:pt>
                <c:pt idx="16812">
                  <c:v>46.7</c:v>
                </c:pt>
                <c:pt idx="16813">
                  <c:v>46.702777777777776</c:v>
                </c:pt>
                <c:pt idx="16814">
                  <c:v>46.705555555555556</c:v>
                </c:pt>
                <c:pt idx="16815">
                  <c:v>46.708333333333336</c:v>
                </c:pt>
                <c:pt idx="16816">
                  <c:v>46.711111111111109</c:v>
                </c:pt>
                <c:pt idx="16817">
                  <c:v>46.713888888888889</c:v>
                </c:pt>
                <c:pt idx="16818">
                  <c:v>46.716666666666669</c:v>
                </c:pt>
                <c:pt idx="16819">
                  <c:v>46.719444444444441</c:v>
                </c:pt>
                <c:pt idx="16820">
                  <c:v>46.722222222222221</c:v>
                </c:pt>
                <c:pt idx="16821">
                  <c:v>46.725000000000001</c:v>
                </c:pt>
                <c:pt idx="16822">
                  <c:v>46.727777777777774</c:v>
                </c:pt>
                <c:pt idx="16823">
                  <c:v>46.730555555555554</c:v>
                </c:pt>
                <c:pt idx="16824">
                  <c:v>46.733333333333334</c:v>
                </c:pt>
                <c:pt idx="16825">
                  <c:v>46.736111111111114</c:v>
                </c:pt>
                <c:pt idx="16826">
                  <c:v>46.738888888888887</c:v>
                </c:pt>
                <c:pt idx="16827">
                  <c:v>46.741666666666667</c:v>
                </c:pt>
                <c:pt idx="16828">
                  <c:v>46.744444444444447</c:v>
                </c:pt>
                <c:pt idx="16829">
                  <c:v>46.74722222222222</c:v>
                </c:pt>
                <c:pt idx="16830">
                  <c:v>46.75</c:v>
                </c:pt>
                <c:pt idx="16831">
                  <c:v>46.75277777777778</c:v>
                </c:pt>
                <c:pt idx="16832">
                  <c:v>46.755555555555553</c:v>
                </c:pt>
                <c:pt idx="16833">
                  <c:v>46.758333333333333</c:v>
                </c:pt>
                <c:pt idx="16834">
                  <c:v>46.761111111111113</c:v>
                </c:pt>
                <c:pt idx="16835">
                  <c:v>46.763888888888886</c:v>
                </c:pt>
                <c:pt idx="16836">
                  <c:v>46.766666666666666</c:v>
                </c:pt>
                <c:pt idx="16837">
                  <c:v>46.769444444444446</c:v>
                </c:pt>
                <c:pt idx="16838">
                  <c:v>46.772222222222226</c:v>
                </c:pt>
                <c:pt idx="16839">
                  <c:v>46.774999999999999</c:v>
                </c:pt>
                <c:pt idx="16840">
                  <c:v>46.777777777777779</c:v>
                </c:pt>
                <c:pt idx="16841">
                  <c:v>46.780555555555559</c:v>
                </c:pt>
                <c:pt idx="16842">
                  <c:v>46.783333333333331</c:v>
                </c:pt>
                <c:pt idx="16843">
                  <c:v>46.786111111111111</c:v>
                </c:pt>
                <c:pt idx="16844">
                  <c:v>46.788888888888891</c:v>
                </c:pt>
                <c:pt idx="16845">
                  <c:v>46.791666666666664</c:v>
                </c:pt>
                <c:pt idx="16846">
                  <c:v>46.794444444444444</c:v>
                </c:pt>
                <c:pt idx="16847">
                  <c:v>46.797222222222224</c:v>
                </c:pt>
                <c:pt idx="16848">
                  <c:v>46.8</c:v>
                </c:pt>
                <c:pt idx="16849">
                  <c:v>46.802777777777777</c:v>
                </c:pt>
                <c:pt idx="16850">
                  <c:v>46.805555555555557</c:v>
                </c:pt>
                <c:pt idx="16851">
                  <c:v>46.80833333333333</c:v>
                </c:pt>
                <c:pt idx="16852">
                  <c:v>46.81111111111111</c:v>
                </c:pt>
                <c:pt idx="16853">
                  <c:v>46.81388888888889</c:v>
                </c:pt>
                <c:pt idx="16854">
                  <c:v>46.81666666666667</c:v>
                </c:pt>
                <c:pt idx="16855">
                  <c:v>46.819444444444443</c:v>
                </c:pt>
                <c:pt idx="16856">
                  <c:v>46.822222222222223</c:v>
                </c:pt>
                <c:pt idx="16857">
                  <c:v>46.825000000000003</c:v>
                </c:pt>
                <c:pt idx="16858">
                  <c:v>46.827777777777776</c:v>
                </c:pt>
                <c:pt idx="16859">
                  <c:v>46.830555555555556</c:v>
                </c:pt>
                <c:pt idx="16860">
                  <c:v>46.833333333333336</c:v>
                </c:pt>
                <c:pt idx="16861">
                  <c:v>46.836111111111109</c:v>
                </c:pt>
                <c:pt idx="16862">
                  <c:v>46.838888888888889</c:v>
                </c:pt>
                <c:pt idx="16863">
                  <c:v>46.841666666666669</c:v>
                </c:pt>
                <c:pt idx="16864">
                  <c:v>46.844444444444441</c:v>
                </c:pt>
                <c:pt idx="16865">
                  <c:v>46.847222222222221</c:v>
                </c:pt>
                <c:pt idx="16866">
                  <c:v>46.85</c:v>
                </c:pt>
                <c:pt idx="16867">
                  <c:v>46.852777777777774</c:v>
                </c:pt>
                <c:pt idx="16868">
                  <c:v>46.855555555555554</c:v>
                </c:pt>
                <c:pt idx="16869">
                  <c:v>46.858333333333334</c:v>
                </c:pt>
                <c:pt idx="16870">
                  <c:v>46.861111111111114</c:v>
                </c:pt>
                <c:pt idx="16871">
                  <c:v>46.863888888888887</c:v>
                </c:pt>
                <c:pt idx="16872">
                  <c:v>46.866666666666667</c:v>
                </c:pt>
                <c:pt idx="16873">
                  <c:v>46.869444444444447</c:v>
                </c:pt>
                <c:pt idx="16874">
                  <c:v>46.87222222222222</c:v>
                </c:pt>
                <c:pt idx="16875">
                  <c:v>46.875</c:v>
                </c:pt>
                <c:pt idx="16876">
                  <c:v>46.87777777777778</c:v>
                </c:pt>
                <c:pt idx="16877">
                  <c:v>46.880555555555553</c:v>
                </c:pt>
                <c:pt idx="16878">
                  <c:v>46.883333333333333</c:v>
                </c:pt>
                <c:pt idx="16879">
                  <c:v>46.886111111111113</c:v>
                </c:pt>
                <c:pt idx="16880">
                  <c:v>46.888888888888886</c:v>
                </c:pt>
                <c:pt idx="16881">
                  <c:v>46.891666666666666</c:v>
                </c:pt>
                <c:pt idx="16882">
                  <c:v>46.894444444444446</c:v>
                </c:pt>
                <c:pt idx="16883">
                  <c:v>46.897222222222226</c:v>
                </c:pt>
                <c:pt idx="16884">
                  <c:v>46.9</c:v>
                </c:pt>
                <c:pt idx="16885">
                  <c:v>46.902777777777779</c:v>
                </c:pt>
                <c:pt idx="16886">
                  <c:v>46.905555555555559</c:v>
                </c:pt>
                <c:pt idx="16887">
                  <c:v>46.908333333333331</c:v>
                </c:pt>
                <c:pt idx="16888">
                  <c:v>46.911111111111111</c:v>
                </c:pt>
                <c:pt idx="16889">
                  <c:v>46.913888888888891</c:v>
                </c:pt>
                <c:pt idx="16890">
                  <c:v>46.916666666666664</c:v>
                </c:pt>
                <c:pt idx="16891">
                  <c:v>46.919444444444444</c:v>
                </c:pt>
                <c:pt idx="16892">
                  <c:v>46.922222222222224</c:v>
                </c:pt>
                <c:pt idx="16893">
                  <c:v>46.924999999999997</c:v>
                </c:pt>
                <c:pt idx="16894">
                  <c:v>46.927777777777777</c:v>
                </c:pt>
                <c:pt idx="16895">
                  <c:v>46.930555555555557</c:v>
                </c:pt>
                <c:pt idx="16896">
                  <c:v>46.93333333333333</c:v>
                </c:pt>
                <c:pt idx="16897">
                  <c:v>46.93611111111111</c:v>
                </c:pt>
                <c:pt idx="16898">
                  <c:v>46.93888888888889</c:v>
                </c:pt>
                <c:pt idx="16899">
                  <c:v>46.94166666666667</c:v>
                </c:pt>
                <c:pt idx="16900">
                  <c:v>46.944444444444443</c:v>
                </c:pt>
                <c:pt idx="16901">
                  <c:v>46.947222222222223</c:v>
                </c:pt>
                <c:pt idx="16902">
                  <c:v>46.95</c:v>
                </c:pt>
                <c:pt idx="16903">
                  <c:v>46.952777777777776</c:v>
                </c:pt>
                <c:pt idx="16904">
                  <c:v>46.955555555555556</c:v>
                </c:pt>
                <c:pt idx="16905">
                  <c:v>46.958333333333336</c:v>
                </c:pt>
                <c:pt idx="16906">
                  <c:v>46.961111111111109</c:v>
                </c:pt>
                <c:pt idx="16907">
                  <c:v>46.963888888888889</c:v>
                </c:pt>
                <c:pt idx="16908">
                  <c:v>46.966666666666669</c:v>
                </c:pt>
                <c:pt idx="16909">
                  <c:v>46.969444444444441</c:v>
                </c:pt>
                <c:pt idx="16910">
                  <c:v>46.972222222222221</c:v>
                </c:pt>
                <c:pt idx="16911">
                  <c:v>46.975000000000001</c:v>
                </c:pt>
                <c:pt idx="16912">
                  <c:v>46.977777777777774</c:v>
                </c:pt>
                <c:pt idx="16913">
                  <c:v>46.980555555555554</c:v>
                </c:pt>
                <c:pt idx="16914">
                  <c:v>46.983333333333334</c:v>
                </c:pt>
                <c:pt idx="16915">
                  <c:v>46.986111111111114</c:v>
                </c:pt>
                <c:pt idx="16916">
                  <c:v>46.988888888888887</c:v>
                </c:pt>
                <c:pt idx="16917">
                  <c:v>46.991666666666667</c:v>
                </c:pt>
                <c:pt idx="16918">
                  <c:v>46.994444444444447</c:v>
                </c:pt>
                <c:pt idx="16919">
                  <c:v>46.99722222222222</c:v>
                </c:pt>
                <c:pt idx="16920">
                  <c:v>47</c:v>
                </c:pt>
                <c:pt idx="16921">
                  <c:v>47.00277777777778</c:v>
                </c:pt>
                <c:pt idx="16922">
                  <c:v>47.005555555555553</c:v>
                </c:pt>
                <c:pt idx="16923">
                  <c:v>47.008333333333333</c:v>
                </c:pt>
                <c:pt idx="16924">
                  <c:v>47.011111111111113</c:v>
                </c:pt>
                <c:pt idx="16925">
                  <c:v>47.013888888888886</c:v>
                </c:pt>
                <c:pt idx="16926">
                  <c:v>47.016666666666666</c:v>
                </c:pt>
                <c:pt idx="16927">
                  <c:v>47.019444444444446</c:v>
                </c:pt>
                <c:pt idx="16928">
                  <c:v>47.022222222222226</c:v>
                </c:pt>
                <c:pt idx="16929">
                  <c:v>47.024999999999999</c:v>
                </c:pt>
                <c:pt idx="16930">
                  <c:v>47.027777777777779</c:v>
                </c:pt>
                <c:pt idx="16931">
                  <c:v>47.030555555555559</c:v>
                </c:pt>
                <c:pt idx="16932">
                  <c:v>47.033333333333331</c:v>
                </c:pt>
                <c:pt idx="16933">
                  <c:v>47.036111111111111</c:v>
                </c:pt>
                <c:pt idx="16934">
                  <c:v>47.038888888888891</c:v>
                </c:pt>
                <c:pt idx="16935">
                  <c:v>47.041666666666664</c:v>
                </c:pt>
                <c:pt idx="16936">
                  <c:v>47.044444444444444</c:v>
                </c:pt>
                <c:pt idx="16937">
                  <c:v>47.047222222222224</c:v>
                </c:pt>
                <c:pt idx="16938">
                  <c:v>47.05</c:v>
                </c:pt>
                <c:pt idx="16939">
                  <c:v>47.052777777777777</c:v>
                </c:pt>
                <c:pt idx="16940">
                  <c:v>47.055555555555557</c:v>
                </c:pt>
                <c:pt idx="16941">
                  <c:v>47.05833333333333</c:v>
                </c:pt>
                <c:pt idx="16942">
                  <c:v>47.06111111111111</c:v>
                </c:pt>
                <c:pt idx="16943">
                  <c:v>47.06388888888889</c:v>
                </c:pt>
                <c:pt idx="16944">
                  <c:v>47.06666666666667</c:v>
                </c:pt>
                <c:pt idx="16945">
                  <c:v>47.069444444444443</c:v>
                </c:pt>
                <c:pt idx="16946">
                  <c:v>47.072222222222223</c:v>
                </c:pt>
                <c:pt idx="16947">
                  <c:v>47.075000000000003</c:v>
                </c:pt>
                <c:pt idx="16948">
                  <c:v>47.077777777777776</c:v>
                </c:pt>
                <c:pt idx="16949">
                  <c:v>47.080555555555556</c:v>
                </c:pt>
                <c:pt idx="16950">
                  <c:v>47.083333333333336</c:v>
                </c:pt>
                <c:pt idx="16951">
                  <c:v>47.086111111111109</c:v>
                </c:pt>
                <c:pt idx="16952">
                  <c:v>47.088888888888889</c:v>
                </c:pt>
                <c:pt idx="16953">
                  <c:v>47.091666666666669</c:v>
                </c:pt>
                <c:pt idx="16954">
                  <c:v>47.094444444444441</c:v>
                </c:pt>
                <c:pt idx="16955">
                  <c:v>47.097222222222221</c:v>
                </c:pt>
                <c:pt idx="16956">
                  <c:v>47.1</c:v>
                </c:pt>
                <c:pt idx="16957">
                  <c:v>47.102777777777774</c:v>
                </c:pt>
                <c:pt idx="16958">
                  <c:v>47.105555555555554</c:v>
                </c:pt>
                <c:pt idx="16959">
                  <c:v>47.108333333333334</c:v>
                </c:pt>
                <c:pt idx="16960">
                  <c:v>47.111111111111114</c:v>
                </c:pt>
                <c:pt idx="16961">
                  <c:v>47.113888888888887</c:v>
                </c:pt>
                <c:pt idx="16962">
                  <c:v>47.116666666666667</c:v>
                </c:pt>
                <c:pt idx="16963">
                  <c:v>47.119444444444447</c:v>
                </c:pt>
                <c:pt idx="16964">
                  <c:v>47.12222222222222</c:v>
                </c:pt>
                <c:pt idx="16965">
                  <c:v>47.125</c:v>
                </c:pt>
                <c:pt idx="16966">
                  <c:v>47.12777777777778</c:v>
                </c:pt>
                <c:pt idx="16967">
                  <c:v>47.130555555555553</c:v>
                </c:pt>
                <c:pt idx="16968">
                  <c:v>47.133333333333333</c:v>
                </c:pt>
                <c:pt idx="16969">
                  <c:v>47.136111111111113</c:v>
                </c:pt>
                <c:pt idx="16970">
                  <c:v>47.138888888888886</c:v>
                </c:pt>
                <c:pt idx="16971">
                  <c:v>47.141666666666666</c:v>
                </c:pt>
                <c:pt idx="16972">
                  <c:v>47.144444444444446</c:v>
                </c:pt>
                <c:pt idx="16973">
                  <c:v>47.147222222222226</c:v>
                </c:pt>
                <c:pt idx="16974">
                  <c:v>47.15</c:v>
                </c:pt>
                <c:pt idx="16975">
                  <c:v>47.152777777777779</c:v>
                </c:pt>
                <c:pt idx="16976">
                  <c:v>47.155555555555559</c:v>
                </c:pt>
                <c:pt idx="16977">
                  <c:v>47.158333333333331</c:v>
                </c:pt>
                <c:pt idx="16978">
                  <c:v>47.161111111111111</c:v>
                </c:pt>
                <c:pt idx="16979">
                  <c:v>47.163888888888891</c:v>
                </c:pt>
                <c:pt idx="16980">
                  <c:v>47.166666666666664</c:v>
                </c:pt>
                <c:pt idx="16981">
                  <c:v>47.169444444444444</c:v>
                </c:pt>
                <c:pt idx="16982">
                  <c:v>47.172222222222224</c:v>
                </c:pt>
                <c:pt idx="16983">
                  <c:v>47.174999999999997</c:v>
                </c:pt>
                <c:pt idx="16984">
                  <c:v>47.177777777777777</c:v>
                </c:pt>
                <c:pt idx="16985">
                  <c:v>47.180555555555557</c:v>
                </c:pt>
                <c:pt idx="16986">
                  <c:v>47.18333333333333</c:v>
                </c:pt>
                <c:pt idx="16987">
                  <c:v>47.18611111111111</c:v>
                </c:pt>
                <c:pt idx="16988">
                  <c:v>47.18888888888889</c:v>
                </c:pt>
                <c:pt idx="16989">
                  <c:v>47.19166666666667</c:v>
                </c:pt>
                <c:pt idx="16990">
                  <c:v>47.194444444444443</c:v>
                </c:pt>
                <c:pt idx="16991">
                  <c:v>47.197222222222223</c:v>
                </c:pt>
                <c:pt idx="16992">
                  <c:v>47.2</c:v>
                </c:pt>
                <c:pt idx="16993">
                  <c:v>47.202777777777776</c:v>
                </c:pt>
                <c:pt idx="16994">
                  <c:v>47.205555555555556</c:v>
                </c:pt>
                <c:pt idx="16995">
                  <c:v>47.208333333333336</c:v>
                </c:pt>
                <c:pt idx="16996">
                  <c:v>47.211111111111109</c:v>
                </c:pt>
                <c:pt idx="16997">
                  <c:v>47.213888888888889</c:v>
                </c:pt>
                <c:pt idx="16998">
                  <c:v>47.216666666666669</c:v>
                </c:pt>
                <c:pt idx="16999">
                  <c:v>47.219444444444441</c:v>
                </c:pt>
                <c:pt idx="17000">
                  <c:v>47.222222222222221</c:v>
                </c:pt>
                <c:pt idx="17001">
                  <c:v>47.225000000000001</c:v>
                </c:pt>
                <c:pt idx="17002">
                  <c:v>47.227777777777774</c:v>
                </c:pt>
                <c:pt idx="17003">
                  <c:v>47.230555555555554</c:v>
                </c:pt>
                <c:pt idx="17004">
                  <c:v>47.233333333333334</c:v>
                </c:pt>
                <c:pt idx="17005">
                  <c:v>47.236111111111114</c:v>
                </c:pt>
                <c:pt idx="17006">
                  <c:v>47.238888888888887</c:v>
                </c:pt>
                <c:pt idx="17007">
                  <c:v>47.241666666666667</c:v>
                </c:pt>
                <c:pt idx="17008">
                  <c:v>47.244444444444447</c:v>
                </c:pt>
                <c:pt idx="17009">
                  <c:v>47.24722222222222</c:v>
                </c:pt>
                <c:pt idx="17010">
                  <c:v>47.25</c:v>
                </c:pt>
                <c:pt idx="17011">
                  <c:v>47.25277777777778</c:v>
                </c:pt>
                <c:pt idx="17012">
                  <c:v>47.255555555555553</c:v>
                </c:pt>
                <c:pt idx="17013">
                  <c:v>47.258333333333333</c:v>
                </c:pt>
                <c:pt idx="17014">
                  <c:v>47.261111111111113</c:v>
                </c:pt>
                <c:pt idx="17015">
                  <c:v>47.263888888888886</c:v>
                </c:pt>
                <c:pt idx="17016">
                  <c:v>47.266666666666666</c:v>
                </c:pt>
                <c:pt idx="17017">
                  <c:v>47.269444444444446</c:v>
                </c:pt>
                <c:pt idx="17018">
                  <c:v>47.272222222222226</c:v>
                </c:pt>
                <c:pt idx="17019">
                  <c:v>47.274999999999999</c:v>
                </c:pt>
                <c:pt idx="17020">
                  <c:v>47.277777777777779</c:v>
                </c:pt>
                <c:pt idx="17021">
                  <c:v>47.280555555555559</c:v>
                </c:pt>
                <c:pt idx="17022">
                  <c:v>47.283333333333331</c:v>
                </c:pt>
                <c:pt idx="17023">
                  <c:v>47.286111111111111</c:v>
                </c:pt>
                <c:pt idx="17024">
                  <c:v>47.288888888888891</c:v>
                </c:pt>
                <c:pt idx="17025">
                  <c:v>47.291666666666664</c:v>
                </c:pt>
                <c:pt idx="17026">
                  <c:v>47.294444444444444</c:v>
                </c:pt>
                <c:pt idx="17027">
                  <c:v>47.297222222222224</c:v>
                </c:pt>
                <c:pt idx="17028">
                  <c:v>47.3</c:v>
                </c:pt>
                <c:pt idx="17029">
                  <c:v>47.302777777777777</c:v>
                </c:pt>
                <c:pt idx="17030">
                  <c:v>47.305555555555557</c:v>
                </c:pt>
                <c:pt idx="17031">
                  <c:v>47.30833333333333</c:v>
                </c:pt>
                <c:pt idx="17032">
                  <c:v>47.31111111111111</c:v>
                </c:pt>
                <c:pt idx="17033">
                  <c:v>47.31388888888889</c:v>
                </c:pt>
                <c:pt idx="17034">
                  <c:v>47.31666666666667</c:v>
                </c:pt>
                <c:pt idx="17035">
                  <c:v>47.319444444444443</c:v>
                </c:pt>
                <c:pt idx="17036">
                  <c:v>47.322222222222223</c:v>
                </c:pt>
                <c:pt idx="17037">
                  <c:v>47.325000000000003</c:v>
                </c:pt>
                <c:pt idx="17038">
                  <c:v>47.327777777777776</c:v>
                </c:pt>
                <c:pt idx="17039">
                  <c:v>47.330555555555556</c:v>
                </c:pt>
                <c:pt idx="17040">
                  <c:v>47.333333333333336</c:v>
                </c:pt>
                <c:pt idx="17041">
                  <c:v>47.336111111111109</c:v>
                </c:pt>
                <c:pt idx="17042">
                  <c:v>47.338888888888889</c:v>
                </c:pt>
                <c:pt idx="17043">
                  <c:v>47.341666666666669</c:v>
                </c:pt>
                <c:pt idx="17044">
                  <c:v>47.344444444444441</c:v>
                </c:pt>
                <c:pt idx="17045">
                  <c:v>47.347222222222221</c:v>
                </c:pt>
                <c:pt idx="17046">
                  <c:v>47.35</c:v>
                </c:pt>
                <c:pt idx="17047">
                  <c:v>47.352777777777774</c:v>
                </c:pt>
                <c:pt idx="17048">
                  <c:v>47.355555555555554</c:v>
                </c:pt>
                <c:pt idx="17049">
                  <c:v>47.358333333333334</c:v>
                </c:pt>
                <c:pt idx="17050">
                  <c:v>47.361111111111114</c:v>
                </c:pt>
                <c:pt idx="17051">
                  <c:v>47.363888888888887</c:v>
                </c:pt>
                <c:pt idx="17052">
                  <c:v>47.366666666666667</c:v>
                </c:pt>
                <c:pt idx="17053">
                  <c:v>47.369444444444447</c:v>
                </c:pt>
                <c:pt idx="17054">
                  <c:v>47.37222222222222</c:v>
                </c:pt>
                <c:pt idx="17055">
                  <c:v>47.375</c:v>
                </c:pt>
                <c:pt idx="17056">
                  <c:v>47.37777777777778</c:v>
                </c:pt>
                <c:pt idx="17057">
                  <c:v>47.380555555555553</c:v>
                </c:pt>
                <c:pt idx="17058">
                  <c:v>47.383333333333333</c:v>
                </c:pt>
                <c:pt idx="17059">
                  <c:v>47.386111111111113</c:v>
                </c:pt>
                <c:pt idx="17060">
                  <c:v>47.388888888888886</c:v>
                </c:pt>
                <c:pt idx="17061">
                  <c:v>47.391666666666666</c:v>
                </c:pt>
                <c:pt idx="17062">
                  <c:v>47.394444444444446</c:v>
                </c:pt>
                <c:pt idx="17063">
                  <c:v>47.397222222222226</c:v>
                </c:pt>
                <c:pt idx="17064">
                  <c:v>47.4</c:v>
                </c:pt>
                <c:pt idx="17065">
                  <c:v>47.402777777777779</c:v>
                </c:pt>
                <c:pt idx="17066">
                  <c:v>47.405555555555559</c:v>
                </c:pt>
                <c:pt idx="17067">
                  <c:v>47.408333333333331</c:v>
                </c:pt>
                <c:pt idx="17068">
                  <c:v>47.411111111111111</c:v>
                </c:pt>
                <c:pt idx="17069">
                  <c:v>47.413888888888891</c:v>
                </c:pt>
                <c:pt idx="17070">
                  <c:v>47.416666666666664</c:v>
                </c:pt>
                <c:pt idx="17071">
                  <c:v>47.419444444444444</c:v>
                </c:pt>
                <c:pt idx="17072">
                  <c:v>47.422222222222224</c:v>
                </c:pt>
                <c:pt idx="17073">
                  <c:v>47.424999999999997</c:v>
                </c:pt>
                <c:pt idx="17074">
                  <c:v>47.427777777777777</c:v>
                </c:pt>
                <c:pt idx="17075">
                  <c:v>47.430555555555557</c:v>
                </c:pt>
                <c:pt idx="17076">
                  <c:v>47.43333333333333</c:v>
                </c:pt>
                <c:pt idx="17077">
                  <c:v>47.43611111111111</c:v>
                </c:pt>
                <c:pt idx="17078">
                  <c:v>47.43888888888889</c:v>
                </c:pt>
                <c:pt idx="17079">
                  <c:v>47.44166666666667</c:v>
                </c:pt>
                <c:pt idx="17080">
                  <c:v>47.444444444444443</c:v>
                </c:pt>
                <c:pt idx="17081">
                  <c:v>47.447222222222223</c:v>
                </c:pt>
                <c:pt idx="17082">
                  <c:v>47.45</c:v>
                </c:pt>
                <c:pt idx="17083">
                  <c:v>47.452777777777776</c:v>
                </c:pt>
                <c:pt idx="17084">
                  <c:v>47.455555555555556</c:v>
                </c:pt>
                <c:pt idx="17085">
                  <c:v>47.458333333333336</c:v>
                </c:pt>
                <c:pt idx="17086">
                  <c:v>47.461111111111109</c:v>
                </c:pt>
                <c:pt idx="17087">
                  <c:v>47.463888888888889</c:v>
                </c:pt>
                <c:pt idx="17088">
                  <c:v>47.466666666666669</c:v>
                </c:pt>
                <c:pt idx="17089">
                  <c:v>47.469444444444441</c:v>
                </c:pt>
                <c:pt idx="17090">
                  <c:v>47.472222222222221</c:v>
                </c:pt>
                <c:pt idx="17091">
                  <c:v>47.475000000000001</c:v>
                </c:pt>
                <c:pt idx="17092">
                  <c:v>47.477777777777774</c:v>
                </c:pt>
                <c:pt idx="17093">
                  <c:v>47.480555555555554</c:v>
                </c:pt>
                <c:pt idx="17094">
                  <c:v>47.483333333333334</c:v>
                </c:pt>
                <c:pt idx="17095">
                  <c:v>47.486111111111114</c:v>
                </c:pt>
                <c:pt idx="17096">
                  <c:v>47.488888888888887</c:v>
                </c:pt>
                <c:pt idx="17097">
                  <c:v>47.491666666666667</c:v>
                </c:pt>
                <c:pt idx="17098">
                  <c:v>47.494444444444447</c:v>
                </c:pt>
                <c:pt idx="17099">
                  <c:v>47.49722222222222</c:v>
                </c:pt>
                <c:pt idx="17100">
                  <c:v>47.5</c:v>
                </c:pt>
                <c:pt idx="17101">
                  <c:v>47.50277777777778</c:v>
                </c:pt>
                <c:pt idx="17102">
                  <c:v>47.505555555555553</c:v>
                </c:pt>
                <c:pt idx="17103">
                  <c:v>47.508333333333333</c:v>
                </c:pt>
                <c:pt idx="17104">
                  <c:v>47.511111111111113</c:v>
                </c:pt>
                <c:pt idx="17105">
                  <c:v>47.513888888888886</c:v>
                </c:pt>
                <c:pt idx="17106">
                  <c:v>47.516666666666666</c:v>
                </c:pt>
                <c:pt idx="17107">
                  <c:v>47.519444444444446</c:v>
                </c:pt>
                <c:pt idx="17108">
                  <c:v>47.522222222222226</c:v>
                </c:pt>
                <c:pt idx="17109">
                  <c:v>47.524999999999999</c:v>
                </c:pt>
                <c:pt idx="17110">
                  <c:v>47.527777777777779</c:v>
                </c:pt>
                <c:pt idx="17111">
                  <c:v>47.530555555555559</c:v>
                </c:pt>
                <c:pt idx="17112">
                  <c:v>47.533333333333331</c:v>
                </c:pt>
                <c:pt idx="17113">
                  <c:v>47.536111111111111</c:v>
                </c:pt>
                <c:pt idx="17114">
                  <c:v>47.538888888888891</c:v>
                </c:pt>
                <c:pt idx="17115">
                  <c:v>47.541666666666664</c:v>
                </c:pt>
                <c:pt idx="17116">
                  <c:v>47.544444444444444</c:v>
                </c:pt>
                <c:pt idx="17117">
                  <c:v>47.547222222222224</c:v>
                </c:pt>
                <c:pt idx="17118">
                  <c:v>47.55</c:v>
                </c:pt>
                <c:pt idx="17119">
                  <c:v>47.552777777777777</c:v>
                </c:pt>
                <c:pt idx="17120">
                  <c:v>47.555555555555557</c:v>
                </c:pt>
                <c:pt idx="17121">
                  <c:v>47.55833333333333</c:v>
                </c:pt>
                <c:pt idx="17122">
                  <c:v>47.56111111111111</c:v>
                </c:pt>
                <c:pt idx="17123">
                  <c:v>47.56388888888889</c:v>
                </c:pt>
                <c:pt idx="17124">
                  <c:v>47.56666666666667</c:v>
                </c:pt>
                <c:pt idx="17125">
                  <c:v>47.569444444444443</c:v>
                </c:pt>
                <c:pt idx="17126">
                  <c:v>47.572222222222223</c:v>
                </c:pt>
                <c:pt idx="17127">
                  <c:v>47.575000000000003</c:v>
                </c:pt>
                <c:pt idx="17128">
                  <c:v>47.577777777777776</c:v>
                </c:pt>
                <c:pt idx="17129">
                  <c:v>47.580555555555556</c:v>
                </c:pt>
                <c:pt idx="17130">
                  <c:v>47.583333333333336</c:v>
                </c:pt>
                <c:pt idx="17131">
                  <c:v>47.586111111111109</c:v>
                </c:pt>
                <c:pt idx="17132">
                  <c:v>47.588888888888889</c:v>
                </c:pt>
                <c:pt idx="17133">
                  <c:v>47.591666666666669</c:v>
                </c:pt>
                <c:pt idx="17134">
                  <c:v>47.594444444444441</c:v>
                </c:pt>
                <c:pt idx="17135">
                  <c:v>47.597222222222221</c:v>
                </c:pt>
                <c:pt idx="17136">
                  <c:v>47.6</c:v>
                </c:pt>
                <c:pt idx="17137">
                  <c:v>47.602777777777774</c:v>
                </c:pt>
                <c:pt idx="17138">
                  <c:v>47.605555555555554</c:v>
                </c:pt>
                <c:pt idx="17139">
                  <c:v>47.608333333333334</c:v>
                </c:pt>
                <c:pt idx="17140">
                  <c:v>47.611111111111114</c:v>
                </c:pt>
                <c:pt idx="17141">
                  <c:v>47.613888888888887</c:v>
                </c:pt>
                <c:pt idx="17142">
                  <c:v>47.616666666666667</c:v>
                </c:pt>
                <c:pt idx="17143">
                  <c:v>47.619444444444447</c:v>
                </c:pt>
                <c:pt idx="17144">
                  <c:v>47.62222222222222</c:v>
                </c:pt>
                <c:pt idx="17145">
                  <c:v>47.625</c:v>
                </c:pt>
                <c:pt idx="17146">
                  <c:v>47.62777777777778</c:v>
                </c:pt>
                <c:pt idx="17147">
                  <c:v>47.630555555555553</c:v>
                </c:pt>
                <c:pt idx="17148">
                  <c:v>47.633333333333333</c:v>
                </c:pt>
                <c:pt idx="17149">
                  <c:v>47.636111111111113</c:v>
                </c:pt>
                <c:pt idx="17150">
                  <c:v>47.638888888888886</c:v>
                </c:pt>
                <c:pt idx="17151">
                  <c:v>47.641666666666666</c:v>
                </c:pt>
                <c:pt idx="17152">
                  <c:v>47.644444444444446</c:v>
                </c:pt>
                <c:pt idx="17153">
                  <c:v>47.647222222222226</c:v>
                </c:pt>
                <c:pt idx="17154">
                  <c:v>47.65</c:v>
                </c:pt>
                <c:pt idx="17155">
                  <c:v>47.652777777777779</c:v>
                </c:pt>
                <c:pt idx="17156">
                  <c:v>47.655555555555559</c:v>
                </c:pt>
                <c:pt idx="17157">
                  <c:v>47.658333333333331</c:v>
                </c:pt>
                <c:pt idx="17158">
                  <c:v>47.661111111111111</c:v>
                </c:pt>
                <c:pt idx="17159">
                  <c:v>47.663888888888891</c:v>
                </c:pt>
                <c:pt idx="17160">
                  <c:v>47.666666666666664</c:v>
                </c:pt>
                <c:pt idx="17161">
                  <c:v>47.669444444444444</c:v>
                </c:pt>
                <c:pt idx="17162">
                  <c:v>47.672222222222224</c:v>
                </c:pt>
                <c:pt idx="17163">
                  <c:v>47.674999999999997</c:v>
                </c:pt>
                <c:pt idx="17164">
                  <c:v>47.677777777777777</c:v>
                </c:pt>
                <c:pt idx="17165">
                  <c:v>47.680555555555557</c:v>
                </c:pt>
                <c:pt idx="17166">
                  <c:v>47.68333333333333</c:v>
                </c:pt>
                <c:pt idx="17167">
                  <c:v>47.68611111111111</c:v>
                </c:pt>
                <c:pt idx="17168">
                  <c:v>47.68888888888889</c:v>
                </c:pt>
                <c:pt idx="17169">
                  <c:v>47.69166666666667</c:v>
                </c:pt>
                <c:pt idx="17170">
                  <c:v>47.694444444444443</c:v>
                </c:pt>
                <c:pt idx="17171">
                  <c:v>47.697222222222223</c:v>
                </c:pt>
                <c:pt idx="17172">
                  <c:v>47.7</c:v>
                </c:pt>
                <c:pt idx="17173">
                  <c:v>47.702777777777776</c:v>
                </c:pt>
                <c:pt idx="17174">
                  <c:v>47.705555555555556</c:v>
                </c:pt>
                <c:pt idx="17175">
                  <c:v>47.708333333333336</c:v>
                </c:pt>
                <c:pt idx="17176">
                  <c:v>47.711111111111109</c:v>
                </c:pt>
                <c:pt idx="17177">
                  <c:v>47.713888888888889</c:v>
                </c:pt>
                <c:pt idx="17178">
                  <c:v>47.716666666666669</c:v>
                </c:pt>
                <c:pt idx="17179">
                  <c:v>47.719444444444441</c:v>
                </c:pt>
                <c:pt idx="17180">
                  <c:v>47.722222222222221</c:v>
                </c:pt>
                <c:pt idx="17181">
                  <c:v>47.725000000000001</c:v>
                </c:pt>
                <c:pt idx="17182">
                  <c:v>47.727777777777774</c:v>
                </c:pt>
                <c:pt idx="17183">
                  <c:v>47.730555555555554</c:v>
                </c:pt>
                <c:pt idx="17184">
                  <c:v>47.733333333333334</c:v>
                </c:pt>
                <c:pt idx="17185">
                  <c:v>47.736111111111114</c:v>
                </c:pt>
                <c:pt idx="17186">
                  <c:v>47.738888888888887</c:v>
                </c:pt>
                <c:pt idx="17187">
                  <c:v>47.741666666666667</c:v>
                </c:pt>
                <c:pt idx="17188">
                  <c:v>47.744444444444447</c:v>
                </c:pt>
                <c:pt idx="17189">
                  <c:v>47.74722222222222</c:v>
                </c:pt>
                <c:pt idx="17190">
                  <c:v>47.75</c:v>
                </c:pt>
                <c:pt idx="17191">
                  <c:v>47.75277777777778</c:v>
                </c:pt>
                <c:pt idx="17192">
                  <c:v>47.755555555555553</c:v>
                </c:pt>
                <c:pt idx="17193">
                  <c:v>47.758333333333333</c:v>
                </c:pt>
                <c:pt idx="17194">
                  <c:v>47.761111111111113</c:v>
                </c:pt>
                <c:pt idx="17195">
                  <c:v>47.763888888888886</c:v>
                </c:pt>
                <c:pt idx="17196">
                  <c:v>47.766666666666666</c:v>
                </c:pt>
                <c:pt idx="17197">
                  <c:v>47.769444444444446</c:v>
                </c:pt>
                <c:pt idx="17198">
                  <c:v>47.772222222222226</c:v>
                </c:pt>
                <c:pt idx="17199">
                  <c:v>47.774999999999999</c:v>
                </c:pt>
                <c:pt idx="17200">
                  <c:v>47.777777777777779</c:v>
                </c:pt>
                <c:pt idx="17201">
                  <c:v>47.780555555555559</c:v>
                </c:pt>
                <c:pt idx="17202">
                  <c:v>47.783333333333331</c:v>
                </c:pt>
                <c:pt idx="17203">
                  <c:v>47.786111111111111</c:v>
                </c:pt>
                <c:pt idx="17204">
                  <c:v>47.788888888888891</c:v>
                </c:pt>
                <c:pt idx="17205">
                  <c:v>47.791666666666664</c:v>
                </c:pt>
                <c:pt idx="17206">
                  <c:v>47.794444444444444</c:v>
                </c:pt>
                <c:pt idx="17207">
                  <c:v>47.797222222222224</c:v>
                </c:pt>
                <c:pt idx="17208">
                  <c:v>47.8</c:v>
                </c:pt>
                <c:pt idx="17209">
                  <c:v>47.802777777777777</c:v>
                </c:pt>
                <c:pt idx="17210">
                  <c:v>47.805555555555557</c:v>
                </c:pt>
                <c:pt idx="17211">
                  <c:v>47.80833333333333</c:v>
                </c:pt>
                <c:pt idx="17212">
                  <c:v>47.81111111111111</c:v>
                </c:pt>
                <c:pt idx="17213">
                  <c:v>47.81388888888889</c:v>
                </c:pt>
                <c:pt idx="17214">
                  <c:v>47.81666666666667</c:v>
                </c:pt>
                <c:pt idx="17215">
                  <c:v>47.819444444444443</c:v>
                </c:pt>
                <c:pt idx="17216">
                  <c:v>47.822222222222223</c:v>
                </c:pt>
                <c:pt idx="17217">
                  <c:v>47.825000000000003</c:v>
                </c:pt>
                <c:pt idx="17218">
                  <c:v>47.827777777777776</c:v>
                </c:pt>
                <c:pt idx="17219">
                  <c:v>47.830555555555556</c:v>
                </c:pt>
                <c:pt idx="17220">
                  <c:v>47.833333333333336</c:v>
                </c:pt>
                <c:pt idx="17221">
                  <c:v>47.836111111111109</c:v>
                </c:pt>
                <c:pt idx="17222">
                  <c:v>47.838888888888889</c:v>
                </c:pt>
                <c:pt idx="17223">
                  <c:v>47.841666666666669</c:v>
                </c:pt>
                <c:pt idx="17224">
                  <c:v>47.844444444444441</c:v>
                </c:pt>
                <c:pt idx="17225">
                  <c:v>47.847222222222221</c:v>
                </c:pt>
                <c:pt idx="17226">
                  <c:v>47.85</c:v>
                </c:pt>
                <c:pt idx="17227">
                  <c:v>47.852777777777774</c:v>
                </c:pt>
                <c:pt idx="17228">
                  <c:v>47.855555555555554</c:v>
                </c:pt>
                <c:pt idx="17229">
                  <c:v>47.858333333333334</c:v>
                </c:pt>
                <c:pt idx="17230">
                  <c:v>47.861111111111114</c:v>
                </c:pt>
                <c:pt idx="17231">
                  <c:v>47.863888888888887</c:v>
                </c:pt>
                <c:pt idx="17232">
                  <c:v>47.866666666666667</c:v>
                </c:pt>
                <c:pt idx="17233">
                  <c:v>47.869444444444447</c:v>
                </c:pt>
                <c:pt idx="17234">
                  <c:v>47.87222222222222</c:v>
                </c:pt>
                <c:pt idx="17235">
                  <c:v>47.875</c:v>
                </c:pt>
                <c:pt idx="17236">
                  <c:v>47.87777777777778</c:v>
                </c:pt>
                <c:pt idx="17237">
                  <c:v>47.880555555555553</c:v>
                </c:pt>
                <c:pt idx="17238">
                  <c:v>47.883333333333333</c:v>
                </c:pt>
                <c:pt idx="17239">
                  <c:v>47.886111111111113</c:v>
                </c:pt>
                <c:pt idx="17240">
                  <c:v>47.888888888888886</c:v>
                </c:pt>
                <c:pt idx="17241">
                  <c:v>47.891666666666666</c:v>
                </c:pt>
                <c:pt idx="17242">
                  <c:v>47.894444444444446</c:v>
                </c:pt>
                <c:pt idx="17243">
                  <c:v>47.897222222222226</c:v>
                </c:pt>
                <c:pt idx="17244">
                  <c:v>47.9</c:v>
                </c:pt>
                <c:pt idx="17245">
                  <c:v>47.902777777777779</c:v>
                </c:pt>
                <c:pt idx="17246">
                  <c:v>47.905555555555559</c:v>
                </c:pt>
                <c:pt idx="17247">
                  <c:v>47.908333333333331</c:v>
                </c:pt>
                <c:pt idx="17248">
                  <c:v>47.911111111111111</c:v>
                </c:pt>
                <c:pt idx="17249">
                  <c:v>47.913888888888891</c:v>
                </c:pt>
                <c:pt idx="17250">
                  <c:v>47.916666666666664</c:v>
                </c:pt>
                <c:pt idx="17251">
                  <c:v>47.919444444444444</c:v>
                </c:pt>
                <c:pt idx="17252">
                  <c:v>47.922222222222224</c:v>
                </c:pt>
                <c:pt idx="17253">
                  <c:v>47.924999999999997</c:v>
                </c:pt>
                <c:pt idx="17254">
                  <c:v>47.927777777777777</c:v>
                </c:pt>
                <c:pt idx="17255">
                  <c:v>47.930555555555557</c:v>
                </c:pt>
                <c:pt idx="17256">
                  <c:v>47.93333333333333</c:v>
                </c:pt>
                <c:pt idx="17257">
                  <c:v>47.93611111111111</c:v>
                </c:pt>
                <c:pt idx="17258">
                  <c:v>47.93888888888889</c:v>
                </c:pt>
                <c:pt idx="17259">
                  <c:v>47.94166666666667</c:v>
                </c:pt>
                <c:pt idx="17260">
                  <c:v>47.944444444444443</c:v>
                </c:pt>
                <c:pt idx="17261">
                  <c:v>47.947222222222223</c:v>
                </c:pt>
                <c:pt idx="17262">
                  <c:v>47.95</c:v>
                </c:pt>
                <c:pt idx="17263">
                  <c:v>47.952777777777776</c:v>
                </c:pt>
                <c:pt idx="17264">
                  <c:v>47.955555555555556</c:v>
                </c:pt>
                <c:pt idx="17265">
                  <c:v>47.958333333333336</c:v>
                </c:pt>
                <c:pt idx="17266">
                  <c:v>47.961111111111109</c:v>
                </c:pt>
                <c:pt idx="17267">
                  <c:v>47.963888888888889</c:v>
                </c:pt>
                <c:pt idx="17268">
                  <c:v>47.966666666666669</c:v>
                </c:pt>
                <c:pt idx="17269">
                  <c:v>47.969444444444441</c:v>
                </c:pt>
                <c:pt idx="17270">
                  <c:v>47.972222222222221</c:v>
                </c:pt>
                <c:pt idx="17271">
                  <c:v>47.975000000000001</c:v>
                </c:pt>
                <c:pt idx="17272">
                  <c:v>47.977777777777774</c:v>
                </c:pt>
                <c:pt idx="17273">
                  <c:v>47.980555555555554</c:v>
                </c:pt>
                <c:pt idx="17274">
                  <c:v>47.983333333333334</c:v>
                </c:pt>
                <c:pt idx="17275">
                  <c:v>47.986111111111114</c:v>
                </c:pt>
                <c:pt idx="17276">
                  <c:v>47.988888888888887</c:v>
                </c:pt>
                <c:pt idx="17277">
                  <c:v>47.991666666666667</c:v>
                </c:pt>
                <c:pt idx="17278">
                  <c:v>47.994444444444447</c:v>
                </c:pt>
                <c:pt idx="17279">
                  <c:v>47.99722222222222</c:v>
                </c:pt>
                <c:pt idx="17280">
                  <c:v>48</c:v>
                </c:pt>
              </c:numCache>
            </c:numRef>
          </c:xVal>
          <c:yVal>
            <c:numRef>
              <c:f>'3a_Smartseal + TEC'!$B$2:$B$17282</c:f>
              <c:numCache>
                <c:formatCode>General</c:formatCode>
                <c:ptCount val="17281"/>
                <c:pt idx="0">
                  <c:v>8.8810000000000002</c:v>
                </c:pt>
                <c:pt idx="1">
                  <c:v>8.9120000000000008</c:v>
                </c:pt>
                <c:pt idx="2">
                  <c:v>8.9139999999999997</c:v>
                </c:pt>
                <c:pt idx="3">
                  <c:v>8.9179999999999993</c:v>
                </c:pt>
                <c:pt idx="4">
                  <c:v>8.9190000000000005</c:v>
                </c:pt>
                <c:pt idx="5">
                  <c:v>8.9190000000000005</c:v>
                </c:pt>
                <c:pt idx="6">
                  <c:v>8.9190000000000005</c:v>
                </c:pt>
                <c:pt idx="7">
                  <c:v>8.9179999999999993</c:v>
                </c:pt>
                <c:pt idx="8">
                  <c:v>8.9179999999999993</c:v>
                </c:pt>
                <c:pt idx="9">
                  <c:v>8.9169999999999998</c:v>
                </c:pt>
                <c:pt idx="10">
                  <c:v>8.9179999999999993</c:v>
                </c:pt>
                <c:pt idx="11">
                  <c:v>8.9169999999999998</c:v>
                </c:pt>
                <c:pt idx="12">
                  <c:v>8.9179999999999993</c:v>
                </c:pt>
                <c:pt idx="13">
                  <c:v>8.9179999999999993</c:v>
                </c:pt>
                <c:pt idx="14">
                  <c:v>8.9190000000000005</c:v>
                </c:pt>
                <c:pt idx="15">
                  <c:v>8.9179999999999993</c:v>
                </c:pt>
                <c:pt idx="16">
                  <c:v>8.9179999999999993</c:v>
                </c:pt>
                <c:pt idx="17">
                  <c:v>8.9179999999999993</c:v>
                </c:pt>
                <c:pt idx="18">
                  <c:v>8.9190000000000005</c:v>
                </c:pt>
                <c:pt idx="19">
                  <c:v>8.9190000000000005</c:v>
                </c:pt>
                <c:pt idx="20">
                  <c:v>8.9179999999999993</c:v>
                </c:pt>
                <c:pt idx="21">
                  <c:v>8.9190000000000005</c:v>
                </c:pt>
                <c:pt idx="22">
                  <c:v>8.92</c:v>
                </c:pt>
                <c:pt idx="23">
                  <c:v>8.92</c:v>
                </c:pt>
                <c:pt idx="24">
                  <c:v>8.9190000000000005</c:v>
                </c:pt>
                <c:pt idx="25">
                  <c:v>8.92</c:v>
                </c:pt>
                <c:pt idx="26">
                  <c:v>8.92</c:v>
                </c:pt>
                <c:pt idx="27">
                  <c:v>8.9190000000000005</c:v>
                </c:pt>
                <c:pt idx="28">
                  <c:v>8.92</c:v>
                </c:pt>
                <c:pt idx="29">
                  <c:v>8.9209999999999994</c:v>
                </c:pt>
                <c:pt idx="30">
                  <c:v>8.9209999999999994</c:v>
                </c:pt>
                <c:pt idx="31">
                  <c:v>8.9209999999999994</c:v>
                </c:pt>
                <c:pt idx="32">
                  <c:v>8.9209999999999994</c:v>
                </c:pt>
                <c:pt idx="33">
                  <c:v>8.9220000000000006</c:v>
                </c:pt>
                <c:pt idx="34">
                  <c:v>8.9220000000000006</c:v>
                </c:pt>
                <c:pt idx="35">
                  <c:v>8.9220000000000006</c:v>
                </c:pt>
                <c:pt idx="36">
                  <c:v>9.0500000000000007</c:v>
                </c:pt>
                <c:pt idx="37">
                  <c:v>9.0399999999999991</c:v>
                </c:pt>
                <c:pt idx="38">
                  <c:v>9.0399999999999991</c:v>
                </c:pt>
                <c:pt idx="39">
                  <c:v>9.0419999999999998</c:v>
                </c:pt>
                <c:pt idx="40">
                  <c:v>9.0429999999999993</c:v>
                </c:pt>
                <c:pt idx="41">
                  <c:v>9.0459999999999994</c:v>
                </c:pt>
                <c:pt idx="42">
                  <c:v>9.0440000000000005</c:v>
                </c:pt>
                <c:pt idx="43">
                  <c:v>9.0429999999999993</c:v>
                </c:pt>
                <c:pt idx="44">
                  <c:v>9.0449999999999999</c:v>
                </c:pt>
                <c:pt idx="45">
                  <c:v>9.0459999999999994</c:v>
                </c:pt>
                <c:pt idx="46">
                  <c:v>9.0449999999999999</c:v>
                </c:pt>
                <c:pt idx="47">
                  <c:v>9.0459999999999994</c:v>
                </c:pt>
                <c:pt idx="48">
                  <c:v>9.048</c:v>
                </c:pt>
                <c:pt idx="49">
                  <c:v>9.048</c:v>
                </c:pt>
                <c:pt idx="50">
                  <c:v>9.048</c:v>
                </c:pt>
                <c:pt idx="51">
                  <c:v>9.0510000000000002</c:v>
                </c:pt>
                <c:pt idx="52">
                  <c:v>9.0489999999999995</c:v>
                </c:pt>
                <c:pt idx="53">
                  <c:v>9.0510000000000002</c:v>
                </c:pt>
                <c:pt idx="54">
                  <c:v>9.048</c:v>
                </c:pt>
                <c:pt idx="55">
                  <c:v>9.0500000000000007</c:v>
                </c:pt>
                <c:pt idx="56">
                  <c:v>9.0500000000000007</c:v>
                </c:pt>
                <c:pt idx="57">
                  <c:v>9.0489999999999995</c:v>
                </c:pt>
                <c:pt idx="58">
                  <c:v>9.0500000000000007</c:v>
                </c:pt>
                <c:pt idx="59">
                  <c:v>9.0500000000000007</c:v>
                </c:pt>
                <c:pt idx="60">
                  <c:v>9.0489999999999995</c:v>
                </c:pt>
                <c:pt idx="61">
                  <c:v>9.0519999999999996</c:v>
                </c:pt>
                <c:pt idx="62">
                  <c:v>9.0500000000000007</c:v>
                </c:pt>
                <c:pt idx="63">
                  <c:v>9.0519999999999996</c:v>
                </c:pt>
                <c:pt idx="64">
                  <c:v>9.0500000000000007</c:v>
                </c:pt>
                <c:pt idx="65">
                  <c:v>9.0510000000000002</c:v>
                </c:pt>
                <c:pt idx="66">
                  <c:v>9.0510000000000002</c:v>
                </c:pt>
                <c:pt idx="67">
                  <c:v>9.0510000000000002</c:v>
                </c:pt>
                <c:pt idx="68">
                  <c:v>9.0510000000000002</c:v>
                </c:pt>
                <c:pt idx="69">
                  <c:v>9.0510000000000002</c:v>
                </c:pt>
                <c:pt idx="70">
                  <c:v>9.0519999999999996</c:v>
                </c:pt>
                <c:pt idx="71">
                  <c:v>9.0530000000000008</c:v>
                </c:pt>
                <c:pt idx="72">
                  <c:v>9.0530000000000008</c:v>
                </c:pt>
                <c:pt idx="73">
                  <c:v>9.0359999999999996</c:v>
                </c:pt>
                <c:pt idx="74">
                  <c:v>8.9830000000000005</c:v>
                </c:pt>
                <c:pt idx="75">
                  <c:v>8.9390000000000001</c:v>
                </c:pt>
                <c:pt idx="76">
                  <c:v>8.9060000000000006</c:v>
                </c:pt>
                <c:pt idx="77">
                  <c:v>8.8829999999999991</c:v>
                </c:pt>
                <c:pt idx="78">
                  <c:v>8.8719999999999999</c:v>
                </c:pt>
                <c:pt idx="79">
                  <c:v>8.8659999999999997</c:v>
                </c:pt>
                <c:pt idx="80">
                  <c:v>8.86</c:v>
                </c:pt>
                <c:pt idx="81">
                  <c:v>8.8559999999999999</c:v>
                </c:pt>
                <c:pt idx="82">
                  <c:v>8.8539999999999992</c:v>
                </c:pt>
                <c:pt idx="83">
                  <c:v>8.8520000000000003</c:v>
                </c:pt>
                <c:pt idx="84">
                  <c:v>8.8490000000000002</c:v>
                </c:pt>
                <c:pt idx="85">
                  <c:v>8.8450000000000006</c:v>
                </c:pt>
                <c:pt idx="86">
                  <c:v>8.8439999999999994</c:v>
                </c:pt>
                <c:pt idx="87">
                  <c:v>8.8409999999999993</c:v>
                </c:pt>
                <c:pt idx="88">
                  <c:v>8.8369999999999997</c:v>
                </c:pt>
                <c:pt idx="89">
                  <c:v>8.8360000000000003</c:v>
                </c:pt>
                <c:pt idx="90">
                  <c:v>8.8320000000000007</c:v>
                </c:pt>
                <c:pt idx="91">
                  <c:v>8.8290000000000006</c:v>
                </c:pt>
                <c:pt idx="92">
                  <c:v>8.8279999999999994</c:v>
                </c:pt>
                <c:pt idx="93">
                  <c:v>8.8249999999999993</c:v>
                </c:pt>
                <c:pt idx="94">
                  <c:v>8.8219999999999992</c:v>
                </c:pt>
                <c:pt idx="95">
                  <c:v>8.82</c:v>
                </c:pt>
                <c:pt idx="96">
                  <c:v>8.8179999999999996</c:v>
                </c:pt>
                <c:pt idx="97">
                  <c:v>8.8130000000000006</c:v>
                </c:pt>
                <c:pt idx="98">
                  <c:v>8.8109999999999999</c:v>
                </c:pt>
                <c:pt idx="99">
                  <c:v>8.8089999999999993</c:v>
                </c:pt>
                <c:pt idx="100">
                  <c:v>8.8059999999999992</c:v>
                </c:pt>
                <c:pt idx="101">
                  <c:v>8.8040000000000003</c:v>
                </c:pt>
                <c:pt idx="102">
                  <c:v>8.8019999999999996</c:v>
                </c:pt>
                <c:pt idx="103">
                  <c:v>8.7989999999999995</c:v>
                </c:pt>
                <c:pt idx="104">
                  <c:v>8.798</c:v>
                </c:pt>
                <c:pt idx="105">
                  <c:v>8.7940000000000005</c:v>
                </c:pt>
                <c:pt idx="106">
                  <c:v>8.7910000000000004</c:v>
                </c:pt>
                <c:pt idx="107">
                  <c:v>8.7899999999999991</c:v>
                </c:pt>
                <c:pt idx="108">
                  <c:v>8.7870000000000008</c:v>
                </c:pt>
                <c:pt idx="109">
                  <c:v>8.7850000000000001</c:v>
                </c:pt>
                <c:pt idx="110">
                  <c:v>8.7829999999999995</c:v>
                </c:pt>
                <c:pt idx="111">
                  <c:v>8.7799999999999994</c:v>
                </c:pt>
                <c:pt idx="112">
                  <c:v>8.7780000000000005</c:v>
                </c:pt>
                <c:pt idx="113">
                  <c:v>8.7750000000000004</c:v>
                </c:pt>
                <c:pt idx="114">
                  <c:v>8.7720000000000002</c:v>
                </c:pt>
                <c:pt idx="115">
                  <c:v>8.7720000000000002</c:v>
                </c:pt>
                <c:pt idx="116">
                  <c:v>8.7680000000000007</c:v>
                </c:pt>
                <c:pt idx="117">
                  <c:v>8.766</c:v>
                </c:pt>
                <c:pt idx="118">
                  <c:v>8.7639999999999993</c:v>
                </c:pt>
                <c:pt idx="119">
                  <c:v>8.7620000000000005</c:v>
                </c:pt>
                <c:pt idx="120">
                  <c:v>8.7590000000000003</c:v>
                </c:pt>
                <c:pt idx="121">
                  <c:v>8.7569999999999997</c:v>
                </c:pt>
                <c:pt idx="122">
                  <c:v>8.7550000000000008</c:v>
                </c:pt>
                <c:pt idx="123">
                  <c:v>8.7530000000000001</c:v>
                </c:pt>
                <c:pt idx="124">
                  <c:v>8.7520000000000007</c:v>
                </c:pt>
                <c:pt idx="125">
                  <c:v>8.7490000000000006</c:v>
                </c:pt>
                <c:pt idx="126">
                  <c:v>8.7460000000000004</c:v>
                </c:pt>
                <c:pt idx="127">
                  <c:v>8.7439999999999998</c:v>
                </c:pt>
                <c:pt idx="128">
                  <c:v>8.7420000000000009</c:v>
                </c:pt>
                <c:pt idx="129">
                  <c:v>8.7390000000000008</c:v>
                </c:pt>
                <c:pt idx="130">
                  <c:v>8.7370000000000001</c:v>
                </c:pt>
                <c:pt idx="131">
                  <c:v>8.7370000000000001</c:v>
                </c:pt>
                <c:pt idx="132">
                  <c:v>8.7319999999999993</c:v>
                </c:pt>
                <c:pt idx="133">
                  <c:v>8.7309999999999999</c:v>
                </c:pt>
                <c:pt idx="134">
                  <c:v>8.7289999999999992</c:v>
                </c:pt>
                <c:pt idx="135">
                  <c:v>8.7279999999999998</c:v>
                </c:pt>
                <c:pt idx="136">
                  <c:v>8.7249999999999996</c:v>
                </c:pt>
                <c:pt idx="137">
                  <c:v>8.7240000000000002</c:v>
                </c:pt>
                <c:pt idx="138">
                  <c:v>8.7219999999999995</c:v>
                </c:pt>
                <c:pt idx="139">
                  <c:v>8.7189999999999994</c:v>
                </c:pt>
                <c:pt idx="140">
                  <c:v>8.718</c:v>
                </c:pt>
                <c:pt idx="141">
                  <c:v>8.7159999999999993</c:v>
                </c:pt>
                <c:pt idx="142">
                  <c:v>8.7149999999999999</c:v>
                </c:pt>
                <c:pt idx="143">
                  <c:v>8.7119999999999997</c:v>
                </c:pt>
                <c:pt idx="144">
                  <c:v>8.7100000000000009</c:v>
                </c:pt>
                <c:pt idx="145">
                  <c:v>8.7080000000000002</c:v>
                </c:pt>
                <c:pt idx="146">
                  <c:v>8.7059999999999995</c:v>
                </c:pt>
                <c:pt idx="147">
                  <c:v>8.7050000000000001</c:v>
                </c:pt>
                <c:pt idx="148">
                  <c:v>8.7029999999999994</c:v>
                </c:pt>
                <c:pt idx="149">
                  <c:v>8.6989999999999998</c:v>
                </c:pt>
                <c:pt idx="150">
                  <c:v>8.6989999999999998</c:v>
                </c:pt>
                <c:pt idx="151">
                  <c:v>8.6959999999999997</c:v>
                </c:pt>
                <c:pt idx="152">
                  <c:v>8.6940000000000008</c:v>
                </c:pt>
                <c:pt idx="153">
                  <c:v>8.6920000000000002</c:v>
                </c:pt>
                <c:pt idx="154">
                  <c:v>8.6920000000000002</c:v>
                </c:pt>
                <c:pt idx="155">
                  <c:v>8.6890000000000001</c:v>
                </c:pt>
                <c:pt idx="156">
                  <c:v>8.6869999999999994</c:v>
                </c:pt>
                <c:pt idx="157">
                  <c:v>8.6859999999999999</c:v>
                </c:pt>
                <c:pt idx="158">
                  <c:v>8.6839999999999993</c:v>
                </c:pt>
                <c:pt idx="159">
                  <c:v>8.6829999999999998</c:v>
                </c:pt>
                <c:pt idx="160">
                  <c:v>8.6809999999999992</c:v>
                </c:pt>
                <c:pt idx="161">
                  <c:v>8.6780000000000008</c:v>
                </c:pt>
                <c:pt idx="162">
                  <c:v>8.6769999999999996</c:v>
                </c:pt>
                <c:pt idx="163">
                  <c:v>8.6750000000000007</c:v>
                </c:pt>
                <c:pt idx="164">
                  <c:v>8.6739999999999995</c:v>
                </c:pt>
                <c:pt idx="165">
                  <c:v>8.673</c:v>
                </c:pt>
                <c:pt idx="166">
                  <c:v>8.6709999999999994</c:v>
                </c:pt>
                <c:pt idx="167">
                  <c:v>8.6690000000000005</c:v>
                </c:pt>
                <c:pt idx="168">
                  <c:v>8.6669999999999998</c:v>
                </c:pt>
                <c:pt idx="169">
                  <c:v>8.6649999999999991</c:v>
                </c:pt>
                <c:pt idx="170">
                  <c:v>8.6649999999999991</c:v>
                </c:pt>
                <c:pt idx="171">
                  <c:v>8.6620000000000008</c:v>
                </c:pt>
                <c:pt idx="172">
                  <c:v>8.6609999999999996</c:v>
                </c:pt>
                <c:pt idx="173">
                  <c:v>8.6590000000000007</c:v>
                </c:pt>
                <c:pt idx="174">
                  <c:v>8.6579999999999995</c:v>
                </c:pt>
                <c:pt idx="175">
                  <c:v>8.6560000000000006</c:v>
                </c:pt>
                <c:pt idx="176">
                  <c:v>8.6539999999999999</c:v>
                </c:pt>
                <c:pt idx="177">
                  <c:v>8.6530000000000005</c:v>
                </c:pt>
                <c:pt idx="178">
                  <c:v>8.65</c:v>
                </c:pt>
                <c:pt idx="179">
                  <c:v>8.65</c:v>
                </c:pt>
                <c:pt idx="180">
                  <c:v>8.6479999999999997</c:v>
                </c:pt>
                <c:pt idx="181">
                  <c:v>8.6460000000000008</c:v>
                </c:pt>
                <c:pt idx="182">
                  <c:v>8.6440000000000001</c:v>
                </c:pt>
                <c:pt idx="183">
                  <c:v>8.6440000000000001</c:v>
                </c:pt>
                <c:pt idx="184">
                  <c:v>8.641</c:v>
                </c:pt>
                <c:pt idx="185">
                  <c:v>8.64</c:v>
                </c:pt>
                <c:pt idx="186">
                  <c:v>8.6389999999999993</c:v>
                </c:pt>
                <c:pt idx="187">
                  <c:v>8.6359999999999992</c:v>
                </c:pt>
                <c:pt idx="188">
                  <c:v>8.6359999999999992</c:v>
                </c:pt>
                <c:pt idx="189">
                  <c:v>8.6329999999999991</c:v>
                </c:pt>
                <c:pt idx="190">
                  <c:v>8.6319999999999997</c:v>
                </c:pt>
                <c:pt idx="191">
                  <c:v>8.6319999999999997</c:v>
                </c:pt>
                <c:pt idx="192">
                  <c:v>8.6289999999999996</c:v>
                </c:pt>
                <c:pt idx="193">
                  <c:v>8.6270000000000007</c:v>
                </c:pt>
                <c:pt idx="194">
                  <c:v>8.6270000000000007</c:v>
                </c:pt>
                <c:pt idx="195">
                  <c:v>8.6240000000000006</c:v>
                </c:pt>
                <c:pt idx="196">
                  <c:v>8.6219999999999999</c:v>
                </c:pt>
                <c:pt idx="197">
                  <c:v>8.6210000000000004</c:v>
                </c:pt>
                <c:pt idx="198">
                  <c:v>8.6210000000000004</c:v>
                </c:pt>
                <c:pt idx="199">
                  <c:v>8.6189999999999998</c:v>
                </c:pt>
                <c:pt idx="200">
                  <c:v>8.6170000000000009</c:v>
                </c:pt>
                <c:pt idx="201">
                  <c:v>8.6150000000000002</c:v>
                </c:pt>
                <c:pt idx="202">
                  <c:v>8.6140000000000008</c:v>
                </c:pt>
                <c:pt idx="203">
                  <c:v>8.6140000000000008</c:v>
                </c:pt>
                <c:pt idx="204">
                  <c:v>8.61</c:v>
                </c:pt>
                <c:pt idx="205">
                  <c:v>8.61</c:v>
                </c:pt>
                <c:pt idx="206">
                  <c:v>8.609</c:v>
                </c:pt>
                <c:pt idx="207">
                  <c:v>8.6080000000000005</c:v>
                </c:pt>
                <c:pt idx="208">
                  <c:v>8.6059999999999999</c:v>
                </c:pt>
                <c:pt idx="209">
                  <c:v>8.6050000000000004</c:v>
                </c:pt>
                <c:pt idx="210">
                  <c:v>8.6029999999999998</c:v>
                </c:pt>
                <c:pt idx="211">
                  <c:v>8.6010000000000009</c:v>
                </c:pt>
                <c:pt idx="212">
                  <c:v>8.6020000000000003</c:v>
                </c:pt>
                <c:pt idx="213">
                  <c:v>8.5980000000000008</c:v>
                </c:pt>
                <c:pt idx="214">
                  <c:v>8.5980000000000008</c:v>
                </c:pt>
                <c:pt idx="215">
                  <c:v>8.5969999999999995</c:v>
                </c:pt>
                <c:pt idx="216">
                  <c:v>8.5950000000000006</c:v>
                </c:pt>
                <c:pt idx="217">
                  <c:v>8.593</c:v>
                </c:pt>
                <c:pt idx="218">
                  <c:v>8.593</c:v>
                </c:pt>
                <c:pt idx="219">
                  <c:v>8.59</c:v>
                </c:pt>
                <c:pt idx="220">
                  <c:v>8.5890000000000004</c:v>
                </c:pt>
                <c:pt idx="221">
                  <c:v>8.5879999999999992</c:v>
                </c:pt>
                <c:pt idx="222">
                  <c:v>8.5860000000000003</c:v>
                </c:pt>
                <c:pt idx="223">
                  <c:v>8.5860000000000003</c:v>
                </c:pt>
                <c:pt idx="224">
                  <c:v>8.5839999999999996</c:v>
                </c:pt>
                <c:pt idx="225">
                  <c:v>8.5820000000000007</c:v>
                </c:pt>
                <c:pt idx="226">
                  <c:v>8.5809999999999995</c:v>
                </c:pt>
                <c:pt idx="227">
                  <c:v>8.5790000000000006</c:v>
                </c:pt>
                <c:pt idx="228">
                  <c:v>8.577</c:v>
                </c:pt>
                <c:pt idx="229">
                  <c:v>8.577</c:v>
                </c:pt>
                <c:pt idx="230">
                  <c:v>8.5760000000000005</c:v>
                </c:pt>
                <c:pt idx="231">
                  <c:v>8.5739999999999998</c:v>
                </c:pt>
                <c:pt idx="232">
                  <c:v>8.5719999999999992</c:v>
                </c:pt>
                <c:pt idx="233">
                  <c:v>8.5709999999999997</c:v>
                </c:pt>
                <c:pt idx="234">
                  <c:v>8.5709999999999997</c:v>
                </c:pt>
                <c:pt idx="235">
                  <c:v>8.5690000000000008</c:v>
                </c:pt>
                <c:pt idx="236">
                  <c:v>8.5670000000000002</c:v>
                </c:pt>
                <c:pt idx="237">
                  <c:v>8.5649999999999995</c:v>
                </c:pt>
                <c:pt idx="238">
                  <c:v>8.5649999999999995</c:v>
                </c:pt>
                <c:pt idx="239">
                  <c:v>8.5640000000000001</c:v>
                </c:pt>
                <c:pt idx="240">
                  <c:v>8.5630000000000006</c:v>
                </c:pt>
                <c:pt idx="241">
                  <c:v>8.5619999999999994</c:v>
                </c:pt>
                <c:pt idx="242">
                  <c:v>8.56</c:v>
                </c:pt>
                <c:pt idx="243">
                  <c:v>8.5579999999999998</c:v>
                </c:pt>
                <c:pt idx="244">
                  <c:v>8.5559999999999992</c:v>
                </c:pt>
                <c:pt idx="245">
                  <c:v>8.5570000000000004</c:v>
                </c:pt>
                <c:pt idx="246">
                  <c:v>8.5549999999999997</c:v>
                </c:pt>
                <c:pt idx="247">
                  <c:v>8.5540000000000003</c:v>
                </c:pt>
                <c:pt idx="248">
                  <c:v>8.5530000000000008</c:v>
                </c:pt>
                <c:pt idx="249">
                  <c:v>8.5519999999999996</c:v>
                </c:pt>
                <c:pt idx="250">
                  <c:v>8.5489999999999995</c:v>
                </c:pt>
                <c:pt idx="251">
                  <c:v>8.548</c:v>
                </c:pt>
                <c:pt idx="252">
                  <c:v>8.5489999999999995</c:v>
                </c:pt>
                <c:pt idx="253">
                  <c:v>8.5470000000000006</c:v>
                </c:pt>
                <c:pt idx="254">
                  <c:v>8.5459999999999994</c:v>
                </c:pt>
                <c:pt idx="255">
                  <c:v>8.5440000000000005</c:v>
                </c:pt>
                <c:pt idx="256">
                  <c:v>8.5419999999999998</c:v>
                </c:pt>
                <c:pt idx="257">
                  <c:v>8.5419999999999998</c:v>
                </c:pt>
                <c:pt idx="258">
                  <c:v>8.5410000000000004</c:v>
                </c:pt>
                <c:pt idx="259">
                  <c:v>8.5399999999999991</c:v>
                </c:pt>
                <c:pt idx="260">
                  <c:v>8.5389999999999997</c:v>
                </c:pt>
                <c:pt idx="261">
                  <c:v>8.5380000000000003</c:v>
                </c:pt>
                <c:pt idx="262">
                  <c:v>8.5359999999999996</c:v>
                </c:pt>
                <c:pt idx="263">
                  <c:v>8.5340000000000007</c:v>
                </c:pt>
                <c:pt idx="264">
                  <c:v>8.5340000000000007</c:v>
                </c:pt>
                <c:pt idx="265">
                  <c:v>8.532</c:v>
                </c:pt>
                <c:pt idx="266">
                  <c:v>8.5299999999999994</c:v>
                </c:pt>
                <c:pt idx="267">
                  <c:v>8.5289999999999999</c:v>
                </c:pt>
                <c:pt idx="268">
                  <c:v>8.5280000000000005</c:v>
                </c:pt>
                <c:pt idx="269">
                  <c:v>8.5280000000000005</c:v>
                </c:pt>
                <c:pt idx="270">
                  <c:v>8.5259999999999998</c:v>
                </c:pt>
                <c:pt idx="271">
                  <c:v>8.5250000000000004</c:v>
                </c:pt>
                <c:pt idx="272">
                  <c:v>8.5239999999999991</c:v>
                </c:pt>
                <c:pt idx="273">
                  <c:v>8.5220000000000002</c:v>
                </c:pt>
                <c:pt idx="274">
                  <c:v>8.5220000000000002</c:v>
                </c:pt>
                <c:pt idx="275">
                  <c:v>8.5210000000000008</c:v>
                </c:pt>
                <c:pt idx="276">
                  <c:v>8.5180000000000007</c:v>
                </c:pt>
                <c:pt idx="277">
                  <c:v>8.5190000000000001</c:v>
                </c:pt>
                <c:pt idx="278">
                  <c:v>8.5180000000000007</c:v>
                </c:pt>
                <c:pt idx="279">
                  <c:v>8.5169999999999995</c:v>
                </c:pt>
                <c:pt idx="280">
                  <c:v>8.5150000000000006</c:v>
                </c:pt>
                <c:pt idx="281">
                  <c:v>8.5150000000000006</c:v>
                </c:pt>
                <c:pt idx="282">
                  <c:v>8.5120000000000005</c:v>
                </c:pt>
                <c:pt idx="283">
                  <c:v>8.5120000000000005</c:v>
                </c:pt>
                <c:pt idx="284">
                  <c:v>8.51</c:v>
                </c:pt>
                <c:pt idx="285">
                  <c:v>8.5090000000000003</c:v>
                </c:pt>
                <c:pt idx="286">
                  <c:v>8.5079999999999991</c:v>
                </c:pt>
                <c:pt idx="287">
                  <c:v>8.5069999999999997</c:v>
                </c:pt>
                <c:pt idx="288">
                  <c:v>8.5069999999999997</c:v>
                </c:pt>
                <c:pt idx="289">
                  <c:v>8.5060000000000002</c:v>
                </c:pt>
                <c:pt idx="290">
                  <c:v>8.5039999999999996</c:v>
                </c:pt>
                <c:pt idx="291">
                  <c:v>8.5030000000000001</c:v>
                </c:pt>
                <c:pt idx="292">
                  <c:v>8.5030000000000001</c:v>
                </c:pt>
                <c:pt idx="293">
                  <c:v>8.4979999999999993</c:v>
                </c:pt>
                <c:pt idx="294">
                  <c:v>8.4990000000000006</c:v>
                </c:pt>
                <c:pt idx="295">
                  <c:v>8.4979999999999993</c:v>
                </c:pt>
                <c:pt idx="296">
                  <c:v>8.4969999999999999</c:v>
                </c:pt>
                <c:pt idx="297">
                  <c:v>8.4960000000000004</c:v>
                </c:pt>
                <c:pt idx="298">
                  <c:v>8.4949999999999992</c:v>
                </c:pt>
                <c:pt idx="299">
                  <c:v>8.4960000000000004</c:v>
                </c:pt>
                <c:pt idx="300">
                  <c:v>8.4930000000000003</c:v>
                </c:pt>
                <c:pt idx="301">
                  <c:v>8.4930000000000003</c:v>
                </c:pt>
                <c:pt idx="302">
                  <c:v>8.4909999999999997</c:v>
                </c:pt>
                <c:pt idx="303">
                  <c:v>8.49</c:v>
                </c:pt>
                <c:pt idx="304">
                  <c:v>8.4890000000000008</c:v>
                </c:pt>
                <c:pt idx="305">
                  <c:v>8.4879999999999995</c:v>
                </c:pt>
                <c:pt idx="306">
                  <c:v>8.4870000000000001</c:v>
                </c:pt>
                <c:pt idx="307">
                  <c:v>8.4860000000000007</c:v>
                </c:pt>
                <c:pt idx="308">
                  <c:v>8.484</c:v>
                </c:pt>
                <c:pt idx="309">
                  <c:v>8.484</c:v>
                </c:pt>
                <c:pt idx="310">
                  <c:v>8.4819999999999993</c:v>
                </c:pt>
                <c:pt idx="311">
                  <c:v>8.4819999999999993</c:v>
                </c:pt>
                <c:pt idx="312">
                  <c:v>8.4819999999999993</c:v>
                </c:pt>
                <c:pt idx="313">
                  <c:v>8.48</c:v>
                </c:pt>
                <c:pt idx="314">
                  <c:v>8.4779999999999998</c:v>
                </c:pt>
                <c:pt idx="315">
                  <c:v>8.4779999999999998</c:v>
                </c:pt>
                <c:pt idx="316">
                  <c:v>8.4760000000000009</c:v>
                </c:pt>
                <c:pt idx="317">
                  <c:v>8.4760000000000009</c:v>
                </c:pt>
                <c:pt idx="318">
                  <c:v>8.4740000000000002</c:v>
                </c:pt>
                <c:pt idx="319">
                  <c:v>8.4730000000000008</c:v>
                </c:pt>
                <c:pt idx="320">
                  <c:v>8.4730000000000008</c:v>
                </c:pt>
                <c:pt idx="321">
                  <c:v>8.4719999999999995</c:v>
                </c:pt>
                <c:pt idx="322">
                  <c:v>8.4700000000000006</c:v>
                </c:pt>
                <c:pt idx="323">
                  <c:v>8.4700000000000006</c:v>
                </c:pt>
                <c:pt idx="324">
                  <c:v>8.4700000000000006</c:v>
                </c:pt>
                <c:pt idx="325">
                  <c:v>8.468</c:v>
                </c:pt>
                <c:pt idx="326">
                  <c:v>8.4670000000000005</c:v>
                </c:pt>
                <c:pt idx="327">
                  <c:v>8.4649999999999999</c:v>
                </c:pt>
                <c:pt idx="328">
                  <c:v>8.4649999999999999</c:v>
                </c:pt>
                <c:pt idx="329">
                  <c:v>8.4640000000000004</c:v>
                </c:pt>
                <c:pt idx="330">
                  <c:v>8.4629999999999992</c:v>
                </c:pt>
                <c:pt idx="331">
                  <c:v>8.4610000000000003</c:v>
                </c:pt>
                <c:pt idx="332">
                  <c:v>8.4600000000000009</c:v>
                </c:pt>
                <c:pt idx="333">
                  <c:v>8.4610000000000003</c:v>
                </c:pt>
                <c:pt idx="334">
                  <c:v>8.4600000000000009</c:v>
                </c:pt>
                <c:pt idx="335">
                  <c:v>8.4580000000000002</c:v>
                </c:pt>
                <c:pt idx="336">
                  <c:v>8.4570000000000007</c:v>
                </c:pt>
                <c:pt idx="337">
                  <c:v>8.4559999999999995</c:v>
                </c:pt>
                <c:pt idx="338">
                  <c:v>8.4550000000000001</c:v>
                </c:pt>
                <c:pt idx="339">
                  <c:v>8.4540000000000006</c:v>
                </c:pt>
                <c:pt idx="340">
                  <c:v>8.452</c:v>
                </c:pt>
                <c:pt idx="341">
                  <c:v>8.452</c:v>
                </c:pt>
                <c:pt idx="342">
                  <c:v>8.452</c:v>
                </c:pt>
                <c:pt idx="343">
                  <c:v>8.4499999999999993</c:v>
                </c:pt>
                <c:pt idx="344">
                  <c:v>8.4489999999999998</c:v>
                </c:pt>
                <c:pt idx="345">
                  <c:v>8.4480000000000004</c:v>
                </c:pt>
                <c:pt idx="346">
                  <c:v>8.4469999999999992</c:v>
                </c:pt>
                <c:pt idx="347">
                  <c:v>8.4469999999999992</c:v>
                </c:pt>
                <c:pt idx="348">
                  <c:v>8.4450000000000003</c:v>
                </c:pt>
                <c:pt idx="349">
                  <c:v>8.4450000000000003</c:v>
                </c:pt>
                <c:pt idx="350">
                  <c:v>8.4429999999999996</c:v>
                </c:pt>
                <c:pt idx="351">
                  <c:v>8.4420000000000002</c:v>
                </c:pt>
                <c:pt idx="352">
                  <c:v>8.4420000000000002</c:v>
                </c:pt>
                <c:pt idx="353">
                  <c:v>8.4410000000000007</c:v>
                </c:pt>
                <c:pt idx="354">
                  <c:v>8.4410000000000007</c:v>
                </c:pt>
                <c:pt idx="355">
                  <c:v>8.4390000000000001</c:v>
                </c:pt>
                <c:pt idx="356">
                  <c:v>8.4380000000000006</c:v>
                </c:pt>
                <c:pt idx="357">
                  <c:v>8.4380000000000006</c:v>
                </c:pt>
                <c:pt idx="358">
                  <c:v>8.4369999999999994</c:v>
                </c:pt>
                <c:pt idx="359">
                  <c:v>8.4359999999999999</c:v>
                </c:pt>
                <c:pt idx="360">
                  <c:v>8.4339999999999993</c:v>
                </c:pt>
                <c:pt idx="361">
                  <c:v>8.4329999999999998</c:v>
                </c:pt>
                <c:pt idx="362">
                  <c:v>8.4329999999999998</c:v>
                </c:pt>
                <c:pt idx="363">
                  <c:v>8.43</c:v>
                </c:pt>
                <c:pt idx="364">
                  <c:v>8.4309999999999992</c:v>
                </c:pt>
                <c:pt idx="365">
                  <c:v>8.4290000000000003</c:v>
                </c:pt>
                <c:pt idx="366">
                  <c:v>8.4280000000000008</c:v>
                </c:pt>
                <c:pt idx="367">
                  <c:v>8.43</c:v>
                </c:pt>
                <c:pt idx="368">
                  <c:v>8.4260000000000002</c:v>
                </c:pt>
                <c:pt idx="369">
                  <c:v>8.4260000000000002</c:v>
                </c:pt>
                <c:pt idx="370">
                  <c:v>8.4250000000000007</c:v>
                </c:pt>
                <c:pt idx="371">
                  <c:v>8.4239999999999995</c:v>
                </c:pt>
                <c:pt idx="372">
                  <c:v>8.423</c:v>
                </c:pt>
                <c:pt idx="373">
                  <c:v>8.4220000000000006</c:v>
                </c:pt>
                <c:pt idx="374">
                  <c:v>8.42</c:v>
                </c:pt>
                <c:pt idx="375">
                  <c:v>8.42</c:v>
                </c:pt>
                <c:pt idx="376">
                  <c:v>8.4190000000000005</c:v>
                </c:pt>
                <c:pt idx="377">
                  <c:v>8.4190000000000005</c:v>
                </c:pt>
                <c:pt idx="378">
                  <c:v>8.4179999999999993</c:v>
                </c:pt>
                <c:pt idx="379">
                  <c:v>8.4160000000000004</c:v>
                </c:pt>
                <c:pt idx="380">
                  <c:v>8.4160000000000004</c:v>
                </c:pt>
                <c:pt idx="381">
                  <c:v>8.4149999999999991</c:v>
                </c:pt>
                <c:pt idx="382">
                  <c:v>8.4160000000000004</c:v>
                </c:pt>
                <c:pt idx="383">
                  <c:v>8.4139999999999997</c:v>
                </c:pt>
                <c:pt idx="384">
                  <c:v>8.4120000000000008</c:v>
                </c:pt>
                <c:pt idx="385">
                  <c:v>8.4120000000000008</c:v>
                </c:pt>
                <c:pt idx="386">
                  <c:v>8.41</c:v>
                </c:pt>
                <c:pt idx="387">
                  <c:v>8.4109999999999996</c:v>
                </c:pt>
                <c:pt idx="388">
                  <c:v>8.4090000000000007</c:v>
                </c:pt>
                <c:pt idx="389">
                  <c:v>8.407</c:v>
                </c:pt>
                <c:pt idx="390">
                  <c:v>8.407</c:v>
                </c:pt>
                <c:pt idx="391">
                  <c:v>8.407</c:v>
                </c:pt>
                <c:pt idx="392">
                  <c:v>8.4060000000000006</c:v>
                </c:pt>
                <c:pt idx="393">
                  <c:v>8.4039999999999999</c:v>
                </c:pt>
                <c:pt idx="394">
                  <c:v>8.4039999999999999</c:v>
                </c:pt>
                <c:pt idx="395">
                  <c:v>8.4019999999999992</c:v>
                </c:pt>
                <c:pt idx="396">
                  <c:v>8.4019999999999992</c:v>
                </c:pt>
                <c:pt idx="397">
                  <c:v>8.4019999999999992</c:v>
                </c:pt>
                <c:pt idx="398">
                  <c:v>8.4</c:v>
                </c:pt>
                <c:pt idx="399">
                  <c:v>8.4</c:v>
                </c:pt>
                <c:pt idx="400">
                  <c:v>8.3989999999999991</c:v>
                </c:pt>
                <c:pt idx="401">
                  <c:v>8.3979999999999997</c:v>
                </c:pt>
                <c:pt idx="402">
                  <c:v>8.3979999999999997</c:v>
                </c:pt>
                <c:pt idx="403">
                  <c:v>8.3960000000000008</c:v>
                </c:pt>
                <c:pt idx="404">
                  <c:v>8.3970000000000002</c:v>
                </c:pt>
                <c:pt idx="405">
                  <c:v>8.3940000000000001</c:v>
                </c:pt>
                <c:pt idx="406">
                  <c:v>8.3930000000000007</c:v>
                </c:pt>
                <c:pt idx="407">
                  <c:v>8.3930000000000007</c:v>
                </c:pt>
                <c:pt idx="408">
                  <c:v>8.3930000000000007</c:v>
                </c:pt>
                <c:pt idx="409">
                  <c:v>8.391</c:v>
                </c:pt>
                <c:pt idx="410">
                  <c:v>8.39</c:v>
                </c:pt>
                <c:pt idx="411">
                  <c:v>8.3889999999999993</c:v>
                </c:pt>
                <c:pt idx="412">
                  <c:v>8.3879999999999999</c:v>
                </c:pt>
                <c:pt idx="413">
                  <c:v>8.3879999999999999</c:v>
                </c:pt>
                <c:pt idx="414">
                  <c:v>8.3870000000000005</c:v>
                </c:pt>
                <c:pt idx="415">
                  <c:v>8.3859999999999992</c:v>
                </c:pt>
                <c:pt idx="416">
                  <c:v>8.3849999999999998</c:v>
                </c:pt>
                <c:pt idx="417">
                  <c:v>8.3840000000000003</c:v>
                </c:pt>
                <c:pt idx="418">
                  <c:v>8.3829999999999991</c:v>
                </c:pt>
                <c:pt idx="419">
                  <c:v>8.3840000000000003</c:v>
                </c:pt>
                <c:pt idx="420">
                  <c:v>8.3810000000000002</c:v>
                </c:pt>
                <c:pt idx="421">
                  <c:v>8.3810000000000002</c:v>
                </c:pt>
                <c:pt idx="422">
                  <c:v>8.3800000000000008</c:v>
                </c:pt>
                <c:pt idx="423">
                  <c:v>8.3800000000000008</c:v>
                </c:pt>
                <c:pt idx="424">
                  <c:v>8.3789999999999996</c:v>
                </c:pt>
                <c:pt idx="425">
                  <c:v>8.3770000000000007</c:v>
                </c:pt>
                <c:pt idx="426">
                  <c:v>8.3770000000000007</c:v>
                </c:pt>
                <c:pt idx="427">
                  <c:v>8.3770000000000007</c:v>
                </c:pt>
                <c:pt idx="428">
                  <c:v>8.375</c:v>
                </c:pt>
                <c:pt idx="429">
                  <c:v>8.3740000000000006</c:v>
                </c:pt>
                <c:pt idx="430">
                  <c:v>8.3740000000000006</c:v>
                </c:pt>
                <c:pt idx="431">
                  <c:v>8.3729999999999993</c:v>
                </c:pt>
                <c:pt idx="432">
                  <c:v>8.3719999999999999</c:v>
                </c:pt>
                <c:pt idx="433">
                  <c:v>8.3699999999999992</c:v>
                </c:pt>
                <c:pt idx="434">
                  <c:v>8.3710000000000004</c:v>
                </c:pt>
                <c:pt idx="435">
                  <c:v>8.3710000000000004</c:v>
                </c:pt>
                <c:pt idx="436">
                  <c:v>8.3689999999999998</c:v>
                </c:pt>
                <c:pt idx="437">
                  <c:v>8.3689999999999998</c:v>
                </c:pt>
                <c:pt idx="438">
                  <c:v>8.3670000000000009</c:v>
                </c:pt>
                <c:pt idx="439">
                  <c:v>8.3659999999999997</c:v>
                </c:pt>
                <c:pt idx="440">
                  <c:v>8.3670000000000009</c:v>
                </c:pt>
                <c:pt idx="441">
                  <c:v>8.3640000000000008</c:v>
                </c:pt>
                <c:pt idx="442">
                  <c:v>8.3629999999999995</c:v>
                </c:pt>
                <c:pt idx="443">
                  <c:v>8.3650000000000002</c:v>
                </c:pt>
                <c:pt idx="444">
                  <c:v>8.3620000000000001</c:v>
                </c:pt>
                <c:pt idx="445">
                  <c:v>8.3620000000000001</c:v>
                </c:pt>
                <c:pt idx="446">
                  <c:v>8.3610000000000007</c:v>
                </c:pt>
                <c:pt idx="447">
                  <c:v>8.3610000000000007</c:v>
                </c:pt>
                <c:pt idx="448">
                  <c:v>8.3610000000000007</c:v>
                </c:pt>
                <c:pt idx="449">
                  <c:v>8.359</c:v>
                </c:pt>
                <c:pt idx="450">
                  <c:v>8.3580000000000005</c:v>
                </c:pt>
                <c:pt idx="451">
                  <c:v>8.3569999999999993</c:v>
                </c:pt>
                <c:pt idx="452">
                  <c:v>8.3559999999999999</c:v>
                </c:pt>
                <c:pt idx="453">
                  <c:v>8.3559999999999999</c:v>
                </c:pt>
                <c:pt idx="454">
                  <c:v>8.3559999999999999</c:v>
                </c:pt>
                <c:pt idx="455">
                  <c:v>8.3539999999999992</c:v>
                </c:pt>
                <c:pt idx="456">
                  <c:v>8.3539999999999992</c:v>
                </c:pt>
                <c:pt idx="457">
                  <c:v>8.3520000000000003</c:v>
                </c:pt>
                <c:pt idx="458">
                  <c:v>8.3520000000000003</c:v>
                </c:pt>
                <c:pt idx="459">
                  <c:v>8.3510000000000009</c:v>
                </c:pt>
                <c:pt idx="460">
                  <c:v>8.3490000000000002</c:v>
                </c:pt>
                <c:pt idx="461">
                  <c:v>8.3490000000000002</c:v>
                </c:pt>
                <c:pt idx="462">
                  <c:v>8.3490000000000002</c:v>
                </c:pt>
                <c:pt idx="463">
                  <c:v>8.3480000000000008</c:v>
                </c:pt>
                <c:pt idx="464">
                  <c:v>8.3480000000000008</c:v>
                </c:pt>
                <c:pt idx="465">
                  <c:v>8.3469999999999995</c:v>
                </c:pt>
                <c:pt idx="466">
                  <c:v>8.3450000000000006</c:v>
                </c:pt>
                <c:pt idx="467">
                  <c:v>8.3460000000000001</c:v>
                </c:pt>
                <c:pt idx="468">
                  <c:v>8.343</c:v>
                </c:pt>
                <c:pt idx="469">
                  <c:v>8.343</c:v>
                </c:pt>
                <c:pt idx="470">
                  <c:v>8.3420000000000005</c:v>
                </c:pt>
                <c:pt idx="471">
                  <c:v>8.3420000000000005</c:v>
                </c:pt>
                <c:pt idx="472">
                  <c:v>8.3409999999999993</c:v>
                </c:pt>
                <c:pt idx="473">
                  <c:v>8.3409999999999993</c:v>
                </c:pt>
                <c:pt idx="474">
                  <c:v>8.34</c:v>
                </c:pt>
                <c:pt idx="475">
                  <c:v>8.3379999999999992</c:v>
                </c:pt>
                <c:pt idx="476">
                  <c:v>8.3390000000000004</c:v>
                </c:pt>
                <c:pt idx="477">
                  <c:v>8.3360000000000003</c:v>
                </c:pt>
                <c:pt idx="478">
                  <c:v>8.3360000000000003</c:v>
                </c:pt>
                <c:pt idx="479">
                  <c:v>8.3360000000000003</c:v>
                </c:pt>
                <c:pt idx="480">
                  <c:v>8.3350000000000009</c:v>
                </c:pt>
                <c:pt idx="481">
                  <c:v>8.3350000000000009</c:v>
                </c:pt>
                <c:pt idx="482">
                  <c:v>8.3350000000000009</c:v>
                </c:pt>
                <c:pt idx="483">
                  <c:v>8.3330000000000002</c:v>
                </c:pt>
                <c:pt idx="484">
                  <c:v>8.3330000000000002</c:v>
                </c:pt>
                <c:pt idx="485">
                  <c:v>8.3320000000000007</c:v>
                </c:pt>
                <c:pt idx="486">
                  <c:v>8.3309999999999995</c:v>
                </c:pt>
                <c:pt idx="487">
                  <c:v>8.33</c:v>
                </c:pt>
                <c:pt idx="488">
                  <c:v>8.3290000000000006</c:v>
                </c:pt>
                <c:pt idx="489">
                  <c:v>8.3279999999999994</c:v>
                </c:pt>
                <c:pt idx="490">
                  <c:v>8.3279999999999994</c:v>
                </c:pt>
                <c:pt idx="491">
                  <c:v>8.3290000000000006</c:v>
                </c:pt>
                <c:pt idx="492">
                  <c:v>8.3260000000000005</c:v>
                </c:pt>
                <c:pt idx="493">
                  <c:v>8.3249999999999993</c:v>
                </c:pt>
                <c:pt idx="494">
                  <c:v>8.3249999999999993</c:v>
                </c:pt>
                <c:pt idx="495">
                  <c:v>8.3249999999999993</c:v>
                </c:pt>
                <c:pt idx="496">
                  <c:v>8.3239999999999998</c:v>
                </c:pt>
                <c:pt idx="497">
                  <c:v>8.3230000000000004</c:v>
                </c:pt>
                <c:pt idx="498">
                  <c:v>8.3230000000000004</c:v>
                </c:pt>
                <c:pt idx="499">
                  <c:v>8.3209999999999997</c:v>
                </c:pt>
                <c:pt idx="500">
                  <c:v>8.32</c:v>
                </c:pt>
                <c:pt idx="501">
                  <c:v>8.32</c:v>
                </c:pt>
                <c:pt idx="502">
                  <c:v>8.3179999999999996</c:v>
                </c:pt>
                <c:pt idx="503">
                  <c:v>8.3179999999999996</c:v>
                </c:pt>
                <c:pt idx="504">
                  <c:v>8.3170000000000002</c:v>
                </c:pt>
                <c:pt idx="505">
                  <c:v>8.3170000000000002</c:v>
                </c:pt>
                <c:pt idx="506">
                  <c:v>8.3149999999999995</c:v>
                </c:pt>
                <c:pt idx="507">
                  <c:v>8.3149999999999995</c:v>
                </c:pt>
                <c:pt idx="508">
                  <c:v>8.3149999999999995</c:v>
                </c:pt>
                <c:pt idx="509">
                  <c:v>8.3140000000000001</c:v>
                </c:pt>
                <c:pt idx="510">
                  <c:v>8.3130000000000006</c:v>
                </c:pt>
                <c:pt idx="511">
                  <c:v>8.3130000000000006</c:v>
                </c:pt>
                <c:pt idx="512">
                  <c:v>8.3119999999999994</c:v>
                </c:pt>
                <c:pt idx="513">
                  <c:v>8.31</c:v>
                </c:pt>
                <c:pt idx="514">
                  <c:v>8.3109999999999999</c:v>
                </c:pt>
                <c:pt idx="515">
                  <c:v>8.31</c:v>
                </c:pt>
                <c:pt idx="516">
                  <c:v>8.3089999999999993</c:v>
                </c:pt>
                <c:pt idx="517">
                  <c:v>8.3089999999999993</c:v>
                </c:pt>
                <c:pt idx="518">
                  <c:v>8.3079999999999998</c:v>
                </c:pt>
                <c:pt idx="519">
                  <c:v>8.3079999999999998</c:v>
                </c:pt>
                <c:pt idx="520">
                  <c:v>8.3059999999999992</c:v>
                </c:pt>
                <c:pt idx="521">
                  <c:v>8.3070000000000004</c:v>
                </c:pt>
                <c:pt idx="522">
                  <c:v>8.3040000000000003</c:v>
                </c:pt>
                <c:pt idx="523">
                  <c:v>8.3049999999999997</c:v>
                </c:pt>
                <c:pt idx="524">
                  <c:v>8.3030000000000008</c:v>
                </c:pt>
                <c:pt idx="525">
                  <c:v>8.3030000000000008</c:v>
                </c:pt>
                <c:pt idx="526">
                  <c:v>8.3019999999999996</c:v>
                </c:pt>
                <c:pt idx="527">
                  <c:v>8.3010000000000002</c:v>
                </c:pt>
                <c:pt idx="528">
                  <c:v>8.3030000000000008</c:v>
                </c:pt>
                <c:pt idx="529">
                  <c:v>8.3010000000000002</c:v>
                </c:pt>
                <c:pt idx="530">
                  <c:v>8.2989999999999995</c:v>
                </c:pt>
                <c:pt idx="531">
                  <c:v>8.298</c:v>
                </c:pt>
                <c:pt idx="532">
                  <c:v>8.298</c:v>
                </c:pt>
                <c:pt idx="533">
                  <c:v>8.298</c:v>
                </c:pt>
                <c:pt idx="534">
                  <c:v>8.2970000000000006</c:v>
                </c:pt>
                <c:pt idx="535">
                  <c:v>8.2970000000000006</c:v>
                </c:pt>
                <c:pt idx="536">
                  <c:v>8.2959999999999994</c:v>
                </c:pt>
                <c:pt idx="537">
                  <c:v>8.2949999999999999</c:v>
                </c:pt>
                <c:pt idx="538">
                  <c:v>8.2940000000000005</c:v>
                </c:pt>
                <c:pt idx="539">
                  <c:v>8.2940000000000005</c:v>
                </c:pt>
                <c:pt idx="540">
                  <c:v>8.2940000000000005</c:v>
                </c:pt>
                <c:pt idx="541">
                  <c:v>8.2919999999999998</c:v>
                </c:pt>
                <c:pt idx="542">
                  <c:v>8.2910000000000004</c:v>
                </c:pt>
                <c:pt idx="543">
                  <c:v>8.2899999999999991</c:v>
                </c:pt>
                <c:pt idx="544">
                  <c:v>8.2899999999999991</c:v>
                </c:pt>
                <c:pt idx="545">
                  <c:v>8.2889999999999997</c:v>
                </c:pt>
                <c:pt idx="546">
                  <c:v>8.2899999999999991</c:v>
                </c:pt>
                <c:pt idx="547">
                  <c:v>8.2880000000000003</c:v>
                </c:pt>
                <c:pt idx="548">
                  <c:v>8.2870000000000008</c:v>
                </c:pt>
                <c:pt idx="549">
                  <c:v>8.2870000000000008</c:v>
                </c:pt>
                <c:pt idx="550">
                  <c:v>8.2859999999999996</c:v>
                </c:pt>
                <c:pt idx="551">
                  <c:v>8.2850000000000001</c:v>
                </c:pt>
                <c:pt idx="552">
                  <c:v>8.2850000000000001</c:v>
                </c:pt>
                <c:pt idx="553">
                  <c:v>8.2840000000000007</c:v>
                </c:pt>
                <c:pt idx="554">
                  <c:v>8.2829999999999995</c:v>
                </c:pt>
                <c:pt idx="555">
                  <c:v>8.282</c:v>
                </c:pt>
                <c:pt idx="556">
                  <c:v>8.282</c:v>
                </c:pt>
                <c:pt idx="557">
                  <c:v>8.2810000000000006</c:v>
                </c:pt>
                <c:pt idx="558">
                  <c:v>8.2799999999999994</c:v>
                </c:pt>
                <c:pt idx="559">
                  <c:v>8.2810000000000006</c:v>
                </c:pt>
                <c:pt idx="560">
                  <c:v>8.2789999999999999</c:v>
                </c:pt>
                <c:pt idx="561">
                  <c:v>8.2789999999999999</c:v>
                </c:pt>
                <c:pt idx="562">
                  <c:v>8.2780000000000005</c:v>
                </c:pt>
                <c:pt idx="563">
                  <c:v>8.2769999999999992</c:v>
                </c:pt>
                <c:pt idx="564">
                  <c:v>8.2769999999999992</c:v>
                </c:pt>
                <c:pt idx="565">
                  <c:v>8.2759999999999998</c:v>
                </c:pt>
                <c:pt idx="566">
                  <c:v>8.2750000000000004</c:v>
                </c:pt>
                <c:pt idx="567">
                  <c:v>8.2750000000000004</c:v>
                </c:pt>
                <c:pt idx="568">
                  <c:v>8.2759999999999998</c:v>
                </c:pt>
                <c:pt idx="569">
                  <c:v>8.2739999999999991</c:v>
                </c:pt>
                <c:pt idx="570">
                  <c:v>8.2729999999999997</c:v>
                </c:pt>
                <c:pt idx="571">
                  <c:v>8.2729999999999997</c:v>
                </c:pt>
                <c:pt idx="572">
                  <c:v>8.2710000000000008</c:v>
                </c:pt>
                <c:pt idx="573">
                  <c:v>8.2710000000000008</c:v>
                </c:pt>
                <c:pt idx="574">
                  <c:v>8.27</c:v>
                </c:pt>
                <c:pt idx="575">
                  <c:v>8.27</c:v>
                </c:pt>
                <c:pt idx="576">
                  <c:v>8.2690000000000001</c:v>
                </c:pt>
                <c:pt idx="577">
                  <c:v>8.2690000000000001</c:v>
                </c:pt>
                <c:pt idx="578">
                  <c:v>8.2680000000000007</c:v>
                </c:pt>
                <c:pt idx="579">
                  <c:v>8.266</c:v>
                </c:pt>
                <c:pt idx="580">
                  <c:v>8.2669999999999995</c:v>
                </c:pt>
                <c:pt idx="581">
                  <c:v>8.2669999999999995</c:v>
                </c:pt>
                <c:pt idx="582">
                  <c:v>8.2669999999999995</c:v>
                </c:pt>
                <c:pt idx="583">
                  <c:v>8.2650000000000006</c:v>
                </c:pt>
                <c:pt idx="584">
                  <c:v>8.2650000000000006</c:v>
                </c:pt>
                <c:pt idx="585">
                  <c:v>8.2639999999999993</c:v>
                </c:pt>
                <c:pt idx="586">
                  <c:v>8.2639999999999993</c:v>
                </c:pt>
                <c:pt idx="587">
                  <c:v>8.2620000000000005</c:v>
                </c:pt>
                <c:pt idx="588">
                  <c:v>8.2609999999999992</c:v>
                </c:pt>
                <c:pt idx="589">
                  <c:v>8.26</c:v>
                </c:pt>
                <c:pt idx="590">
                  <c:v>8.26</c:v>
                </c:pt>
                <c:pt idx="591">
                  <c:v>8.2590000000000003</c:v>
                </c:pt>
                <c:pt idx="592">
                  <c:v>8.2590000000000003</c:v>
                </c:pt>
                <c:pt idx="593">
                  <c:v>8.2579999999999991</c:v>
                </c:pt>
                <c:pt idx="594">
                  <c:v>8.2579999999999991</c:v>
                </c:pt>
                <c:pt idx="595">
                  <c:v>8.2579999999999991</c:v>
                </c:pt>
                <c:pt idx="596">
                  <c:v>8.2560000000000002</c:v>
                </c:pt>
                <c:pt idx="597">
                  <c:v>8.2569999999999997</c:v>
                </c:pt>
                <c:pt idx="598">
                  <c:v>8.2550000000000008</c:v>
                </c:pt>
                <c:pt idx="599">
                  <c:v>8.2550000000000008</c:v>
                </c:pt>
                <c:pt idx="600">
                  <c:v>8.2530000000000001</c:v>
                </c:pt>
                <c:pt idx="601">
                  <c:v>8.2530000000000001</c:v>
                </c:pt>
                <c:pt idx="602">
                  <c:v>8.2530000000000001</c:v>
                </c:pt>
                <c:pt idx="603">
                  <c:v>8.2530000000000001</c:v>
                </c:pt>
                <c:pt idx="604">
                  <c:v>8.2509999999999994</c:v>
                </c:pt>
                <c:pt idx="605">
                  <c:v>8.2509999999999994</c:v>
                </c:pt>
                <c:pt idx="606">
                  <c:v>8.25</c:v>
                </c:pt>
                <c:pt idx="607">
                  <c:v>8.25</c:v>
                </c:pt>
                <c:pt idx="608">
                  <c:v>8.2479999999999993</c:v>
                </c:pt>
                <c:pt idx="609">
                  <c:v>8.2479999999999993</c:v>
                </c:pt>
                <c:pt idx="610">
                  <c:v>8.2479999999999993</c:v>
                </c:pt>
                <c:pt idx="611">
                  <c:v>8.2460000000000004</c:v>
                </c:pt>
                <c:pt idx="612">
                  <c:v>8.2469999999999999</c:v>
                </c:pt>
                <c:pt idx="613">
                  <c:v>8.2460000000000004</c:v>
                </c:pt>
                <c:pt idx="614">
                  <c:v>8.2449999999999992</c:v>
                </c:pt>
                <c:pt idx="615">
                  <c:v>8.2439999999999998</c:v>
                </c:pt>
                <c:pt idx="616">
                  <c:v>8.2439999999999998</c:v>
                </c:pt>
                <c:pt idx="617">
                  <c:v>8.2430000000000003</c:v>
                </c:pt>
                <c:pt idx="618">
                  <c:v>8.2420000000000009</c:v>
                </c:pt>
                <c:pt idx="619">
                  <c:v>8.2430000000000003</c:v>
                </c:pt>
                <c:pt idx="620">
                  <c:v>8.2409999999999997</c:v>
                </c:pt>
                <c:pt idx="621">
                  <c:v>8.2409999999999997</c:v>
                </c:pt>
                <c:pt idx="622">
                  <c:v>8.24</c:v>
                </c:pt>
                <c:pt idx="623">
                  <c:v>8.2390000000000008</c:v>
                </c:pt>
                <c:pt idx="624">
                  <c:v>8.24</c:v>
                </c:pt>
                <c:pt idx="625">
                  <c:v>8.2379999999999995</c:v>
                </c:pt>
                <c:pt idx="626">
                  <c:v>8.2370000000000001</c:v>
                </c:pt>
                <c:pt idx="627">
                  <c:v>8.2370000000000001</c:v>
                </c:pt>
                <c:pt idx="628">
                  <c:v>8.2360000000000007</c:v>
                </c:pt>
                <c:pt idx="629">
                  <c:v>8.2349999999999994</c:v>
                </c:pt>
                <c:pt idx="630">
                  <c:v>8.2360000000000007</c:v>
                </c:pt>
                <c:pt idx="631">
                  <c:v>8.2349999999999994</c:v>
                </c:pt>
                <c:pt idx="632">
                  <c:v>8.234</c:v>
                </c:pt>
                <c:pt idx="633">
                  <c:v>8.2349999999999994</c:v>
                </c:pt>
                <c:pt idx="634">
                  <c:v>8.2330000000000005</c:v>
                </c:pt>
                <c:pt idx="635">
                  <c:v>8.2330000000000005</c:v>
                </c:pt>
                <c:pt idx="636">
                  <c:v>8.2319999999999993</c:v>
                </c:pt>
                <c:pt idx="637">
                  <c:v>8.23</c:v>
                </c:pt>
                <c:pt idx="638">
                  <c:v>8.2309999999999999</c:v>
                </c:pt>
                <c:pt idx="639">
                  <c:v>8.23</c:v>
                </c:pt>
                <c:pt idx="640">
                  <c:v>8.23</c:v>
                </c:pt>
                <c:pt idx="641">
                  <c:v>8.2279999999999998</c:v>
                </c:pt>
                <c:pt idx="642">
                  <c:v>8.2279999999999998</c:v>
                </c:pt>
                <c:pt idx="643">
                  <c:v>8.2279999999999998</c:v>
                </c:pt>
                <c:pt idx="644">
                  <c:v>8.2279999999999998</c:v>
                </c:pt>
                <c:pt idx="645">
                  <c:v>8.2260000000000009</c:v>
                </c:pt>
                <c:pt idx="646">
                  <c:v>8.2260000000000009</c:v>
                </c:pt>
                <c:pt idx="647">
                  <c:v>8.2240000000000002</c:v>
                </c:pt>
                <c:pt idx="648">
                  <c:v>8.2249999999999996</c:v>
                </c:pt>
                <c:pt idx="649">
                  <c:v>8.2230000000000008</c:v>
                </c:pt>
                <c:pt idx="650">
                  <c:v>8.2230000000000008</c:v>
                </c:pt>
                <c:pt idx="651">
                  <c:v>8.2230000000000008</c:v>
                </c:pt>
                <c:pt idx="652">
                  <c:v>8.2230000000000008</c:v>
                </c:pt>
                <c:pt idx="653">
                  <c:v>8.2219999999999995</c:v>
                </c:pt>
                <c:pt idx="654">
                  <c:v>8.2210000000000001</c:v>
                </c:pt>
                <c:pt idx="655">
                  <c:v>8.2200000000000006</c:v>
                </c:pt>
                <c:pt idx="656">
                  <c:v>8.2200000000000006</c:v>
                </c:pt>
                <c:pt idx="657">
                  <c:v>8.2200000000000006</c:v>
                </c:pt>
                <c:pt idx="658">
                  <c:v>8.2189999999999994</c:v>
                </c:pt>
                <c:pt idx="659">
                  <c:v>8.218</c:v>
                </c:pt>
                <c:pt idx="660">
                  <c:v>8.2170000000000005</c:v>
                </c:pt>
                <c:pt idx="661">
                  <c:v>8.2170000000000005</c:v>
                </c:pt>
                <c:pt idx="662">
                  <c:v>8.2170000000000005</c:v>
                </c:pt>
                <c:pt idx="663">
                  <c:v>8.2159999999999993</c:v>
                </c:pt>
                <c:pt idx="664">
                  <c:v>8.2159999999999993</c:v>
                </c:pt>
                <c:pt idx="665">
                  <c:v>8.2149999999999999</c:v>
                </c:pt>
                <c:pt idx="666">
                  <c:v>8.2140000000000004</c:v>
                </c:pt>
                <c:pt idx="667">
                  <c:v>8.2129999999999992</c:v>
                </c:pt>
                <c:pt idx="668">
                  <c:v>8.2129999999999992</c:v>
                </c:pt>
                <c:pt idx="669">
                  <c:v>8.2119999999999997</c:v>
                </c:pt>
                <c:pt idx="670">
                  <c:v>8.2119999999999997</c:v>
                </c:pt>
                <c:pt idx="671">
                  <c:v>8.2110000000000003</c:v>
                </c:pt>
                <c:pt idx="672">
                  <c:v>8.2110000000000003</c:v>
                </c:pt>
                <c:pt idx="673">
                  <c:v>8.2089999999999996</c:v>
                </c:pt>
                <c:pt idx="674">
                  <c:v>8.2089999999999996</c:v>
                </c:pt>
                <c:pt idx="675">
                  <c:v>8.2100000000000009</c:v>
                </c:pt>
                <c:pt idx="676">
                  <c:v>8.2080000000000002</c:v>
                </c:pt>
                <c:pt idx="677">
                  <c:v>8.2070000000000007</c:v>
                </c:pt>
                <c:pt idx="678">
                  <c:v>8.2070000000000007</c:v>
                </c:pt>
                <c:pt idx="679">
                  <c:v>8.2059999999999995</c:v>
                </c:pt>
                <c:pt idx="680">
                  <c:v>8.2059999999999995</c:v>
                </c:pt>
                <c:pt idx="681">
                  <c:v>8.2050000000000001</c:v>
                </c:pt>
                <c:pt idx="682">
                  <c:v>8.2040000000000006</c:v>
                </c:pt>
                <c:pt idx="683">
                  <c:v>8.2040000000000006</c:v>
                </c:pt>
                <c:pt idx="684">
                  <c:v>8.2029999999999994</c:v>
                </c:pt>
                <c:pt idx="685">
                  <c:v>8.2029999999999994</c:v>
                </c:pt>
                <c:pt idx="686">
                  <c:v>8.2029999999999994</c:v>
                </c:pt>
                <c:pt idx="687">
                  <c:v>8.2010000000000005</c:v>
                </c:pt>
                <c:pt idx="688">
                  <c:v>8.202</c:v>
                </c:pt>
                <c:pt idx="689">
                  <c:v>8.2010000000000005</c:v>
                </c:pt>
                <c:pt idx="690">
                  <c:v>8.1999999999999993</c:v>
                </c:pt>
                <c:pt idx="691">
                  <c:v>8.1999999999999993</c:v>
                </c:pt>
                <c:pt idx="692">
                  <c:v>8.1999999999999993</c:v>
                </c:pt>
                <c:pt idx="693">
                  <c:v>8.1989999999999998</c:v>
                </c:pt>
                <c:pt idx="694">
                  <c:v>8.1980000000000004</c:v>
                </c:pt>
                <c:pt idx="695">
                  <c:v>8.1969999999999992</c:v>
                </c:pt>
                <c:pt idx="696">
                  <c:v>8.1959999999999997</c:v>
                </c:pt>
                <c:pt idx="697">
                  <c:v>8.1959999999999997</c:v>
                </c:pt>
                <c:pt idx="698">
                  <c:v>8.1959999999999997</c:v>
                </c:pt>
                <c:pt idx="699">
                  <c:v>8.1940000000000008</c:v>
                </c:pt>
                <c:pt idx="700">
                  <c:v>8.1940000000000008</c:v>
                </c:pt>
                <c:pt idx="701">
                  <c:v>8.1940000000000008</c:v>
                </c:pt>
                <c:pt idx="702">
                  <c:v>8.1929999999999996</c:v>
                </c:pt>
                <c:pt idx="703">
                  <c:v>8.1920000000000002</c:v>
                </c:pt>
                <c:pt idx="704">
                  <c:v>8.1920000000000002</c:v>
                </c:pt>
                <c:pt idx="705">
                  <c:v>8.1910000000000007</c:v>
                </c:pt>
                <c:pt idx="706">
                  <c:v>8.1910000000000007</c:v>
                </c:pt>
                <c:pt idx="707">
                  <c:v>8.19</c:v>
                </c:pt>
                <c:pt idx="708">
                  <c:v>8.19</c:v>
                </c:pt>
                <c:pt idx="709">
                  <c:v>8.19</c:v>
                </c:pt>
                <c:pt idx="710">
                  <c:v>8.1890000000000001</c:v>
                </c:pt>
                <c:pt idx="711">
                  <c:v>8.1880000000000006</c:v>
                </c:pt>
                <c:pt idx="712">
                  <c:v>8.1869999999999994</c:v>
                </c:pt>
                <c:pt idx="713">
                  <c:v>8.1869999999999994</c:v>
                </c:pt>
                <c:pt idx="714">
                  <c:v>8.1859999999999999</c:v>
                </c:pt>
                <c:pt idx="715">
                  <c:v>8.1859999999999999</c:v>
                </c:pt>
                <c:pt idx="716">
                  <c:v>8.1859999999999999</c:v>
                </c:pt>
                <c:pt idx="717">
                  <c:v>8.1850000000000005</c:v>
                </c:pt>
                <c:pt idx="718">
                  <c:v>8.1839999999999993</c:v>
                </c:pt>
                <c:pt idx="719">
                  <c:v>8.1829999999999998</c:v>
                </c:pt>
                <c:pt idx="720">
                  <c:v>8.1829999999999998</c:v>
                </c:pt>
                <c:pt idx="721">
                  <c:v>8.1829999999999998</c:v>
                </c:pt>
                <c:pt idx="722">
                  <c:v>8.1809999999999992</c:v>
                </c:pt>
                <c:pt idx="723">
                  <c:v>8.1820000000000004</c:v>
                </c:pt>
                <c:pt idx="724">
                  <c:v>8.18</c:v>
                </c:pt>
                <c:pt idx="725">
                  <c:v>8.18</c:v>
                </c:pt>
                <c:pt idx="726">
                  <c:v>8.18</c:v>
                </c:pt>
                <c:pt idx="727">
                  <c:v>8.1790000000000003</c:v>
                </c:pt>
                <c:pt idx="728">
                  <c:v>8.1780000000000008</c:v>
                </c:pt>
                <c:pt idx="729">
                  <c:v>8.1780000000000008</c:v>
                </c:pt>
                <c:pt idx="730">
                  <c:v>8.1780000000000008</c:v>
                </c:pt>
                <c:pt idx="731">
                  <c:v>8.1760000000000002</c:v>
                </c:pt>
                <c:pt idx="732">
                  <c:v>8.1769999999999996</c:v>
                </c:pt>
                <c:pt idx="733">
                  <c:v>8.1750000000000007</c:v>
                </c:pt>
                <c:pt idx="734">
                  <c:v>8.1750000000000007</c:v>
                </c:pt>
                <c:pt idx="735">
                  <c:v>8.1750000000000007</c:v>
                </c:pt>
                <c:pt idx="736">
                  <c:v>8.1739999999999995</c:v>
                </c:pt>
                <c:pt idx="737">
                  <c:v>8.173</c:v>
                </c:pt>
                <c:pt idx="738">
                  <c:v>8.173</c:v>
                </c:pt>
                <c:pt idx="739">
                  <c:v>8.1720000000000006</c:v>
                </c:pt>
                <c:pt idx="740">
                  <c:v>8.1720000000000006</c:v>
                </c:pt>
                <c:pt idx="741">
                  <c:v>8.1709999999999994</c:v>
                </c:pt>
                <c:pt idx="742">
                  <c:v>8.1709999999999994</c:v>
                </c:pt>
                <c:pt idx="743">
                  <c:v>8.17</c:v>
                </c:pt>
                <c:pt idx="744">
                  <c:v>8.17</c:v>
                </c:pt>
                <c:pt idx="745">
                  <c:v>8.1690000000000005</c:v>
                </c:pt>
                <c:pt idx="746">
                  <c:v>8.1690000000000005</c:v>
                </c:pt>
                <c:pt idx="747">
                  <c:v>8.1679999999999993</c:v>
                </c:pt>
                <c:pt idx="748">
                  <c:v>8.1669999999999998</c:v>
                </c:pt>
                <c:pt idx="749">
                  <c:v>8.1669999999999998</c:v>
                </c:pt>
                <c:pt idx="750">
                  <c:v>8.1649999999999991</c:v>
                </c:pt>
                <c:pt idx="751">
                  <c:v>8.1649999999999991</c:v>
                </c:pt>
                <c:pt idx="752">
                  <c:v>8.1649999999999991</c:v>
                </c:pt>
                <c:pt idx="753">
                  <c:v>8.1649999999999991</c:v>
                </c:pt>
                <c:pt idx="754">
                  <c:v>8.1649999999999991</c:v>
                </c:pt>
                <c:pt idx="755">
                  <c:v>8.1630000000000003</c:v>
                </c:pt>
                <c:pt idx="756">
                  <c:v>8.1630000000000003</c:v>
                </c:pt>
                <c:pt idx="757">
                  <c:v>8.1620000000000008</c:v>
                </c:pt>
                <c:pt idx="758">
                  <c:v>8.1620000000000008</c:v>
                </c:pt>
                <c:pt idx="759">
                  <c:v>8.1620000000000008</c:v>
                </c:pt>
                <c:pt idx="760">
                  <c:v>8.1620000000000008</c:v>
                </c:pt>
                <c:pt idx="761">
                  <c:v>8.16</c:v>
                </c:pt>
                <c:pt idx="762">
                  <c:v>8.16</c:v>
                </c:pt>
                <c:pt idx="763">
                  <c:v>8.16</c:v>
                </c:pt>
                <c:pt idx="764">
                  <c:v>8.1590000000000007</c:v>
                </c:pt>
                <c:pt idx="765">
                  <c:v>8.1590000000000007</c:v>
                </c:pt>
                <c:pt idx="766">
                  <c:v>8.157</c:v>
                </c:pt>
                <c:pt idx="767">
                  <c:v>8.1560000000000006</c:v>
                </c:pt>
                <c:pt idx="768">
                  <c:v>8.157</c:v>
                </c:pt>
                <c:pt idx="769">
                  <c:v>8.1560000000000006</c:v>
                </c:pt>
                <c:pt idx="770">
                  <c:v>8.1560000000000006</c:v>
                </c:pt>
                <c:pt idx="771">
                  <c:v>8.1549999999999994</c:v>
                </c:pt>
                <c:pt idx="772">
                  <c:v>8.1539999999999999</c:v>
                </c:pt>
                <c:pt idx="773">
                  <c:v>8.1539999999999999</c:v>
                </c:pt>
                <c:pt idx="774">
                  <c:v>8.1530000000000005</c:v>
                </c:pt>
                <c:pt idx="775">
                  <c:v>8.1530000000000005</c:v>
                </c:pt>
                <c:pt idx="776">
                  <c:v>8.1519999999999992</c:v>
                </c:pt>
                <c:pt idx="777">
                  <c:v>8.1530000000000005</c:v>
                </c:pt>
                <c:pt idx="778">
                  <c:v>8.1509999999999998</c:v>
                </c:pt>
                <c:pt idx="779">
                  <c:v>8.1509999999999998</c:v>
                </c:pt>
                <c:pt idx="780">
                  <c:v>8.1509999999999998</c:v>
                </c:pt>
                <c:pt idx="781">
                  <c:v>8.15</c:v>
                </c:pt>
                <c:pt idx="782">
                  <c:v>8.1489999999999991</c:v>
                </c:pt>
                <c:pt idx="783">
                  <c:v>8.1489999999999991</c:v>
                </c:pt>
                <c:pt idx="784">
                  <c:v>8.1479999999999997</c:v>
                </c:pt>
                <c:pt idx="785">
                  <c:v>8.1479999999999997</c:v>
                </c:pt>
                <c:pt idx="786">
                  <c:v>8.1470000000000002</c:v>
                </c:pt>
                <c:pt idx="787">
                  <c:v>8.1470000000000002</c:v>
                </c:pt>
                <c:pt idx="788">
                  <c:v>8.1470000000000002</c:v>
                </c:pt>
                <c:pt idx="789">
                  <c:v>8.1460000000000008</c:v>
                </c:pt>
                <c:pt idx="790">
                  <c:v>8.1449999999999996</c:v>
                </c:pt>
                <c:pt idx="791">
                  <c:v>8.1449999999999996</c:v>
                </c:pt>
                <c:pt idx="792">
                  <c:v>8.1449999999999996</c:v>
                </c:pt>
                <c:pt idx="793">
                  <c:v>8.1440000000000001</c:v>
                </c:pt>
                <c:pt idx="794">
                  <c:v>8.1430000000000007</c:v>
                </c:pt>
                <c:pt idx="795">
                  <c:v>8.1430000000000007</c:v>
                </c:pt>
                <c:pt idx="796">
                  <c:v>8.1419999999999995</c:v>
                </c:pt>
                <c:pt idx="797">
                  <c:v>8.1419999999999995</c:v>
                </c:pt>
                <c:pt idx="798">
                  <c:v>8.141</c:v>
                </c:pt>
                <c:pt idx="799">
                  <c:v>8.141</c:v>
                </c:pt>
                <c:pt idx="800">
                  <c:v>8.14</c:v>
                </c:pt>
                <c:pt idx="801">
                  <c:v>8.14</c:v>
                </c:pt>
                <c:pt idx="802">
                  <c:v>8.1389999999999993</c:v>
                </c:pt>
                <c:pt idx="803">
                  <c:v>8.1379999999999999</c:v>
                </c:pt>
                <c:pt idx="804">
                  <c:v>8.1379999999999999</c:v>
                </c:pt>
                <c:pt idx="805">
                  <c:v>8.1379999999999999</c:v>
                </c:pt>
                <c:pt idx="806">
                  <c:v>8.1370000000000005</c:v>
                </c:pt>
                <c:pt idx="807">
                  <c:v>8.1370000000000005</c:v>
                </c:pt>
                <c:pt idx="808">
                  <c:v>8.1359999999999992</c:v>
                </c:pt>
                <c:pt idx="809">
                  <c:v>8.1340000000000003</c:v>
                </c:pt>
                <c:pt idx="810">
                  <c:v>8.1340000000000003</c:v>
                </c:pt>
                <c:pt idx="811">
                  <c:v>8.1349999999999998</c:v>
                </c:pt>
                <c:pt idx="812">
                  <c:v>8.1349999999999998</c:v>
                </c:pt>
                <c:pt idx="813">
                  <c:v>8.1340000000000003</c:v>
                </c:pt>
                <c:pt idx="814">
                  <c:v>8.1329999999999991</c:v>
                </c:pt>
                <c:pt idx="815">
                  <c:v>8.1319999999999997</c:v>
                </c:pt>
                <c:pt idx="816">
                  <c:v>8.1319999999999997</c:v>
                </c:pt>
                <c:pt idx="817">
                  <c:v>8.1310000000000002</c:v>
                </c:pt>
                <c:pt idx="818">
                  <c:v>8.1300000000000008</c:v>
                </c:pt>
                <c:pt idx="819">
                  <c:v>8.1300000000000008</c:v>
                </c:pt>
                <c:pt idx="820">
                  <c:v>8.1300000000000008</c:v>
                </c:pt>
                <c:pt idx="821">
                  <c:v>8.1300000000000008</c:v>
                </c:pt>
                <c:pt idx="822">
                  <c:v>8.1289999999999996</c:v>
                </c:pt>
                <c:pt idx="823">
                  <c:v>8.1289999999999996</c:v>
                </c:pt>
                <c:pt idx="824">
                  <c:v>8.1280000000000001</c:v>
                </c:pt>
                <c:pt idx="825">
                  <c:v>8.1270000000000007</c:v>
                </c:pt>
                <c:pt idx="826">
                  <c:v>8.1270000000000007</c:v>
                </c:pt>
                <c:pt idx="827">
                  <c:v>8.1270000000000007</c:v>
                </c:pt>
                <c:pt idx="828">
                  <c:v>8.1259999999999994</c:v>
                </c:pt>
                <c:pt idx="829">
                  <c:v>8.125</c:v>
                </c:pt>
                <c:pt idx="830">
                  <c:v>8.125</c:v>
                </c:pt>
                <c:pt idx="831">
                  <c:v>8.125</c:v>
                </c:pt>
                <c:pt idx="832">
                  <c:v>8.1240000000000006</c:v>
                </c:pt>
                <c:pt idx="833">
                  <c:v>8.1229999999999993</c:v>
                </c:pt>
                <c:pt idx="834">
                  <c:v>8.1219999999999999</c:v>
                </c:pt>
                <c:pt idx="835">
                  <c:v>8.1210000000000004</c:v>
                </c:pt>
                <c:pt idx="836">
                  <c:v>8.1210000000000004</c:v>
                </c:pt>
                <c:pt idx="837">
                  <c:v>8.1210000000000004</c:v>
                </c:pt>
                <c:pt idx="838">
                  <c:v>8.1210000000000004</c:v>
                </c:pt>
                <c:pt idx="839">
                  <c:v>8.1199999999999992</c:v>
                </c:pt>
                <c:pt idx="840">
                  <c:v>8.1189999999999998</c:v>
                </c:pt>
                <c:pt idx="841">
                  <c:v>8.1189999999999998</c:v>
                </c:pt>
                <c:pt idx="842">
                  <c:v>8.1180000000000003</c:v>
                </c:pt>
                <c:pt idx="843">
                  <c:v>8.1189999999999998</c:v>
                </c:pt>
                <c:pt idx="844">
                  <c:v>8.1180000000000003</c:v>
                </c:pt>
                <c:pt idx="845">
                  <c:v>8.1170000000000009</c:v>
                </c:pt>
                <c:pt idx="846">
                  <c:v>8.1170000000000009</c:v>
                </c:pt>
                <c:pt idx="847">
                  <c:v>8.1150000000000002</c:v>
                </c:pt>
                <c:pt idx="848">
                  <c:v>8.1150000000000002</c:v>
                </c:pt>
                <c:pt idx="849">
                  <c:v>8.1150000000000002</c:v>
                </c:pt>
                <c:pt idx="850">
                  <c:v>8.1140000000000008</c:v>
                </c:pt>
                <c:pt idx="851">
                  <c:v>8.1140000000000008</c:v>
                </c:pt>
                <c:pt idx="852">
                  <c:v>8.1129999999999995</c:v>
                </c:pt>
                <c:pt idx="853">
                  <c:v>8.1129999999999995</c:v>
                </c:pt>
                <c:pt idx="854">
                  <c:v>8.1120000000000001</c:v>
                </c:pt>
                <c:pt idx="855">
                  <c:v>8.1120000000000001</c:v>
                </c:pt>
                <c:pt idx="856">
                  <c:v>8.1120000000000001</c:v>
                </c:pt>
                <c:pt idx="857">
                  <c:v>8.1110000000000007</c:v>
                </c:pt>
                <c:pt idx="858">
                  <c:v>8.1110000000000007</c:v>
                </c:pt>
                <c:pt idx="859">
                  <c:v>8.11</c:v>
                </c:pt>
                <c:pt idx="860">
                  <c:v>8.11</c:v>
                </c:pt>
                <c:pt idx="861">
                  <c:v>8.109</c:v>
                </c:pt>
                <c:pt idx="862">
                  <c:v>8.109</c:v>
                </c:pt>
                <c:pt idx="863">
                  <c:v>8.1080000000000005</c:v>
                </c:pt>
                <c:pt idx="864">
                  <c:v>8.1069999999999993</c:v>
                </c:pt>
                <c:pt idx="865">
                  <c:v>8.1069999999999993</c:v>
                </c:pt>
                <c:pt idx="866">
                  <c:v>8.1069999999999993</c:v>
                </c:pt>
                <c:pt idx="867">
                  <c:v>8.1059999999999999</c:v>
                </c:pt>
                <c:pt idx="868">
                  <c:v>8.1050000000000004</c:v>
                </c:pt>
                <c:pt idx="869">
                  <c:v>8.1050000000000004</c:v>
                </c:pt>
                <c:pt idx="870">
                  <c:v>8.1050000000000004</c:v>
                </c:pt>
                <c:pt idx="871">
                  <c:v>8.1039999999999992</c:v>
                </c:pt>
                <c:pt idx="872">
                  <c:v>8.1039999999999992</c:v>
                </c:pt>
                <c:pt idx="873">
                  <c:v>8.1039999999999992</c:v>
                </c:pt>
                <c:pt idx="874">
                  <c:v>8.1020000000000003</c:v>
                </c:pt>
                <c:pt idx="875">
                  <c:v>8.1020000000000003</c:v>
                </c:pt>
                <c:pt idx="876">
                  <c:v>8.1020000000000003</c:v>
                </c:pt>
                <c:pt idx="877">
                  <c:v>8.1020000000000003</c:v>
                </c:pt>
                <c:pt idx="878">
                  <c:v>8.1</c:v>
                </c:pt>
                <c:pt idx="879">
                  <c:v>8.1</c:v>
                </c:pt>
                <c:pt idx="880">
                  <c:v>8.1</c:v>
                </c:pt>
                <c:pt idx="881">
                  <c:v>8.0990000000000002</c:v>
                </c:pt>
                <c:pt idx="882">
                  <c:v>8.0980000000000008</c:v>
                </c:pt>
                <c:pt idx="883">
                  <c:v>8.0980000000000008</c:v>
                </c:pt>
                <c:pt idx="884">
                  <c:v>8.0980000000000008</c:v>
                </c:pt>
                <c:pt idx="885">
                  <c:v>8.0969999999999995</c:v>
                </c:pt>
                <c:pt idx="886">
                  <c:v>8.0969999999999995</c:v>
                </c:pt>
                <c:pt idx="887">
                  <c:v>8.0969999999999995</c:v>
                </c:pt>
                <c:pt idx="888">
                  <c:v>8.0950000000000006</c:v>
                </c:pt>
                <c:pt idx="889">
                  <c:v>8.0950000000000006</c:v>
                </c:pt>
                <c:pt idx="890">
                  <c:v>8.0950000000000006</c:v>
                </c:pt>
                <c:pt idx="891">
                  <c:v>8.0950000000000006</c:v>
                </c:pt>
                <c:pt idx="892">
                  <c:v>8.0950000000000006</c:v>
                </c:pt>
                <c:pt idx="893">
                  <c:v>8.0939999999999994</c:v>
                </c:pt>
                <c:pt idx="894">
                  <c:v>8.093</c:v>
                </c:pt>
                <c:pt idx="895">
                  <c:v>8.093</c:v>
                </c:pt>
                <c:pt idx="896">
                  <c:v>8.0920000000000005</c:v>
                </c:pt>
                <c:pt idx="897">
                  <c:v>8.0920000000000005</c:v>
                </c:pt>
                <c:pt idx="898">
                  <c:v>8.0909999999999993</c:v>
                </c:pt>
                <c:pt idx="899">
                  <c:v>8.09</c:v>
                </c:pt>
                <c:pt idx="900">
                  <c:v>8.0909999999999993</c:v>
                </c:pt>
                <c:pt idx="901">
                  <c:v>8.09</c:v>
                </c:pt>
                <c:pt idx="902">
                  <c:v>8.09</c:v>
                </c:pt>
                <c:pt idx="903">
                  <c:v>8.0890000000000004</c:v>
                </c:pt>
                <c:pt idx="904">
                  <c:v>8.0879999999999992</c:v>
                </c:pt>
                <c:pt idx="905">
                  <c:v>8.0879999999999992</c:v>
                </c:pt>
                <c:pt idx="906">
                  <c:v>8.0869999999999997</c:v>
                </c:pt>
                <c:pt idx="907">
                  <c:v>8.0869999999999997</c:v>
                </c:pt>
                <c:pt idx="908">
                  <c:v>8.0869999999999997</c:v>
                </c:pt>
                <c:pt idx="909">
                  <c:v>8.0860000000000003</c:v>
                </c:pt>
                <c:pt idx="910">
                  <c:v>8.0860000000000003</c:v>
                </c:pt>
                <c:pt idx="911">
                  <c:v>8.0850000000000009</c:v>
                </c:pt>
                <c:pt idx="912">
                  <c:v>8.0850000000000009</c:v>
                </c:pt>
                <c:pt idx="913">
                  <c:v>8.0839999999999996</c:v>
                </c:pt>
                <c:pt idx="914">
                  <c:v>8.0830000000000002</c:v>
                </c:pt>
                <c:pt idx="915">
                  <c:v>8.0830000000000002</c:v>
                </c:pt>
                <c:pt idx="916">
                  <c:v>8.0830000000000002</c:v>
                </c:pt>
                <c:pt idx="917">
                  <c:v>8.0830000000000002</c:v>
                </c:pt>
                <c:pt idx="918">
                  <c:v>8.0820000000000007</c:v>
                </c:pt>
                <c:pt idx="919">
                  <c:v>8.0809999999999995</c:v>
                </c:pt>
                <c:pt idx="920">
                  <c:v>8.0809999999999995</c:v>
                </c:pt>
                <c:pt idx="921">
                  <c:v>8.08</c:v>
                </c:pt>
                <c:pt idx="922">
                  <c:v>8.0790000000000006</c:v>
                </c:pt>
                <c:pt idx="923">
                  <c:v>8.08</c:v>
                </c:pt>
                <c:pt idx="924">
                  <c:v>8.0790000000000006</c:v>
                </c:pt>
                <c:pt idx="925">
                  <c:v>8.0790000000000006</c:v>
                </c:pt>
                <c:pt idx="926">
                  <c:v>8.077</c:v>
                </c:pt>
                <c:pt idx="927">
                  <c:v>8.077</c:v>
                </c:pt>
                <c:pt idx="928">
                  <c:v>8.077</c:v>
                </c:pt>
                <c:pt idx="929">
                  <c:v>8.077</c:v>
                </c:pt>
                <c:pt idx="930">
                  <c:v>8.0760000000000005</c:v>
                </c:pt>
                <c:pt idx="931">
                  <c:v>8.0760000000000005</c:v>
                </c:pt>
                <c:pt idx="932">
                  <c:v>8.0760000000000005</c:v>
                </c:pt>
                <c:pt idx="933">
                  <c:v>8.0749999999999993</c:v>
                </c:pt>
                <c:pt idx="934">
                  <c:v>8.0749999999999993</c:v>
                </c:pt>
                <c:pt idx="935">
                  <c:v>8.0739999999999998</c:v>
                </c:pt>
                <c:pt idx="936">
                  <c:v>8.0739999999999998</c:v>
                </c:pt>
                <c:pt idx="937">
                  <c:v>8.0730000000000004</c:v>
                </c:pt>
                <c:pt idx="938">
                  <c:v>8.0730000000000004</c:v>
                </c:pt>
                <c:pt idx="939">
                  <c:v>8.0719999999999992</c:v>
                </c:pt>
                <c:pt idx="940">
                  <c:v>8.0719999999999992</c:v>
                </c:pt>
                <c:pt idx="941">
                  <c:v>8.0719999999999992</c:v>
                </c:pt>
                <c:pt idx="942">
                  <c:v>8.0709999999999997</c:v>
                </c:pt>
                <c:pt idx="943">
                  <c:v>8.0709999999999997</c:v>
                </c:pt>
                <c:pt idx="944">
                  <c:v>8.07</c:v>
                </c:pt>
                <c:pt idx="945">
                  <c:v>8.07</c:v>
                </c:pt>
                <c:pt idx="946">
                  <c:v>8.0690000000000008</c:v>
                </c:pt>
                <c:pt idx="947">
                  <c:v>8.0690000000000008</c:v>
                </c:pt>
                <c:pt idx="948">
                  <c:v>8.0679999999999996</c:v>
                </c:pt>
                <c:pt idx="949">
                  <c:v>8.0670000000000002</c:v>
                </c:pt>
                <c:pt idx="950">
                  <c:v>8.0670000000000002</c:v>
                </c:pt>
                <c:pt idx="951">
                  <c:v>8.0670000000000002</c:v>
                </c:pt>
                <c:pt idx="952">
                  <c:v>8.0660000000000007</c:v>
                </c:pt>
                <c:pt idx="953">
                  <c:v>8.0660000000000007</c:v>
                </c:pt>
                <c:pt idx="954">
                  <c:v>8.0660000000000007</c:v>
                </c:pt>
                <c:pt idx="955">
                  <c:v>8.0649999999999995</c:v>
                </c:pt>
                <c:pt idx="956">
                  <c:v>8.0649999999999995</c:v>
                </c:pt>
                <c:pt idx="957">
                  <c:v>8.0640000000000001</c:v>
                </c:pt>
                <c:pt idx="958">
                  <c:v>8.0640000000000001</c:v>
                </c:pt>
                <c:pt idx="959">
                  <c:v>8.0630000000000006</c:v>
                </c:pt>
                <c:pt idx="960">
                  <c:v>8.0619999999999994</c:v>
                </c:pt>
                <c:pt idx="961">
                  <c:v>8.0619999999999994</c:v>
                </c:pt>
                <c:pt idx="962">
                  <c:v>8.0619999999999994</c:v>
                </c:pt>
                <c:pt idx="963">
                  <c:v>8.0609999999999999</c:v>
                </c:pt>
                <c:pt idx="964">
                  <c:v>8.0609999999999999</c:v>
                </c:pt>
                <c:pt idx="965">
                  <c:v>8.0609999999999999</c:v>
                </c:pt>
                <c:pt idx="966">
                  <c:v>8.06</c:v>
                </c:pt>
                <c:pt idx="967">
                  <c:v>8.0589999999999993</c:v>
                </c:pt>
                <c:pt idx="968">
                  <c:v>8.0589999999999993</c:v>
                </c:pt>
                <c:pt idx="969">
                  <c:v>8.0589999999999993</c:v>
                </c:pt>
                <c:pt idx="970">
                  <c:v>8.0579999999999998</c:v>
                </c:pt>
                <c:pt idx="971">
                  <c:v>8.0579999999999998</c:v>
                </c:pt>
                <c:pt idx="972">
                  <c:v>8.0570000000000004</c:v>
                </c:pt>
                <c:pt idx="973">
                  <c:v>8.0570000000000004</c:v>
                </c:pt>
                <c:pt idx="974">
                  <c:v>8.0559999999999992</c:v>
                </c:pt>
                <c:pt idx="975">
                  <c:v>8.0570000000000004</c:v>
                </c:pt>
                <c:pt idx="976">
                  <c:v>8.0549999999999997</c:v>
                </c:pt>
                <c:pt idx="977">
                  <c:v>8.0549999999999997</c:v>
                </c:pt>
                <c:pt idx="978">
                  <c:v>8.0549999999999997</c:v>
                </c:pt>
                <c:pt idx="979">
                  <c:v>8.0549999999999997</c:v>
                </c:pt>
                <c:pt idx="980">
                  <c:v>8.0540000000000003</c:v>
                </c:pt>
                <c:pt idx="981">
                  <c:v>8.0540000000000003</c:v>
                </c:pt>
                <c:pt idx="982">
                  <c:v>8.0530000000000008</c:v>
                </c:pt>
                <c:pt idx="983">
                  <c:v>8.0530000000000008</c:v>
                </c:pt>
                <c:pt idx="984">
                  <c:v>8.0519999999999996</c:v>
                </c:pt>
                <c:pt idx="985">
                  <c:v>8.0519999999999996</c:v>
                </c:pt>
                <c:pt idx="986">
                  <c:v>8.0510000000000002</c:v>
                </c:pt>
                <c:pt idx="987">
                  <c:v>8.0510000000000002</c:v>
                </c:pt>
                <c:pt idx="988">
                  <c:v>8.0500000000000007</c:v>
                </c:pt>
                <c:pt idx="989">
                  <c:v>8.0500000000000007</c:v>
                </c:pt>
                <c:pt idx="990">
                  <c:v>8.0500000000000007</c:v>
                </c:pt>
                <c:pt idx="991">
                  <c:v>8.0489999999999995</c:v>
                </c:pt>
                <c:pt idx="992">
                  <c:v>8.0489999999999995</c:v>
                </c:pt>
                <c:pt idx="993">
                  <c:v>8.0489999999999995</c:v>
                </c:pt>
                <c:pt idx="994">
                  <c:v>8.048</c:v>
                </c:pt>
                <c:pt idx="995">
                  <c:v>8.0470000000000006</c:v>
                </c:pt>
                <c:pt idx="996">
                  <c:v>8.0459999999999994</c:v>
                </c:pt>
                <c:pt idx="997">
                  <c:v>8.0459999999999994</c:v>
                </c:pt>
                <c:pt idx="998">
                  <c:v>8.0459999999999994</c:v>
                </c:pt>
                <c:pt idx="999">
                  <c:v>8.0459999999999994</c:v>
                </c:pt>
                <c:pt idx="1000">
                  <c:v>8.0449999999999999</c:v>
                </c:pt>
                <c:pt idx="1001">
                  <c:v>8.0449999999999999</c:v>
                </c:pt>
                <c:pt idx="1002">
                  <c:v>8.0440000000000005</c:v>
                </c:pt>
                <c:pt idx="1003">
                  <c:v>8.0440000000000005</c:v>
                </c:pt>
                <c:pt idx="1004">
                  <c:v>8.0429999999999993</c:v>
                </c:pt>
                <c:pt idx="1005">
                  <c:v>8.0429999999999993</c:v>
                </c:pt>
                <c:pt idx="1006">
                  <c:v>8.0429999999999993</c:v>
                </c:pt>
                <c:pt idx="1007">
                  <c:v>8.0419999999999998</c:v>
                </c:pt>
                <c:pt idx="1008">
                  <c:v>8.0419999999999998</c:v>
                </c:pt>
                <c:pt idx="1009">
                  <c:v>8.0410000000000004</c:v>
                </c:pt>
                <c:pt idx="1010">
                  <c:v>8.0399999999999991</c:v>
                </c:pt>
                <c:pt idx="1011">
                  <c:v>8.0399999999999991</c:v>
                </c:pt>
                <c:pt idx="1012">
                  <c:v>8.0399999999999991</c:v>
                </c:pt>
                <c:pt idx="1013">
                  <c:v>8.0389999999999997</c:v>
                </c:pt>
                <c:pt idx="1014">
                  <c:v>8.0389999999999997</c:v>
                </c:pt>
                <c:pt idx="1015">
                  <c:v>8.0380000000000003</c:v>
                </c:pt>
                <c:pt idx="1016">
                  <c:v>8.0380000000000003</c:v>
                </c:pt>
                <c:pt idx="1017">
                  <c:v>8.0380000000000003</c:v>
                </c:pt>
                <c:pt idx="1018">
                  <c:v>8.0380000000000003</c:v>
                </c:pt>
                <c:pt idx="1019">
                  <c:v>8.0370000000000008</c:v>
                </c:pt>
                <c:pt idx="1020">
                  <c:v>8.0359999999999996</c:v>
                </c:pt>
                <c:pt idx="1021">
                  <c:v>8.0359999999999996</c:v>
                </c:pt>
                <c:pt idx="1022">
                  <c:v>8.0359999999999996</c:v>
                </c:pt>
                <c:pt idx="1023">
                  <c:v>8.0350000000000001</c:v>
                </c:pt>
                <c:pt idx="1024">
                  <c:v>8.0340000000000007</c:v>
                </c:pt>
                <c:pt idx="1025">
                  <c:v>8.0340000000000007</c:v>
                </c:pt>
                <c:pt idx="1026">
                  <c:v>8.0340000000000007</c:v>
                </c:pt>
                <c:pt idx="1027">
                  <c:v>8.0329999999999995</c:v>
                </c:pt>
                <c:pt idx="1028">
                  <c:v>8.0329999999999995</c:v>
                </c:pt>
                <c:pt idx="1029">
                  <c:v>8.0329999999999995</c:v>
                </c:pt>
                <c:pt idx="1030">
                  <c:v>8.032</c:v>
                </c:pt>
                <c:pt idx="1031">
                  <c:v>8.032</c:v>
                </c:pt>
                <c:pt idx="1032">
                  <c:v>8.0310000000000006</c:v>
                </c:pt>
                <c:pt idx="1033">
                  <c:v>8.0310000000000006</c:v>
                </c:pt>
                <c:pt idx="1034">
                  <c:v>8.0310000000000006</c:v>
                </c:pt>
                <c:pt idx="1035">
                  <c:v>8.0299999999999994</c:v>
                </c:pt>
                <c:pt idx="1036">
                  <c:v>8.0299999999999994</c:v>
                </c:pt>
                <c:pt idx="1037">
                  <c:v>8.0289999999999999</c:v>
                </c:pt>
                <c:pt idx="1038">
                  <c:v>8.0299999999999994</c:v>
                </c:pt>
                <c:pt idx="1039">
                  <c:v>8.0289999999999999</c:v>
                </c:pt>
                <c:pt idx="1040">
                  <c:v>8.0280000000000005</c:v>
                </c:pt>
                <c:pt idx="1041">
                  <c:v>8.0280000000000005</c:v>
                </c:pt>
                <c:pt idx="1042">
                  <c:v>8.0269999999999992</c:v>
                </c:pt>
                <c:pt idx="1043">
                  <c:v>8.0269999999999992</c:v>
                </c:pt>
                <c:pt idx="1044">
                  <c:v>8.0269999999999992</c:v>
                </c:pt>
                <c:pt idx="1045">
                  <c:v>8.0259999999999998</c:v>
                </c:pt>
                <c:pt idx="1046">
                  <c:v>8.0259999999999998</c:v>
                </c:pt>
                <c:pt idx="1047">
                  <c:v>8.0250000000000004</c:v>
                </c:pt>
                <c:pt idx="1048">
                  <c:v>8.0259999999999998</c:v>
                </c:pt>
                <c:pt idx="1049">
                  <c:v>8.0250000000000004</c:v>
                </c:pt>
                <c:pt idx="1050">
                  <c:v>8.0250000000000004</c:v>
                </c:pt>
                <c:pt idx="1051">
                  <c:v>8.0239999999999991</c:v>
                </c:pt>
                <c:pt idx="1052">
                  <c:v>8.0229999999999997</c:v>
                </c:pt>
                <c:pt idx="1053">
                  <c:v>8.0229999999999997</c:v>
                </c:pt>
                <c:pt idx="1054">
                  <c:v>8.0229999999999997</c:v>
                </c:pt>
                <c:pt idx="1055">
                  <c:v>8.0210000000000008</c:v>
                </c:pt>
                <c:pt idx="1056">
                  <c:v>8.0220000000000002</c:v>
                </c:pt>
                <c:pt idx="1057">
                  <c:v>8.0220000000000002</c:v>
                </c:pt>
                <c:pt idx="1058">
                  <c:v>8.0210000000000008</c:v>
                </c:pt>
                <c:pt idx="1059">
                  <c:v>8.02</c:v>
                </c:pt>
                <c:pt idx="1060">
                  <c:v>8.02</c:v>
                </c:pt>
                <c:pt idx="1061">
                  <c:v>8.02</c:v>
                </c:pt>
                <c:pt idx="1062">
                  <c:v>8.0190000000000001</c:v>
                </c:pt>
                <c:pt idx="1063">
                  <c:v>8.0190000000000001</c:v>
                </c:pt>
                <c:pt idx="1064">
                  <c:v>8.0190000000000001</c:v>
                </c:pt>
                <c:pt idx="1065">
                  <c:v>8.0180000000000007</c:v>
                </c:pt>
                <c:pt idx="1066">
                  <c:v>8.0180000000000007</c:v>
                </c:pt>
                <c:pt idx="1067">
                  <c:v>8.0169999999999995</c:v>
                </c:pt>
                <c:pt idx="1068">
                  <c:v>8.0169999999999995</c:v>
                </c:pt>
                <c:pt idx="1069">
                  <c:v>8.0169999999999995</c:v>
                </c:pt>
                <c:pt idx="1070">
                  <c:v>8.016</c:v>
                </c:pt>
                <c:pt idx="1071">
                  <c:v>8.016</c:v>
                </c:pt>
                <c:pt idx="1072">
                  <c:v>8.0150000000000006</c:v>
                </c:pt>
                <c:pt idx="1073">
                  <c:v>8.0150000000000006</c:v>
                </c:pt>
                <c:pt idx="1074">
                  <c:v>8.0150000000000006</c:v>
                </c:pt>
                <c:pt idx="1075">
                  <c:v>8.0139999999999993</c:v>
                </c:pt>
                <c:pt idx="1076">
                  <c:v>8.0139999999999993</c:v>
                </c:pt>
                <c:pt idx="1077">
                  <c:v>8.0139999999999993</c:v>
                </c:pt>
                <c:pt idx="1078">
                  <c:v>8.0129999999999999</c:v>
                </c:pt>
                <c:pt idx="1079">
                  <c:v>8.0129999999999999</c:v>
                </c:pt>
                <c:pt idx="1080">
                  <c:v>8.0120000000000005</c:v>
                </c:pt>
                <c:pt idx="1081">
                  <c:v>8.0120000000000005</c:v>
                </c:pt>
                <c:pt idx="1082">
                  <c:v>8.0109999999999992</c:v>
                </c:pt>
                <c:pt idx="1083">
                  <c:v>8.0109999999999992</c:v>
                </c:pt>
                <c:pt idx="1084">
                  <c:v>8.01</c:v>
                </c:pt>
                <c:pt idx="1085">
                  <c:v>8.01</c:v>
                </c:pt>
                <c:pt idx="1086">
                  <c:v>8.01</c:v>
                </c:pt>
                <c:pt idx="1087">
                  <c:v>8.0090000000000003</c:v>
                </c:pt>
                <c:pt idx="1088">
                  <c:v>8.0090000000000003</c:v>
                </c:pt>
                <c:pt idx="1089">
                  <c:v>8.0090000000000003</c:v>
                </c:pt>
                <c:pt idx="1090">
                  <c:v>8.0079999999999991</c:v>
                </c:pt>
                <c:pt idx="1091">
                  <c:v>8.0079999999999991</c:v>
                </c:pt>
                <c:pt idx="1092">
                  <c:v>8.0069999999999997</c:v>
                </c:pt>
                <c:pt idx="1093">
                  <c:v>8.0069999999999997</c:v>
                </c:pt>
                <c:pt idx="1094">
                  <c:v>8.0060000000000002</c:v>
                </c:pt>
                <c:pt idx="1095">
                  <c:v>8.0060000000000002</c:v>
                </c:pt>
                <c:pt idx="1096">
                  <c:v>8.0050000000000008</c:v>
                </c:pt>
                <c:pt idx="1097">
                  <c:v>8.0050000000000008</c:v>
                </c:pt>
                <c:pt idx="1098">
                  <c:v>8.0050000000000008</c:v>
                </c:pt>
                <c:pt idx="1099">
                  <c:v>8.0050000000000008</c:v>
                </c:pt>
                <c:pt idx="1100">
                  <c:v>8.0039999999999996</c:v>
                </c:pt>
                <c:pt idx="1101">
                  <c:v>8.0039999999999996</c:v>
                </c:pt>
                <c:pt idx="1102">
                  <c:v>8.0030000000000001</c:v>
                </c:pt>
                <c:pt idx="1103">
                  <c:v>8.0030000000000001</c:v>
                </c:pt>
                <c:pt idx="1104">
                  <c:v>8.0020000000000007</c:v>
                </c:pt>
                <c:pt idx="1105">
                  <c:v>8.0020000000000007</c:v>
                </c:pt>
                <c:pt idx="1106">
                  <c:v>8.0020000000000007</c:v>
                </c:pt>
                <c:pt idx="1107">
                  <c:v>8.0009999999999994</c:v>
                </c:pt>
                <c:pt idx="1108">
                  <c:v>8.0009999999999994</c:v>
                </c:pt>
                <c:pt idx="1109">
                  <c:v>8.0009999999999994</c:v>
                </c:pt>
                <c:pt idx="1110">
                  <c:v>7.9989999999999997</c:v>
                </c:pt>
                <c:pt idx="1111">
                  <c:v>8</c:v>
                </c:pt>
                <c:pt idx="1112">
                  <c:v>7.9989999999999997</c:v>
                </c:pt>
                <c:pt idx="1113">
                  <c:v>8</c:v>
                </c:pt>
                <c:pt idx="1114">
                  <c:v>7.9989999999999997</c:v>
                </c:pt>
                <c:pt idx="1115">
                  <c:v>7.9980000000000002</c:v>
                </c:pt>
                <c:pt idx="1116">
                  <c:v>7.9980000000000002</c:v>
                </c:pt>
                <c:pt idx="1117">
                  <c:v>7.9980000000000002</c:v>
                </c:pt>
                <c:pt idx="1118">
                  <c:v>7.9969999999999999</c:v>
                </c:pt>
                <c:pt idx="1119">
                  <c:v>7.9969999999999999</c:v>
                </c:pt>
                <c:pt idx="1120">
                  <c:v>7.9960000000000004</c:v>
                </c:pt>
                <c:pt idx="1121">
                  <c:v>7.9960000000000004</c:v>
                </c:pt>
                <c:pt idx="1122">
                  <c:v>7.9950000000000001</c:v>
                </c:pt>
                <c:pt idx="1123">
                  <c:v>7.9950000000000001</c:v>
                </c:pt>
                <c:pt idx="1124">
                  <c:v>7.9950000000000001</c:v>
                </c:pt>
                <c:pt idx="1125">
                  <c:v>7.9939999999999998</c:v>
                </c:pt>
                <c:pt idx="1126">
                  <c:v>7.9939999999999998</c:v>
                </c:pt>
                <c:pt idx="1127">
                  <c:v>7.9939999999999998</c:v>
                </c:pt>
                <c:pt idx="1128">
                  <c:v>7.9930000000000003</c:v>
                </c:pt>
                <c:pt idx="1129">
                  <c:v>7.9930000000000003</c:v>
                </c:pt>
                <c:pt idx="1130">
                  <c:v>7.992</c:v>
                </c:pt>
                <c:pt idx="1131">
                  <c:v>7.992</c:v>
                </c:pt>
                <c:pt idx="1132">
                  <c:v>7.992</c:v>
                </c:pt>
                <c:pt idx="1133">
                  <c:v>7.9909999999999997</c:v>
                </c:pt>
                <c:pt idx="1134">
                  <c:v>7.9909999999999997</c:v>
                </c:pt>
                <c:pt idx="1135">
                  <c:v>7.99</c:v>
                </c:pt>
                <c:pt idx="1136">
                  <c:v>7.99</c:v>
                </c:pt>
                <c:pt idx="1137">
                  <c:v>7.9909999999999997</c:v>
                </c:pt>
                <c:pt idx="1138">
                  <c:v>7.9889999999999999</c:v>
                </c:pt>
                <c:pt idx="1139">
                  <c:v>7.9889999999999999</c:v>
                </c:pt>
                <c:pt idx="1140">
                  <c:v>7.9889999999999999</c:v>
                </c:pt>
                <c:pt idx="1141">
                  <c:v>7.99</c:v>
                </c:pt>
                <c:pt idx="1142">
                  <c:v>7.9880000000000004</c:v>
                </c:pt>
                <c:pt idx="1143">
                  <c:v>7.9880000000000004</c:v>
                </c:pt>
                <c:pt idx="1144">
                  <c:v>7.9880000000000004</c:v>
                </c:pt>
                <c:pt idx="1145">
                  <c:v>7.9870000000000001</c:v>
                </c:pt>
                <c:pt idx="1146">
                  <c:v>7.9870000000000001</c:v>
                </c:pt>
                <c:pt idx="1147">
                  <c:v>7.9859999999999998</c:v>
                </c:pt>
                <c:pt idx="1148">
                  <c:v>7.9850000000000003</c:v>
                </c:pt>
                <c:pt idx="1149">
                  <c:v>7.9859999999999998</c:v>
                </c:pt>
                <c:pt idx="1150">
                  <c:v>7.9850000000000003</c:v>
                </c:pt>
                <c:pt idx="1151">
                  <c:v>7.984</c:v>
                </c:pt>
                <c:pt idx="1152">
                  <c:v>7.9850000000000003</c:v>
                </c:pt>
                <c:pt idx="1153">
                  <c:v>7.984</c:v>
                </c:pt>
                <c:pt idx="1154">
                  <c:v>7.984</c:v>
                </c:pt>
                <c:pt idx="1155">
                  <c:v>7.9829999999999997</c:v>
                </c:pt>
                <c:pt idx="1156">
                  <c:v>7.9820000000000002</c:v>
                </c:pt>
                <c:pt idx="1157">
                  <c:v>7.9829999999999997</c:v>
                </c:pt>
                <c:pt idx="1158">
                  <c:v>7.9820000000000002</c:v>
                </c:pt>
                <c:pt idx="1159">
                  <c:v>7.9820000000000002</c:v>
                </c:pt>
                <c:pt idx="1160">
                  <c:v>7.9809999999999999</c:v>
                </c:pt>
                <c:pt idx="1161">
                  <c:v>7.9809999999999999</c:v>
                </c:pt>
                <c:pt idx="1162">
                  <c:v>7.98</c:v>
                </c:pt>
                <c:pt idx="1163">
                  <c:v>7.9809999999999999</c:v>
                </c:pt>
                <c:pt idx="1164">
                  <c:v>7.98</c:v>
                </c:pt>
                <c:pt idx="1165">
                  <c:v>7.98</c:v>
                </c:pt>
                <c:pt idx="1166">
                  <c:v>7.9790000000000001</c:v>
                </c:pt>
                <c:pt idx="1167">
                  <c:v>7.98</c:v>
                </c:pt>
                <c:pt idx="1168">
                  <c:v>7.98</c:v>
                </c:pt>
                <c:pt idx="1169">
                  <c:v>7.9779999999999998</c:v>
                </c:pt>
                <c:pt idx="1170">
                  <c:v>7.9779999999999998</c:v>
                </c:pt>
                <c:pt idx="1171">
                  <c:v>7.9770000000000003</c:v>
                </c:pt>
                <c:pt idx="1172">
                  <c:v>7.976</c:v>
                </c:pt>
                <c:pt idx="1173">
                  <c:v>7.9770000000000003</c:v>
                </c:pt>
                <c:pt idx="1174">
                  <c:v>7.9770000000000003</c:v>
                </c:pt>
                <c:pt idx="1175">
                  <c:v>7.976</c:v>
                </c:pt>
                <c:pt idx="1176">
                  <c:v>7.976</c:v>
                </c:pt>
                <c:pt idx="1177">
                  <c:v>7.976</c:v>
                </c:pt>
                <c:pt idx="1178">
                  <c:v>7.9740000000000002</c:v>
                </c:pt>
                <c:pt idx="1179">
                  <c:v>7.9749999999999996</c:v>
                </c:pt>
                <c:pt idx="1180">
                  <c:v>7.9740000000000002</c:v>
                </c:pt>
                <c:pt idx="1181">
                  <c:v>7.9740000000000002</c:v>
                </c:pt>
                <c:pt idx="1182">
                  <c:v>7.9729999999999999</c:v>
                </c:pt>
                <c:pt idx="1183">
                  <c:v>7.9729999999999999</c:v>
                </c:pt>
                <c:pt idx="1184">
                  <c:v>7.9729999999999999</c:v>
                </c:pt>
                <c:pt idx="1185">
                  <c:v>7.9720000000000004</c:v>
                </c:pt>
                <c:pt idx="1186">
                  <c:v>7.9720000000000004</c:v>
                </c:pt>
                <c:pt idx="1187">
                  <c:v>7.9710000000000001</c:v>
                </c:pt>
                <c:pt idx="1188">
                  <c:v>7.9710000000000001</c:v>
                </c:pt>
                <c:pt idx="1189">
                  <c:v>7.9710000000000001</c:v>
                </c:pt>
                <c:pt idx="1190">
                  <c:v>7.97</c:v>
                </c:pt>
                <c:pt idx="1191">
                  <c:v>7.97</c:v>
                </c:pt>
                <c:pt idx="1192">
                  <c:v>7.97</c:v>
                </c:pt>
                <c:pt idx="1193">
                  <c:v>7.9690000000000003</c:v>
                </c:pt>
                <c:pt idx="1194">
                  <c:v>7.97</c:v>
                </c:pt>
                <c:pt idx="1195">
                  <c:v>7.9690000000000003</c:v>
                </c:pt>
                <c:pt idx="1196">
                  <c:v>7.968</c:v>
                </c:pt>
                <c:pt idx="1197">
                  <c:v>7.968</c:v>
                </c:pt>
                <c:pt idx="1198">
                  <c:v>7.968</c:v>
                </c:pt>
                <c:pt idx="1199">
                  <c:v>7.968</c:v>
                </c:pt>
                <c:pt idx="1200">
                  <c:v>7.9669999999999996</c:v>
                </c:pt>
                <c:pt idx="1201">
                  <c:v>7.9669999999999996</c:v>
                </c:pt>
                <c:pt idx="1202">
                  <c:v>7.9660000000000002</c:v>
                </c:pt>
                <c:pt idx="1203">
                  <c:v>7.9660000000000002</c:v>
                </c:pt>
                <c:pt idx="1204">
                  <c:v>7.9649999999999999</c:v>
                </c:pt>
                <c:pt idx="1205">
                  <c:v>7.9660000000000002</c:v>
                </c:pt>
                <c:pt idx="1206">
                  <c:v>7.9649999999999999</c:v>
                </c:pt>
                <c:pt idx="1207">
                  <c:v>7.9649999999999999</c:v>
                </c:pt>
                <c:pt idx="1208">
                  <c:v>7.9640000000000004</c:v>
                </c:pt>
                <c:pt idx="1209">
                  <c:v>7.9640000000000004</c:v>
                </c:pt>
                <c:pt idx="1210">
                  <c:v>7.9630000000000001</c:v>
                </c:pt>
                <c:pt idx="1211">
                  <c:v>7.9630000000000001</c:v>
                </c:pt>
                <c:pt idx="1212">
                  <c:v>7.9630000000000001</c:v>
                </c:pt>
                <c:pt idx="1213">
                  <c:v>7.9619999999999997</c:v>
                </c:pt>
                <c:pt idx="1214">
                  <c:v>7.9630000000000001</c:v>
                </c:pt>
                <c:pt idx="1215">
                  <c:v>7.9610000000000003</c:v>
                </c:pt>
                <c:pt idx="1216">
                  <c:v>7.9619999999999997</c:v>
                </c:pt>
                <c:pt idx="1217">
                  <c:v>7.9610000000000003</c:v>
                </c:pt>
                <c:pt idx="1218">
                  <c:v>7.9610000000000003</c:v>
                </c:pt>
                <c:pt idx="1219">
                  <c:v>7.96</c:v>
                </c:pt>
                <c:pt idx="1220">
                  <c:v>7.96</c:v>
                </c:pt>
                <c:pt idx="1221">
                  <c:v>7.9589999999999996</c:v>
                </c:pt>
                <c:pt idx="1222">
                  <c:v>7.9589999999999996</c:v>
                </c:pt>
                <c:pt idx="1223">
                  <c:v>7.9589999999999996</c:v>
                </c:pt>
                <c:pt idx="1224">
                  <c:v>7.9580000000000002</c:v>
                </c:pt>
                <c:pt idx="1225">
                  <c:v>7.9580000000000002</c:v>
                </c:pt>
                <c:pt idx="1226">
                  <c:v>7.9569999999999999</c:v>
                </c:pt>
                <c:pt idx="1227">
                  <c:v>7.9580000000000002</c:v>
                </c:pt>
                <c:pt idx="1228">
                  <c:v>7.9569999999999999</c:v>
                </c:pt>
                <c:pt idx="1229">
                  <c:v>7.9569999999999999</c:v>
                </c:pt>
                <c:pt idx="1230">
                  <c:v>7.9560000000000004</c:v>
                </c:pt>
                <c:pt idx="1231">
                  <c:v>7.9569999999999999</c:v>
                </c:pt>
                <c:pt idx="1232">
                  <c:v>7.9560000000000004</c:v>
                </c:pt>
                <c:pt idx="1233">
                  <c:v>7.9550000000000001</c:v>
                </c:pt>
                <c:pt idx="1234">
                  <c:v>7.9550000000000001</c:v>
                </c:pt>
                <c:pt idx="1235">
                  <c:v>7.9539999999999997</c:v>
                </c:pt>
                <c:pt idx="1236">
                  <c:v>7.9539999999999997</c:v>
                </c:pt>
                <c:pt idx="1237">
                  <c:v>7.9539999999999997</c:v>
                </c:pt>
                <c:pt idx="1238">
                  <c:v>7.9539999999999997</c:v>
                </c:pt>
                <c:pt idx="1239">
                  <c:v>7.9530000000000003</c:v>
                </c:pt>
                <c:pt idx="1240">
                  <c:v>7.9530000000000003</c:v>
                </c:pt>
                <c:pt idx="1241">
                  <c:v>7.952</c:v>
                </c:pt>
                <c:pt idx="1242">
                  <c:v>7.952</c:v>
                </c:pt>
                <c:pt idx="1243">
                  <c:v>7.952</c:v>
                </c:pt>
                <c:pt idx="1244">
                  <c:v>7.9509999999999996</c:v>
                </c:pt>
                <c:pt idx="1245">
                  <c:v>7.9509999999999996</c:v>
                </c:pt>
                <c:pt idx="1246">
                  <c:v>7.95</c:v>
                </c:pt>
                <c:pt idx="1247">
                  <c:v>7.9509999999999996</c:v>
                </c:pt>
                <c:pt idx="1248">
                  <c:v>7.9509999999999996</c:v>
                </c:pt>
                <c:pt idx="1249">
                  <c:v>7.95</c:v>
                </c:pt>
                <c:pt idx="1250">
                  <c:v>7.9489999999999998</c:v>
                </c:pt>
                <c:pt idx="1251">
                  <c:v>7.9489999999999998</c:v>
                </c:pt>
                <c:pt idx="1252">
                  <c:v>7.9489999999999998</c:v>
                </c:pt>
                <c:pt idx="1253">
                  <c:v>7.9480000000000004</c:v>
                </c:pt>
                <c:pt idx="1254">
                  <c:v>7.9480000000000004</c:v>
                </c:pt>
                <c:pt idx="1255">
                  <c:v>7.9470000000000001</c:v>
                </c:pt>
                <c:pt idx="1256">
                  <c:v>7.9470000000000001</c:v>
                </c:pt>
                <c:pt idx="1257">
                  <c:v>7.9470000000000001</c:v>
                </c:pt>
                <c:pt idx="1258">
                  <c:v>7.9459999999999997</c:v>
                </c:pt>
                <c:pt idx="1259">
                  <c:v>7.9459999999999997</c:v>
                </c:pt>
                <c:pt idx="1260">
                  <c:v>7.9459999999999997</c:v>
                </c:pt>
                <c:pt idx="1261">
                  <c:v>7.9450000000000003</c:v>
                </c:pt>
                <c:pt idx="1262">
                  <c:v>7.9450000000000003</c:v>
                </c:pt>
                <c:pt idx="1263">
                  <c:v>7.9459999999999997</c:v>
                </c:pt>
                <c:pt idx="1264">
                  <c:v>7.9450000000000003</c:v>
                </c:pt>
                <c:pt idx="1265">
                  <c:v>7.9450000000000003</c:v>
                </c:pt>
                <c:pt idx="1266">
                  <c:v>7.944</c:v>
                </c:pt>
                <c:pt idx="1267">
                  <c:v>7.9429999999999996</c:v>
                </c:pt>
                <c:pt idx="1268">
                  <c:v>7.944</c:v>
                </c:pt>
                <c:pt idx="1269">
                  <c:v>7.9429999999999996</c:v>
                </c:pt>
                <c:pt idx="1270">
                  <c:v>7.9429999999999996</c:v>
                </c:pt>
                <c:pt idx="1271">
                  <c:v>7.9420000000000002</c:v>
                </c:pt>
                <c:pt idx="1272">
                  <c:v>7.9420000000000002</c:v>
                </c:pt>
                <c:pt idx="1273">
                  <c:v>7.9420000000000002</c:v>
                </c:pt>
                <c:pt idx="1274">
                  <c:v>7.9409999999999998</c:v>
                </c:pt>
                <c:pt idx="1275">
                  <c:v>7.9409999999999998</c:v>
                </c:pt>
                <c:pt idx="1276">
                  <c:v>7.9409999999999998</c:v>
                </c:pt>
                <c:pt idx="1277">
                  <c:v>7.9409999999999998</c:v>
                </c:pt>
                <c:pt idx="1278">
                  <c:v>7.94</c:v>
                </c:pt>
                <c:pt idx="1279">
                  <c:v>7.9390000000000001</c:v>
                </c:pt>
                <c:pt idx="1280">
                  <c:v>7.9390000000000001</c:v>
                </c:pt>
                <c:pt idx="1281">
                  <c:v>7.9390000000000001</c:v>
                </c:pt>
                <c:pt idx="1282">
                  <c:v>7.9390000000000001</c:v>
                </c:pt>
                <c:pt idx="1283">
                  <c:v>7.9379999999999997</c:v>
                </c:pt>
                <c:pt idx="1284">
                  <c:v>7.9379999999999997</c:v>
                </c:pt>
                <c:pt idx="1285">
                  <c:v>7.9370000000000003</c:v>
                </c:pt>
                <c:pt idx="1286">
                  <c:v>7.9370000000000003</c:v>
                </c:pt>
                <c:pt idx="1287">
                  <c:v>7.9370000000000003</c:v>
                </c:pt>
                <c:pt idx="1288">
                  <c:v>7.9370000000000003</c:v>
                </c:pt>
                <c:pt idx="1289">
                  <c:v>7.9359999999999999</c:v>
                </c:pt>
                <c:pt idx="1290">
                  <c:v>7.9359999999999999</c:v>
                </c:pt>
                <c:pt idx="1291">
                  <c:v>7.9359999999999999</c:v>
                </c:pt>
                <c:pt idx="1292">
                  <c:v>7.9349999999999996</c:v>
                </c:pt>
                <c:pt idx="1293">
                  <c:v>7.9349999999999996</c:v>
                </c:pt>
                <c:pt idx="1294">
                  <c:v>7.9349999999999996</c:v>
                </c:pt>
                <c:pt idx="1295">
                  <c:v>7.9340000000000002</c:v>
                </c:pt>
                <c:pt idx="1296">
                  <c:v>7.9340000000000002</c:v>
                </c:pt>
                <c:pt idx="1297">
                  <c:v>7.9340000000000002</c:v>
                </c:pt>
                <c:pt idx="1298">
                  <c:v>7.9329999999999998</c:v>
                </c:pt>
                <c:pt idx="1299">
                  <c:v>7.9340000000000002</c:v>
                </c:pt>
                <c:pt idx="1300">
                  <c:v>7.9329999999999998</c:v>
                </c:pt>
                <c:pt idx="1301">
                  <c:v>7.9320000000000004</c:v>
                </c:pt>
                <c:pt idx="1302">
                  <c:v>7.9329999999999998</c:v>
                </c:pt>
                <c:pt idx="1303">
                  <c:v>7.9320000000000004</c:v>
                </c:pt>
                <c:pt idx="1304">
                  <c:v>7.9320000000000004</c:v>
                </c:pt>
                <c:pt idx="1305">
                  <c:v>7.931</c:v>
                </c:pt>
                <c:pt idx="1306">
                  <c:v>7.931</c:v>
                </c:pt>
                <c:pt idx="1307">
                  <c:v>7.93</c:v>
                </c:pt>
                <c:pt idx="1308">
                  <c:v>7.931</c:v>
                </c:pt>
                <c:pt idx="1309">
                  <c:v>7.93</c:v>
                </c:pt>
                <c:pt idx="1310">
                  <c:v>7.93</c:v>
                </c:pt>
                <c:pt idx="1311">
                  <c:v>7.93</c:v>
                </c:pt>
                <c:pt idx="1312">
                  <c:v>7.9279999999999999</c:v>
                </c:pt>
                <c:pt idx="1313">
                  <c:v>7.9290000000000003</c:v>
                </c:pt>
                <c:pt idx="1314">
                  <c:v>7.9279999999999999</c:v>
                </c:pt>
                <c:pt idx="1315">
                  <c:v>7.9279999999999999</c:v>
                </c:pt>
                <c:pt idx="1316">
                  <c:v>7.9279999999999999</c:v>
                </c:pt>
                <c:pt idx="1317">
                  <c:v>7.9269999999999996</c:v>
                </c:pt>
                <c:pt idx="1318">
                  <c:v>7.9269999999999996</c:v>
                </c:pt>
                <c:pt idx="1319">
                  <c:v>7.9260000000000002</c:v>
                </c:pt>
                <c:pt idx="1320">
                  <c:v>7.9260000000000002</c:v>
                </c:pt>
                <c:pt idx="1321">
                  <c:v>7.9260000000000002</c:v>
                </c:pt>
                <c:pt idx="1322">
                  <c:v>7.9260000000000002</c:v>
                </c:pt>
                <c:pt idx="1323">
                  <c:v>7.9260000000000002</c:v>
                </c:pt>
                <c:pt idx="1324">
                  <c:v>7.9249999999999998</c:v>
                </c:pt>
                <c:pt idx="1325">
                  <c:v>7.9249999999999998</c:v>
                </c:pt>
                <c:pt idx="1326">
                  <c:v>7.9249999999999998</c:v>
                </c:pt>
                <c:pt idx="1327">
                  <c:v>7.9240000000000004</c:v>
                </c:pt>
                <c:pt idx="1328">
                  <c:v>7.9240000000000004</c:v>
                </c:pt>
                <c:pt idx="1329">
                  <c:v>7.9240000000000004</c:v>
                </c:pt>
                <c:pt idx="1330">
                  <c:v>7.9240000000000004</c:v>
                </c:pt>
                <c:pt idx="1331">
                  <c:v>7.923</c:v>
                </c:pt>
                <c:pt idx="1332">
                  <c:v>7.9219999999999997</c:v>
                </c:pt>
                <c:pt idx="1333">
                  <c:v>7.9219999999999997</c:v>
                </c:pt>
                <c:pt idx="1334">
                  <c:v>7.9219999999999997</c:v>
                </c:pt>
                <c:pt idx="1335">
                  <c:v>7.9210000000000003</c:v>
                </c:pt>
                <c:pt idx="1336">
                  <c:v>7.9219999999999997</c:v>
                </c:pt>
                <c:pt idx="1337">
                  <c:v>7.9210000000000003</c:v>
                </c:pt>
                <c:pt idx="1338">
                  <c:v>7.92</c:v>
                </c:pt>
                <c:pt idx="1339">
                  <c:v>7.92</c:v>
                </c:pt>
                <c:pt idx="1340">
                  <c:v>7.92</c:v>
                </c:pt>
                <c:pt idx="1341">
                  <c:v>7.9189999999999996</c:v>
                </c:pt>
                <c:pt idx="1342">
                  <c:v>7.92</c:v>
                </c:pt>
                <c:pt idx="1343">
                  <c:v>7.9189999999999996</c:v>
                </c:pt>
                <c:pt idx="1344">
                  <c:v>7.9189999999999996</c:v>
                </c:pt>
                <c:pt idx="1345">
                  <c:v>7.9180000000000001</c:v>
                </c:pt>
                <c:pt idx="1346">
                  <c:v>7.9180000000000001</c:v>
                </c:pt>
                <c:pt idx="1347">
                  <c:v>7.9180000000000001</c:v>
                </c:pt>
                <c:pt idx="1348">
                  <c:v>7.9169999999999998</c:v>
                </c:pt>
                <c:pt idx="1349">
                  <c:v>7.9180000000000001</c:v>
                </c:pt>
                <c:pt idx="1350">
                  <c:v>7.9160000000000004</c:v>
                </c:pt>
                <c:pt idx="1351">
                  <c:v>7.9169999999999998</c:v>
                </c:pt>
                <c:pt idx="1352">
                  <c:v>7.9160000000000004</c:v>
                </c:pt>
                <c:pt idx="1353">
                  <c:v>7.9160000000000004</c:v>
                </c:pt>
                <c:pt idx="1354">
                  <c:v>7.9160000000000004</c:v>
                </c:pt>
                <c:pt idx="1355">
                  <c:v>7.915</c:v>
                </c:pt>
                <c:pt idx="1356">
                  <c:v>7.915</c:v>
                </c:pt>
                <c:pt idx="1357">
                  <c:v>7.915</c:v>
                </c:pt>
                <c:pt idx="1358">
                  <c:v>7.9139999999999997</c:v>
                </c:pt>
                <c:pt idx="1359">
                  <c:v>7.9139999999999997</c:v>
                </c:pt>
                <c:pt idx="1360">
                  <c:v>7.9139999999999997</c:v>
                </c:pt>
                <c:pt idx="1361">
                  <c:v>7.9139999999999997</c:v>
                </c:pt>
                <c:pt idx="1362">
                  <c:v>7.9130000000000003</c:v>
                </c:pt>
                <c:pt idx="1363">
                  <c:v>7.9119999999999999</c:v>
                </c:pt>
                <c:pt idx="1364">
                  <c:v>7.9119999999999999</c:v>
                </c:pt>
                <c:pt idx="1365">
                  <c:v>7.9119999999999999</c:v>
                </c:pt>
                <c:pt idx="1366">
                  <c:v>7.9119999999999999</c:v>
                </c:pt>
                <c:pt idx="1367">
                  <c:v>7.9119999999999999</c:v>
                </c:pt>
                <c:pt idx="1368">
                  <c:v>7.9109999999999996</c:v>
                </c:pt>
                <c:pt idx="1369">
                  <c:v>7.9109999999999996</c:v>
                </c:pt>
                <c:pt idx="1370">
                  <c:v>7.9109999999999996</c:v>
                </c:pt>
                <c:pt idx="1371">
                  <c:v>7.9109999999999996</c:v>
                </c:pt>
                <c:pt idx="1372">
                  <c:v>7.91</c:v>
                </c:pt>
                <c:pt idx="1373">
                  <c:v>7.91</c:v>
                </c:pt>
                <c:pt idx="1374">
                  <c:v>7.9089999999999998</c:v>
                </c:pt>
                <c:pt idx="1375">
                  <c:v>7.9089999999999998</c:v>
                </c:pt>
                <c:pt idx="1376">
                  <c:v>7.9089999999999998</c:v>
                </c:pt>
                <c:pt idx="1377">
                  <c:v>7.9080000000000004</c:v>
                </c:pt>
                <c:pt idx="1378">
                  <c:v>7.9080000000000004</c:v>
                </c:pt>
                <c:pt idx="1379">
                  <c:v>7.9089999999999998</c:v>
                </c:pt>
                <c:pt idx="1380">
                  <c:v>7.907</c:v>
                </c:pt>
                <c:pt idx="1381">
                  <c:v>7.9080000000000004</c:v>
                </c:pt>
                <c:pt idx="1382">
                  <c:v>7.907</c:v>
                </c:pt>
                <c:pt idx="1383">
                  <c:v>7.907</c:v>
                </c:pt>
                <c:pt idx="1384">
                  <c:v>7.9059999999999997</c:v>
                </c:pt>
                <c:pt idx="1385">
                  <c:v>7.907</c:v>
                </c:pt>
                <c:pt idx="1386">
                  <c:v>7.9059999999999997</c:v>
                </c:pt>
                <c:pt idx="1387">
                  <c:v>7.9059999999999997</c:v>
                </c:pt>
                <c:pt idx="1388">
                  <c:v>7.9050000000000002</c:v>
                </c:pt>
                <c:pt idx="1389">
                  <c:v>7.9050000000000002</c:v>
                </c:pt>
                <c:pt idx="1390">
                  <c:v>7.9050000000000002</c:v>
                </c:pt>
                <c:pt idx="1391">
                  <c:v>7.9050000000000002</c:v>
                </c:pt>
                <c:pt idx="1392">
                  <c:v>7.9039999999999999</c:v>
                </c:pt>
                <c:pt idx="1393">
                  <c:v>7.9029999999999996</c:v>
                </c:pt>
                <c:pt idx="1394">
                  <c:v>7.9039999999999999</c:v>
                </c:pt>
                <c:pt idx="1395">
                  <c:v>7.9029999999999996</c:v>
                </c:pt>
                <c:pt idx="1396">
                  <c:v>7.9029999999999996</c:v>
                </c:pt>
                <c:pt idx="1397">
                  <c:v>7.9020000000000001</c:v>
                </c:pt>
                <c:pt idx="1398">
                  <c:v>7.9020000000000001</c:v>
                </c:pt>
                <c:pt idx="1399">
                  <c:v>7.9020000000000001</c:v>
                </c:pt>
                <c:pt idx="1400">
                  <c:v>7.9009999999999998</c:v>
                </c:pt>
                <c:pt idx="1401">
                  <c:v>7.9020000000000001</c:v>
                </c:pt>
                <c:pt idx="1402">
                  <c:v>7.9009999999999998</c:v>
                </c:pt>
                <c:pt idx="1403">
                  <c:v>7.9009999999999998</c:v>
                </c:pt>
                <c:pt idx="1404">
                  <c:v>7.9009999999999998</c:v>
                </c:pt>
                <c:pt idx="1405">
                  <c:v>7.9</c:v>
                </c:pt>
                <c:pt idx="1406">
                  <c:v>7.9009999999999998</c:v>
                </c:pt>
                <c:pt idx="1407">
                  <c:v>7.9</c:v>
                </c:pt>
                <c:pt idx="1408">
                  <c:v>7.9</c:v>
                </c:pt>
                <c:pt idx="1409">
                  <c:v>7.9</c:v>
                </c:pt>
                <c:pt idx="1410">
                  <c:v>7.899</c:v>
                </c:pt>
                <c:pt idx="1411">
                  <c:v>7.8979999999999997</c:v>
                </c:pt>
                <c:pt idx="1412">
                  <c:v>7.8979999999999997</c:v>
                </c:pt>
                <c:pt idx="1413">
                  <c:v>7.8970000000000002</c:v>
                </c:pt>
                <c:pt idx="1414">
                  <c:v>7.8979999999999997</c:v>
                </c:pt>
                <c:pt idx="1415">
                  <c:v>7.8979999999999997</c:v>
                </c:pt>
                <c:pt idx="1416">
                  <c:v>7.8970000000000002</c:v>
                </c:pt>
                <c:pt idx="1417">
                  <c:v>7.8970000000000002</c:v>
                </c:pt>
                <c:pt idx="1418">
                  <c:v>7.8959999999999999</c:v>
                </c:pt>
                <c:pt idx="1419">
                  <c:v>7.8970000000000002</c:v>
                </c:pt>
                <c:pt idx="1420">
                  <c:v>7.8959999999999999</c:v>
                </c:pt>
                <c:pt idx="1421">
                  <c:v>7.8970000000000002</c:v>
                </c:pt>
                <c:pt idx="1422">
                  <c:v>7.8949999999999996</c:v>
                </c:pt>
                <c:pt idx="1423">
                  <c:v>7.8949999999999996</c:v>
                </c:pt>
                <c:pt idx="1424">
                  <c:v>7.8949999999999996</c:v>
                </c:pt>
                <c:pt idx="1425">
                  <c:v>7.8949999999999996</c:v>
                </c:pt>
                <c:pt idx="1426">
                  <c:v>7.8940000000000001</c:v>
                </c:pt>
                <c:pt idx="1427">
                  <c:v>7.8940000000000001</c:v>
                </c:pt>
                <c:pt idx="1428">
                  <c:v>7.8940000000000001</c:v>
                </c:pt>
                <c:pt idx="1429">
                  <c:v>7.8929999999999998</c:v>
                </c:pt>
                <c:pt idx="1430">
                  <c:v>7.8929999999999998</c:v>
                </c:pt>
                <c:pt idx="1431">
                  <c:v>7.8920000000000003</c:v>
                </c:pt>
                <c:pt idx="1432">
                  <c:v>7.8920000000000003</c:v>
                </c:pt>
                <c:pt idx="1433">
                  <c:v>7.8920000000000003</c:v>
                </c:pt>
                <c:pt idx="1434">
                  <c:v>7.8920000000000003</c:v>
                </c:pt>
                <c:pt idx="1435">
                  <c:v>7.8920000000000003</c:v>
                </c:pt>
                <c:pt idx="1436">
                  <c:v>7.891</c:v>
                </c:pt>
                <c:pt idx="1437">
                  <c:v>7.891</c:v>
                </c:pt>
                <c:pt idx="1438">
                  <c:v>7.891</c:v>
                </c:pt>
                <c:pt idx="1439">
                  <c:v>7.89</c:v>
                </c:pt>
                <c:pt idx="1440">
                  <c:v>7.89</c:v>
                </c:pt>
                <c:pt idx="1441">
                  <c:v>7.89</c:v>
                </c:pt>
                <c:pt idx="1442">
                  <c:v>7.89</c:v>
                </c:pt>
                <c:pt idx="1443">
                  <c:v>7.8890000000000002</c:v>
                </c:pt>
                <c:pt idx="1444">
                  <c:v>7.8890000000000002</c:v>
                </c:pt>
                <c:pt idx="1445">
                  <c:v>7.8890000000000002</c:v>
                </c:pt>
                <c:pt idx="1446">
                  <c:v>7.8890000000000002</c:v>
                </c:pt>
                <c:pt idx="1447">
                  <c:v>7.8879999999999999</c:v>
                </c:pt>
                <c:pt idx="1448">
                  <c:v>7.8869999999999996</c:v>
                </c:pt>
                <c:pt idx="1449">
                  <c:v>7.8869999999999996</c:v>
                </c:pt>
                <c:pt idx="1450">
                  <c:v>7.8879999999999999</c:v>
                </c:pt>
                <c:pt idx="1451">
                  <c:v>7.8869999999999996</c:v>
                </c:pt>
                <c:pt idx="1452">
                  <c:v>7.8869999999999996</c:v>
                </c:pt>
                <c:pt idx="1453">
                  <c:v>7.8860000000000001</c:v>
                </c:pt>
                <c:pt idx="1454">
                  <c:v>7.8860000000000001</c:v>
                </c:pt>
                <c:pt idx="1455">
                  <c:v>7.8860000000000001</c:v>
                </c:pt>
                <c:pt idx="1456">
                  <c:v>7.8849999999999998</c:v>
                </c:pt>
                <c:pt idx="1457">
                  <c:v>7.8860000000000001</c:v>
                </c:pt>
                <c:pt idx="1458">
                  <c:v>7.8849999999999998</c:v>
                </c:pt>
                <c:pt idx="1459">
                  <c:v>7.8849999999999998</c:v>
                </c:pt>
                <c:pt idx="1460">
                  <c:v>7.8840000000000003</c:v>
                </c:pt>
                <c:pt idx="1461">
                  <c:v>7.8840000000000003</c:v>
                </c:pt>
                <c:pt idx="1462">
                  <c:v>7.8840000000000003</c:v>
                </c:pt>
                <c:pt idx="1463">
                  <c:v>7.8840000000000003</c:v>
                </c:pt>
                <c:pt idx="1464">
                  <c:v>7.883</c:v>
                </c:pt>
                <c:pt idx="1465">
                  <c:v>7.883</c:v>
                </c:pt>
                <c:pt idx="1466">
                  <c:v>7.883</c:v>
                </c:pt>
                <c:pt idx="1467">
                  <c:v>7.8819999999999997</c:v>
                </c:pt>
                <c:pt idx="1468">
                  <c:v>7.883</c:v>
                </c:pt>
                <c:pt idx="1469">
                  <c:v>7.8819999999999997</c:v>
                </c:pt>
                <c:pt idx="1470">
                  <c:v>7.8810000000000002</c:v>
                </c:pt>
                <c:pt idx="1471">
                  <c:v>7.8819999999999997</c:v>
                </c:pt>
                <c:pt idx="1472">
                  <c:v>7.8810000000000002</c:v>
                </c:pt>
                <c:pt idx="1473">
                  <c:v>7.8810000000000002</c:v>
                </c:pt>
                <c:pt idx="1474">
                  <c:v>7.88</c:v>
                </c:pt>
                <c:pt idx="1475">
                  <c:v>7.88</c:v>
                </c:pt>
                <c:pt idx="1476">
                  <c:v>7.8810000000000002</c:v>
                </c:pt>
                <c:pt idx="1477">
                  <c:v>7.88</c:v>
                </c:pt>
                <c:pt idx="1478">
                  <c:v>7.8789999999999996</c:v>
                </c:pt>
                <c:pt idx="1479">
                  <c:v>7.8789999999999996</c:v>
                </c:pt>
                <c:pt idx="1480">
                  <c:v>7.8789999999999996</c:v>
                </c:pt>
                <c:pt idx="1481">
                  <c:v>7.8789999999999996</c:v>
                </c:pt>
                <c:pt idx="1482">
                  <c:v>7.8780000000000001</c:v>
                </c:pt>
                <c:pt idx="1483">
                  <c:v>7.8780000000000001</c:v>
                </c:pt>
                <c:pt idx="1484">
                  <c:v>7.8780000000000001</c:v>
                </c:pt>
                <c:pt idx="1485">
                  <c:v>7.8780000000000001</c:v>
                </c:pt>
                <c:pt idx="1486">
                  <c:v>7.8769999999999998</c:v>
                </c:pt>
                <c:pt idx="1487">
                  <c:v>7.8769999999999998</c:v>
                </c:pt>
                <c:pt idx="1488">
                  <c:v>7.8769999999999998</c:v>
                </c:pt>
                <c:pt idx="1489">
                  <c:v>7.8760000000000003</c:v>
                </c:pt>
                <c:pt idx="1490">
                  <c:v>7.8769999999999998</c:v>
                </c:pt>
                <c:pt idx="1491">
                  <c:v>7.8760000000000003</c:v>
                </c:pt>
                <c:pt idx="1492">
                  <c:v>7.8760000000000003</c:v>
                </c:pt>
                <c:pt idx="1493">
                  <c:v>7.8760000000000003</c:v>
                </c:pt>
                <c:pt idx="1494">
                  <c:v>7.8760000000000003</c:v>
                </c:pt>
                <c:pt idx="1495">
                  <c:v>7.8760000000000003</c:v>
                </c:pt>
                <c:pt idx="1496">
                  <c:v>7.875</c:v>
                </c:pt>
                <c:pt idx="1497">
                  <c:v>7.875</c:v>
                </c:pt>
                <c:pt idx="1498">
                  <c:v>7.8739999999999997</c:v>
                </c:pt>
                <c:pt idx="1499">
                  <c:v>7.8730000000000002</c:v>
                </c:pt>
                <c:pt idx="1500">
                  <c:v>7.8730000000000002</c:v>
                </c:pt>
                <c:pt idx="1501">
                  <c:v>7.8730000000000002</c:v>
                </c:pt>
                <c:pt idx="1502">
                  <c:v>7.8730000000000002</c:v>
                </c:pt>
                <c:pt idx="1503">
                  <c:v>7.8730000000000002</c:v>
                </c:pt>
                <c:pt idx="1504">
                  <c:v>7.8730000000000002</c:v>
                </c:pt>
                <c:pt idx="1505">
                  <c:v>7.8730000000000002</c:v>
                </c:pt>
                <c:pt idx="1506">
                  <c:v>7.8719999999999999</c:v>
                </c:pt>
                <c:pt idx="1507">
                  <c:v>7.8719999999999999</c:v>
                </c:pt>
                <c:pt idx="1508">
                  <c:v>7.8719999999999999</c:v>
                </c:pt>
                <c:pt idx="1509">
                  <c:v>7.8710000000000004</c:v>
                </c:pt>
                <c:pt idx="1510">
                  <c:v>7.8710000000000004</c:v>
                </c:pt>
                <c:pt idx="1511">
                  <c:v>7.87</c:v>
                </c:pt>
                <c:pt idx="1512">
                  <c:v>7.87</c:v>
                </c:pt>
                <c:pt idx="1513">
                  <c:v>7.87</c:v>
                </c:pt>
                <c:pt idx="1514">
                  <c:v>7.87</c:v>
                </c:pt>
                <c:pt idx="1515">
                  <c:v>7.8689999999999998</c:v>
                </c:pt>
                <c:pt idx="1516">
                  <c:v>7.8689999999999998</c:v>
                </c:pt>
                <c:pt idx="1517">
                  <c:v>7.8689999999999998</c:v>
                </c:pt>
                <c:pt idx="1518">
                  <c:v>7.8680000000000003</c:v>
                </c:pt>
                <c:pt idx="1519">
                  <c:v>7.8689999999999998</c:v>
                </c:pt>
                <c:pt idx="1520">
                  <c:v>7.8689999999999998</c:v>
                </c:pt>
                <c:pt idx="1521">
                  <c:v>7.8689999999999998</c:v>
                </c:pt>
                <c:pt idx="1522">
                  <c:v>7.8680000000000003</c:v>
                </c:pt>
                <c:pt idx="1523">
                  <c:v>7.8680000000000003</c:v>
                </c:pt>
                <c:pt idx="1524">
                  <c:v>7.8659999999999997</c:v>
                </c:pt>
                <c:pt idx="1525">
                  <c:v>7.8659999999999997</c:v>
                </c:pt>
                <c:pt idx="1526">
                  <c:v>7.8659999999999997</c:v>
                </c:pt>
                <c:pt idx="1527">
                  <c:v>7.8659999999999997</c:v>
                </c:pt>
                <c:pt idx="1528">
                  <c:v>7.8659999999999997</c:v>
                </c:pt>
                <c:pt idx="1529">
                  <c:v>7.8659999999999997</c:v>
                </c:pt>
                <c:pt idx="1530">
                  <c:v>7.8659999999999997</c:v>
                </c:pt>
                <c:pt idx="1531">
                  <c:v>7.8659999999999997</c:v>
                </c:pt>
                <c:pt idx="1532">
                  <c:v>7.8659999999999997</c:v>
                </c:pt>
                <c:pt idx="1533">
                  <c:v>7.8650000000000002</c:v>
                </c:pt>
                <c:pt idx="1534">
                  <c:v>7.8639999999999999</c:v>
                </c:pt>
                <c:pt idx="1535">
                  <c:v>7.8639999999999999</c:v>
                </c:pt>
                <c:pt idx="1536">
                  <c:v>7.8639999999999999</c:v>
                </c:pt>
                <c:pt idx="1537">
                  <c:v>7.8639999999999999</c:v>
                </c:pt>
                <c:pt idx="1538">
                  <c:v>7.8639999999999999</c:v>
                </c:pt>
                <c:pt idx="1539">
                  <c:v>7.8630000000000004</c:v>
                </c:pt>
                <c:pt idx="1540">
                  <c:v>7.8620000000000001</c:v>
                </c:pt>
                <c:pt idx="1541">
                  <c:v>7.8630000000000004</c:v>
                </c:pt>
                <c:pt idx="1542">
                  <c:v>7.8630000000000004</c:v>
                </c:pt>
                <c:pt idx="1543">
                  <c:v>7.8620000000000001</c:v>
                </c:pt>
                <c:pt idx="1544">
                  <c:v>7.8620000000000001</c:v>
                </c:pt>
                <c:pt idx="1545">
                  <c:v>7.8630000000000004</c:v>
                </c:pt>
                <c:pt idx="1546">
                  <c:v>7.8609999999999998</c:v>
                </c:pt>
                <c:pt idx="1547">
                  <c:v>7.8609999999999998</c:v>
                </c:pt>
                <c:pt idx="1548">
                  <c:v>7.8609999999999998</c:v>
                </c:pt>
                <c:pt idx="1549">
                  <c:v>7.8609999999999998</c:v>
                </c:pt>
                <c:pt idx="1550">
                  <c:v>7.86</c:v>
                </c:pt>
                <c:pt idx="1551">
                  <c:v>7.86</c:v>
                </c:pt>
                <c:pt idx="1552">
                  <c:v>7.86</c:v>
                </c:pt>
                <c:pt idx="1553">
                  <c:v>7.859</c:v>
                </c:pt>
                <c:pt idx="1554">
                  <c:v>7.859</c:v>
                </c:pt>
                <c:pt idx="1555">
                  <c:v>7.859</c:v>
                </c:pt>
                <c:pt idx="1556">
                  <c:v>7.859</c:v>
                </c:pt>
                <c:pt idx="1557">
                  <c:v>7.859</c:v>
                </c:pt>
                <c:pt idx="1558">
                  <c:v>7.8579999999999997</c:v>
                </c:pt>
                <c:pt idx="1559">
                  <c:v>7.859</c:v>
                </c:pt>
                <c:pt idx="1560">
                  <c:v>7.8579999999999997</c:v>
                </c:pt>
                <c:pt idx="1561">
                  <c:v>7.8579999999999997</c:v>
                </c:pt>
                <c:pt idx="1562">
                  <c:v>7.8570000000000002</c:v>
                </c:pt>
                <c:pt idx="1563">
                  <c:v>7.8570000000000002</c:v>
                </c:pt>
                <c:pt idx="1564">
                  <c:v>7.8570000000000002</c:v>
                </c:pt>
                <c:pt idx="1565">
                  <c:v>7.8559999999999999</c:v>
                </c:pt>
                <c:pt idx="1566">
                  <c:v>7.8570000000000002</c:v>
                </c:pt>
                <c:pt idx="1567">
                  <c:v>7.8559999999999999</c:v>
                </c:pt>
                <c:pt idx="1568">
                  <c:v>7.8550000000000004</c:v>
                </c:pt>
                <c:pt idx="1569">
                  <c:v>7.8559999999999999</c:v>
                </c:pt>
                <c:pt idx="1570">
                  <c:v>7.8550000000000004</c:v>
                </c:pt>
                <c:pt idx="1571">
                  <c:v>7.8550000000000004</c:v>
                </c:pt>
                <c:pt idx="1572">
                  <c:v>7.8550000000000004</c:v>
                </c:pt>
                <c:pt idx="1573">
                  <c:v>7.8550000000000004</c:v>
                </c:pt>
                <c:pt idx="1574">
                  <c:v>7.8540000000000001</c:v>
                </c:pt>
                <c:pt idx="1575">
                  <c:v>7.8540000000000001</c:v>
                </c:pt>
                <c:pt idx="1576">
                  <c:v>7.8529999999999998</c:v>
                </c:pt>
                <c:pt idx="1577">
                  <c:v>7.8540000000000001</c:v>
                </c:pt>
                <c:pt idx="1578">
                  <c:v>7.8529999999999998</c:v>
                </c:pt>
                <c:pt idx="1579">
                  <c:v>7.8529999999999998</c:v>
                </c:pt>
                <c:pt idx="1580">
                  <c:v>7.8529999999999998</c:v>
                </c:pt>
                <c:pt idx="1581">
                  <c:v>7.8520000000000003</c:v>
                </c:pt>
                <c:pt idx="1582">
                  <c:v>7.8529999999999998</c:v>
                </c:pt>
                <c:pt idx="1583">
                  <c:v>7.8529999999999998</c:v>
                </c:pt>
                <c:pt idx="1584">
                  <c:v>7.8520000000000003</c:v>
                </c:pt>
                <c:pt idx="1585">
                  <c:v>7.851</c:v>
                </c:pt>
                <c:pt idx="1586">
                  <c:v>7.851</c:v>
                </c:pt>
                <c:pt idx="1587">
                  <c:v>7.851</c:v>
                </c:pt>
                <c:pt idx="1588">
                  <c:v>7.851</c:v>
                </c:pt>
                <c:pt idx="1589">
                  <c:v>7.85</c:v>
                </c:pt>
                <c:pt idx="1590">
                  <c:v>7.851</c:v>
                </c:pt>
                <c:pt idx="1591">
                  <c:v>7.851</c:v>
                </c:pt>
                <c:pt idx="1592">
                  <c:v>7.85</c:v>
                </c:pt>
                <c:pt idx="1593">
                  <c:v>7.85</c:v>
                </c:pt>
                <c:pt idx="1594">
                  <c:v>7.85</c:v>
                </c:pt>
                <c:pt idx="1595">
                  <c:v>7.8490000000000002</c:v>
                </c:pt>
                <c:pt idx="1596">
                  <c:v>7.8490000000000002</c:v>
                </c:pt>
                <c:pt idx="1597">
                  <c:v>7.8490000000000002</c:v>
                </c:pt>
                <c:pt idx="1598">
                  <c:v>7.8479999999999999</c:v>
                </c:pt>
                <c:pt idx="1599">
                  <c:v>7.8479999999999999</c:v>
                </c:pt>
                <c:pt idx="1600">
                  <c:v>7.8470000000000004</c:v>
                </c:pt>
                <c:pt idx="1601">
                  <c:v>7.8479999999999999</c:v>
                </c:pt>
                <c:pt idx="1602">
                  <c:v>7.8470000000000004</c:v>
                </c:pt>
                <c:pt idx="1603">
                  <c:v>7.8470000000000004</c:v>
                </c:pt>
                <c:pt idx="1604">
                  <c:v>7.8470000000000004</c:v>
                </c:pt>
                <c:pt idx="1605">
                  <c:v>7.8470000000000004</c:v>
                </c:pt>
                <c:pt idx="1606">
                  <c:v>7.8460000000000001</c:v>
                </c:pt>
                <c:pt idx="1607">
                  <c:v>7.8460000000000001</c:v>
                </c:pt>
                <c:pt idx="1608">
                  <c:v>7.8460000000000001</c:v>
                </c:pt>
                <c:pt idx="1609">
                  <c:v>7.8449999999999998</c:v>
                </c:pt>
                <c:pt idx="1610">
                  <c:v>7.8460000000000001</c:v>
                </c:pt>
                <c:pt idx="1611">
                  <c:v>7.8460000000000001</c:v>
                </c:pt>
                <c:pt idx="1612">
                  <c:v>7.8449999999999998</c:v>
                </c:pt>
                <c:pt idx="1613">
                  <c:v>7.8460000000000001</c:v>
                </c:pt>
                <c:pt idx="1614">
                  <c:v>7.8449999999999998</c:v>
                </c:pt>
                <c:pt idx="1615">
                  <c:v>7.8440000000000003</c:v>
                </c:pt>
                <c:pt idx="1616">
                  <c:v>7.8440000000000003</c:v>
                </c:pt>
                <c:pt idx="1617">
                  <c:v>7.8440000000000003</c:v>
                </c:pt>
                <c:pt idx="1618">
                  <c:v>7.843</c:v>
                </c:pt>
                <c:pt idx="1619">
                  <c:v>7.843</c:v>
                </c:pt>
                <c:pt idx="1620">
                  <c:v>7.843</c:v>
                </c:pt>
                <c:pt idx="1621">
                  <c:v>7.843</c:v>
                </c:pt>
                <c:pt idx="1622">
                  <c:v>7.8419999999999996</c:v>
                </c:pt>
                <c:pt idx="1623">
                  <c:v>7.8419999999999996</c:v>
                </c:pt>
                <c:pt idx="1624">
                  <c:v>7.8419999999999996</c:v>
                </c:pt>
                <c:pt idx="1625">
                  <c:v>7.8410000000000002</c:v>
                </c:pt>
                <c:pt idx="1626">
                  <c:v>7.8410000000000002</c:v>
                </c:pt>
                <c:pt idx="1627">
                  <c:v>7.8410000000000002</c:v>
                </c:pt>
                <c:pt idx="1628">
                  <c:v>7.8410000000000002</c:v>
                </c:pt>
                <c:pt idx="1629">
                  <c:v>7.8410000000000002</c:v>
                </c:pt>
                <c:pt idx="1630">
                  <c:v>7.8410000000000002</c:v>
                </c:pt>
                <c:pt idx="1631">
                  <c:v>7.84</c:v>
                </c:pt>
                <c:pt idx="1632">
                  <c:v>7.84</c:v>
                </c:pt>
                <c:pt idx="1633">
                  <c:v>7.84</c:v>
                </c:pt>
                <c:pt idx="1634">
                  <c:v>7.84</c:v>
                </c:pt>
                <c:pt idx="1635">
                  <c:v>7.8390000000000004</c:v>
                </c:pt>
                <c:pt idx="1636">
                  <c:v>7.84</c:v>
                </c:pt>
                <c:pt idx="1637">
                  <c:v>7.8390000000000004</c:v>
                </c:pt>
                <c:pt idx="1638">
                  <c:v>7.8390000000000004</c:v>
                </c:pt>
                <c:pt idx="1639">
                  <c:v>7.8390000000000004</c:v>
                </c:pt>
                <c:pt idx="1640">
                  <c:v>7.8380000000000001</c:v>
                </c:pt>
                <c:pt idx="1641">
                  <c:v>7.8380000000000001</c:v>
                </c:pt>
                <c:pt idx="1642">
                  <c:v>7.8380000000000001</c:v>
                </c:pt>
                <c:pt idx="1643">
                  <c:v>7.8369999999999997</c:v>
                </c:pt>
                <c:pt idx="1644">
                  <c:v>7.8369999999999997</c:v>
                </c:pt>
                <c:pt idx="1645">
                  <c:v>7.8369999999999997</c:v>
                </c:pt>
                <c:pt idx="1646">
                  <c:v>7.8369999999999997</c:v>
                </c:pt>
                <c:pt idx="1647">
                  <c:v>7.8369999999999997</c:v>
                </c:pt>
                <c:pt idx="1648">
                  <c:v>7.8360000000000003</c:v>
                </c:pt>
                <c:pt idx="1649">
                  <c:v>7.835</c:v>
                </c:pt>
                <c:pt idx="1650">
                  <c:v>7.835</c:v>
                </c:pt>
                <c:pt idx="1651">
                  <c:v>7.835</c:v>
                </c:pt>
                <c:pt idx="1652">
                  <c:v>7.8360000000000003</c:v>
                </c:pt>
                <c:pt idx="1653">
                  <c:v>7.835</c:v>
                </c:pt>
                <c:pt idx="1654">
                  <c:v>7.835</c:v>
                </c:pt>
                <c:pt idx="1655">
                  <c:v>7.8339999999999996</c:v>
                </c:pt>
                <c:pt idx="1656">
                  <c:v>7.8339999999999996</c:v>
                </c:pt>
                <c:pt idx="1657">
                  <c:v>7.8339999999999996</c:v>
                </c:pt>
                <c:pt idx="1658">
                  <c:v>7.8339999999999996</c:v>
                </c:pt>
                <c:pt idx="1659">
                  <c:v>7.8330000000000002</c:v>
                </c:pt>
                <c:pt idx="1660">
                  <c:v>7.8330000000000002</c:v>
                </c:pt>
                <c:pt idx="1661">
                  <c:v>7.8330000000000002</c:v>
                </c:pt>
                <c:pt idx="1662">
                  <c:v>7.8330000000000002</c:v>
                </c:pt>
                <c:pt idx="1663">
                  <c:v>7.8319999999999999</c:v>
                </c:pt>
                <c:pt idx="1664">
                  <c:v>7.8319999999999999</c:v>
                </c:pt>
                <c:pt idx="1665">
                  <c:v>7.8310000000000004</c:v>
                </c:pt>
                <c:pt idx="1666">
                  <c:v>7.8319999999999999</c:v>
                </c:pt>
                <c:pt idx="1667">
                  <c:v>7.8319999999999999</c:v>
                </c:pt>
                <c:pt idx="1668">
                  <c:v>7.8310000000000004</c:v>
                </c:pt>
                <c:pt idx="1669">
                  <c:v>7.8310000000000004</c:v>
                </c:pt>
                <c:pt idx="1670">
                  <c:v>7.8310000000000004</c:v>
                </c:pt>
                <c:pt idx="1671">
                  <c:v>7.83</c:v>
                </c:pt>
                <c:pt idx="1672">
                  <c:v>7.83</c:v>
                </c:pt>
                <c:pt idx="1673">
                  <c:v>7.8310000000000004</c:v>
                </c:pt>
                <c:pt idx="1674">
                  <c:v>7.8310000000000004</c:v>
                </c:pt>
                <c:pt idx="1675">
                  <c:v>7.83</c:v>
                </c:pt>
                <c:pt idx="1676">
                  <c:v>7.8289999999999997</c:v>
                </c:pt>
                <c:pt idx="1677">
                  <c:v>7.8289999999999997</c:v>
                </c:pt>
                <c:pt idx="1678">
                  <c:v>7.8289999999999997</c:v>
                </c:pt>
                <c:pt idx="1679">
                  <c:v>7.8280000000000003</c:v>
                </c:pt>
                <c:pt idx="1680">
                  <c:v>7.8289999999999997</c:v>
                </c:pt>
                <c:pt idx="1681">
                  <c:v>7.8280000000000003</c:v>
                </c:pt>
                <c:pt idx="1682">
                  <c:v>7.8280000000000003</c:v>
                </c:pt>
                <c:pt idx="1683">
                  <c:v>7.8280000000000003</c:v>
                </c:pt>
                <c:pt idx="1684">
                  <c:v>7.827</c:v>
                </c:pt>
                <c:pt idx="1685">
                  <c:v>7.827</c:v>
                </c:pt>
                <c:pt idx="1686">
                  <c:v>7.827</c:v>
                </c:pt>
                <c:pt idx="1687">
                  <c:v>7.827</c:v>
                </c:pt>
                <c:pt idx="1688">
                  <c:v>7.827</c:v>
                </c:pt>
                <c:pt idx="1689">
                  <c:v>7.8259999999999996</c:v>
                </c:pt>
                <c:pt idx="1690">
                  <c:v>7.8259999999999996</c:v>
                </c:pt>
                <c:pt idx="1691">
                  <c:v>7.827</c:v>
                </c:pt>
                <c:pt idx="1692">
                  <c:v>7.8259999999999996</c:v>
                </c:pt>
                <c:pt idx="1693">
                  <c:v>7.8250000000000002</c:v>
                </c:pt>
                <c:pt idx="1694">
                  <c:v>7.8250000000000002</c:v>
                </c:pt>
                <c:pt idx="1695">
                  <c:v>7.8250000000000002</c:v>
                </c:pt>
                <c:pt idx="1696">
                  <c:v>7.8250000000000002</c:v>
                </c:pt>
                <c:pt idx="1697">
                  <c:v>7.8250000000000002</c:v>
                </c:pt>
                <c:pt idx="1698">
                  <c:v>7.8230000000000004</c:v>
                </c:pt>
                <c:pt idx="1699">
                  <c:v>7.8239999999999998</c:v>
                </c:pt>
                <c:pt idx="1700">
                  <c:v>7.8239999999999998</c:v>
                </c:pt>
                <c:pt idx="1701">
                  <c:v>7.8230000000000004</c:v>
                </c:pt>
                <c:pt idx="1702">
                  <c:v>7.8239999999999998</c:v>
                </c:pt>
                <c:pt idx="1703">
                  <c:v>7.8230000000000004</c:v>
                </c:pt>
                <c:pt idx="1704">
                  <c:v>7.8230000000000004</c:v>
                </c:pt>
                <c:pt idx="1705">
                  <c:v>7.8230000000000004</c:v>
                </c:pt>
                <c:pt idx="1706">
                  <c:v>7.8230000000000004</c:v>
                </c:pt>
                <c:pt idx="1707">
                  <c:v>7.8230000000000004</c:v>
                </c:pt>
                <c:pt idx="1708">
                  <c:v>7.8220000000000001</c:v>
                </c:pt>
                <c:pt idx="1709">
                  <c:v>7.8230000000000004</c:v>
                </c:pt>
                <c:pt idx="1710">
                  <c:v>7.8220000000000001</c:v>
                </c:pt>
                <c:pt idx="1711">
                  <c:v>7.8220000000000001</c:v>
                </c:pt>
                <c:pt idx="1712">
                  <c:v>7.8220000000000001</c:v>
                </c:pt>
                <c:pt idx="1713">
                  <c:v>7.8209999999999997</c:v>
                </c:pt>
                <c:pt idx="1714">
                  <c:v>7.8209999999999997</c:v>
                </c:pt>
                <c:pt idx="1715">
                  <c:v>7.8209999999999997</c:v>
                </c:pt>
                <c:pt idx="1716">
                  <c:v>7.8209999999999997</c:v>
                </c:pt>
                <c:pt idx="1717">
                  <c:v>7.82</c:v>
                </c:pt>
                <c:pt idx="1718">
                  <c:v>7.82</c:v>
                </c:pt>
                <c:pt idx="1719">
                  <c:v>7.82</c:v>
                </c:pt>
                <c:pt idx="1720">
                  <c:v>7.82</c:v>
                </c:pt>
                <c:pt idx="1721">
                  <c:v>7.819</c:v>
                </c:pt>
                <c:pt idx="1722">
                  <c:v>7.819</c:v>
                </c:pt>
                <c:pt idx="1723">
                  <c:v>7.82</c:v>
                </c:pt>
                <c:pt idx="1724">
                  <c:v>7.819</c:v>
                </c:pt>
                <c:pt idx="1725">
                  <c:v>7.8179999999999996</c:v>
                </c:pt>
                <c:pt idx="1726">
                  <c:v>7.819</c:v>
                </c:pt>
                <c:pt idx="1727">
                  <c:v>7.8179999999999996</c:v>
                </c:pt>
                <c:pt idx="1728">
                  <c:v>7.8179999999999996</c:v>
                </c:pt>
                <c:pt idx="1729">
                  <c:v>7.8179999999999996</c:v>
                </c:pt>
                <c:pt idx="1730">
                  <c:v>7.8170000000000002</c:v>
                </c:pt>
                <c:pt idx="1731">
                  <c:v>7.8179999999999996</c:v>
                </c:pt>
                <c:pt idx="1732">
                  <c:v>7.8170000000000002</c:v>
                </c:pt>
                <c:pt idx="1733">
                  <c:v>7.8170000000000002</c:v>
                </c:pt>
                <c:pt idx="1734">
                  <c:v>7.8170000000000002</c:v>
                </c:pt>
                <c:pt idx="1735">
                  <c:v>7.8159999999999998</c:v>
                </c:pt>
                <c:pt idx="1736">
                  <c:v>7.8159999999999998</c:v>
                </c:pt>
                <c:pt idx="1737">
                  <c:v>7.8159999999999998</c:v>
                </c:pt>
                <c:pt idx="1738">
                  <c:v>7.8159999999999998</c:v>
                </c:pt>
                <c:pt idx="1739">
                  <c:v>7.8150000000000004</c:v>
                </c:pt>
                <c:pt idx="1740">
                  <c:v>7.8159999999999998</c:v>
                </c:pt>
                <c:pt idx="1741">
                  <c:v>7.8150000000000004</c:v>
                </c:pt>
                <c:pt idx="1742">
                  <c:v>7.8150000000000004</c:v>
                </c:pt>
                <c:pt idx="1743">
                  <c:v>7.8150000000000004</c:v>
                </c:pt>
                <c:pt idx="1744">
                  <c:v>7.8150000000000004</c:v>
                </c:pt>
                <c:pt idx="1745">
                  <c:v>7.8140000000000001</c:v>
                </c:pt>
                <c:pt idx="1746">
                  <c:v>7.8140000000000001</c:v>
                </c:pt>
                <c:pt idx="1747">
                  <c:v>7.8150000000000004</c:v>
                </c:pt>
                <c:pt idx="1748">
                  <c:v>7.8140000000000001</c:v>
                </c:pt>
                <c:pt idx="1749">
                  <c:v>7.8129999999999997</c:v>
                </c:pt>
                <c:pt idx="1750">
                  <c:v>7.8129999999999997</c:v>
                </c:pt>
                <c:pt idx="1751">
                  <c:v>7.8129999999999997</c:v>
                </c:pt>
                <c:pt idx="1752">
                  <c:v>7.8120000000000003</c:v>
                </c:pt>
                <c:pt idx="1753">
                  <c:v>7.8129999999999997</c:v>
                </c:pt>
                <c:pt idx="1754">
                  <c:v>7.8120000000000003</c:v>
                </c:pt>
                <c:pt idx="1755">
                  <c:v>7.8120000000000003</c:v>
                </c:pt>
                <c:pt idx="1756">
                  <c:v>7.8120000000000003</c:v>
                </c:pt>
                <c:pt idx="1757">
                  <c:v>7.8120000000000003</c:v>
                </c:pt>
                <c:pt idx="1758">
                  <c:v>7.8120000000000003</c:v>
                </c:pt>
                <c:pt idx="1759">
                  <c:v>7.8120000000000003</c:v>
                </c:pt>
                <c:pt idx="1760">
                  <c:v>7.81</c:v>
                </c:pt>
                <c:pt idx="1761">
                  <c:v>7.8109999999999999</c:v>
                </c:pt>
                <c:pt idx="1762">
                  <c:v>7.8109999999999999</c:v>
                </c:pt>
                <c:pt idx="1763">
                  <c:v>7.81</c:v>
                </c:pt>
                <c:pt idx="1764">
                  <c:v>7.81</c:v>
                </c:pt>
                <c:pt idx="1765">
                  <c:v>7.81</c:v>
                </c:pt>
                <c:pt idx="1766">
                  <c:v>7.81</c:v>
                </c:pt>
                <c:pt idx="1767">
                  <c:v>7.81</c:v>
                </c:pt>
                <c:pt idx="1768">
                  <c:v>7.8090000000000002</c:v>
                </c:pt>
                <c:pt idx="1769">
                  <c:v>7.81</c:v>
                </c:pt>
                <c:pt idx="1770">
                  <c:v>7.8090000000000002</c:v>
                </c:pt>
                <c:pt idx="1771">
                  <c:v>7.8090000000000002</c:v>
                </c:pt>
                <c:pt idx="1772">
                  <c:v>7.8090000000000002</c:v>
                </c:pt>
                <c:pt idx="1773">
                  <c:v>7.8079999999999998</c:v>
                </c:pt>
                <c:pt idx="1774">
                  <c:v>7.8090000000000002</c:v>
                </c:pt>
                <c:pt idx="1775">
                  <c:v>7.8079999999999998</c:v>
                </c:pt>
                <c:pt idx="1776">
                  <c:v>7.8079999999999998</c:v>
                </c:pt>
                <c:pt idx="1777">
                  <c:v>7.8079999999999998</c:v>
                </c:pt>
                <c:pt idx="1778">
                  <c:v>7.8070000000000004</c:v>
                </c:pt>
                <c:pt idx="1779">
                  <c:v>7.8070000000000004</c:v>
                </c:pt>
                <c:pt idx="1780">
                  <c:v>7.806</c:v>
                </c:pt>
                <c:pt idx="1781">
                  <c:v>7.806</c:v>
                </c:pt>
                <c:pt idx="1782">
                  <c:v>7.806</c:v>
                </c:pt>
                <c:pt idx="1783">
                  <c:v>7.806</c:v>
                </c:pt>
                <c:pt idx="1784">
                  <c:v>7.806</c:v>
                </c:pt>
                <c:pt idx="1785">
                  <c:v>7.8070000000000004</c:v>
                </c:pt>
                <c:pt idx="1786">
                  <c:v>7.8049999999999997</c:v>
                </c:pt>
                <c:pt idx="1787">
                  <c:v>7.8049999999999997</c:v>
                </c:pt>
                <c:pt idx="1788">
                  <c:v>7.806</c:v>
                </c:pt>
                <c:pt idx="1789">
                  <c:v>7.8049999999999997</c:v>
                </c:pt>
                <c:pt idx="1790">
                  <c:v>7.8049999999999997</c:v>
                </c:pt>
                <c:pt idx="1791">
                  <c:v>7.8049999999999997</c:v>
                </c:pt>
                <c:pt idx="1792">
                  <c:v>7.8040000000000003</c:v>
                </c:pt>
                <c:pt idx="1793">
                  <c:v>7.8040000000000003</c:v>
                </c:pt>
                <c:pt idx="1794">
                  <c:v>7.8049999999999997</c:v>
                </c:pt>
                <c:pt idx="1795">
                  <c:v>7.8029999999999999</c:v>
                </c:pt>
                <c:pt idx="1796">
                  <c:v>7.8029999999999999</c:v>
                </c:pt>
                <c:pt idx="1797">
                  <c:v>7.8040000000000003</c:v>
                </c:pt>
                <c:pt idx="1798">
                  <c:v>7.8029999999999999</c:v>
                </c:pt>
                <c:pt idx="1799">
                  <c:v>7.8019999999999996</c:v>
                </c:pt>
                <c:pt idx="1800">
                  <c:v>7.8029999999999999</c:v>
                </c:pt>
                <c:pt idx="1801">
                  <c:v>7.8019999999999996</c:v>
                </c:pt>
                <c:pt idx="1802">
                  <c:v>7.8019999999999996</c:v>
                </c:pt>
                <c:pt idx="1803">
                  <c:v>7.8029999999999999</c:v>
                </c:pt>
                <c:pt idx="1804">
                  <c:v>7.8019999999999996</c:v>
                </c:pt>
                <c:pt idx="1805">
                  <c:v>7.8019999999999996</c:v>
                </c:pt>
                <c:pt idx="1806">
                  <c:v>7.8010000000000002</c:v>
                </c:pt>
                <c:pt idx="1807">
                  <c:v>7.8010000000000002</c:v>
                </c:pt>
                <c:pt idx="1808">
                  <c:v>7.8010000000000002</c:v>
                </c:pt>
                <c:pt idx="1809">
                  <c:v>7.8010000000000002</c:v>
                </c:pt>
                <c:pt idx="1810">
                  <c:v>7.8</c:v>
                </c:pt>
                <c:pt idx="1811">
                  <c:v>7.8</c:v>
                </c:pt>
                <c:pt idx="1812">
                  <c:v>7.8</c:v>
                </c:pt>
                <c:pt idx="1813">
                  <c:v>7.8</c:v>
                </c:pt>
                <c:pt idx="1814">
                  <c:v>7.7990000000000004</c:v>
                </c:pt>
                <c:pt idx="1815">
                  <c:v>7.7990000000000004</c:v>
                </c:pt>
                <c:pt idx="1816">
                  <c:v>7.8</c:v>
                </c:pt>
                <c:pt idx="1817">
                  <c:v>7.8</c:v>
                </c:pt>
                <c:pt idx="1818">
                  <c:v>7.7990000000000004</c:v>
                </c:pt>
                <c:pt idx="1819">
                  <c:v>7.7990000000000004</c:v>
                </c:pt>
                <c:pt idx="1820">
                  <c:v>7.798</c:v>
                </c:pt>
                <c:pt idx="1821">
                  <c:v>7.7990000000000004</c:v>
                </c:pt>
                <c:pt idx="1822">
                  <c:v>7.7990000000000004</c:v>
                </c:pt>
                <c:pt idx="1823">
                  <c:v>7.798</c:v>
                </c:pt>
                <c:pt idx="1824">
                  <c:v>7.798</c:v>
                </c:pt>
                <c:pt idx="1825">
                  <c:v>7.7969999999999997</c:v>
                </c:pt>
                <c:pt idx="1826">
                  <c:v>7.798</c:v>
                </c:pt>
                <c:pt idx="1827">
                  <c:v>7.7969999999999997</c:v>
                </c:pt>
                <c:pt idx="1828">
                  <c:v>7.7969999999999997</c:v>
                </c:pt>
                <c:pt idx="1829">
                  <c:v>7.7969999999999997</c:v>
                </c:pt>
                <c:pt idx="1830">
                  <c:v>7.7969999999999997</c:v>
                </c:pt>
                <c:pt idx="1831">
                  <c:v>7.7969999999999997</c:v>
                </c:pt>
                <c:pt idx="1832">
                  <c:v>7.7969999999999997</c:v>
                </c:pt>
                <c:pt idx="1833">
                  <c:v>7.7969999999999997</c:v>
                </c:pt>
                <c:pt idx="1834">
                  <c:v>7.7960000000000003</c:v>
                </c:pt>
                <c:pt idx="1835">
                  <c:v>7.7960000000000003</c:v>
                </c:pt>
                <c:pt idx="1836">
                  <c:v>7.7960000000000003</c:v>
                </c:pt>
                <c:pt idx="1837">
                  <c:v>7.7949999999999999</c:v>
                </c:pt>
                <c:pt idx="1838">
                  <c:v>7.7949999999999999</c:v>
                </c:pt>
                <c:pt idx="1839">
                  <c:v>7.7949999999999999</c:v>
                </c:pt>
                <c:pt idx="1840">
                  <c:v>7.7939999999999996</c:v>
                </c:pt>
                <c:pt idx="1841">
                  <c:v>7.7949999999999999</c:v>
                </c:pt>
                <c:pt idx="1842">
                  <c:v>7.7939999999999996</c:v>
                </c:pt>
                <c:pt idx="1843">
                  <c:v>7.7939999999999996</c:v>
                </c:pt>
                <c:pt idx="1844">
                  <c:v>7.7939999999999996</c:v>
                </c:pt>
                <c:pt idx="1845">
                  <c:v>7.7949999999999999</c:v>
                </c:pt>
                <c:pt idx="1846">
                  <c:v>7.7939999999999996</c:v>
                </c:pt>
                <c:pt idx="1847">
                  <c:v>7.7939999999999996</c:v>
                </c:pt>
                <c:pt idx="1848">
                  <c:v>7.7930000000000001</c:v>
                </c:pt>
                <c:pt idx="1849">
                  <c:v>7.7939999999999996</c:v>
                </c:pt>
                <c:pt idx="1850">
                  <c:v>7.7919999999999998</c:v>
                </c:pt>
                <c:pt idx="1851">
                  <c:v>7.7919999999999998</c:v>
                </c:pt>
                <c:pt idx="1852">
                  <c:v>7.7930000000000001</c:v>
                </c:pt>
                <c:pt idx="1853">
                  <c:v>7.7919999999999998</c:v>
                </c:pt>
                <c:pt idx="1854">
                  <c:v>7.7930000000000001</c:v>
                </c:pt>
                <c:pt idx="1855">
                  <c:v>7.7919999999999998</c:v>
                </c:pt>
                <c:pt idx="1856">
                  <c:v>7.7910000000000004</c:v>
                </c:pt>
                <c:pt idx="1857">
                  <c:v>7.7910000000000004</c:v>
                </c:pt>
                <c:pt idx="1858">
                  <c:v>7.7919999999999998</c:v>
                </c:pt>
                <c:pt idx="1859">
                  <c:v>7.7919999999999998</c:v>
                </c:pt>
                <c:pt idx="1860">
                  <c:v>7.79</c:v>
                </c:pt>
                <c:pt idx="1861">
                  <c:v>7.79</c:v>
                </c:pt>
                <c:pt idx="1862">
                  <c:v>7.79</c:v>
                </c:pt>
                <c:pt idx="1863">
                  <c:v>7.79</c:v>
                </c:pt>
                <c:pt idx="1864">
                  <c:v>7.79</c:v>
                </c:pt>
                <c:pt idx="1865">
                  <c:v>7.79</c:v>
                </c:pt>
                <c:pt idx="1866">
                  <c:v>7.79</c:v>
                </c:pt>
                <c:pt idx="1867">
                  <c:v>7.79</c:v>
                </c:pt>
                <c:pt idx="1868">
                  <c:v>7.79</c:v>
                </c:pt>
                <c:pt idx="1869">
                  <c:v>7.79</c:v>
                </c:pt>
                <c:pt idx="1870">
                  <c:v>7.7889999999999997</c:v>
                </c:pt>
                <c:pt idx="1871">
                  <c:v>7.7889999999999997</c:v>
                </c:pt>
                <c:pt idx="1872">
                  <c:v>7.7880000000000003</c:v>
                </c:pt>
                <c:pt idx="1873">
                  <c:v>7.7880000000000003</c:v>
                </c:pt>
                <c:pt idx="1874">
                  <c:v>7.7889999999999997</c:v>
                </c:pt>
                <c:pt idx="1875">
                  <c:v>7.7880000000000003</c:v>
                </c:pt>
                <c:pt idx="1876">
                  <c:v>7.7869999999999999</c:v>
                </c:pt>
                <c:pt idx="1877">
                  <c:v>7.7880000000000003</c:v>
                </c:pt>
                <c:pt idx="1878">
                  <c:v>7.7869999999999999</c:v>
                </c:pt>
                <c:pt idx="1879">
                  <c:v>7.7869999999999999</c:v>
                </c:pt>
                <c:pt idx="1880">
                  <c:v>7.7869999999999999</c:v>
                </c:pt>
                <c:pt idx="1881">
                  <c:v>7.7869999999999999</c:v>
                </c:pt>
                <c:pt idx="1882">
                  <c:v>7.7869999999999999</c:v>
                </c:pt>
                <c:pt idx="1883">
                  <c:v>7.7859999999999996</c:v>
                </c:pt>
                <c:pt idx="1884">
                  <c:v>7.7869999999999999</c:v>
                </c:pt>
                <c:pt idx="1885">
                  <c:v>7.7859999999999996</c:v>
                </c:pt>
                <c:pt idx="1886">
                  <c:v>7.7859999999999996</c:v>
                </c:pt>
                <c:pt idx="1887">
                  <c:v>7.7859999999999996</c:v>
                </c:pt>
                <c:pt idx="1888">
                  <c:v>7.7859999999999996</c:v>
                </c:pt>
                <c:pt idx="1889">
                  <c:v>7.7859999999999996</c:v>
                </c:pt>
                <c:pt idx="1890">
                  <c:v>7.7859999999999996</c:v>
                </c:pt>
                <c:pt idx="1891">
                  <c:v>7.7850000000000001</c:v>
                </c:pt>
                <c:pt idx="1892">
                  <c:v>7.7850000000000001</c:v>
                </c:pt>
                <c:pt idx="1893">
                  <c:v>7.7850000000000001</c:v>
                </c:pt>
                <c:pt idx="1894">
                  <c:v>7.7850000000000001</c:v>
                </c:pt>
                <c:pt idx="1895">
                  <c:v>7.7839999999999998</c:v>
                </c:pt>
                <c:pt idx="1896">
                  <c:v>7.7850000000000001</c:v>
                </c:pt>
                <c:pt idx="1897">
                  <c:v>7.7839999999999998</c:v>
                </c:pt>
                <c:pt idx="1898">
                  <c:v>7.7839999999999998</c:v>
                </c:pt>
                <c:pt idx="1899">
                  <c:v>7.7839999999999998</c:v>
                </c:pt>
                <c:pt idx="1900">
                  <c:v>7.7839999999999998</c:v>
                </c:pt>
                <c:pt idx="1901">
                  <c:v>7.7839999999999998</c:v>
                </c:pt>
                <c:pt idx="1902">
                  <c:v>7.7830000000000004</c:v>
                </c:pt>
                <c:pt idx="1903">
                  <c:v>7.7830000000000004</c:v>
                </c:pt>
                <c:pt idx="1904">
                  <c:v>7.782</c:v>
                </c:pt>
                <c:pt idx="1905">
                  <c:v>7.7830000000000004</c:v>
                </c:pt>
                <c:pt idx="1906">
                  <c:v>7.782</c:v>
                </c:pt>
                <c:pt idx="1907">
                  <c:v>7.782</c:v>
                </c:pt>
                <c:pt idx="1908">
                  <c:v>7.7830000000000004</c:v>
                </c:pt>
                <c:pt idx="1909">
                  <c:v>7.782</c:v>
                </c:pt>
                <c:pt idx="1910">
                  <c:v>7.782</c:v>
                </c:pt>
                <c:pt idx="1911">
                  <c:v>7.782</c:v>
                </c:pt>
                <c:pt idx="1912">
                  <c:v>7.782</c:v>
                </c:pt>
                <c:pt idx="1913">
                  <c:v>7.782</c:v>
                </c:pt>
                <c:pt idx="1914">
                  <c:v>7.7809999999999997</c:v>
                </c:pt>
                <c:pt idx="1915">
                  <c:v>7.7809999999999997</c:v>
                </c:pt>
                <c:pt idx="1916">
                  <c:v>7.7809999999999997</c:v>
                </c:pt>
                <c:pt idx="1917">
                  <c:v>7.78</c:v>
                </c:pt>
                <c:pt idx="1918">
                  <c:v>7.7809999999999997</c:v>
                </c:pt>
                <c:pt idx="1919">
                  <c:v>7.78</c:v>
                </c:pt>
                <c:pt idx="1920">
                  <c:v>7.78</c:v>
                </c:pt>
                <c:pt idx="1921">
                  <c:v>7.78</c:v>
                </c:pt>
                <c:pt idx="1922">
                  <c:v>7.78</c:v>
                </c:pt>
                <c:pt idx="1923">
                  <c:v>7.7809999999999997</c:v>
                </c:pt>
                <c:pt idx="1924">
                  <c:v>7.7789999999999999</c:v>
                </c:pt>
                <c:pt idx="1925">
                  <c:v>7.7789999999999999</c:v>
                </c:pt>
                <c:pt idx="1926">
                  <c:v>7.7789999999999999</c:v>
                </c:pt>
                <c:pt idx="1927">
                  <c:v>7.7789999999999999</c:v>
                </c:pt>
                <c:pt idx="1928">
                  <c:v>7.7789999999999999</c:v>
                </c:pt>
                <c:pt idx="1929">
                  <c:v>7.7789999999999999</c:v>
                </c:pt>
                <c:pt idx="1930">
                  <c:v>7.7789999999999999</c:v>
                </c:pt>
                <c:pt idx="1931">
                  <c:v>7.7789999999999999</c:v>
                </c:pt>
                <c:pt idx="1932">
                  <c:v>7.7779999999999996</c:v>
                </c:pt>
                <c:pt idx="1933">
                  <c:v>7.7779999999999996</c:v>
                </c:pt>
                <c:pt idx="1934">
                  <c:v>7.7770000000000001</c:v>
                </c:pt>
                <c:pt idx="1935">
                  <c:v>7.7779999999999996</c:v>
                </c:pt>
                <c:pt idx="1936">
                  <c:v>7.7779999999999996</c:v>
                </c:pt>
                <c:pt idx="1937">
                  <c:v>7.7770000000000001</c:v>
                </c:pt>
                <c:pt idx="1938">
                  <c:v>7.7770000000000001</c:v>
                </c:pt>
                <c:pt idx="1939">
                  <c:v>7.7759999999999998</c:v>
                </c:pt>
                <c:pt idx="1940">
                  <c:v>7.7779999999999996</c:v>
                </c:pt>
                <c:pt idx="1941">
                  <c:v>7.7770000000000001</c:v>
                </c:pt>
                <c:pt idx="1942">
                  <c:v>7.7770000000000001</c:v>
                </c:pt>
                <c:pt idx="1943">
                  <c:v>7.7759999999999998</c:v>
                </c:pt>
                <c:pt idx="1944">
                  <c:v>7.7759999999999998</c:v>
                </c:pt>
                <c:pt idx="1945">
                  <c:v>7.7759999999999998</c:v>
                </c:pt>
                <c:pt idx="1946">
                  <c:v>7.7759999999999998</c:v>
                </c:pt>
                <c:pt idx="1947">
                  <c:v>7.7759999999999998</c:v>
                </c:pt>
                <c:pt idx="1948">
                  <c:v>7.7750000000000004</c:v>
                </c:pt>
                <c:pt idx="1949">
                  <c:v>7.7759999999999998</c:v>
                </c:pt>
                <c:pt idx="1950">
                  <c:v>7.7750000000000004</c:v>
                </c:pt>
                <c:pt idx="1951">
                  <c:v>7.7750000000000004</c:v>
                </c:pt>
                <c:pt idx="1952">
                  <c:v>7.7750000000000004</c:v>
                </c:pt>
                <c:pt idx="1953">
                  <c:v>7.7750000000000004</c:v>
                </c:pt>
                <c:pt idx="1954">
                  <c:v>7.774</c:v>
                </c:pt>
                <c:pt idx="1955">
                  <c:v>7.774</c:v>
                </c:pt>
                <c:pt idx="1956">
                  <c:v>7.774</c:v>
                </c:pt>
                <c:pt idx="1957">
                  <c:v>7.7729999999999997</c:v>
                </c:pt>
                <c:pt idx="1958">
                  <c:v>7.774</c:v>
                </c:pt>
                <c:pt idx="1959">
                  <c:v>7.774</c:v>
                </c:pt>
                <c:pt idx="1960">
                  <c:v>7.7729999999999997</c:v>
                </c:pt>
                <c:pt idx="1961">
                  <c:v>7.7729999999999997</c:v>
                </c:pt>
                <c:pt idx="1962">
                  <c:v>7.7720000000000002</c:v>
                </c:pt>
                <c:pt idx="1963">
                  <c:v>7.7720000000000002</c:v>
                </c:pt>
                <c:pt idx="1964">
                  <c:v>7.7720000000000002</c:v>
                </c:pt>
                <c:pt idx="1965">
                  <c:v>7.7720000000000002</c:v>
                </c:pt>
                <c:pt idx="1966">
                  <c:v>7.7729999999999997</c:v>
                </c:pt>
                <c:pt idx="1967">
                  <c:v>7.7729999999999997</c:v>
                </c:pt>
                <c:pt idx="1968">
                  <c:v>7.7729999999999997</c:v>
                </c:pt>
                <c:pt idx="1969">
                  <c:v>7.7720000000000002</c:v>
                </c:pt>
                <c:pt idx="1970">
                  <c:v>7.7720000000000002</c:v>
                </c:pt>
                <c:pt idx="1971">
                  <c:v>7.7720000000000002</c:v>
                </c:pt>
                <c:pt idx="1972">
                  <c:v>7.7720000000000002</c:v>
                </c:pt>
                <c:pt idx="1973">
                  <c:v>7.7709999999999999</c:v>
                </c:pt>
                <c:pt idx="1974">
                  <c:v>7.7709999999999999</c:v>
                </c:pt>
                <c:pt idx="1975">
                  <c:v>7.7720000000000002</c:v>
                </c:pt>
                <c:pt idx="1976">
                  <c:v>7.7709999999999999</c:v>
                </c:pt>
                <c:pt idx="1977">
                  <c:v>7.7709999999999999</c:v>
                </c:pt>
                <c:pt idx="1978">
                  <c:v>7.7709999999999999</c:v>
                </c:pt>
                <c:pt idx="1979">
                  <c:v>7.7709999999999999</c:v>
                </c:pt>
                <c:pt idx="1980">
                  <c:v>7.7709999999999999</c:v>
                </c:pt>
                <c:pt idx="1981">
                  <c:v>7.77</c:v>
                </c:pt>
                <c:pt idx="1982">
                  <c:v>7.7709999999999999</c:v>
                </c:pt>
                <c:pt idx="1983">
                  <c:v>7.77</c:v>
                </c:pt>
                <c:pt idx="1984">
                  <c:v>7.7690000000000001</c:v>
                </c:pt>
                <c:pt idx="1985">
                  <c:v>7.77</c:v>
                </c:pt>
                <c:pt idx="1986">
                  <c:v>7.77</c:v>
                </c:pt>
                <c:pt idx="1987">
                  <c:v>7.77</c:v>
                </c:pt>
                <c:pt idx="1988">
                  <c:v>7.77</c:v>
                </c:pt>
                <c:pt idx="1989">
                  <c:v>7.7690000000000001</c:v>
                </c:pt>
                <c:pt idx="1990">
                  <c:v>7.7690000000000001</c:v>
                </c:pt>
                <c:pt idx="1991">
                  <c:v>7.7690000000000001</c:v>
                </c:pt>
                <c:pt idx="1992">
                  <c:v>7.7690000000000001</c:v>
                </c:pt>
                <c:pt idx="1993">
                  <c:v>7.7690000000000001</c:v>
                </c:pt>
                <c:pt idx="1994">
                  <c:v>7.7690000000000001</c:v>
                </c:pt>
                <c:pt idx="1995">
                  <c:v>7.7679999999999998</c:v>
                </c:pt>
                <c:pt idx="1996">
                  <c:v>7.7690000000000001</c:v>
                </c:pt>
                <c:pt idx="1997">
                  <c:v>7.7679999999999998</c:v>
                </c:pt>
                <c:pt idx="1998">
                  <c:v>7.7679999999999998</c:v>
                </c:pt>
                <c:pt idx="1999">
                  <c:v>7.7679999999999998</c:v>
                </c:pt>
                <c:pt idx="2000">
                  <c:v>7.7670000000000003</c:v>
                </c:pt>
                <c:pt idx="2001">
                  <c:v>7.7670000000000003</c:v>
                </c:pt>
                <c:pt idx="2002">
                  <c:v>7.7670000000000003</c:v>
                </c:pt>
                <c:pt idx="2003">
                  <c:v>7.7670000000000003</c:v>
                </c:pt>
                <c:pt idx="2004">
                  <c:v>7.7670000000000003</c:v>
                </c:pt>
                <c:pt idx="2005">
                  <c:v>7.7670000000000003</c:v>
                </c:pt>
                <c:pt idx="2006">
                  <c:v>7.766</c:v>
                </c:pt>
                <c:pt idx="2007">
                  <c:v>7.766</c:v>
                </c:pt>
                <c:pt idx="2008">
                  <c:v>7.766</c:v>
                </c:pt>
                <c:pt idx="2009">
                  <c:v>7.766</c:v>
                </c:pt>
                <c:pt idx="2010">
                  <c:v>7.766</c:v>
                </c:pt>
                <c:pt idx="2011">
                  <c:v>7.766</c:v>
                </c:pt>
                <c:pt idx="2012">
                  <c:v>7.766</c:v>
                </c:pt>
                <c:pt idx="2013">
                  <c:v>7.766</c:v>
                </c:pt>
                <c:pt idx="2014">
                  <c:v>7.766</c:v>
                </c:pt>
                <c:pt idx="2015">
                  <c:v>7.7649999999999997</c:v>
                </c:pt>
                <c:pt idx="2016">
                  <c:v>7.7649999999999997</c:v>
                </c:pt>
                <c:pt idx="2017">
                  <c:v>7.7640000000000002</c:v>
                </c:pt>
                <c:pt idx="2018">
                  <c:v>7.7649999999999997</c:v>
                </c:pt>
                <c:pt idx="2019">
                  <c:v>7.7649999999999997</c:v>
                </c:pt>
                <c:pt idx="2020">
                  <c:v>7.7640000000000002</c:v>
                </c:pt>
                <c:pt idx="2021">
                  <c:v>7.7640000000000002</c:v>
                </c:pt>
                <c:pt idx="2022">
                  <c:v>7.7640000000000002</c:v>
                </c:pt>
                <c:pt idx="2023">
                  <c:v>7.7640000000000002</c:v>
                </c:pt>
                <c:pt idx="2024">
                  <c:v>7.7640000000000002</c:v>
                </c:pt>
                <c:pt idx="2025">
                  <c:v>7.7629999999999999</c:v>
                </c:pt>
                <c:pt idx="2026">
                  <c:v>7.7640000000000002</c:v>
                </c:pt>
                <c:pt idx="2027">
                  <c:v>7.7629999999999999</c:v>
                </c:pt>
                <c:pt idx="2028">
                  <c:v>7.7640000000000002</c:v>
                </c:pt>
                <c:pt idx="2029">
                  <c:v>7.7629999999999999</c:v>
                </c:pt>
                <c:pt idx="2030">
                  <c:v>7.7629999999999999</c:v>
                </c:pt>
                <c:pt idx="2031">
                  <c:v>7.7629999999999999</c:v>
                </c:pt>
                <c:pt idx="2032">
                  <c:v>7.7629999999999999</c:v>
                </c:pt>
                <c:pt idx="2033">
                  <c:v>7.7619999999999996</c:v>
                </c:pt>
                <c:pt idx="2034">
                  <c:v>7.7619999999999996</c:v>
                </c:pt>
                <c:pt idx="2035">
                  <c:v>7.7619999999999996</c:v>
                </c:pt>
                <c:pt idx="2036">
                  <c:v>7.7619999999999996</c:v>
                </c:pt>
                <c:pt idx="2037">
                  <c:v>7.7619999999999996</c:v>
                </c:pt>
                <c:pt idx="2038">
                  <c:v>7.7619999999999996</c:v>
                </c:pt>
                <c:pt idx="2039">
                  <c:v>7.7619999999999996</c:v>
                </c:pt>
                <c:pt idx="2040">
                  <c:v>7.7610000000000001</c:v>
                </c:pt>
                <c:pt idx="2041">
                  <c:v>7.7610000000000001</c:v>
                </c:pt>
                <c:pt idx="2042">
                  <c:v>7.7610000000000001</c:v>
                </c:pt>
                <c:pt idx="2043">
                  <c:v>7.7610000000000001</c:v>
                </c:pt>
                <c:pt idx="2044">
                  <c:v>7.76</c:v>
                </c:pt>
                <c:pt idx="2045">
                  <c:v>7.7610000000000001</c:v>
                </c:pt>
                <c:pt idx="2046">
                  <c:v>7.7610000000000001</c:v>
                </c:pt>
                <c:pt idx="2047">
                  <c:v>7.76</c:v>
                </c:pt>
                <c:pt idx="2048">
                  <c:v>7.76</c:v>
                </c:pt>
                <c:pt idx="2049">
                  <c:v>7.76</c:v>
                </c:pt>
                <c:pt idx="2050">
                  <c:v>7.76</c:v>
                </c:pt>
                <c:pt idx="2051">
                  <c:v>7.76</c:v>
                </c:pt>
                <c:pt idx="2052">
                  <c:v>7.76</c:v>
                </c:pt>
                <c:pt idx="2053">
                  <c:v>7.7590000000000003</c:v>
                </c:pt>
                <c:pt idx="2054">
                  <c:v>7.7590000000000003</c:v>
                </c:pt>
                <c:pt idx="2055">
                  <c:v>7.7590000000000003</c:v>
                </c:pt>
                <c:pt idx="2056">
                  <c:v>7.7590000000000003</c:v>
                </c:pt>
                <c:pt idx="2057">
                  <c:v>7.7590000000000003</c:v>
                </c:pt>
                <c:pt idx="2058">
                  <c:v>7.758</c:v>
                </c:pt>
                <c:pt idx="2059">
                  <c:v>7.758</c:v>
                </c:pt>
                <c:pt idx="2060">
                  <c:v>7.758</c:v>
                </c:pt>
                <c:pt idx="2061">
                  <c:v>7.758</c:v>
                </c:pt>
                <c:pt idx="2062">
                  <c:v>7.758</c:v>
                </c:pt>
                <c:pt idx="2063">
                  <c:v>7.758</c:v>
                </c:pt>
                <c:pt idx="2064">
                  <c:v>7.758</c:v>
                </c:pt>
                <c:pt idx="2065">
                  <c:v>7.7569999999999997</c:v>
                </c:pt>
                <c:pt idx="2066">
                  <c:v>7.7569999999999997</c:v>
                </c:pt>
                <c:pt idx="2067">
                  <c:v>7.7569999999999997</c:v>
                </c:pt>
                <c:pt idx="2068">
                  <c:v>7.7569999999999997</c:v>
                </c:pt>
                <c:pt idx="2069">
                  <c:v>7.7569999999999997</c:v>
                </c:pt>
                <c:pt idx="2070">
                  <c:v>7.7569999999999997</c:v>
                </c:pt>
                <c:pt idx="2071">
                  <c:v>7.7569999999999997</c:v>
                </c:pt>
                <c:pt idx="2072">
                  <c:v>7.7560000000000002</c:v>
                </c:pt>
                <c:pt idx="2073">
                  <c:v>7.7560000000000002</c:v>
                </c:pt>
                <c:pt idx="2074">
                  <c:v>7.7560000000000002</c:v>
                </c:pt>
                <c:pt idx="2075">
                  <c:v>7.7549999999999999</c:v>
                </c:pt>
                <c:pt idx="2076">
                  <c:v>7.7560000000000002</c:v>
                </c:pt>
                <c:pt idx="2077">
                  <c:v>7.7560000000000002</c:v>
                </c:pt>
                <c:pt idx="2078">
                  <c:v>7.7549999999999999</c:v>
                </c:pt>
                <c:pt idx="2079">
                  <c:v>7.7560000000000002</c:v>
                </c:pt>
                <c:pt idx="2080">
                  <c:v>7.7549999999999999</c:v>
                </c:pt>
                <c:pt idx="2081">
                  <c:v>7.7549999999999999</c:v>
                </c:pt>
                <c:pt idx="2082">
                  <c:v>7.7549999999999999</c:v>
                </c:pt>
                <c:pt idx="2083">
                  <c:v>7.7549999999999999</c:v>
                </c:pt>
                <c:pt idx="2084">
                  <c:v>7.7539999999999996</c:v>
                </c:pt>
                <c:pt idx="2085">
                  <c:v>7.7549999999999999</c:v>
                </c:pt>
                <c:pt idx="2086">
                  <c:v>7.7539999999999996</c:v>
                </c:pt>
                <c:pt idx="2087">
                  <c:v>7.7539999999999996</c:v>
                </c:pt>
                <c:pt idx="2088">
                  <c:v>7.7530000000000001</c:v>
                </c:pt>
                <c:pt idx="2089">
                  <c:v>7.7539999999999996</c:v>
                </c:pt>
                <c:pt idx="2090">
                  <c:v>7.7530000000000001</c:v>
                </c:pt>
                <c:pt idx="2091">
                  <c:v>7.7530000000000001</c:v>
                </c:pt>
                <c:pt idx="2092">
                  <c:v>7.7530000000000001</c:v>
                </c:pt>
                <c:pt idx="2093">
                  <c:v>7.7530000000000001</c:v>
                </c:pt>
                <c:pt idx="2094">
                  <c:v>7.7519999999999998</c:v>
                </c:pt>
                <c:pt idx="2095">
                  <c:v>7.7530000000000001</c:v>
                </c:pt>
                <c:pt idx="2096">
                  <c:v>7.7519999999999998</c:v>
                </c:pt>
                <c:pt idx="2097">
                  <c:v>7.7519999999999998</c:v>
                </c:pt>
                <c:pt idx="2098">
                  <c:v>7.7519999999999998</c:v>
                </c:pt>
                <c:pt idx="2099">
                  <c:v>7.7510000000000003</c:v>
                </c:pt>
                <c:pt idx="2100">
                  <c:v>7.7519999999999998</c:v>
                </c:pt>
                <c:pt idx="2101">
                  <c:v>7.7519999999999998</c:v>
                </c:pt>
                <c:pt idx="2102">
                  <c:v>7.7510000000000003</c:v>
                </c:pt>
                <c:pt idx="2103">
                  <c:v>7.7510000000000003</c:v>
                </c:pt>
                <c:pt idx="2104">
                  <c:v>7.7510000000000003</c:v>
                </c:pt>
                <c:pt idx="2105">
                  <c:v>7.7510000000000003</c:v>
                </c:pt>
                <c:pt idx="2106">
                  <c:v>7.7510000000000003</c:v>
                </c:pt>
                <c:pt idx="2107">
                  <c:v>7.7519999999999998</c:v>
                </c:pt>
                <c:pt idx="2108">
                  <c:v>7.7510000000000003</c:v>
                </c:pt>
                <c:pt idx="2109">
                  <c:v>7.75</c:v>
                </c:pt>
                <c:pt idx="2110">
                  <c:v>7.75</c:v>
                </c:pt>
                <c:pt idx="2111">
                  <c:v>7.7510000000000003</c:v>
                </c:pt>
                <c:pt idx="2112">
                  <c:v>7.75</c:v>
                </c:pt>
                <c:pt idx="2113">
                  <c:v>7.7510000000000003</c:v>
                </c:pt>
                <c:pt idx="2114">
                  <c:v>7.7489999999999997</c:v>
                </c:pt>
                <c:pt idx="2115">
                  <c:v>7.75</c:v>
                </c:pt>
                <c:pt idx="2116">
                  <c:v>7.75</c:v>
                </c:pt>
                <c:pt idx="2117">
                  <c:v>7.7489999999999997</c:v>
                </c:pt>
                <c:pt idx="2118">
                  <c:v>7.7489999999999997</c:v>
                </c:pt>
                <c:pt idx="2119">
                  <c:v>7.75</c:v>
                </c:pt>
                <c:pt idx="2120">
                  <c:v>7.7489999999999997</c:v>
                </c:pt>
                <c:pt idx="2121">
                  <c:v>7.7489999999999997</c:v>
                </c:pt>
                <c:pt idx="2122">
                  <c:v>7.7489999999999997</c:v>
                </c:pt>
                <c:pt idx="2123">
                  <c:v>7.7489999999999997</c:v>
                </c:pt>
                <c:pt idx="2124">
                  <c:v>7.7480000000000002</c:v>
                </c:pt>
                <c:pt idx="2125">
                  <c:v>7.7480000000000002</c:v>
                </c:pt>
                <c:pt idx="2126">
                  <c:v>7.7469999999999999</c:v>
                </c:pt>
                <c:pt idx="2127">
                  <c:v>7.7480000000000002</c:v>
                </c:pt>
                <c:pt idx="2128">
                  <c:v>7.7469999999999999</c:v>
                </c:pt>
                <c:pt idx="2129">
                  <c:v>7.7469999999999999</c:v>
                </c:pt>
                <c:pt idx="2130">
                  <c:v>7.7469999999999999</c:v>
                </c:pt>
                <c:pt idx="2131">
                  <c:v>7.7469999999999999</c:v>
                </c:pt>
                <c:pt idx="2132">
                  <c:v>7.7469999999999999</c:v>
                </c:pt>
                <c:pt idx="2133">
                  <c:v>7.7460000000000004</c:v>
                </c:pt>
                <c:pt idx="2134">
                  <c:v>7.7460000000000004</c:v>
                </c:pt>
                <c:pt idx="2135">
                  <c:v>7.7460000000000004</c:v>
                </c:pt>
                <c:pt idx="2136">
                  <c:v>7.7460000000000004</c:v>
                </c:pt>
                <c:pt idx="2137">
                  <c:v>7.7460000000000004</c:v>
                </c:pt>
                <c:pt idx="2138">
                  <c:v>7.7460000000000004</c:v>
                </c:pt>
                <c:pt idx="2139">
                  <c:v>7.7460000000000004</c:v>
                </c:pt>
                <c:pt idx="2140">
                  <c:v>7.7450000000000001</c:v>
                </c:pt>
                <c:pt idx="2141">
                  <c:v>7.7460000000000004</c:v>
                </c:pt>
                <c:pt idx="2142">
                  <c:v>7.7450000000000001</c:v>
                </c:pt>
                <c:pt idx="2143">
                  <c:v>7.7450000000000001</c:v>
                </c:pt>
                <c:pt idx="2144">
                  <c:v>7.7450000000000001</c:v>
                </c:pt>
                <c:pt idx="2145">
                  <c:v>7.7439999999999998</c:v>
                </c:pt>
                <c:pt idx="2146">
                  <c:v>7.7450000000000001</c:v>
                </c:pt>
                <c:pt idx="2147">
                  <c:v>7.7439999999999998</c:v>
                </c:pt>
                <c:pt idx="2148">
                  <c:v>7.7439999999999998</c:v>
                </c:pt>
                <c:pt idx="2149">
                  <c:v>7.7439999999999998</c:v>
                </c:pt>
                <c:pt idx="2150">
                  <c:v>7.7439999999999998</c:v>
                </c:pt>
                <c:pt idx="2151">
                  <c:v>7.7439999999999998</c:v>
                </c:pt>
                <c:pt idx="2152">
                  <c:v>7.7430000000000003</c:v>
                </c:pt>
                <c:pt idx="2153">
                  <c:v>7.7430000000000003</c:v>
                </c:pt>
                <c:pt idx="2154">
                  <c:v>7.7430000000000003</c:v>
                </c:pt>
                <c:pt idx="2155">
                  <c:v>7.7430000000000003</c:v>
                </c:pt>
                <c:pt idx="2156">
                  <c:v>7.742</c:v>
                </c:pt>
                <c:pt idx="2157">
                  <c:v>7.7430000000000003</c:v>
                </c:pt>
                <c:pt idx="2158">
                  <c:v>7.7430000000000003</c:v>
                </c:pt>
                <c:pt idx="2159">
                  <c:v>7.742</c:v>
                </c:pt>
                <c:pt idx="2160">
                  <c:v>7.7430000000000003</c:v>
                </c:pt>
                <c:pt idx="2161">
                  <c:v>7.742</c:v>
                </c:pt>
                <c:pt idx="2162">
                  <c:v>7.742</c:v>
                </c:pt>
                <c:pt idx="2163">
                  <c:v>7.742</c:v>
                </c:pt>
                <c:pt idx="2164">
                  <c:v>7.742</c:v>
                </c:pt>
                <c:pt idx="2165">
                  <c:v>7.742</c:v>
                </c:pt>
                <c:pt idx="2166">
                  <c:v>7.7409999999999997</c:v>
                </c:pt>
                <c:pt idx="2167">
                  <c:v>7.7409999999999997</c:v>
                </c:pt>
                <c:pt idx="2168">
                  <c:v>7.7409999999999997</c:v>
                </c:pt>
                <c:pt idx="2169">
                  <c:v>7.7409999999999997</c:v>
                </c:pt>
                <c:pt idx="2170">
                  <c:v>7.74</c:v>
                </c:pt>
                <c:pt idx="2171">
                  <c:v>7.74</c:v>
                </c:pt>
                <c:pt idx="2172">
                  <c:v>7.74</c:v>
                </c:pt>
                <c:pt idx="2173">
                  <c:v>7.7409999999999997</c:v>
                </c:pt>
                <c:pt idx="2174">
                  <c:v>7.74</c:v>
                </c:pt>
                <c:pt idx="2175">
                  <c:v>7.74</c:v>
                </c:pt>
                <c:pt idx="2176">
                  <c:v>7.74</c:v>
                </c:pt>
                <c:pt idx="2177">
                  <c:v>7.74</c:v>
                </c:pt>
                <c:pt idx="2178">
                  <c:v>7.74</c:v>
                </c:pt>
                <c:pt idx="2179">
                  <c:v>7.74</c:v>
                </c:pt>
                <c:pt idx="2180">
                  <c:v>7.7389999999999999</c:v>
                </c:pt>
                <c:pt idx="2181">
                  <c:v>7.7389999999999999</c:v>
                </c:pt>
                <c:pt idx="2182">
                  <c:v>7.7389999999999999</c:v>
                </c:pt>
                <c:pt idx="2183">
                  <c:v>7.7389999999999999</c:v>
                </c:pt>
                <c:pt idx="2184">
                  <c:v>7.7380000000000004</c:v>
                </c:pt>
                <c:pt idx="2185">
                  <c:v>7.7389999999999999</c:v>
                </c:pt>
                <c:pt idx="2186">
                  <c:v>7.7380000000000004</c:v>
                </c:pt>
                <c:pt idx="2187">
                  <c:v>7.7380000000000004</c:v>
                </c:pt>
                <c:pt idx="2188">
                  <c:v>7.7389999999999999</c:v>
                </c:pt>
                <c:pt idx="2189">
                  <c:v>7.7370000000000001</c:v>
                </c:pt>
                <c:pt idx="2190">
                  <c:v>7.7380000000000004</c:v>
                </c:pt>
                <c:pt idx="2191">
                  <c:v>7.7380000000000004</c:v>
                </c:pt>
                <c:pt idx="2192">
                  <c:v>7.7380000000000004</c:v>
                </c:pt>
                <c:pt idx="2193">
                  <c:v>7.7370000000000001</c:v>
                </c:pt>
                <c:pt idx="2194">
                  <c:v>7.7370000000000001</c:v>
                </c:pt>
                <c:pt idx="2195">
                  <c:v>7.7370000000000001</c:v>
                </c:pt>
                <c:pt idx="2196">
                  <c:v>7.7370000000000001</c:v>
                </c:pt>
                <c:pt idx="2197">
                  <c:v>7.7370000000000001</c:v>
                </c:pt>
                <c:pt idx="2198">
                  <c:v>7.7370000000000001</c:v>
                </c:pt>
                <c:pt idx="2199">
                  <c:v>7.7359999999999998</c:v>
                </c:pt>
                <c:pt idx="2200">
                  <c:v>7.7359999999999998</c:v>
                </c:pt>
                <c:pt idx="2201">
                  <c:v>7.7359999999999998</c:v>
                </c:pt>
                <c:pt idx="2202">
                  <c:v>7.7359999999999998</c:v>
                </c:pt>
                <c:pt idx="2203">
                  <c:v>7.7359999999999998</c:v>
                </c:pt>
                <c:pt idx="2204">
                  <c:v>7.7359999999999998</c:v>
                </c:pt>
                <c:pt idx="2205">
                  <c:v>7.7359999999999998</c:v>
                </c:pt>
                <c:pt idx="2206">
                  <c:v>7.7359999999999998</c:v>
                </c:pt>
                <c:pt idx="2207">
                  <c:v>7.7350000000000003</c:v>
                </c:pt>
                <c:pt idx="2208">
                  <c:v>7.7350000000000003</c:v>
                </c:pt>
                <c:pt idx="2209">
                  <c:v>7.7350000000000003</c:v>
                </c:pt>
                <c:pt idx="2210">
                  <c:v>7.7350000000000003</c:v>
                </c:pt>
                <c:pt idx="2211">
                  <c:v>7.734</c:v>
                </c:pt>
                <c:pt idx="2212">
                  <c:v>7.734</c:v>
                </c:pt>
                <c:pt idx="2213">
                  <c:v>7.7350000000000003</c:v>
                </c:pt>
                <c:pt idx="2214">
                  <c:v>7.734</c:v>
                </c:pt>
                <c:pt idx="2215">
                  <c:v>7.734</c:v>
                </c:pt>
                <c:pt idx="2216">
                  <c:v>7.734</c:v>
                </c:pt>
                <c:pt idx="2217">
                  <c:v>7.734</c:v>
                </c:pt>
                <c:pt idx="2218">
                  <c:v>7.734</c:v>
                </c:pt>
                <c:pt idx="2219">
                  <c:v>7.7329999999999997</c:v>
                </c:pt>
                <c:pt idx="2220">
                  <c:v>7.7329999999999997</c:v>
                </c:pt>
                <c:pt idx="2221">
                  <c:v>7.7329999999999997</c:v>
                </c:pt>
                <c:pt idx="2222">
                  <c:v>7.7329999999999997</c:v>
                </c:pt>
                <c:pt idx="2223">
                  <c:v>7.7329999999999997</c:v>
                </c:pt>
                <c:pt idx="2224">
                  <c:v>7.7320000000000002</c:v>
                </c:pt>
                <c:pt idx="2225">
                  <c:v>7.7320000000000002</c:v>
                </c:pt>
                <c:pt idx="2226">
                  <c:v>7.7320000000000002</c:v>
                </c:pt>
                <c:pt idx="2227">
                  <c:v>7.7320000000000002</c:v>
                </c:pt>
                <c:pt idx="2228">
                  <c:v>7.7320000000000002</c:v>
                </c:pt>
                <c:pt idx="2229">
                  <c:v>7.7320000000000002</c:v>
                </c:pt>
                <c:pt idx="2230">
                  <c:v>7.7320000000000002</c:v>
                </c:pt>
                <c:pt idx="2231">
                  <c:v>7.7320000000000002</c:v>
                </c:pt>
                <c:pt idx="2232">
                  <c:v>7.7309999999999999</c:v>
                </c:pt>
                <c:pt idx="2233">
                  <c:v>7.7309999999999999</c:v>
                </c:pt>
                <c:pt idx="2234">
                  <c:v>7.7309999999999999</c:v>
                </c:pt>
                <c:pt idx="2235">
                  <c:v>7.7309999999999999</c:v>
                </c:pt>
                <c:pt idx="2236">
                  <c:v>7.7320000000000002</c:v>
                </c:pt>
                <c:pt idx="2237">
                  <c:v>7.7309999999999999</c:v>
                </c:pt>
                <c:pt idx="2238">
                  <c:v>7.73</c:v>
                </c:pt>
                <c:pt idx="2239">
                  <c:v>7.73</c:v>
                </c:pt>
                <c:pt idx="2240">
                  <c:v>7.73</c:v>
                </c:pt>
                <c:pt idx="2241">
                  <c:v>7.73</c:v>
                </c:pt>
                <c:pt idx="2242">
                  <c:v>7.73</c:v>
                </c:pt>
                <c:pt idx="2243">
                  <c:v>7.7290000000000001</c:v>
                </c:pt>
                <c:pt idx="2244">
                  <c:v>7.7309999999999999</c:v>
                </c:pt>
                <c:pt idx="2245">
                  <c:v>7.73</c:v>
                </c:pt>
                <c:pt idx="2246">
                  <c:v>7.73</c:v>
                </c:pt>
                <c:pt idx="2247">
                  <c:v>7.7290000000000001</c:v>
                </c:pt>
                <c:pt idx="2248">
                  <c:v>7.7290000000000001</c:v>
                </c:pt>
                <c:pt idx="2249">
                  <c:v>7.7279999999999998</c:v>
                </c:pt>
                <c:pt idx="2250">
                  <c:v>7.7290000000000001</c:v>
                </c:pt>
                <c:pt idx="2251">
                  <c:v>7.7290000000000001</c:v>
                </c:pt>
                <c:pt idx="2252">
                  <c:v>7.7290000000000001</c:v>
                </c:pt>
                <c:pt idx="2253">
                  <c:v>7.7290000000000001</c:v>
                </c:pt>
                <c:pt idx="2254">
                  <c:v>7.7279999999999998</c:v>
                </c:pt>
                <c:pt idx="2255">
                  <c:v>7.7279999999999998</c:v>
                </c:pt>
                <c:pt idx="2256">
                  <c:v>7.7279999999999998</c:v>
                </c:pt>
                <c:pt idx="2257">
                  <c:v>7.7279999999999998</c:v>
                </c:pt>
                <c:pt idx="2258">
                  <c:v>7.7279999999999998</c:v>
                </c:pt>
                <c:pt idx="2259">
                  <c:v>7.7270000000000003</c:v>
                </c:pt>
                <c:pt idx="2260">
                  <c:v>7.7270000000000003</c:v>
                </c:pt>
                <c:pt idx="2261">
                  <c:v>7.7279999999999998</c:v>
                </c:pt>
                <c:pt idx="2262">
                  <c:v>7.7270000000000003</c:v>
                </c:pt>
                <c:pt idx="2263">
                  <c:v>7.7270000000000003</c:v>
                </c:pt>
                <c:pt idx="2264">
                  <c:v>7.7270000000000003</c:v>
                </c:pt>
                <c:pt idx="2265">
                  <c:v>7.726</c:v>
                </c:pt>
                <c:pt idx="2266">
                  <c:v>7.726</c:v>
                </c:pt>
                <c:pt idx="2267">
                  <c:v>7.7270000000000003</c:v>
                </c:pt>
                <c:pt idx="2268">
                  <c:v>7.726</c:v>
                </c:pt>
                <c:pt idx="2269">
                  <c:v>7.726</c:v>
                </c:pt>
                <c:pt idx="2270">
                  <c:v>7.726</c:v>
                </c:pt>
                <c:pt idx="2271">
                  <c:v>7.726</c:v>
                </c:pt>
                <c:pt idx="2272">
                  <c:v>7.726</c:v>
                </c:pt>
                <c:pt idx="2273">
                  <c:v>7.7249999999999996</c:v>
                </c:pt>
                <c:pt idx="2274">
                  <c:v>7.7249999999999996</c:v>
                </c:pt>
                <c:pt idx="2275">
                  <c:v>7.7249999999999996</c:v>
                </c:pt>
                <c:pt idx="2276">
                  <c:v>7.726</c:v>
                </c:pt>
                <c:pt idx="2277">
                  <c:v>7.7249999999999996</c:v>
                </c:pt>
                <c:pt idx="2278">
                  <c:v>7.7240000000000002</c:v>
                </c:pt>
                <c:pt idx="2279">
                  <c:v>7.7240000000000002</c:v>
                </c:pt>
                <c:pt idx="2280">
                  <c:v>7.7240000000000002</c:v>
                </c:pt>
                <c:pt idx="2281">
                  <c:v>7.7240000000000002</c:v>
                </c:pt>
                <c:pt idx="2282">
                  <c:v>7.7240000000000002</c:v>
                </c:pt>
                <c:pt idx="2283">
                  <c:v>7.7240000000000002</c:v>
                </c:pt>
                <c:pt idx="2284">
                  <c:v>7.7240000000000002</c:v>
                </c:pt>
                <c:pt idx="2285">
                  <c:v>7.7229999999999999</c:v>
                </c:pt>
                <c:pt idx="2286">
                  <c:v>7.7240000000000002</c:v>
                </c:pt>
                <c:pt idx="2287">
                  <c:v>7.7229999999999999</c:v>
                </c:pt>
                <c:pt idx="2288">
                  <c:v>7.7229999999999999</c:v>
                </c:pt>
                <c:pt idx="2289">
                  <c:v>7.7229999999999999</c:v>
                </c:pt>
                <c:pt idx="2290">
                  <c:v>7.7229999999999999</c:v>
                </c:pt>
                <c:pt idx="2291">
                  <c:v>7.7229999999999999</c:v>
                </c:pt>
                <c:pt idx="2292">
                  <c:v>7.7220000000000004</c:v>
                </c:pt>
                <c:pt idx="2293">
                  <c:v>7.7229999999999999</c:v>
                </c:pt>
                <c:pt idx="2294">
                  <c:v>7.7220000000000004</c:v>
                </c:pt>
                <c:pt idx="2295">
                  <c:v>7.7220000000000004</c:v>
                </c:pt>
                <c:pt idx="2296">
                  <c:v>7.7220000000000004</c:v>
                </c:pt>
                <c:pt idx="2297">
                  <c:v>7.7220000000000004</c:v>
                </c:pt>
                <c:pt idx="2298">
                  <c:v>7.7220000000000004</c:v>
                </c:pt>
                <c:pt idx="2299">
                  <c:v>7.7220000000000004</c:v>
                </c:pt>
                <c:pt idx="2300">
                  <c:v>7.7210000000000001</c:v>
                </c:pt>
                <c:pt idx="2301">
                  <c:v>7.7220000000000004</c:v>
                </c:pt>
                <c:pt idx="2302">
                  <c:v>7.7210000000000001</c:v>
                </c:pt>
                <c:pt idx="2303">
                  <c:v>7.7220000000000004</c:v>
                </c:pt>
                <c:pt idx="2304">
                  <c:v>7.7210000000000001</c:v>
                </c:pt>
                <c:pt idx="2305">
                  <c:v>7.7210000000000001</c:v>
                </c:pt>
                <c:pt idx="2306">
                  <c:v>7.7210000000000001</c:v>
                </c:pt>
                <c:pt idx="2307">
                  <c:v>7.72</c:v>
                </c:pt>
                <c:pt idx="2308">
                  <c:v>7.72</c:v>
                </c:pt>
                <c:pt idx="2309">
                  <c:v>7.72</c:v>
                </c:pt>
                <c:pt idx="2310">
                  <c:v>7.72</c:v>
                </c:pt>
                <c:pt idx="2311">
                  <c:v>7.72</c:v>
                </c:pt>
                <c:pt idx="2312">
                  <c:v>7.72</c:v>
                </c:pt>
                <c:pt idx="2313">
                  <c:v>7.72</c:v>
                </c:pt>
                <c:pt idx="2314">
                  <c:v>7.7190000000000003</c:v>
                </c:pt>
                <c:pt idx="2315">
                  <c:v>7.7190000000000003</c:v>
                </c:pt>
                <c:pt idx="2316">
                  <c:v>7.7190000000000003</c:v>
                </c:pt>
                <c:pt idx="2317">
                  <c:v>7.7190000000000003</c:v>
                </c:pt>
                <c:pt idx="2318">
                  <c:v>7.7190000000000003</c:v>
                </c:pt>
                <c:pt idx="2319">
                  <c:v>7.718</c:v>
                </c:pt>
                <c:pt idx="2320">
                  <c:v>7.7190000000000003</c:v>
                </c:pt>
                <c:pt idx="2321">
                  <c:v>7.7190000000000003</c:v>
                </c:pt>
                <c:pt idx="2322">
                  <c:v>7.7190000000000003</c:v>
                </c:pt>
                <c:pt idx="2323">
                  <c:v>7.718</c:v>
                </c:pt>
                <c:pt idx="2324">
                  <c:v>7.718</c:v>
                </c:pt>
                <c:pt idx="2325">
                  <c:v>7.7169999999999996</c:v>
                </c:pt>
                <c:pt idx="2326">
                  <c:v>7.718</c:v>
                </c:pt>
                <c:pt idx="2327">
                  <c:v>7.7169999999999996</c:v>
                </c:pt>
                <c:pt idx="2328">
                  <c:v>7.718</c:v>
                </c:pt>
                <c:pt idx="2329">
                  <c:v>7.718</c:v>
                </c:pt>
                <c:pt idx="2330">
                  <c:v>7.7169999999999996</c:v>
                </c:pt>
                <c:pt idx="2331">
                  <c:v>7.7169999999999996</c:v>
                </c:pt>
                <c:pt idx="2332">
                  <c:v>7.7169999999999996</c:v>
                </c:pt>
                <c:pt idx="2333">
                  <c:v>7.7169999999999996</c:v>
                </c:pt>
                <c:pt idx="2334">
                  <c:v>7.7169999999999996</c:v>
                </c:pt>
                <c:pt idx="2335">
                  <c:v>7.7160000000000002</c:v>
                </c:pt>
                <c:pt idx="2336">
                  <c:v>7.7169999999999996</c:v>
                </c:pt>
                <c:pt idx="2337">
                  <c:v>7.7160000000000002</c:v>
                </c:pt>
                <c:pt idx="2338">
                  <c:v>7.7169999999999996</c:v>
                </c:pt>
                <c:pt idx="2339">
                  <c:v>7.7160000000000002</c:v>
                </c:pt>
                <c:pt idx="2340">
                  <c:v>7.7149999999999999</c:v>
                </c:pt>
                <c:pt idx="2341">
                  <c:v>7.7149999999999999</c:v>
                </c:pt>
                <c:pt idx="2342">
                  <c:v>7.7149999999999999</c:v>
                </c:pt>
                <c:pt idx="2343">
                  <c:v>7.7160000000000002</c:v>
                </c:pt>
                <c:pt idx="2344">
                  <c:v>7.7149999999999999</c:v>
                </c:pt>
                <c:pt idx="2345">
                  <c:v>7.7149999999999999</c:v>
                </c:pt>
                <c:pt idx="2346">
                  <c:v>7.7149999999999999</c:v>
                </c:pt>
                <c:pt idx="2347">
                  <c:v>7.7149999999999999</c:v>
                </c:pt>
                <c:pt idx="2348">
                  <c:v>7.7149999999999999</c:v>
                </c:pt>
                <c:pt idx="2349">
                  <c:v>7.7140000000000004</c:v>
                </c:pt>
                <c:pt idx="2350">
                  <c:v>7.7140000000000004</c:v>
                </c:pt>
                <c:pt idx="2351">
                  <c:v>7.7140000000000004</c:v>
                </c:pt>
                <c:pt idx="2352">
                  <c:v>7.7140000000000004</c:v>
                </c:pt>
                <c:pt idx="2353">
                  <c:v>7.7140000000000004</c:v>
                </c:pt>
                <c:pt idx="2354">
                  <c:v>7.7140000000000004</c:v>
                </c:pt>
                <c:pt idx="2355">
                  <c:v>7.7140000000000004</c:v>
                </c:pt>
                <c:pt idx="2356">
                  <c:v>7.7130000000000001</c:v>
                </c:pt>
                <c:pt idx="2357">
                  <c:v>7.7130000000000001</c:v>
                </c:pt>
                <c:pt idx="2358">
                  <c:v>7.7130000000000001</c:v>
                </c:pt>
                <c:pt idx="2359">
                  <c:v>7.7140000000000004</c:v>
                </c:pt>
                <c:pt idx="2360">
                  <c:v>7.7130000000000001</c:v>
                </c:pt>
                <c:pt idx="2361">
                  <c:v>7.7130000000000001</c:v>
                </c:pt>
                <c:pt idx="2362">
                  <c:v>7.7119999999999997</c:v>
                </c:pt>
                <c:pt idx="2363">
                  <c:v>7.7119999999999997</c:v>
                </c:pt>
                <c:pt idx="2364">
                  <c:v>7.7119999999999997</c:v>
                </c:pt>
                <c:pt idx="2365">
                  <c:v>7.7119999999999997</c:v>
                </c:pt>
                <c:pt idx="2366">
                  <c:v>7.7119999999999997</c:v>
                </c:pt>
                <c:pt idx="2367">
                  <c:v>7.7119999999999997</c:v>
                </c:pt>
                <c:pt idx="2368">
                  <c:v>7.7119999999999997</c:v>
                </c:pt>
                <c:pt idx="2369">
                  <c:v>7.7119999999999997</c:v>
                </c:pt>
                <c:pt idx="2370">
                  <c:v>7.7119999999999997</c:v>
                </c:pt>
                <c:pt idx="2371">
                  <c:v>7.7119999999999997</c:v>
                </c:pt>
                <c:pt idx="2372">
                  <c:v>7.7110000000000003</c:v>
                </c:pt>
                <c:pt idx="2373">
                  <c:v>7.7110000000000003</c:v>
                </c:pt>
                <c:pt idx="2374">
                  <c:v>7.7110000000000003</c:v>
                </c:pt>
                <c:pt idx="2375">
                  <c:v>7.7110000000000003</c:v>
                </c:pt>
                <c:pt idx="2376">
                  <c:v>7.7110000000000003</c:v>
                </c:pt>
                <c:pt idx="2377">
                  <c:v>7.7110000000000003</c:v>
                </c:pt>
                <c:pt idx="2378">
                  <c:v>7.71</c:v>
                </c:pt>
                <c:pt idx="2379">
                  <c:v>7.7110000000000003</c:v>
                </c:pt>
                <c:pt idx="2380">
                  <c:v>7.7110000000000003</c:v>
                </c:pt>
                <c:pt idx="2381">
                  <c:v>7.7089999999999996</c:v>
                </c:pt>
                <c:pt idx="2382">
                  <c:v>7.71</c:v>
                </c:pt>
                <c:pt idx="2383">
                  <c:v>7.71</c:v>
                </c:pt>
                <c:pt idx="2384">
                  <c:v>7.71</c:v>
                </c:pt>
                <c:pt idx="2385">
                  <c:v>7.7089999999999996</c:v>
                </c:pt>
                <c:pt idx="2386">
                  <c:v>7.7089999999999996</c:v>
                </c:pt>
                <c:pt idx="2387">
                  <c:v>7.7089999999999996</c:v>
                </c:pt>
                <c:pt idx="2388">
                  <c:v>7.7089999999999996</c:v>
                </c:pt>
                <c:pt idx="2389">
                  <c:v>7.7089999999999996</c:v>
                </c:pt>
                <c:pt idx="2390">
                  <c:v>7.7089999999999996</c:v>
                </c:pt>
                <c:pt idx="2391">
                  <c:v>7.7089999999999996</c:v>
                </c:pt>
                <c:pt idx="2392">
                  <c:v>7.7089999999999996</c:v>
                </c:pt>
                <c:pt idx="2393">
                  <c:v>7.7080000000000002</c:v>
                </c:pt>
                <c:pt idx="2394">
                  <c:v>7.7089999999999996</c:v>
                </c:pt>
                <c:pt idx="2395">
                  <c:v>7.7080000000000002</c:v>
                </c:pt>
                <c:pt idx="2396">
                  <c:v>7.7080000000000002</c:v>
                </c:pt>
                <c:pt idx="2397">
                  <c:v>7.7080000000000002</c:v>
                </c:pt>
                <c:pt idx="2398">
                  <c:v>7.7069999999999999</c:v>
                </c:pt>
                <c:pt idx="2399">
                  <c:v>7.7069999999999999</c:v>
                </c:pt>
                <c:pt idx="2400">
                  <c:v>7.7080000000000002</c:v>
                </c:pt>
                <c:pt idx="2401">
                  <c:v>7.7069999999999999</c:v>
                </c:pt>
                <c:pt idx="2402">
                  <c:v>7.7069999999999999</c:v>
                </c:pt>
                <c:pt idx="2403">
                  <c:v>7.7069999999999999</c:v>
                </c:pt>
                <c:pt idx="2404">
                  <c:v>7.7069999999999999</c:v>
                </c:pt>
                <c:pt idx="2405">
                  <c:v>7.7060000000000004</c:v>
                </c:pt>
                <c:pt idx="2406">
                  <c:v>7.7060000000000004</c:v>
                </c:pt>
                <c:pt idx="2407">
                  <c:v>7.7060000000000004</c:v>
                </c:pt>
                <c:pt idx="2408">
                  <c:v>7.7060000000000004</c:v>
                </c:pt>
                <c:pt idx="2409">
                  <c:v>7.7060000000000004</c:v>
                </c:pt>
                <c:pt idx="2410">
                  <c:v>7.7060000000000004</c:v>
                </c:pt>
                <c:pt idx="2411">
                  <c:v>7.7060000000000004</c:v>
                </c:pt>
                <c:pt idx="2412">
                  <c:v>7.7060000000000004</c:v>
                </c:pt>
                <c:pt idx="2413">
                  <c:v>7.7060000000000004</c:v>
                </c:pt>
                <c:pt idx="2414">
                  <c:v>7.7050000000000001</c:v>
                </c:pt>
                <c:pt idx="2415">
                  <c:v>7.7050000000000001</c:v>
                </c:pt>
                <c:pt idx="2416">
                  <c:v>7.7050000000000001</c:v>
                </c:pt>
                <c:pt idx="2417">
                  <c:v>7.7050000000000001</c:v>
                </c:pt>
                <c:pt idx="2418">
                  <c:v>7.7050000000000001</c:v>
                </c:pt>
                <c:pt idx="2419">
                  <c:v>7.7039999999999997</c:v>
                </c:pt>
                <c:pt idx="2420">
                  <c:v>7.7039999999999997</c:v>
                </c:pt>
                <c:pt idx="2421">
                  <c:v>7.7039999999999997</c:v>
                </c:pt>
                <c:pt idx="2422">
                  <c:v>7.7039999999999997</c:v>
                </c:pt>
                <c:pt idx="2423">
                  <c:v>7.7039999999999997</c:v>
                </c:pt>
                <c:pt idx="2424">
                  <c:v>7.7050000000000001</c:v>
                </c:pt>
                <c:pt idx="2425">
                  <c:v>7.7039999999999997</c:v>
                </c:pt>
                <c:pt idx="2426">
                  <c:v>7.7039999999999997</c:v>
                </c:pt>
                <c:pt idx="2427">
                  <c:v>7.7039999999999997</c:v>
                </c:pt>
                <c:pt idx="2428">
                  <c:v>7.7039999999999997</c:v>
                </c:pt>
                <c:pt idx="2429">
                  <c:v>7.7039999999999997</c:v>
                </c:pt>
                <c:pt idx="2430">
                  <c:v>7.7039999999999997</c:v>
                </c:pt>
                <c:pt idx="2431">
                  <c:v>7.7039999999999997</c:v>
                </c:pt>
                <c:pt idx="2432">
                  <c:v>7.7030000000000003</c:v>
                </c:pt>
                <c:pt idx="2433">
                  <c:v>7.7030000000000003</c:v>
                </c:pt>
                <c:pt idx="2434">
                  <c:v>7.7030000000000003</c:v>
                </c:pt>
                <c:pt idx="2435">
                  <c:v>7.702</c:v>
                </c:pt>
                <c:pt idx="2436">
                  <c:v>7.702</c:v>
                </c:pt>
                <c:pt idx="2437">
                  <c:v>7.7030000000000003</c:v>
                </c:pt>
                <c:pt idx="2438">
                  <c:v>7.702</c:v>
                </c:pt>
                <c:pt idx="2439">
                  <c:v>7.702</c:v>
                </c:pt>
                <c:pt idx="2440">
                  <c:v>7.7009999999999996</c:v>
                </c:pt>
                <c:pt idx="2441">
                  <c:v>7.702</c:v>
                </c:pt>
                <c:pt idx="2442">
                  <c:v>7.702</c:v>
                </c:pt>
                <c:pt idx="2443">
                  <c:v>7.7009999999999996</c:v>
                </c:pt>
                <c:pt idx="2444">
                  <c:v>7.7009999999999996</c:v>
                </c:pt>
                <c:pt idx="2445">
                  <c:v>7.702</c:v>
                </c:pt>
                <c:pt idx="2446">
                  <c:v>7.7009999999999996</c:v>
                </c:pt>
                <c:pt idx="2447">
                  <c:v>7.702</c:v>
                </c:pt>
                <c:pt idx="2448">
                  <c:v>7.7</c:v>
                </c:pt>
                <c:pt idx="2449">
                  <c:v>7.7009999999999996</c:v>
                </c:pt>
                <c:pt idx="2450">
                  <c:v>7.7009999999999996</c:v>
                </c:pt>
                <c:pt idx="2451">
                  <c:v>7.7</c:v>
                </c:pt>
                <c:pt idx="2452">
                  <c:v>7.7</c:v>
                </c:pt>
                <c:pt idx="2453">
                  <c:v>7.7</c:v>
                </c:pt>
                <c:pt idx="2454">
                  <c:v>7.7</c:v>
                </c:pt>
                <c:pt idx="2455">
                  <c:v>7.7</c:v>
                </c:pt>
                <c:pt idx="2456">
                  <c:v>7.6989999999999998</c:v>
                </c:pt>
                <c:pt idx="2457">
                  <c:v>7.6989999999999998</c:v>
                </c:pt>
                <c:pt idx="2458">
                  <c:v>7.6980000000000004</c:v>
                </c:pt>
                <c:pt idx="2459">
                  <c:v>7.6989999999999998</c:v>
                </c:pt>
                <c:pt idx="2460">
                  <c:v>7.6989999999999998</c:v>
                </c:pt>
                <c:pt idx="2461">
                  <c:v>7.6989999999999998</c:v>
                </c:pt>
                <c:pt idx="2462">
                  <c:v>7.6989999999999998</c:v>
                </c:pt>
                <c:pt idx="2463">
                  <c:v>7.6989999999999998</c:v>
                </c:pt>
                <c:pt idx="2464">
                  <c:v>7.6980000000000004</c:v>
                </c:pt>
                <c:pt idx="2465">
                  <c:v>7.6980000000000004</c:v>
                </c:pt>
                <c:pt idx="2466">
                  <c:v>7.6980000000000004</c:v>
                </c:pt>
                <c:pt idx="2467">
                  <c:v>7.6980000000000004</c:v>
                </c:pt>
                <c:pt idx="2468">
                  <c:v>7.6980000000000004</c:v>
                </c:pt>
                <c:pt idx="2469">
                  <c:v>7.6970000000000001</c:v>
                </c:pt>
                <c:pt idx="2470">
                  <c:v>7.6970000000000001</c:v>
                </c:pt>
                <c:pt idx="2471">
                  <c:v>7.6980000000000004</c:v>
                </c:pt>
                <c:pt idx="2472">
                  <c:v>7.6970000000000001</c:v>
                </c:pt>
                <c:pt idx="2473">
                  <c:v>7.6970000000000001</c:v>
                </c:pt>
                <c:pt idx="2474">
                  <c:v>7.6970000000000001</c:v>
                </c:pt>
                <c:pt idx="2475">
                  <c:v>7.6970000000000001</c:v>
                </c:pt>
                <c:pt idx="2476">
                  <c:v>7.6970000000000001</c:v>
                </c:pt>
                <c:pt idx="2477">
                  <c:v>7.6970000000000001</c:v>
                </c:pt>
                <c:pt idx="2478">
                  <c:v>7.6970000000000001</c:v>
                </c:pt>
                <c:pt idx="2479">
                  <c:v>7.6959999999999997</c:v>
                </c:pt>
                <c:pt idx="2480">
                  <c:v>7.6959999999999997</c:v>
                </c:pt>
                <c:pt idx="2481">
                  <c:v>7.6959999999999997</c:v>
                </c:pt>
                <c:pt idx="2482">
                  <c:v>7.6959999999999997</c:v>
                </c:pt>
                <c:pt idx="2483">
                  <c:v>7.6959999999999997</c:v>
                </c:pt>
                <c:pt idx="2484">
                  <c:v>7.6950000000000003</c:v>
                </c:pt>
                <c:pt idx="2485">
                  <c:v>7.6950000000000003</c:v>
                </c:pt>
                <c:pt idx="2486">
                  <c:v>7.6959999999999997</c:v>
                </c:pt>
                <c:pt idx="2487">
                  <c:v>7.6950000000000003</c:v>
                </c:pt>
                <c:pt idx="2488">
                  <c:v>7.6950000000000003</c:v>
                </c:pt>
                <c:pt idx="2489">
                  <c:v>7.6959999999999997</c:v>
                </c:pt>
                <c:pt idx="2490">
                  <c:v>7.6950000000000003</c:v>
                </c:pt>
                <c:pt idx="2491">
                  <c:v>7.694</c:v>
                </c:pt>
                <c:pt idx="2492">
                  <c:v>7.694</c:v>
                </c:pt>
                <c:pt idx="2493">
                  <c:v>7.6950000000000003</c:v>
                </c:pt>
                <c:pt idx="2494">
                  <c:v>7.694</c:v>
                </c:pt>
                <c:pt idx="2495">
                  <c:v>7.6950000000000003</c:v>
                </c:pt>
                <c:pt idx="2496">
                  <c:v>7.694</c:v>
                </c:pt>
                <c:pt idx="2497">
                  <c:v>7.694</c:v>
                </c:pt>
                <c:pt idx="2498">
                  <c:v>7.694</c:v>
                </c:pt>
                <c:pt idx="2499">
                  <c:v>7.694</c:v>
                </c:pt>
                <c:pt idx="2500">
                  <c:v>7.6929999999999996</c:v>
                </c:pt>
                <c:pt idx="2501">
                  <c:v>7.694</c:v>
                </c:pt>
                <c:pt idx="2502">
                  <c:v>7.6929999999999996</c:v>
                </c:pt>
                <c:pt idx="2503">
                  <c:v>7.6929999999999996</c:v>
                </c:pt>
                <c:pt idx="2504">
                  <c:v>7.6929999999999996</c:v>
                </c:pt>
                <c:pt idx="2505">
                  <c:v>7.6929999999999996</c:v>
                </c:pt>
                <c:pt idx="2506">
                  <c:v>7.6929999999999996</c:v>
                </c:pt>
                <c:pt idx="2507">
                  <c:v>7.6929999999999996</c:v>
                </c:pt>
                <c:pt idx="2508">
                  <c:v>7.6929999999999996</c:v>
                </c:pt>
                <c:pt idx="2509">
                  <c:v>7.6920000000000002</c:v>
                </c:pt>
                <c:pt idx="2510">
                  <c:v>7.6920000000000002</c:v>
                </c:pt>
                <c:pt idx="2511">
                  <c:v>7.6920000000000002</c:v>
                </c:pt>
                <c:pt idx="2512">
                  <c:v>7.6920000000000002</c:v>
                </c:pt>
                <c:pt idx="2513">
                  <c:v>7.6920000000000002</c:v>
                </c:pt>
                <c:pt idx="2514">
                  <c:v>7.6920000000000002</c:v>
                </c:pt>
                <c:pt idx="2515">
                  <c:v>7.6920000000000002</c:v>
                </c:pt>
                <c:pt idx="2516">
                  <c:v>7.6920000000000002</c:v>
                </c:pt>
                <c:pt idx="2517">
                  <c:v>7.6909999999999998</c:v>
                </c:pt>
                <c:pt idx="2518">
                  <c:v>7.6909999999999998</c:v>
                </c:pt>
                <c:pt idx="2519">
                  <c:v>7.6909999999999998</c:v>
                </c:pt>
                <c:pt idx="2520">
                  <c:v>7.6909999999999998</c:v>
                </c:pt>
                <c:pt idx="2521">
                  <c:v>7.6909999999999998</c:v>
                </c:pt>
                <c:pt idx="2522">
                  <c:v>7.6909999999999998</c:v>
                </c:pt>
                <c:pt idx="2523">
                  <c:v>7.69</c:v>
                </c:pt>
                <c:pt idx="2524">
                  <c:v>7.69</c:v>
                </c:pt>
                <c:pt idx="2525">
                  <c:v>7.69</c:v>
                </c:pt>
                <c:pt idx="2526">
                  <c:v>7.69</c:v>
                </c:pt>
                <c:pt idx="2527">
                  <c:v>7.69</c:v>
                </c:pt>
                <c:pt idx="2528">
                  <c:v>7.69</c:v>
                </c:pt>
                <c:pt idx="2529">
                  <c:v>7.69</c:v>
                </c:pt>
                <c:pt idx="2530">
                  <c:v>7.69</c:v>
                </c:pt>
                <c:pt idx="2531">
                  <c:v>7.6890000000000001</c:v>
                </c:pt>
                <c:pt idx="2532">
                  <c:v>7.6890000000000001</c:v>
                </c:pt>
                <c:pt idx="2533">
                  <c:v>7.6890000000000001</c:v>
                </c:pt>
                <c:pt idx="2534">
                  <c:v>7.6890000000000001</c:v>
                </c:pt>
                <c:pt idx="2535">
                  <c:v>7.6890000000000001</c:v>
                </c:pt>
                <c:pt idx="2536">
                  <c:v>7.6879999999999997</c:v>
                </c:pt>
                <c:pt idx="2537">
                  <c:v>7.6890000000000001</c:v>
                </c:pt>
                <c:pt idx="2538">
                  <c:v>7.6879999999999997</c:v>
                </c:pt>
                <c:pt idx="2539">
                  <c:v>7.6890000000000001</c:v>
                </c:pt>
                <c:pt idx="2540">
                  <c:v>7.6879999999999997</c:v>
                </c:pt>
                <c:pt idx="2541">
                  <c:v>7.6879999999999997</c:v>
                </c:pt>
                <c:pt idx="2542">
                  <c:v>7.6879999999999997</c:v>
                </c:pt>
                <c:pt idx="2543">
                  <c:v>7.6870000000000003</c:v>
                </c:pt>
                <c:pt idx="2544">
                  <c:v>7.6879999999999997</c:v>
                </c:pt>
                <c:pt idx="2545">
                  <c:v>7.6879999999999997</c:v>
                </c:pt>
                <c:pt idx="2546">
                  <c:v>7.6879999999999997</c:v>
                </c:pt>
                <c:pt idx="2547">
                  <c:v>7.6870000000000003</c:v>
                </c:pt>
                <c:pt idx="2548">
                  <c:v>7.6870000000000003</c:v>
                </c:pt>
                <c:pt idx="2549">
                  <c:v>7.6870000000000003</c:v>
                </c:pt>
                <c:pt idx="2550">
                  <c:v>7.6870000000000003</c:v>
                </c:pt>
                <c:pt idx="2551">
                  <c:v>7.6870000000000003</c:v>
                </c:pt>
                <c:pt idx="2552">
                  <c:v>7.6870000000000003</c:v>
                </c:pt>
                <c:pt idx="2553">
                  <c:v>7.6870000000000003</c:v>
                </c:pt>
                <c:pt idx="2554">
                  <c:v>7.6859999999999999</c:v>
                </c:pt>
                <c:pt idx="2555">
                  <c:v>7.6859999999999999</c:v>
                </c:pt>
                <c:pt idx="2556">
                  <c:v>7.6870000000000003</c:v>
                </c:pt>
                <c:pt idx="2557">
                  <c:v>7.6870000000000003</c:v>
                </c:pt>
                <c:pt idx="2558">
                  <c:v>7.6859999999999999</c:v>
                </c:pt>
                <c:pt idx="2559">
                  <c:v>7.6859999999999999</c:v>
                </c:pt>
                <c:pt idx="2560">
                  <c:v>7.6849999999999996</c:v>
                </c:pt>
                <c:pt idx="2561">
                  <c:v>7.6859999999999999</c:v>
                </c:pt>
                <c:pt idx="2562">
                  <c:v>7.6859999999999999</c:v>
                </c:pt>
                <c:pt idx="2563">
                  <c:v>7.6849999999999996</c:v>
                </c:pt>
                <c:pt idx="2564">
                  <c:v>7.6849999999999996</c:v>
                </c:pt>
                <c:pt idx="2565">
                  <c:v>7.6849999999999996</c:v>
                </c:pt>
                <c:pt idx="2566">
                  <c:v>7.6849999999999996</c:v>
                </c:pt>
                <c:pt idx="2567">
                  <c:v>7.6840000000000002</c:v>
                </c:pt>
                <c:pt idx="2568">
                  <c:v>7.6840000000000002</c:v>
                </c:pt>
                <c:pt idx="2569">
                  <c:v>7.6849999999999996</c:v>
                </c:pt>
                <c:pt idx="2570">
                  <c:v>7.6840000000000002</c:v>
                </c:pt>
                <c:pt idx="2571">
                  <c:v>7.6840000000000002</c:v>
                </c:pt>
                <c:pt idx="2572">
                  <c:v>7.6840000000000002</c:v>
                </c:pt>
                <c:pt idx="2573">
                  <c:v>7.6840000000000002</c:v>
                </c:pt>
                <c:pt idx="2574">
                  <c:v>7.6840000000000002</c:v>
                </c:pt>
                <c:pt idx="2575">
                  <c:v>7.6840000000000002</c:v>
                </c:pt>
                <c:pt idx="2576">
                  <c:v>7.6840000000000002</c:v>
                </c:pt>
                <c:pt idx="2577">
                  <c:v>7.6840000000000002</c:v>
                </c:pt>
                <c:pt idx="2578">
                  <c:v>7.6829999999999998</c:v>
                </c:pt>
                <c:pt idx="2579">
                  <c:v>7.6829999999999998</c:v>
                </c:pt>
                <c:pt idx="2580">
                  <c:v>7.6820000000000004</c:v>
                </c:pt>
                <c:pt idx="2581">
                  <c:v>7.6820000000000004</c:v>
                </c:pt>
                <c:pt idx="2582">
                  <c:v>7.6829999999999998</c:v>
                </c:pt>
                <c:pt idx="2583">
                  <c:v>7.6820000000000004</c:v>
                </c:pt>
                <c:pt idx="2584">
                  <c:v>7.6820000000000004</c:v>
                </c:pt>
                <c:pt idx="2585">
                  <c:v>7.6829999999999998</c:v>
                </c:pt>
                <c:pt idx="2586">
                  <c:v>7.6820000000000004</c:v>
                </c:pt>
                <c:pt idx="2587">
                  <c:v>7.6820000000000004</c:v>
                </c:pt>
                <c:pt idx="2588">
                  <c:v>7.681</c:v>
                </c:pt>
                <c:pt idx="2589">
                  <c:v>7.6820000000000004</c:v>
                </c:pt>
                <c:pt idx="2590">
                  <c:v>7.6820000000000004</c:v>
                </c:pt>
                <c:pt idx="2591">
                  <c:v>7.681</c:v>
                </c:pt>
                <c:pt idx="2592">
                  <c:v>7.681</c:v>
                </c:pt>
                <c:pt idx="2593">
                  <c:v>7.6820000000000004</c:v>
                </c:pt>
                <c:pt idx="2594">
                  <c:v>7.681</c:v>
                </c:pt>
                <c:pt idx="2595">
                  <c:v>7.681</c:v>
                </c:pt>
                <c:pt idx="2596">
                  <c:v>7.681</c:v>
                </c:pt>
                <c:pt idx="2597">
                  <c:v>7.681</c:v>
                </c:pt>
                <c:pt idx="2598">
                  <c:v>7.681</c:v>
                </c:pt>
                <c:pt idx="2599">
                  <c:v>7.68</c:v>
                </c:pt>
                <c:pt idx="2600">
                  <c:v>7.68</c:v>
                </c:pt>
                <c:pt idx="2601">
                  <c:v>7.681</c:v>
                </c:pt>
                <c:pt idx="2602">
                  <c:v>7.68</c:v>
                </c:pt>
                <c:pt idx="2603">
                  <c:v>7.68</c:v>
                </c:pt>
                <c:pt idx="2604">
                  <c:v>7.6790000000000003</c:v>
                </c:pt>
                <c:pt idx="2605">
                  <c:v>7.68</c:v>
                </c:pt>
                <c:pt idx="2606">
                  <c:v>7.6790000000000003</c:v>
                </c:pt>
                <c:pt idx="2607">
                  <c:v>7.68</c:v>
                </c:pt>
                <c:pt idx="2608">
                  <c:v>7.6790000000000003</c:v>
                </c:pt>
                <c:pt idx="2609">
                  <c:v>7.6790000000000003</c:v>
                </c:pt>
                <c:pt idx="2610">
                  <c:v>7.6790000000000003</c:v>
                </c:pt>
                <c:pt idx="2611">
                  <c:v>7.6779999999999999</c:v>
                </c:pt>
                <c:pt idx="2612">
                  <c:v>7.6779999999999999</c:v>
                </c:pt>
                <c:pt idx="2613">
                  <c:v>7.6790000000000003</c:v>
                </c:pt>
                <c:pt idx="2614">
                  <c:v>7.6779999999999999</c:v>
                </c:pt>
                <c:pt idx="2615">
                  <c:v>7.6779999999999999</c:v>
                </c:pt>
                <c:pt idx="2616">
                  <c:v>7.6779999999999999</c:v>
                </c:pt>
                <c:pt idx="2617">
                  <c:v>7.6779999999999999</c:v>
                </c:pt>
                <c:pt idx="2618">
                  <c:v>7.6790000000000003</c:v>
                </c:pt>
                <c:pt idx="2619">
                  <c:v>7.6769999999999996</c:v>
                </c:pt>
                <c:pt idx="2620">
                  <c:v>7.6779999999999999</c:v>
                </c:pt>
                <c:pt idx="2621">
                  <c:v>7.6769999999999996</c:v>
                </c:pt>
                <c:pt idx="2622">
                  <c:v>7.6769999999999996</c:v>
                </c:pt>
                <c:pt idx="2623">
                  <c:v>7.6769999999999996</c:v>
                </c:pt>
                <c:pt idx="2624">
                  <c:v>7.6769999999999996</c:v>
                </c:pt>
                <c:pt idx="2625">
                  <c:v>7.6769999999999996</c:v>
                </c:pt>
                <c:pt idx="2626">
                  <c:v>7.6760000000000002</c:v>
                </c:pt>
                <c:pt idx="2627">
                  <c:v>7.6769999999999996</c:v>
                </c:pt>
                <c:pt idx="2628">
                  <c:v>7.6769999999999996</c:v>
                </c:pt>
                <c:pt idx="2629">
                  <c:v>7.6760000000000002</c:v>
                </c:pt>
                <c:pt idx="2630">
                  <c:v>7.6769999999999996</c:v>
                </c:pt>
                <c:pt idx="2631">
                  <c:v>7.6760000000000002</c:v>
                </c:pt>
                <c:pt idx="2632">
                  <c:v>7.6760000000000002</c:v>
                </c:pt>
                <c:pt idx="2633">
                  <c:v>7.6760000000000002</c:v>
                </c:pt>
                <c:pt idx="2634">
                  <c:v>7.6769999999999996</c:v>
                </c:pt>
                <c:pt idx="2635">
                  <c:v>7.6749999999999998</c:v>
                </c:pt>
                <c:pt idx="2636">
                  <c:v>7.6760000000000002</c:v>
                </c:pt>
                <c:pt idx="2637">
                  <c:v>7.6760000000000002</c:v>
                </c:pt>
                <c:pt idx="2638">
                  <c:v>7.6749999999999998</c:v>
                </c:pt>
                <c:pt idx="2639">
                  <c:v>7.6749999999999998</c:v>
                </c:pt>
                <c:pt idx="2640">
                  <c:v>7.6749999999999998</c:v>
                </c:pt>
                <c:pt idx="2641">
                  <c:v>7.6749999999999998</c:v>
                </c:pt>
                <c:pt idx="2642">
                  <c:v>7.6740000000000004</c:v>
                </c:pt>
                <c:pt idx="2643">
                  <c:v>7.6749999999999998</c:v>
                </c:pt>
                <c:pt idx="2644">
                  <c:v>7.6740000000000004</c:v>
                </c:pt>
                <c:pt idx="2645">
                  <c:v>7.6740000000000004</c:v>
                </c:pt>
                <c:pt idx="2646">
                  <c:v>7.6740000000000004</c:v>
                </c:pt>
                <c:pt idx="2647">
                  <c:v>7.6740000000000004</c:v>
                </c:pt>
                <c:pt idx="2648">
                  <c:v>7.6740000000000004</c:v>
                </c:pt>
                <c:pt idx="2649">
                  <c:v>7.6740000000000004</c:v>
                </c:pt>
                <c:pt idx="2650">
                  <c:v>7.6740000000000004</c:v>
                </c:pt>
                <c:pt idx="2651">
                  <c:v>7.6740000000000004</c:v>
                </c:pt>
                <c:pt idx="2652">
                  <c:v>7.673</c:v>
                </c:pt>
                <c:pt idx="2653">
                  <c:v>7.673</c:v>
                </c:pt>
                <c:pt idx="2654">
                  <c:v>7.6740000000000004</c:v>
                </c:pt>
                <c:pt idx="2655">
                  <c:v>7.673</c:v>
                </c:pt>
                <c:pt idx="2656">
                  <c:v>7.673</c:v>
                </c:pt>
                <c:pt idx="2657">
                  <c:v>7.673</c:v>
                </c:pt>
                <c:pt idx="2658">
                  <c:v>7.673</c:v>
                </c:pt>
                <c:pt idx="2659">
                  <c:v>7.673</c:v>
                </c:pt>
                <c:pt idx="2660">
                  <c:v>7.673</c:v>
                </c:pt>
                <c:pt idx="2661">
                  <c:v>7.6719999999999997</c:v>
                </c:pt>
                <c:pt idx="2662">
                  <c:v>7.6719999999999997</c:v>
                </c:pt>
                <c:pt idx="2663">
                  <c:v>7.6719999999999997</c:v>
                </c:pt>
                <c:pt idx="2664">
                  <c:v>7.6719999999999997</c:v>
                </c:pt>
                <c:pt idx="2665">
                  <c:v>7.6719999999999997</c:v>
                </c:pt>
                <c:pt idx="2666">
                  <c:v>7.6710000000000003</c:v>
                </c:pt>
                <c:pt idx="2667">
                  <c:v>7.6719999999999997</c:v>
                </c:pt>
                <c:pt idx="2668">
                  <c:v>7.6719999999999997</c:v>
                </c:pt>
                <c:pt idx="2669">
                  <c:v>7.6710000000000003</c:v>
                </c:pt>
                <c:pt idx="2670">
                  <c:v>7.6710000000000003</c:v>
                </c:pt>
                <c:pt idx="2671">
                  <c:v>7.6710000000000003</c:v>
                </c:pt>
                <c:pt idx="2672">
                  <c:v>7.6719999999999997</c:v>
                </c:pt>
                <c:pt idx="2673">
                  <c:v>7.6710000000000003</c:v>
                </c:pt>
                <c:pt idx="2674">
                  <c:v>7.6710000000000003</c:v>
                </c:pt>
                <c:pt idx="2675">
                  <c:v>7.67</c:v>
                </c:pt>
                <c:pt idx="2676">
                  <c:v>7.6710000000000003</c:v>
                </c:pt>
                <c:pt idx="2677">
                  <c:v>7.6710000000000003</c:v>
                </c:pt>
                <c:pt idx="2678">
                  <c:v>7.67</c:v>
                </c:pt>
                <c:pt idx="2679">
                  <c:v>7.67</c:v>
                </c:pt>
                <c:pt idx="2680">
                  <c:v>7.67</c:v>
                </c:pt>
                <c:pt idx="2681">
                  <c:v>7.67</c:v>
                </c:pt>
                <c:pt idx="2682">
                  <c:v>7.67</c:v>
                </c:pt>
                <c:pt idx="2683">
                  <c:v>7.67</c:v>
                </c:pt>
                <c:pt idx="2684">
                  <c:v>7.6689999999999996</c:v>
                </c:pt>
                <c:pt idx="2685">
                  <c:v>7.67</c:v>
                </c:pt>
                <c:pt idx="2686">
                  <c:v>7.6689999999999996</c:v>
                </c:pt>
                <c:pt idx="2687">
                  <c:v>7.6689999999999996</c:v>
                </c:pt>
                <c:pt idx="2688">
                  <c:v>7.6689999999999996</c:v>
                </c:pt>
                <c:pt idx="2689">
                  <c:v>7.6689999999999996</c:v>
                </c:pt>
                <c:pt idx="2690">
                  <c:v>7.6689999999999996</c:v>
                </c:pt>
                <c:pt idx="2691">
                  <c:v>7.6689999999999996</c:v>
                </c:pt>
                <c:pt idx="2692">
                  <c:v>7.6689999999999996</c:v>
                </c:pt>
                <c:pt idx="2693">
                  <c:v>7.6689999999999996</c:v>
                </c:pt>
                <c:pt idx="2694">
                  <c:v>7.6689999999999996</c:v>
                </c:pt>
                <c:pt idx="2695">
                  <c:v>7.6680000000000001</c:v>
                </c:pt>
                <c:pt idx="2696">
                  <c:v>7.6680000000000001</c:v>
                </c:pt>
                <c:pt idx="2697">
                  <c:v>7.6680000000000001</c:v>
                </c:pt>
                <c:pt idx="2698">
                  <c:v>7.6680000000000001</c:v>
                </c:pt>
                <c:pt idx="2699">
                  <c:v>7.6680000000000001</c:v>
                </c:pt>
                <c:pt idx="2700">
                  <c:v>7.6680000000000001</c:v>
                </c:pt>
                <c:pt idx="2701">
                  <c:v>7.6680000000000001</c:v>
                </c:pt>
                <c:pt idx="2702">
                  <c:v>7.6680000000000001</c:v>
                </c:pt>
                <c:pt idx="2703">
                  <c:v>7.6669999999999998</c:v>
                </c:pt>
                <c:pt idx="2704">
                  <c:v>7.6669999999999998</c:v>
                </c:pt>
                <c:pt idx="2705">
                  <c:v>7.6669999999999998</c:v>
                </c:pt>
                <c:pt idx="2706">
                  <c:v>7.6660000000000004</c:v>
                </c:pt>
                <c:pt idx="2707">
                  <c:v>7.6660000000000004</c:v>
                </c:pt>
                <c:pt idx="2708">
                  <c:v>7.6660000000000004</c:v>
                </c:pt>
                <c:pt idx="2709">
                  <c:v>7.6660000000000004</c:v>
                </c:pt>
                <c:pt idx="2710">
                  <c:v>7.6660000000000004</c:v>
                </c:pt>
                <c:pt idx="2711">
                  <c:v>7.665</c:v>
                </c:pt>
                <c:pt idx="2712">
                  <c:v>7.6660000000000004</c:v>
                </c:pt>
                <c:pt idx="2713">
                  <c:v>7.6660000000000004</c:v>
                </c:pt>
                <c:pt idx="2714">
                  <c:v>7.665</c:v>
                </c:pt>
                <c:pt idx="2715">
                  <c:v>7.6660000000000004</c:v>
                </c:pt>
                <c:pt idx="2716">
                  <c:v>7.665</c:v>
                </c:pt>
                <c:pt idx="2717">
                  <c:v>7.665</c:v>
                </c:pt>
                <c:pt idx="2718">
                  <c:v>7.665</c:v>
                </c:pt>
                <c:pt idx="2719">
                  <c:v>7.665</c:v>
                </c:pt>
                <c:pt idx="2720">
                  <c:v>7.665</c:v>
                </c:pt>
                <c:pt idx="2721">
                  <c:v>7.665</c:v>
                </c:pt>
                <c:pt idx="2722">
                  <c:v>7.665</c:v>
                </c:pt>
                <c:pt idx="2723">
                  <c:v>7.665</c:v>
                </c:pt>
                <c:pt idx="2724">
                  <c:v>7.665</c:v>
                </c:pt>
                <c:pt idx="2725">
                  <c:v>7.6639999999999997</c:v>
                </c:pt>
                <c:pt idx="2726">
                  <c:v>7.665</c:v>
                </c:pt>
                <c:pt idx="2727">
                  <c:v>7.6639999999999997</c:v>
                </c:pt>
                <c:pt idx="2728">
                  <c:v>7.6639999999999997</c:v>
                </c:pt>
                <c:pt idx="2729">
                  <c:v>7.6630000000000003</c:v>
                </c:pt>
                <c:pt idx="2730">
                  <c:v>7.6639999999999997</c:v>
                </c:pt>
                <c:pt idx="2731">
                  <c:v>7.6630000000000003</c:v>
                </c:pt>
                <c:pt idx="2732">
                  <c:v>7.6630000000000003</c:v>
                </c:pt>
                <c:pt idx="2733">
                  <c:v>7.6630000000000003</c:v>
                </c:pt>
                <c:pt idx="2734">
                  <c:v>7.6630000000000003</c:v>
                </c:pt>
                <c:pt idx="2735">
                  <c:v>7.6619999999999999</c:v>
                </c:pt>
                <c:pt idx="2736">
                  <c:v>7.6630000000000003</c:v>
                </c:pt>
                <c:pt idx="2737">
                  <c:v>7.6630000000000003</c:v>
                </c:pt>
                <c:pt idx="2738">
                  <c:v>7.6619999999999999</c:v>
                </c:pt>
                <c:pt idx="2739">
                  <c:v>7.6619999999999999</c:v>
                </c:pt>
                <c:pt idx="2740">
                  <c:v>7.6619999999999999</c:v>
                </c:pt>
                <c:pt idx="2741">
                  <c:v>7.6619999999999999</c:v>
                </c:pt>
                <c:pt idx="2742">
                  <c:v>7.6619999999999999</c:v>
                </c:pt>
                <c:pt idx="2743">
                  <c:v>7.6619999999999999</c:v>
                </c:pt>
                <c:pt idx="2744">
                  <c:v>7.6619999999999999</c:v>
                </c:pt>
                <c:pt idx="2745">
                  <c:v>7.6619999999999999</c:v>
                </c:pt>
                <c:pt idx="2746">
                  <c:v>7.6609999999999996</c:v>
                </c:pt>
                <c:pt idx="2747">
                  <c:v>7.6619999999999999</c:v>
                </c:pt>
                <c:pt idx="2748">
                  <c:v>7.6609999999999996</c:v>
                </c:pt>
                <c:pt idx="2749">
                  <c:v>7.6609999999999996</c:v>
                </c:pt>
                <c:pt idx="2750">
                  <c:v>7.6609999999999996</c:v>
                </c:pt>
                <c:pt idx="2751">
                  <c:v>7.6619999999999999</c:v>
                </c:pt>
                <c:pt idx="2752">
                  <c:v>7.66</c:v>
                </c:pt>
                <c:pt idx="2753">
                  <c:v>7.6609999999999996</c:v>
                </c:pt>
                <c:pt idx="2754">
                  <c:v>7.66</c:v>
                </c:pt>
                <c:pt idx="2755">
                  <c:v>7.6609999999999996</c:v>
                </c:pt>
                <c:pt idx="2756">
                  <c:v>7.66</c:v>
                </c:pt>
                <c:pt idx="2757">
                  <c:v>7.6609999999999996</c:v>
                </c:pt>
                <c:pt idx="2758">
                  <c:v>7.66</c:v>
                </c:pt>
                <c:pt idx="2759">
                  <c:v>7.66</c:v>
                </c:pt>
                <c:pt idx="2760">
                  <c:v>7.6589999999999998</c:v>
                </c:pt>
                <c:pt idx="2761">
                  <c:v>7.6589999999999998</c:v>
                </c:pt>
                <c:pt idx="2762">
                  <c:v>7.66</c:v>
                </c:pt>
                <c:pt idx="2763">
                  <c:v>7.6589999999999998</c:v>
                </c:pt>
                <c:pt idx="2764">
                  <c:v>7.6589999999999998</c:v>
                </c:pt>
                <c:pt idx="2765">
                  <c:v>7.6580000000000004</c:v>
                </c:pt>
                <c:pt idx="2766">
                  <c:v>7.6589999999999998</c:v>
                </c:pt>
                <c:pt idx="2767">
                  <c:v>7.6589999999999998</c:v>
                </c:pt>
                <c:pt idx="2768">
                  <c:v>7.6589999999999998</c:v>
                </c:pt>
                <c:pt idx="2769">
                  <c:v>7.6589999999999998</c:v>
                </c:pt>
                <c:pt idx="2770">
                  <c:v>7.6589999999999998</c:v>
                </c:pt>
                <c:pt idx="2771">
                  <c:v>7.6580000000000004</c:v>
                </c:pt>
                <c:pt idx="2772">
                  <c:v>7.6580000000000004</c:v>
                </c:pt>
                <c:pt idx="2773">
                  <c:v>7.6580000000000004</c:v>
                </c:pt>
                <c:pt idx="2774">
                  <c:v>7.6580000000000004</c:v>
                </c:pt>
                <c:pt idx="2775">
                  <c:v>7.6580000000000004</c:v>
                </c:pt>
                <c:pt idx="2776">
                  <c:v>7.6580000000000004</c:v>
                </c:pt>
                <c:pt idx="2777">
                  <c:v>7.6580000000000004</c:v>
                </c:pt>
                <c:pt idx="2778">
                  <c:v>7.657</c:v>
                </c:pt>
                <c:pt idx="2779">
                  <c:v>7.657</c:v>
                </c:pt>
                <c:pt idx="2780">
                  <c:v>7.6580000000000004</c:v>
                </c:pt>
                <c:pt idx="2781">
                  <c:v>7.657</c:v>
                </c:pt>
                <c:pt idx="2782">
                  <c:v>7.6580000000000004</c:v>
                </c:pt>
                <c:pt idx="2783">
                  <c:v>7.657</c:v>
                </c:pt>
                <c:pt idx="2784">
                  <c:v>7.657</c:v>
                </c:pt>
                <c:pt idx="2785">
                  <c:v>7.657</c:v>
                </c:pt>
                <c:pt idx="2786">
                  <c:v>7.657</c:v>
                </c:pt>
                <c:pt idx="2787">
                  <c:v>7.657</c:v>
                </c:pt>
                <c:pt idx="2788">
                  <c:v>7.657</c:v>
                </c:pt>
                <c:pt idx="2789">
                  <c:v>7.657</c:v>
                </c:pt>
                <c:pt idx="2790">
                  <c:v>7.6559999999999997</c:v>
                </c:pt>
                <c:pt idx="2791">
                  <c:v>7.6550000000000002</c:v>
                </c:pt>
                <c:pt idx="2792">
                  <c:v>7.6559999999999997</c:v>
                </c:pt>
                <c:pt idx="2793">
                  <c:v>7.6559999999999997</c:v>
                </c:pt>
                <c:pt idx="2794">
                  <c:v>7.6550000000000002</c:v>
                </c:pt>
                <c:pt idx="2795">
                  <c:v>7.6559999999999997</c:v>
                </c:pt>
                <c:pt idx="2796">
                  <c:v>7.6550000000000002</c:v>
                </c:pt>
                <c:pt idx="2797">
                  <c:v>7.6559999999999997</c:v>
                </c:pt>
                <c:pt idx="2798">
                  <c:v>7.6550000000000002</c:v>
                </c:pt>
                <c:pt idx="2799">
                  <c:v>7.6550000000000002</c:v>
                </c:pt>
                <c:pt idx="2800">
                  <c:v>7.6550000000000002</c:v>
                </c:pt>
                <c:pt idx="2801">
                  <c:v>7.6550000000000002</c:v>
                </c:pt>
                <c:pt idx="2802">
                  <c:v>7.6550000000000002</c:v>
                </c:pt>
                <c:pt idx="2803">
                  <c:v>7.6550000000000002</c:v>
                </c:pt>
                <c:pt idx="2804">
                  <c:v>7.6550000000000002</c:v>
                </c:pt>
                <c:pt idx="2805">
                  <c:v>7.6539999999999999</c:v>
                </c:pt>
                <c:pt idx="2806">
                  <c:v>7.6550000000000002</c:v>
                </c:pt>
                <c:pt idx="2807">
                  <c:v>7.6539999999999999</c:v>
                </c:pt>
                <c:pt idx="2808">
                  <c:v>7.6539999999999999</c:v>
                </c:pt>
                <c:pt idx="2809">
                  <c:v>7.6539999999999999</c:v>
                </c:pt>
                <c:pt idx="2810">
                  <c:v>7.6539999999999999</c:v>
                </c:pt>
                <c:pt idx="2811">
                  <c:v>7.6539999999999999</c:v>
                </c:pt>
                <c:pt idx="2812">
                  <c:v>7.6529999999999996</c:v>
                </c:pt>
                <c:pt idx="2813">
                  <c:v>7.6529999999999996</c:v>
                </c:pt>
                <c:pt idx="2814">
                  <c:v>7.6539999999999999</c:v>
                </c:pt>
                <c:pt idx="2815">
                  <c:v>7.6529999999999996</c:v>
                </c:pt>
                <c:pt idx="2816">
                  <c:v>7.6529999999999996</c:v>
                </c:pt>
                <c:pt idx="2817">
                  <c:v>7.6529999999999996</c:v>
                </c:pt>
                <c:pt idx="2818">
                  <c:v>7.6529999999999996</c:v>
                </c:pt>
                <c:pt idx="2819">
                  <c:v>7.6529999999999996</c:v>
                </c:pt>
                <c:pt idx="2820">
                  <c:v>7.6520000000000001</c:v>
                </c:pt>
                <c:pt idx="2821">
                  <c:v>7.6539999999999999</c:v>
                </c:pt>
                <c:pt idx="2822">
                  <c:v>7.6520000000000001</c:v>
                </c:pt>
                <c:pt idx="2823">
                  <c:v>7.6520000000000001</c:v>
                </c:pt>
                <c:pt idx="2824">
                  <c:v>7.6520000000000001</c:v>
                </c:pt>
                <c:pt idx="2825">
                  <c:v>7.6520000000000001</c:v>
                </c:pt>
                <c:pt idx="2826">
                  <c:v>7.6520000000000001</c:v>
                </c:pt>
                <c:pt idx="2827">
                  <c:v>7.6520000000000001</c:v>
                </c:pt>
                <c:pt idx="2828">
                  <c:v>7.6509999999999998</c:v>
                </c:pt>
                <c:pt idx="2829">
                  <c:v>7.6509999999999998</c:v>
                </c:pt>
                <c:pt idx="2830">
                  <c:v>7.6509999999999998</c:v>
                </c:pt>
                <c:pt idx="2831">
                  <c:v>7.65</c:v>
                </c:pt>
                <c:pt idx="2832">
                  <c:v>7.6520000000000001</c:v>
                </c:pt>
                <c:pt idx="2833">
                  <c:v>7.6509999999999998</c:v>
                </c:pt>
                <c:pt idx="2834">
                  <c:v>7.6509999999999998</c:v>
                </c:pt>
                <c:pt idx="2835">
                  <c:v>7.6509999999999998</c:v>
                </c:pt>
                <c:pt idx="2836">
                  <c:v>7.65</c:v>
                </c:pt>
                <c:pt idx="2837">
                  <c:v>7.6509999999999998</c:v>
                </c:pt>
                <c:pt idx="2838">
                  <c:v>7.65</c:v>
                </c:pt>
                <c:pt idx="2839">
                  <c:v>7.65</c:v>
                </c:pt>
                <c:pt idx="2840">
                  <c:v>7.65</c:v>
                </c:pt>
                <c:pt idx="2841">
                  <c:v>7.6509999999999998</c:v>
                </c:pt>
                <c:pt idx="2842">
                  <c:v>7.65</c:v>
                </c:pt>
                <c:pt idx="2843">
                  <c:v>7.65</c:v>
                </c:pt>
                <c:pt idx="2844">
                  <c:v>7.6509999999999998</c:v>
                </c:pt>
                <c:pt idx="2845">
                  <c:v>7.649</c:v>
                </c:pt>
                <c:pt idx="2846">
                  <c:v>7.65</c:v>
                </c:pt>
                <c:pt idx="2847">
                  <c:v>7.649</c:v>
                </c:pt>
                <c:pt idx="2848">
                  <c:v>7.649</c:v>
                </c:pt>
                <c:pt idx="2849">
                  <c:v>7.65</c:v>
                </c:pt>
                <c:pt idx="2850">
                  <c:v>7.649</c:v>
                </c:pt>
                <c:pt idx="2851">
                  <c:v>7.649</c:v>
                </c:pt>
                <c:pt idx="2852">
                  <c:v>7.649</c:v>
                </c:pt>
                <c:pt idx="2853">
                  <c:v>7.649</c:v>
                </c:pt>
                <c:pt idx="2854">
                  <c:v>7.6479999999999997</c:v>
                </c:pt>
                <c:pt idx="2855">
                  <c:v>7.6479999999999997</c:v>
                </c:pt>
                <c:pt idx="2856">
                  <c:v>7.649</c:v>
                </c:pt>
                <c:pt idx="2857">
                  <c:v>7.6479999999999997</c:v>
                </c:pt>
                <c:pt idx="2858">
                  <c:v>7.6479999999999997</c:v>
                </c:pt>
                <c:pt idx="2859">
                  <c:v>7.6470000000000002</c:v>
                </c:pt>
                <c:pt idx="2860">
                  <c:v>7.6479999999999997</c:v>
                </c:pt>
                <c:pt idx="2861">
                  <c:v>7.6479999999999997</c:v>
                </c:pt>
                <c:pt idx="2862">
                  <c:v>7.6479999999999997</c:v>
                </c:pt>
                <c:pt idx="2863">
                  <c:v>7.6479999999999997</c:v>
                </c:pt>
                <c:pt idx="2864">
                  <c:v>7.6470000000000002</c:v>
                </c:pt>
                <c:pt idx="2865">
                  <c:v>7.6479999999999997</c:v>
                </c:pt>
                <c:pt idx="2866">
                  <c:v>7.6470000000000002</c:v>
                </c:pt>
                <c:pt idx="2867">
                  <c:v>7.6470000000000002</c:v>
                </c:pt>
                <c:pt idx="2868">
                  <c:v>7.6470000000000002</c:v>
                </c:pt>
                <c:pt idx="2869">
                  <c:v>7.6470000000000002</c:v>
                </c:pt>
                <c:pt idx="2870">
                  <c:v>7.6470000000000002</c:v>
                </c:pt>
                <c:pt idx="2871">
                  <c:v>7.6459999999999999</c:v>
                </c:pt>
                <c:pt idx="2872">
                  <c:v>7.6459999999999999</c:v>
                </c:pt>
                <c:pt idx="2873">
                  <c:v>7.6459999999999999</c:v>
                </c:pt>
                <c:pt idx="2874">
                  <c:v>7.6470000000000002</c:v>
                </c:pt>
                <c:pt idx="2875">
                  <c:v>7.6459999999999999</c:v>
                </c:pt>
                <c:pt idx="2876">
                  <c:v>7.6459999999999999</c:v>
                </c:pt>
                <c:pt idx="2877">
                  <c:v>7.6459999999999999</c:v>
                </c:pt>
                <c:pt idx="2878">
                  <c:v>7.6459999999999999</c:v>
                </c:pt>
                <c:pt idx="2879">
                  <c:v>7.6449999999999996</c:v>
                </c:pt>
                <c:pt idx="2880">
                  <c:v>7.6449999999999996</c:v>
                </c:pt>
                <c:pt idx="2881">
                  <c:v>7.6459999999999999</c:v>
                </c:pt>
                <c:pt idx="2882">
                  <c:v>7.6449999999999996</c:v>
                </c:pt>
                <c:pt idx="2883">
                  <c:v>7.6459999999999999</c:v>
                </c:pt>
                <c:pt idx="2884">
                  <c:v>7.6449999999999996</c:v>
                </c:pt>
                <c:pt idx="2885">
                  <c:v>7.6449999999999996</c:v>
                </c:pt>
                <c:pt idx="2886">
                  <c:v>7.6449999999999996</c:v>
                </c:pt>
                <c:pt idx="2887">
                  <c:v>7.6440000000000001</c:v>
                </c:pt>
                <c:pt idx="2888">
                  <c:v>7.6440000000000001</c:v>
                </c:pt>
                <c:pt idx="2889">
                  <c:v>7.6449999999999996</c:v>
                </c:pt>
                <c:pt idx="2890">
                  <c:v>7.6449999999999996</c:v>
                </c:pt>
                <c:pt idx="2891">
                  <c:v>7.6440000000000001</c:v>
                </c:pt>
                <c:pt idx="2892">
                  <c:v>7.6449999999999996</c:v>
                </c:pt>
                <c:pt idx="2893">
                  <c:v>7.6440000000000001</c:v>
                </c:pt>
                <c:pt idx="2894">
                  <c:v>7.6440000000000001</c:v>
                </c:pt>
                <c:pt idx="2895">
                  <c:v>7.6429999999999998</c:v>
                </c:pt>
                <c:pt idx="2896">
                  <c:v>7.6429999999999998</c:v>
                </c:pt>
                <c:pt idx="2897">
                  <c:v>7.6440000000000001</c:v>
                </c:pt>
                <c:pt idx="2898">
                  <c:v>7.6429999999999998</c:v>
                </c:pt>
                <c:pt idx="2899">
                  <c:v>7.6440000000000001</c:v>
                </c:pt>
                <c:pt idx="2900">
                  <c:v>7.6429999999999998</c:v>
                </c:pt>
                <c:pt idx="2901">
                  <c:v>7.6429999999999998</c:v>
                </c:pt>
                <c:pt idx="2902">
                  <c:v>7.6429999999999998</c:v>
                </c:pt>
                <c:pt idx="2903">
                  <c:v>7.6440000000000001</c:v>
                </c:pt>
                <c:pt idx="2904">
                  <c:v>7.6429999999999998</c:v>
                </c:pt>
                <c:pt idx="2905">
                  <c:v>7.6420000000000003</c:v>
                </c:pt>
                <c:pt idx="2906">
                  <c:v>7.6429999999999998</c:v>
                </c:pt>
                <c:pt idx="2907">
                  <c:v>7.6420000000000003</c:v>
                </c:pt>
                <c:pt idx="2908">
                  <c:v>7.6429999999999998</c:v>
                </c:pt>
                <c:pt idx="2909">
                  <c:v>7.6420000000000003</c:v>
                </c:pt>
                <c:pt idx="2910">
                  <c:v>7.6420000000000003</c:v>
                </c:pt>
                <c:pt idx="2911">
                  <c:v>7.641</c:v>
                </c:pt>
                <c:pt idx="2912">
                  <c:v>7.641</c:v>
                </c:pt>
                <c:pt idx="2913">
                  <c:v>7.6420000000000003</c:v>
                </c:pt>
                <c:pt idx="2914">
                  <c:v>7.641</c:v>
                </c:pt>
                <c:pt idx="2915">
                  <c:v>7.641</c:v>
                </c:pt>
                <c:pt idx="2916">
                  <c:v>7.641</c:v>
                </c:pt>
                <c:pt idx="2917">
                  <c:v>7.641</c:v>
                </c:pt>
                <c:pt idx="2918">
                  <c:v>7.641</c:v>
                </c:pt>
                <c:pt idx="2919">
                  <c:v>7.64</c:v>
                </c:pt>
                <c:pt idx="2920">
                  <c:v>7.641</c:v>
                </c:pt>
                <c:pt idx="2921">
                  <c:v>7.641</c:v>
                </c:pt>
                <c:pt idx="2922">
                  <c:v>7.641</c:v>
                </c:pt>
                <c:pt idx="2923">
                  <c:v>7.64</c:v>
                </c:pt>
                <c:pt idx="2924">
                  <c:v>7.64</c:v>
                </c:pt>
                <c:pt idx="2925">
                  <c:v>7.64</c:v>
                </c:pt>
                <c:pt idx="2926">
                  <c:v>7.64</c:v>
                </c:pt>
                <c:pt idx="2927">
                  <c:v>7.64</c:v>
                </c:pt>
                <c:pt idx="2928">
                  <c:v>7.64</c:v>
                </c:pt>
                <c:pt idx="2929">
                  <c:v>7.64</c:v>
                </c:pt>
                <c:pt idx="2930">
                  <c:v>7.64</c:v>
                </c:pt>
                <c:pt idx="2931">
                  <c:v>7.6390000000000002</c:v>
                </c:pt>
                <c:pt idx="2932">
                  <c:v>7.64</c:v>
                </c:pt>
                <c:pt idx="2933">
                  <c:v>7.6390000000000002</c:v>
                </c:pt>
                <c:pt idx="2934">
                  <c:v>7.6390000000000002</c:v>
                </c:pt>
                <c:pt idx="2935">
                  <c:v>7.6390000000000002</c:v>
                </c:pt>
                <c:pt idx="2936">
                  <c:v>7.6390000000000002</c:v>
                </c:pt>
                <c:pt idx="2937">
                  <c:v>7.6390000000000002</c:v>
                </c:pt>
                <c:pt idx="2938">
                  <c:v>7.6390000000000002</c:v>
                </c:pt>
                <c:pt idx="2939">
                  <c:v>7.6379999999999999</c:v>
                </c:pt>
                <c:pt idx="2940">
                  <c:v>7.6379999999999999</c:v>
                </c:pt>
                <c:pt idx="2941">
                  <c:v>7.6390000000000002</c:v>
                </c:pt>
                <c:pt idx="2942">
                  <c:v>7.6379999999999999</c:v>
                </c:pt>
                <c:pt idx="2943">
                  <c:v>7.6379999999999999</c:v>
                </c:pt>
                <c:pt idx="2944">
                  <c:v>7.6379999999999999</c:v>
                </c:pt>
                <c:pt idx="2945">
                  <c:v>7.6379999999999999</c:v>
                </c:pt>
                <c:pt idx="2946">
                  <c:v>7.6379999999999999</c:v>
                </c:pt>
                <c:pt idx="2947">
                  <c:v>7.6379999999999999</c:v>
                </c:pt>
                <c:pt idx="2948">
                  <c:v>7.6379999999999999</c:v>
                </c:pt>
                <c:pt idx="2949">
                  <c:v>7.6369999999999996</c:v>
                </c:pt>
                <c:pt idx="2950">
                  <c:v>7.6369999999999996</c:v>
                </c:pt>
                <c:pt idx="2951">
                  <c:v>7.6379999999999999</c:v>
                </c:pt>
                <c:pt idx="2952">
                  <c:v>7.6369999999999996</c:v>
                </c:pt>
                <c:pt idx="2953">
                  <c:v>7.6369999999999996</c:v>
                </c:pt>
                <c:pt idx="2954">
                  <c:v>7.6369999999999996</c:v>
                </c:pt>
                <c:pt idx="2955">
                  <c:v>7.6360000000000001</c:v>
                </c:pt>
                <c:pt idx="2956">
                  <c:v>7.6360000000000001</c:v>
                </c:pt>
                <c:pt idx="2957">
                  <c:v>7.6360000000000001</c:v>
                </c:pt>
                <c:pt idx="2958">
                  <c:v>7.6360000000000001</c:v>
                </c:pt>
                <c:pt idx="2959">
                  <c:v>7.6369999999999996</c:v>
                </c:pt>
                <c:pt idx="2960">
                  <c:v>7.6360000000000001</c:v>
                </c:pt>
                <c:pt idx="2961">
                  <c:v>7.6360000000000001</c:v>
                </c:pt>
                <c:pt idx="2962">
                  <c:v>7.6360000000000001</c:v>
                </c:pt>
                <c:pt idx="2963">
                  <c:v>7.6360000000000001</c:v>
                </c:pt>
                <c:pt idx="2964">
                  <c:v>7.6360000000000001</c:v>
                </c:pt>
                <c:pt idx="2965">
                  <c:v>7.6360000000000001</c:v>
                </c:pt>
                <c:pt idx="2966">
                  <c:v>7.6349999999999998</c:v>
                </c:pt>
                <c:pt idx="2967">
                  <c:v>7.6360000000000001</c:v>
                </c:pt>
                <c:pt idx="2968">
                  <c:v>7.6360000000000001</c:v>
                </c:pt>
                <c:pt idx="2969">
                  <c:v>7.6349999999999998</c:v>
                </c:pt>
                <c:pt idx="2970">
                  <c:v>7.6349999999999998</c:v>
                </c:pt>
                <c:pt idx="2971">
                  <c:v>7.6349999999999998</c:v>
                </c:pt>
                <c:pt idx="2972">
                  <c:v>7.6349999999999998</c:v>
                </c:pt>
                <c:pt idx="2973">
                  <c:v>7.6340000000000003</c:v>
                </c:pt>
                <c:pt idx="2974">
                  <c:v>7.6340000000000003</c:v>
                </c:pt>
                <c:pt idx="2975">
                  <c:v>7.6340000000000003</c:v>
                </c:pt>
                <c:pt idx="2976">
                  <c:v>7.6349999999999998</c:v>
                </c:pt>
                <c:pt idx="2977">
                  <c:v>7.6340000000000003</c:v>
                </c:pt>
                <c:pt idx="2978">
                  <c:v>7.6340000000000003</c:v>
                </c:pt>
                <c:pt idx="2979">
                  <c:v>7.6340000000000003</c:v>
                </c:pt>
                <c:pt idx="2980">
                  <c:v>7.6349999999999998</c:v>
                </c:pt>
                <c:pt idx="2981">
                  <c:v>7.6340000000000003</c:v>
                </c:pt>
                <c:pt idx="2982">
                  <c:v>7.6340000000000003</c:v>
                </c:pt>
                <c:pt idx="2983">
                  <c:v>7.633</c:v>
                </c:pt>
                <c:pt idx="2984">
                  <c:v>7.6340000000000003</c:v>
                </c:pt>
                <c:pt idx="2985">
                  <c:v>7.633</c:v>
                </c:pt>
                <c:pt idx="2986">
                  <c:v>7.633</c:v>
                </c:pt>
                <c:pt idx="2987">
                  <c:v>7.633</c:v>
                </c:pt>
                <c:pt idx="2988">
                  <c:v>7.633</c:v>
                </c:pt>
                <c:pt idx="2989">
                  <c:v>7.633</c:v>
                </c:pt>
                <c:pt idx="2990">
                  <c:v>7.6319999999999997</c:v>
                </c:pt>
                <c:pt idx="2991">
                  <c:v>7.633</c:v>
                </c:pt>
                <c:pt idx="2992">
                  <c:v>7.633</c:v>
                </c:pt>
                <c:pt idx="2993">
                  <c:v>7.6319999999999997</c:v>
                </c:pt>
                <c:pt idx="2994">
                  <c:v>7.6319999999999997</c:v>
                </c:pt>
                <c:pt idx="2995">
                  <c:v>7.6310000000000002</c:v>
                </c:pt>
                <c:pt idx="2996">
                  <c:v>7.633</c:v>
                </c:pt>
                <c:pt idx="2997">
                  <c:v>7.6319999999999997</c:v>
                </c:pt>
                <c:pt idx="2998">
                  <c:v>7.6319999999999997</c:v>
                </c:pt>
                <c:pt idx="2999">
                  <c:v>7.6310000000000002</c:v>
                </c:pt>
                <c:pt idx="3000">
                  <c:v>7.6319999999999997</c:v>
                </c:pt>
                <c:pt idx="3001">
                  <c:v>7.6310000000000002</c:v>
                </c:pt>
                <c:pt idx="3002">
                  <c:v>7.6319999999999997</c:v>
                </c:pt>
                <c:pt idx="3003">
                  <c:v>7.6310000000000002</c:v>
                </c:pt>
                <c:pt idx="3004">
                  <c:v>7.6310000000000002</c:v>
                </c:pt>
                <c:pt idx="3005">
                  <c:v>7.6319999999999997</c:v>
                </c:pt>
                <c:pt idx="3006">
                  <c:v>7.6310000000000002</c:v>
                </c:pt>
                <c:pt idx="3007">
                  <c:v>7.6310000000000002</c:v>
                </c:pt>
                <c:pt idx="3008">
                  <c:v>7.6310000000000002</c:v>
                </c:pt>
                <c:pt idx="3009">
                  <c:v>7.63</c:v>
                </c:pt>
                <c:pt idx="3010">
                  <c:v>7.63</c:v>
                </c:pt>
                <c:pt idx="3011">
                  <c:v>7.6310000000000002</c:v>
                </c:pt>
                <c:pt idx="3012">
                  <c:v>7.63</c:v>
                </c:pt>
                <c:pt idx="3013">
                  <c:v>7.63</c:v>
                </c:pt>
                <c:pt idx="3014">
                  <c:v>7.63</c:v>
                </c:pt>
                <c:pt idx="3015">
                  <c:v>7.63</c:v>
                </c:pt>
                <c:pt idx="3016">
                  <c:v>7.6289999999999996</c:v>
                </c:pt>
                <c:pt idx="3017">
                  <c:v>7.63</c:v>
                </c:pt>
                <c:pt idx="3018">
                  <c:v>7.63</c:v>
                </c:pt>
                <c:pt idx="3019">
                  <c:v>7.63</c:v>
                </c:pt>
                <c:pt idx="3020">
                  <c:v>7.6289999999999996</c:v>
                </c:pt>
                <c:pt idx="3021">
                  <c:v>7.6289999999999996</c:v>
                </c:pt>
                <c:pt idx="3022">
                  <c:v>7.6289999999999996</c:v>
                </c:pt>
                <c:pt idx="3023">
                  <c:v>7.6289999999999996</c:v>
                </c:pt>
                <c:pt idx="3024">
                  <c:v>7.6289999999999996</c:v>
                </c:pt>
                <c:pt idx="3025">
                  <c:v>7.6289999999999996</c:v>
                </c:pt>
                <c:pt idx="3026">
                  <c:v>7.6289999999999996</c:v>
                </c:pt>
                <c:pt idx="3027">
                  <c:v>7.6289999999999996</c:v>
                </c:pt>
                <c:pt idx="3028">
                  <c:v>7.6280000000000001</c:v>
                </c:pt>
                <c:pt idx="3029">
                  <c:v>7.6280000000000001</c:v>
                </c:pt>
                <c:pt idx="3030">
                  <c:v>7.6280000000000001</c:v>
                </c:pt>
                <c:pt idx="3031">
                  <c:v>7.6280000000000001</c:v>
                </c:pt>
                <c:pt idx="3032">
                  <c:v>7.6280000000000001</c:v>
                </c:pt>
                <c:pt idx="3033">
                  <c:v>7.6280000000000001</c:v>
                </c:pt>
                <c:pt idx="3034">
                  <c:v>7.6280000000000001</c:v>
                </c:pt>
                <c:pt idx="3035">
                  <c:v>7.6269999999999998</c:v>
                </c:pt>
                <c:pt idx="3036">
                  <c:v>7.6280000000000001</c:v>
                </c:pt>
                <c:pt idx="3037">
                  <c:v>7.6269999999999998</c:v>
                </c:pt>
                <c:pt idx="3038">
                  <c:v>7.6280000000000001</c:v>
                </c:pt>
                <c:pt idx="3039">
                  <c:v>7.6280000000000001</c:v>
                </c:pt>
                <c:pt idx="3040">
                  <c:v>7.6280000000000001</c:v>
                </c:pt>
                <c:pt idx="3041">
                  <c:v>7.6269999999999998</c:v>
                </c:pt>
                <c:pt idx="3042">
                  <c:v>7.6269999999999998</c:v>
                </c:pt>
                <c:pt idx="3043">
                  <c:v>7.6260000000000003</c:v>
                </c:pt>
                <c:pt idx="3044">
                  <c:v>7.6269999999999998</c:v>
                </c:pt>
                <c:pt idx="3045">
                  <c:v>7.6260000000000003</c:v>
                </c:pt>
                <c:pt idx="3046">
                  <c:v>7.6260000000000003</c:v>
                </c:pt>
                <c:pt idx="3047">
                  <c:v>7.6260000000000003</c:v>
                </c:pt>
                <c:pt idx="3048">
                  <c:v>7.6260000000000003</c:v>
                </c:pt>
                <c:pt idx="3049">
                  <c:v>7.6269999999999998</c:v>
                </c:pt>
                <c:pt idx="3050">
                  <c:v>7.625</c:v>
                </c:pt>
                <c:pt idx="3051">
                  <c:v>7.6260000000000003</c:v>
                </c:pt>
                <c:pt idx="3052">
                  <c:v>7.6260000000000003</c:v>
                </c:pt>
                <c:pt idx="3053">
                  <c:v>7.6260000000000003</c:v>
                </c:pt>
                <c:pt idx="3054">
                  <c:v>7.6260000000000003</c:v>
                </c:pt>
                <c:pt idx="3055">
                  <c:v>7.6260000000000003</c:v>
                </c:pt>
                <c:pt idx="3056">
                  <c:v>7.625</c:v>
                </c:pt>
                <c:pt idx="3057">
                  <c:v>7.625</c:v>
                </c:pt>
                <c:pt idx="3058">
                  <c:v>7.6260000000000003</c:v>
                </c:pt>
                <c:pt idx="3059">
                  <c:v>7.625</c:v>
                </c:pt>
                <c:pt idx="3060">
                  <c:v>7.625</c:v>
                </c:pt>
                <c:pt idx="3061">
                  <c:v>7.6239999999999997</c:v>
                </c:pt>
                <c:pt idx="3062">
                  <c:v>7.6239999999999997</c:v>
                </c:pt>
                <c:pt idx="3063">
                  <c:v>7.6239999999999997</c:v>
                </c:pt>
                <c:pt idx="3064">
                  <c:v>7.6239999999999997</c:v>
                </c:pt>
                <c:pt idx="3065">
                  <c:v>7.6239999999999997</c:v>
                </c:pt>
                <c:pt idx="3066">
                  <c:v>7.6239999999999997</c:v>
                </c:pt>
                <c:pt idx="3067">
                  <c:v>7.6239999999999997</c:v>
                </c:pt>
                <c:pt idx="3068">
                  <c:v>7.6239999999999997</c:v>
                </c:pt>
                <c:pt idx="3069">
                  <c:v>7.6239999999999997</c:v>
                </c:pt>
                <c:pt idx="3070">
                  <c:v>7.6230000000000002</c:v>
                </c:pt>
                <c:pt idx="3071">
                  <c:v>7.6239999999999997</c:v>
                </c:pt>
                <c:pt idx="3072">
                  <c:v>7.6239999999999997</c:v>
                </c:pt>
                <c:pt idx="3073">
                  <c:v>7.6239999999999997</c:v>
                </c:pt>
                <c:pt idx="3074">
                  <c:v>7.6239999999999997</c:v>
                </c:pt>
                <c:pt idx="3075">
                  <c:v>7.6230000000000002</c:v>
                </c:pt>
                <c:pt idx="3076">
                  <c:v>7.6230000000000002</c:v>
                </c:pt>
                <c:pt idx="3077">
                  <c:v>7.6230000000000002</c:v>
                </c:pt>
                <c:pt idx="3078">
                  <c:v>7.6230000000000002</c:v>
                </c:pt>
                <c:pt idx="3079">
                  <c:v>7.6230000000000002</c:v>
                </c:pt>
                <c:pt idx="3080">
                  <c:v>7.6230000000000002</c:v>
                </c:pt>
                <c:pt idx="3081">
                  <c:v>7.6219999999999999</c:v>
                </c:pt>
                <c:pt idx="3082">
                  <c:v>7.6230000000000002</c:v>
                </c:pt>
                <c:pt idx="3083">
                  <c:v>7.6219999999999999</c:v>
                </c:pt>
                <c:pt idx="3084">
                  <c:v>7.6219999999999999</c:v>
                </c:pt>
                <c:pt idx="3085">
                  <c:v>7.6219999999999999</c:v>
                </c:pt>
                <c:pt idx="3086">
                  <c:v>7.6230000000000002</c:v>
                </c:pt>
                <c:pt idx="3087">
                  <c:v>7.6219999999999999</c:v>
                </c:pt>
                <c:pt idx="3088">
                  <c:v>7.6219999999999999</c:v>
                </c:pt>
                <c:pt idx="3089">
                  <c:v>7.6210000000000004</c:v>
                </c:pt>
                <c:pt idx="3090">
                  <c:v>7.6219999999999999</c:v>
                </c:pt>
                <c:pt idx="3091">
                  <c:v>7.6219999999999999</c:v>
                </c:pt>
                <c:pt idx="3092">
                  <c:v>7.6219999999999999</c:v>
                </c:pt>
                <c:pt idx="3093">
                  <c:v>7.6219999999999999</c:v>
                </c:pt>
                <c:pt idx="3094">
                  <c:v>7.6210000000000004</c:v>
                </c:pt>
                <c:pt idx="3095">
                  <c:v>7.6210000000000004</c:v>
                </c:pt>
                <c:pt idx="3096">
                  <c:v>7.6210000000000004</c:v>
                </c:pt>
                <c:pt idx="3097">
                  <c:v>7.6210000000000004</c:v>
                </c:pt>
                <c:pt idx="3098">
                  <c:v>7.6210000000000004</c:v>
                </c:pt>
                <c:pt idx="3099">
                  <c:v>7.6210000000000004</c:v>
                </c:pt>
                <c:pt idx="3100">
                  <c:v>7.62</c:v>
                </c:pt>
                <c:pt idx="3101">
                  <c:v>7.62</c:v>
                </c:pt>
                <c:pt idx="3102">
                  <c:v>7.62</c:v>
                </c:pt>
                <c:pt idx="3103">
                  <c:v>7.62</c:v>
                </c:pt>
                <c:pt idx="3104">
                  <c:v>7.62</c:v>
                </c:pt>
                <c:pt idx="3105">
                  <c:v>7.62</c:v>
                </c:pt>
                <c:pt idx="3106">
                  <c:v>7.6189999999999998</c:v>
                </c:pt>
                <c:pt idx="3107">
                  <c:v>7.6189999999999998</c:v>
                </c:pt>
                <c:pt idx="3108">
                  <c:v>7.6189999999999998</c:v>
                </c:pt>
                <c:pt idx="3109">
                  <c:v>7.62</c:v>
                </c:pt>
                <c:pt idx="3110">
                  <c:v>7.6189999999999998</c:v>
                </c:pt>
                <c:pt idx="3111">
                  <c:v>7.6189999999999998</c:v>
                </c:pt>
                <c:pt idx="3112">
                  <c:v>7.6189999999999998</c:v>
                </c:pt>
                <c:pt idx="3113">
                  <c:v>7.6189999999999998</c:v>
                </c:pt>
                <c:pt idx="3114">
                  <c:v>7.6189999999999998</c:v>
                </c:pt>
                <c:pt idx="3115">
                  <c:v>7.6189999999999998</c:v>
                </c:pt>
                <c:pt idx="3116">
                  <c:v>7.6189999999999998</c:v>
                </c:pt>
                <c:pt idx="3117">
                  <c:v>7.6189999999999998</c:v>
                </c:pt>
                <c:pt idx="3118">
                  <c:v>7.6180000000000003</c:v>
                </c:pt>
                <c:pt idx="3119">
                  <c:v>7.6189999999999998</c:v>
                </c:pt>
                <c:pt idx="3120">
                  <c:v>7.6180000000000003</c:v>
                </c:pt>
                <c:pt idx="3121">
                  <c:v>7.6180000000000003</c:v>
                </c:pt>
                <c:pt idx="3122">
                  <c:v>7.6189999999999998</c:v>
                </c:pt>
                <c:pt idx="3123">
                  <c:v>7.6180000000000003</c:v>
                </c:pt>
                <c:pt idx="3124">
                  <c:v>7.617</c:v>
                </c:pt>
                <c:pt idx="3125">
                  <c:v>7.617</c:v>
                </c:pt>
                <c:pt idx="3126">
                  <c:v>7.6180000000000003</c:v>
                </c:pt>
                <c:pt idx="3127">
                  <c:v>7.6180000000000003</c:v>
                </c:pt>
                <c:pt idx="3128">
                  <c:v>7.617</c:v>
                </c:pt>
                <c:pt idx="3129">
                  <c:v>7.6180000000000003</c:v>
                </c:pt>
                <c:pt idx="3130">
                  <c:v>7.617</c:v>
                </c:pt>
                <c:pt idx="3131">
                  <c:v>7.617</c:v>
                </c:pt>
                <c:pt idx="3132">
                  <c:v>7.617</c:v>
                </c:pt>
                <c:pt idx="3133">
                  <c:v>7.6159999999999997</c:v>
                </c:pt>
                <c:pt idx="3134">
                  <c:v>7.617</c:v>
                </c:pt>
                <c:pt idx="3135">
                  <c:v>7.6159999999999997</c:v>
                </c:pt>
                <c:pt idx="3136">
                  <c:v>7.6159999999999997</c:v>
                </c:pt>
                <c:pt idx="3137">
                  <c:v>7.6159999999999997</c:v>
                </c:pt>
                <c:pt idx="3138">
                  <c:v>7.617</c:v>
                </c:pt>
                <c:pt idx="3139">
                  <c:v>7.6159999999999997</c:v>
                </c:pt>
                <c:pt idx="3140">
                  <c:v>7.6159999999999997</c:v>
                </c:pt>
                <c:pt idx="3141">
                  <c:v>7.617</c:v>
                </c:pt>
                <c:pt idx="3142">
                  <c:v>7.6159999999999997</c:v>
                </c:pt>
                <c:pt idx="3143">
                  <c:v>7.6159999999999997</c:v>
                </c:pt>
                <c:pt idx="3144">
                  <c:v>7.6159999999999997</c:v>
                </c:pt>
                <c:pt idx="3145">
                  <c:v>7.6159999999999997</c:v>
                </c:pt>
                <c:pt idx="3146">
                  <c:v>7.6150000000000002</c:v>
                </c:pt>
                <c:pt idx="3147">
                  <c:v>7.6159999999999997</c:v>
                </c:pt>
                <c:pt idx="3148">
                  <c:v>7.6150000000000002</c:v>
                </c:pt>
                <c:pt idx="3149">
                  <c:v>7.6150000000000002</c:v>
                </c:pt>
                <c:pt idx="3150">
                  <c:v>7.6150000000000002</c:v>
                </c:pt>
                <c:pt idx="3151">
                  <c:v>7.6159999999999997</c:v>
                </c:pt>
                <c:pt idx="3152">
                  <c:v>7.6159999999999997</c:v>
                </c:pt>
                <c:pt idx="3153">
                  <c:v>7.6150000000000002</c:v>
                </c:pt>
                <c:pt idx="3154">
                  <c:v>7.6150000000000002</c:v>
                </c:pt>
                <c:pt idx="3155">
                  <c:v>7.6139999999999999</c:v>
                </c:pt>
                <c:pt idx="3156">
                  <c:v>7.6150000000000002</c:v>
                </c:pt>
                <c:pt idx="3157">
                  <c:v>7.6139999999999999</c:v>
                </c:pt>
                <c:pt idx="3158">
                  <c:v>7.6139999999999999</c:v>
                </c:pt>
                <c:pt idx="3159">
                  <c:v>7.6139999999999999</c:v>
                </c:pt>
                <c:pt idx="3160">
                  <c:v>7.6139999999999999</c:v>
                </c:pt>
                <c:pt idx="3161">
                  <c:v>7.6150000000000002</c:v>
                </c:pt>
                <c:pt idx="3162">
                  <c:v>7.6139999999999999</c:v>
                </c:pt>
                <c:pt idx="3163">
                  <c:v>7.6139999999999999</c:v>
                </c:pt>
                <c:pt idx="3164">
                  <c:v>7.6139999999999999</c:v>
                </c:pt>
                <c:pt idx="3165">
                  <c:v>7.6139999999999999</c:v>
                </c:pt>
                <c:pt idx="3166">
                  <c:v>7.6139999999999999</c:v>
                </c:pt>
                <c:pt idx="3167">
                  <c:v>7.6130000000000004</c:v>
                </c:pt>
                <c:pt idx="3168">
                  <c:v>7.6120000000000001</c:v>
                </c:pt>
                <c:pt idx="3169">
                  <c:v>7.6130000000000004</c:v>
                </c:pt>
                <c:pt idx="3170">
                  <c:v>7.6130000000000004</c:v>
                </c:pt>
                <c:pt idx="3171">
                  <c:v>7.6120000000000001</c:v>
                </c:pt>
                <c:pt idx="3172">
                  <c:v>7.6130000000000004</c:v>
                </c:pt>
                <c:pt idx="3173">
                  <c:v>7.6130000000000004</c:v>
                </c:pt>
                <c:pt idx="3174">
                  <c:v>7.6130000000000004</c:v>
                </c:pt>
                <c:pt idx="3175">
                  <c:v>7.6120000000000001</c:v>
                </c:pt>
                <c:pt idx="3176">
                  <c:v>7.6130000000000004</c:v>
                </c:pt>
                <c:pt idx="3177">
                  <c:v>7.6120000000000001</c:v>
                </c:pt>
                <c:pt idx="3178">
                  <c:v>7.6120000000000001</c:v>
                </c:pt>
                <c:pt idx="3179">
                  <c:v>7.6120000000000001</c:v>
                </c:pt>
                <c:pt idx="3180">
                  <c:v>7.6130000000000004</c:v>
                </c:pt>
                <c:pt idx="3181">
                  <c:v>7.6120000000000001</c:v>
                </c:pt>
                <c:pt idx="3182">
                  <c:v>7.6120000000000001</c:v>
                </c:pt>
                <c:pt idx="3183">
                  <c:v>7.6109999999999998</c:v>
                </c:pt>
                <c:pt idx="3184">
                  <c:v>7.6109999999999998</c:v>
                </c:pt>
                <c:pt idx="3185">
                  <c:v>7.6120000000000001</c:v>
                </c:pt>
                <c:pt idx="3186">
                  <c:v>7.6109999999999998</c:v>
                </c:pt>
                <c:pt idx="3187">
                  <c:v>7.6109999999999998</c:v>
                </c:pt>
                <c:pt idx="3188">
                  <c:v>7.6120000000000001</c:v>
                </c:pt>
                <c:pt idx="3189">
                  <c:v>7.6109999999999998</c:v>
                </c:pt>
                <c:pt idx="3190">
                  <c:v>7.6109999999999998</c:v>
                </c:pt>
                <c:pt idx="3191">
                  <c:v>7.6120000000000001</c:v>
                </c:pt>
                <c:pt idx="3192">
                  <c:v>7.6109999999999998</c:v>
                </c:pt>
                <c:pt idx="3193">
                  <c:v>7.61</c:v>
                </c:pt>
                <c:pt idx="3194">
                  <c:v>7.61</c:v>
                </c:pt>
                <c:pt idx="3195">
                  <c:v>7.61</c:v>
                </c:pt>
                <c:pt idx="3196">
                  <c:v>7.61</c:v>
                </c:pt>
                <c:pt idx="3197">
                  <c:v>7.61</c:v>
                </c:pt>
                <c:pt idx="3198">
                  <c:v>7.61</c:v>
                </c:pt>
                <c:pt idx="3199">
                  <c:v>7.61</c:v>
                </c:pt>
                <c:pt idx="3200">
                  <c:v>7.61</c:v>
                </c:pt>
                <c:pt idx="3201">
                  <c:v>7.609</c:v>
                </c:pt>
                <c:pt idx="3202">
                  <c:v>7.609</c:v>
                </c:pt>
                <c:pt idx="3203">
                  <c:v>7.61</c:v>
                </c:pt>
                <c:pt idx="3204">
                  <c:v>7.609</c:v>
                </c:pt>
                <c:pt idx="3205">
                  <c:v>7.609</c:v>
                </c:pt>
                <c:pt idx="3206">
                  <c:v>7.609</c:v>
                </c:pt>
                <c:pt idx="3207">
                  <c:v>7.609</c:v>
                </c:pt>
                <c:pt idx="3208">
                  <c:v>7.609</c:v>
                </c:pt>
                <c:pt idx="3209">
                  <c:v>7.609</c:v>
                </c:pt>
                <c:pt idx="3210">
                  <c:v>7.609</c:v>
                </c:pt>
                <c:pt idx="3211">
                  <c:v>7.609</c:v>
                </c:pt>
                <c:pt idx="3212">
                  <c:v>7.609</c:v>
                </c:pt>
                <c:pt idx="3213">
                  <c:v>7.609</c:v>
                </c:pt>
                <c:pt idx="3214">
                  <c:v>7.6079999999999997</c:v>
                </c:pt>
                <c:pt idx="3215">
                  <c:v>7.6079999999999997</c:v>
                </c:pt>
                <c:pt idx="3216">
                  <c:v>7.6079999999999997</c:v>
                </c:pt>
                <c:pt idx="3217">
                  <c:v>7.609</c:v>
                </c:pt>
                <c:pt idx="3218">
                  <c:v>7.6079999999999997</c:v>
                </c:pt>
                <c:pt idx="3219">
                  <c:v>7.6079999999999997</c:v>
                </c:pt>
                <c:pt idx="3220">
                  <c:v>7.6079999999999997</c:v>
                </c:pt>
                <c:pt idx="3221">
                  <c:v>7.6079999999999997</c:v>
                </c:pt>
                <c:pt idx="3222">
                  <c:v>7.6079999999999997</c:v>
                </c:pt>
                <c:pt idx="3223">
                  <c:v>7.6070000000000002</c:v>
                </c:pt>
                <c:pt idx="3224">
                  <c:v>7.6079999999999997</c:v>
                </c:pt>
                <c:pt idx="3225">
                  <c:v>7.6079999999999997</c:v>
                </c:pt>
                <c:pt idx="3226">
                  <c:v>7.6079999999999997</c:v>
                </c:pt>
                <c:pt idx="3227">
                  <c:v>7.6070000000000002</c:v>
                </c:pt>
                <c:pt idx="3228">
                  <c:v>7.6070000000000002</c:v>
                </c:pt>
                <c:pt idx="3229">
                  <c:v>7.6070000000000002</c:v>
                </c:pt>
                <c:pt idx="3230">
                  <c:v>7.6079999999999997</c:v>
                </c:pt>
                <c:pt idx="3231">
                  <c:v>7.6070000000000002</c:v>
                </c:pt>
                <c:pt idx="3232">
                  <c:v>7.6070000000000002</c:v>
                </c:pt>
                <c:pt idx="3233">
                  <c:v>7.6079999999999997</c:v>
                </c:pt>
                <c:pt idx="3234">
                  <c:v>7.6070000000000002</c:v>
                </c:pt>
                <c:pt idx="3235">
                  <c:v>7.6070000000000002</c:v>
                </c:pt>
                <c:pt idx="3236">
                  <c:v>7.6070000000000002</c:v>
                </c:pt>
                <c:pt idx="3237">
                  <c:v>7.6070000000000002</c:v>
                </c:pt>
                <c:pt idx="3238">
                  <c:v>7.6059999999999999</c:v>
                </c:pt>
                <c:pt idx="3239">
                  <c:v>7.6059999999999999</c:v>
                </c:pt>
                <c:pt idx="3240">
                  <c:v>7.6059999999999999</c:v>
                </c:pt>
                <c:pt idx="3241">
                  <c:v>7.6059999999999999</c:v>
                </c:pt>
                <c:pt idx="3242">
                  <c:v>7.6059999999999999</c:v>
                </c:pt>
                <c:pt idx="3243">
                  <c:v>7.6059999999999999</c:v>
                </c:pt>
                <c:pt idx="3244">
                  <c:v>7.6050000000000004</c:v>
                </c:pt>
                <c:pt idx="3245">
                  <c:v>7.6050000000000004</c:v>
                </c:pt>
                <c:pt idx="3246">
                  <c:v>7.6050000000000004</c:v>
                </c:pt>
                <c:pt idx="3247">
                  <c:v>7.6050000000000004</c:v>
                </c:pt>
                <c:pt idx="3248">
                  <c:v>7.6050000000000004</c:v>
                </c:pt>
                <c:pt idx="3249">
                  <c:v>7.6050000000000004</c:v>
                </c:pt>
                <c:pt idx="3250">
                  <c:v>7.6050000000000004</c:v>
                </c:pt>
                <c:pt idx="3251">
                  <c:v>7.6050000000000004</c:v>
                </c:pt>
                <c:pt idx="3252">
                  <c:v>7.6040000000000001</c:v>
                </c:pt>
                <c:pt idx="3253">
                  <c:v>7.6040000000000001</c:v>
                </c:pt>
                <c:pt idx="3254">
                  <c:v>7.6050000000000004</c:v>
                </c:pt>
                <c:pt idx="3255">
                  <c:v>7.6040000000000001</c:v>
                </c:pt>
                <c:pt idx="3256">
                  <c:v>7.6040000000000001</c:v>
                </c:pt>
                <c:pt idx="3257">
                  <c:v>7.6040000000000001</c:v>
                </c:pt>
                <c:pt idx="3258">
                  <c:v>7.6040000000000001</c:v>
                </c:pt>
                <c:pt idx="3259">
                  <c:v>7.6040000000000001</c:v>
                </c:pt>
                <c:pt idx="3260">
                  <c:v>7.6040000000000001</c:v>
                </c:pt>
                <c:pt idx="3261">
                  <c:v>7.6040000000000001</c:v>
                </c:pt>
                <c:pt idx="3262">
                  <c:v>7.6040000000000001</c:v>
                </c:pt>
                <c:pt idx="3263">
                  <c:v>7.6029999999999998</c:v>
                </c:pt>
                <c:pt idx="3264">
                  <c:v>7.6040000000000001</c:v>
                </c:pt>
                <c:pt idx="3265">
                  <c:v>7.6029999999999998</c:v>
                </c:pt>
                <c:pt idx="3266">
                  <c:v>7.6040000000000001</c:v>
                </c:pt>
                <c:pt idx="3267">
                  <c:v>7.6040000000000001</c:v>
                </c:pt>
                <c:pt idx="3268">
                  <c:v>7.6040000000000001</c:v>
                </c:pt>
                <c:pt idx="3269">
                  <c:v>7.6029999999999998</c:v>
                </c:pt>
                <c:pt idx="3270">
                  <c:v>7.6029999999999998</c:v>
                </c:pt>
                <c:pt idx="3271">
                  <c:v>7.6029999999999998</c:v>
                </c:pt>
                <c:pt idx="3272">
                  <c:v>7.6029999999999998</c:v>
                </c:pt>
                <c:pt idx="3273">
                  <c:v>7.6029999999999998</c:v>
                </c:pt>
                <c:pt idx="3274">
                  <c:v>7.6029999999999998</c:v>
                </c:pt>
                <c:pt idx="3275">
                  <c:v>7.6029999999999998</c:v>
                </c:pt>
                <c:pt idx="3276">
                  <c:v>7.6020000000000003</c:v>
                </c:pt>
                <c:pt idx="3277">
                  <c:v>7.6020000000000003</c:v>
                </c:pt>
                <c:pt idx="3278">
                  <c:v>7.601</c:v>
                </c:pt>
                <c:pt idx="3279">
                  <c:v>7.6020000000000003</c:v>
                </c:pt>
                <c:pt idx="3280">
                  <c:v>7.6020000000000003</c:v>
                </c:pt>
                <c:pt idx="3281">
                  <c:v>7.6020000000000003</c:v>
                </c:pt>
                <c:pt idx="3282">
                  <c:v>7.6020000000000003</c:v>
                </c:pt>
                <c:pt idx="3283">
                  <c:v>7.601</c:v>
                </c:pt>
                <c:pt idx="3284">
                  <c:v>7.601</c:v>
                </c:pt>
                <c:pt idx="3285">
                  <c:v>7.601</c:v>
                </c:pt>
                <c:pt idx="3286">
                  <c:v>7.6020000000000003</c:v>
                </c:pt>
                <c:pt idx="3287">
                  <c:v>7.601</c:v>
                </c:pt>
                <c:pt idx="3288">
                  <c:v>7.601</c:v>
                </c:pt>
                <c:pt idx="3289">
                  <c:v>7.601</c:v>
                </c:pt>
                <c:pt idx="3290">
                  <c:v>7.601</c:v>
                </c:pt>
                <c:pt idx="3291">
                  <c:v>7.601</c:v>
                </c:pt>
                <c:pt idx="3292">
                  <c:v>7.601</c:v>
                </c:pt>
                <c:pt idx="3293">
                  <c:v>7.601</c:v>
                </c:pt>
                <c:pt idx="3294">
                  <c:v>7.601</c:v>
                </c:pt>
                <c:pt idx="3295">
                  <c:v>7.601</c:v>
                </c:pt>
                <c:pt idx="3296">
                  <c:v>7.601</c:v>
                </c:pt>
                <c:pt idx="3297">
                  <c:v>7.601</c:v>
                </c:pt>
                <c:pt idx="3298">
                  <c:v>7.601</c:v>
                </c:pt>
                <c:pt idx="3299">
                  <c:v>7.6</c:v>
                </c:pt>
                <c:pt idx="3300">
                  <c:v>7.6</c:v>
                </c:pt>
                <c:pt idx="3301">
                  <c:v>7.6</c:v>
                </c:pt>
                <c:pt idx="3302">
                  <c:v>7.6</c:v>
                </c:pt>
                <c:pt idx="3303">
                  <c:v>7.5990000000000002</c:v>
                </c:pt>
                <c:pt idx="3304">
                  <c:v>7.601</c:v>
                </c:pt>
                <c:pt idx="3305">
                  <c:v>7.5990000000000002</c:v>
                </c:pt>
                <c:pt idx="3306">
                  <c:v>7.6</c:v>
                </c:pt>
                <c:pt idx="3307">
                  <c:v>7.6</c:v>
                </c:pt>
                <c:pt idx="3308">
                  <c:v>7.6</c:v>
                </c:pt>
                <c:pt idx="3309">
                  <c:v>7.5990000000000002</c:v>
                </c:pt>
                <c:pt idx="3310">
                  <c:v>7.6</c:v>
                </c:pt>
                <c:pt idx="3311">
                  <c:v>7.6</c:v>
                </c:pt>
                <c:pt idx="3312">
                  <c:v>7.5990000000000002</c:v>
                </c:pt>
                <c:pt idx="3313">
                  <c:v>7.5990000000000002</c:v>
                </c:pt>
                <c:pt idx="3314">
                  <c:v>7.5990000000000002</c:v>
                </c:pt>
                <c:pt idx="3315">
                  <c:v>7.5979999999999999</c:v>
                </c:pt>
                <c:pt idx="3316">
                  <c:v>7.5990000000000002</c:v>
                </c:pt>
                <c:pt idx="3317">
                  <c:v>7.5990000000000002</c:v>
                </c:pt>
                <c:pt idx="3318">
                  <c:v>7.5990000000000002</c:v>
                </c:pt>
                <c:pt idx="3319">
                  <c:v>7.5990000000000002</c:v>
                </c:pt>
                <c:pt idx="3320">
                  <c:v>7.5979999999999999</c:v>
                </c:pt>
                <c:pt idx="3321">
                  <c:v>7.5979999999999999</c:v>
                </c:pt>
                <c:pt idx="3322">
                  <c:v>7.5979999999999999</c:v>
                </c:pt>
                <c:pt idx="3323">
                  <c:v>7.5979999999999999</c:v>
                </c:pt>
                <c:pt idx="3324">
                  <c:v>7.5990000000000002</c:v>
                </c:pt>
                <c:pt idx="3325">
                  <c:v>7.5979999999999999</c:v>
                </c:pt>
                <c:pt idx="3326">
                  <c:v>7.5979999999999999</c:v>
                </c:pt>
                <c:pt idx="3327">
                  <c:v>7.5979999999999999</c:v>
                </c:pt>
                <c:pt idx="3328">
                  <c:v>7.5979999999999999</c:v>
                </c:pt>
                <c:pt idx="3329">
                  <c:v>7.5979999999999999</c:v>
                </c:pt>
                <c:pt idx="3330">
                  <c:v>7.5970000000000004</c:v>
                </c:pt>
                <c:pt idx="3331">
                  <c:v>7.5979999999999999</c:v>
                </c:pt>
                <c:pt idx="3332">
                  <c:v>7.5970000000000004</c:v>
                </c:pt>
                <c:pt idx="3333">
                  <c:v>7.5979999999999999</c:v>
                </c:pt>
                <c:pt idx="3334">
                  <c:v>7.5970000000000004</c:v>
                </c:pt>
                <c:pt idx="3335">
                  <c:v>7.5970000000000004</c:v>
                </c:pt>
                <c:pt idx="3336">
                  <c:v>7.5970000000000004</c:v>
                </c:pt>
                <c:pt idx="3337">
                  <c:v>7.5960000000000001</c:v>
                </c:pt>
                <c:pt idx="3338">
                  <c:v>7.5960000000000001</c:v>
                </c:pt>
                <c:pt idx="3339">
                  <c:v>7.5970000000000004</c:v>
                </c:pt>
                <c:pt idx="3340">
                  <c:v>7.5960000000000001</c:v>
                </c:pt>
                <c:pt idx="3341">
                  <c:v>7.5970000000000004</c:v>
                </c:pt>
                <c:pt idx="3342">
                  <c:v>7.5970000000000004</c:v>
                </c:pt>
                <c:pt idx="3343">
                  <c:v>7.5960000000000001</c:v>
                </c:pt>
                <c:pt idx="3344">
                  <c:v>7.5960000000000001</c:v>
                </c:pt>
                <c:pt idx="3345">
                  <c:v>7.5949999999999998</c:v>
                </c:pt>
                <c:pt idx="3346">
                  <c:v>7.5960000000000001</c:v>
                </c:pt>
                <c:pt idx="3347">
                  <c:v>7.5949999999999998</c:v>
                </c:pt>
                <c:pt idx="3348">
                  <c:v>7.5949999999999998</c:v>
                </c:pt>
                <c:pt idx="3349">
                  <c:v>7.5960000000000001</c:v>
                </c:pt>
                <c:pt idx="3350">
                  <c:v>7.5949999999999998</c:v>
                </c:pt>
                <c:pt idx="3351">
                  <c:v>7.5940000000000003</c:v>
                </c:pt>
                <c:pt idx="3352">
                  <c:v>7.5949999999999998</c:v>
                </c:pt>
                <c:pt idx="3353">
                  <c:v>7.5949999999999998</c:v>
                </c:pt>
                <c:pt idx="3354">
                  <c:v>7.5949999999999998</c:v>
                </c:pt>
                <c:pt idx="3355">
                  <c:v>7.5940000000000003</c:v>
                </c:pt>
                <c:pt idx="3356">
                  <c:v>7.5949999999999998</c:v>
                </c:pt>
                <c:pt idx="3357">
                  <c:v>7.5949999999999998</c:v>
                </c:pt>
                <c:pt idx="3358">
                  <c:v>7.5949999999999998</c:v>
                </c:pt>
                <c:pt idx="3359">
                  <c:v>7.5949999999999998</c:v>
                </c:pt>
                <c:pt idx="3360">
                  <c:v>7.5949999999999998</c:v>
                </c:pt>
                <c:pt idx="3361">
                  <c:v>7.5949999999999998</c:v>
                </c:pt>
                <c:pt idx="3362">
                  <c:v>7.5940000000000003</c:v>
                </c:pt>
                <c:pt idx="3363">
                  <c:v>7.593</c:v>
                </c:pt>
                <c:pt idx="3364">
                  <c:v>7.5940000000000003</c:v>
                </c:pt>
                <c:pt idx="3365">
                  <c:v>7.5940000000000003</c:v>
                </c:pt>
                <c:pt idx="3366">
                  <c:v>7.5940000000000003</c:v>
                </c:pt>
                <c:pt idx="3367">
                  <c:v>7.5940000000000003</c:v>
                </c:pt>
                <c:pt idx="3368">
                  <c:v>7.5940000000000003</c:v>
                </c:pt>
                <c:pt idx="3369">
                  <c:v>7.593</c:v>
                </c:pt>
                <c:pt idx="3370">
                  <c:v>7.5940000000000003</c:v>
                </c:pt>
                <c:pt idx="3371">
                  <c:v>7.5940000000000003</c:v>
                </c:pt>
                <c:pt idx="3372">
                  <c:v>7.5940000000000003</c:v>
                </c:pt>
                <c:pt idx="3373">
                  <c:v>7.593</c:v>
                </c:pt>
                <c:pt idx="3374">
                  <c:v>7.593</c:v>
                </c:pt>
                <c:pt idx="3375">
                  <c:v>7.593</c:v>
                </c:pt>
                <c:pt idx="3376">
                  <c:v>7.593</c:v>
                </c:pt>
                <c:pt idx="3377">
                  <c:v>7.5919999999999996</c:v>
                </c:pt>
                <c:pt idx="3378">
                  <c:v>7.593</c:v>
                </c:pt>
                <c:pt idx="3379">
                  <c:v>7.5919999999999996</c:v>
                </c:pt>
                <c:pt idx="3380">
                  <c:v>7.5919999999999996</c:v>
                </c:pt>
                <c:pt idx="3381">
                  <c:v>7.593</c:v>
                </c:pt>
                <c:pt idx="3382">
                  <c:v>7.593</c:v>
                </c:pt>
                <c:pt idx="3383">
                  <c:v>7.5919999999999996</c:v>
                </c:pt>
                <c:pt idx="3384">
                  <c:v>7.5919999999999996</c:v>
                </c:pt>
                <c:pt idx="3385">
                  <c:v>7.5919999999999996</c:v>
                </c:pt>
                <c:pt idx="3386">
                  <c:v>7.5919999999999996</c:v>
                </c:pt>
                <c:pt idx="3387">
                  <c:v>7.5919999999999996</c:v>
                </c:pt>
                <c:pt idx="3388">
                  <c:v>7.5919999999999996</c:v>
                </c:pt>
                <c:pt idx="3389">
                  <c:v>7.5919999999999996</c:v>
                </c:pt>
                <c:pt idx="3390">
                  <c:v>7.5919999999999996</c:v>
                </c:pt>
                <c:pt idx="3391">
                  <c:v>7.5919999999999996</c:v>
                </c:pt>
                <c:pt idx="3392">
                  <c:v>7.5919999999999996</c:v>
                </c:pt>
                <c:pt idx="3393">
                  <c:v>7.5910000000000002</c:v>
                </c:pt>
                <c:pt idx="3394">
                  <c:v>7.5910000000000002</c:v>
                </c:pt>
                <c:pt idx="3395">
                  <c:v>7.5910000000000002</c:v>
                </c:pt>
                <c:pt idx="3396">
                  <c:v>7.5910000000000002</c:v>
                </c:pt>
                <c:pt idx="3397">
                  <c:v>7.5910000000000002</c:v>
                </c:pt>
                <c:pt idx="3398">
                  <c:v>7.5910000000000002</c:v>
                </c:pt>
                <c:pt idx="3399">
                  <c:v>7.5910000000000002</c:v>
                </c:pt>
                <c:pt idx="3400">
                  <c:v>7.59</c:v>
                </c:pt>
                <c:pt idx="3401">
                  <c:v>7.5910000000000002</c:v>
                </c:pt>
                <c:pt idx="3402">
                  <c:v>7.59</c:v>
                </c:pt>
                <c:pt idx="3403">
                  <c:v>7.5910000000000002</c:v>
                </c:pt>
                <c:pt idx="3404">
                  <c:v>7.59</c:v>
                </c:pt>
                <c:pt idx="3405">
                  <c:v>7.59</c:v>
                </c:pt>
                <c:pt idx="3406">
                  <c:v>7.59</c:v>
                </c:pt>
                <c:pt idx="3407">
                  <c:v>7.5890000000000004</c:v>
                </c:pt>
                <c:pt idx="3408">
                  <c:v>7.5910000000000002</c:v>
                </c:pt>
                <c:pt idx="3409">
                  <c:v>7.59</c:v>
                </c:pt>
                <c:pt idx="3410">
                  <c:v>7.5890000000000004</c:v>
                </c:pt>
                <c:pt idx="3411">
                  <c:v>7.5890000000000004</c:v>
                </c:pt>
                <c:pt idx="3412">
                  <c:v>7.5890000000000004</c:v>
                </c:pt>
                <c:pt idx="3413">
                  <c:v>7.5890000000000004</c:v>
                </c:pt>
                <c:pt idx="3414">
                  <c:v>7.59</c:v>
                </c:pt>
                <c:pt idx="3415">
                  <c:v>7.5890000000000004</c:v>
                </c:pt>
                <c:pt idx="3416">
                  <c:v>7.5890000000000004</c:v>
                </c:pt>
                <c:pt idx="3417">
                  <c:v>7.5890000000000004</c:v>
                </c:pt>
                <c:pt idx="3418">
                  <c:v>7.5890000000000004</c:v>
                </c:pt>
                <c:pt idx="3419">
                  <c:v>7.5890000000000004</c:v>
                </c:pt>
                <c:pt idx="3420">
                  <c:v>7.5890000000000004</c:v>
                </c:pt>
                <c:pt idx="3421">
                  <c:v>7.5880000000000001</c:v>
                </c:pt>
                <c:pt idx="3422">
                  <c:v>7.5890000000000004</c:v>
                </c:pt>
                <c:pt idx="3423">
                  <c:v>7.5890000000000004</c:v>
                </c:pt>
                <c:pt idx="3424">
                  <c:v>7.5890000000000004</c:v>
                </c:pt>
                <c:pt idx="3425">
                  <c:v>7.5880000000000001</c:v>
                </c:pt>
                <c:pt idx="3426">
                  <c:v>7.5880000000000001</c:v>
                </c:pt>
                <c:pt idx="3427">
                  <c:v>7.5880000000000001</c:v>
                </c:pt>
                <c:pt idx="3428">
                  <c:v>7.5880000000000001</c:v>
                </c:pt>
                <c:pt idx="3429">
                  <c:v>7.5880000000000001</c:v>
                </c:pt>
                <c:pt idx="3430">
                  <c:v>7.5880000000000001</c:v>
                </c:pt>
                <c:pt idx="3431">
                  <c:v>7.5869999999999997</c:v>
                </c:pt>
                <c:pt idx="3432">
                  <c:v>7.5869999999999997</c:v>
                </c:pt>
                <c:pt idx="3433">
                  <c:v>7.5880000000000001</c:v>
                </c:pt>
                <c:pt idx="3434">
                  <c:v>7.5869999999999997</c:v>
                </c:pt>
                <c:pt idx="3435">
                  <c:v>7.5869999999999997</c:v>
                </c:pt>
                <c:pt idx="3436">
                  <c:v>7.5869999999999997</c:v>
                </c:pt>
                <c:pt idx="3437">
                  <c:v>7.5869999999999997</c:v>
                </c:pt>
                <c:pt idx="3438">
                  <c:v>7.5869999999999997</c:v>
                </c:pt>
                <c:pt idx="3439">
                  <c:v>7.5869999999999997</c:v>
                </c:pt>
                <c:pt idx="3440">
                  <c:v>7.5860000000000003</c:v>
                </c:pt>
                <c:pt idx="3441">
                  <c:v>7.5869999999999997</c:v>
                </c:pt>
                <c:pt idx="3442">
                  <c:v>7.5860000000000003</c:v>
                </c:pt>
                <c:pt idx="3443">
                  <c:v>7.5869999999999997</c:v>
                </c:pt>
                <c:pt idx="3444">
                  <c:v>7.5860000000000003</c:v>
                </c:pt>
                <c:pt idx="3445">
                  <c:v>7.5860000000000003</c:v>
                </c:pt>
                <c:pt idx="3446">
                  <c:v>7.5869999999999997</c:v>
                </c:pt>
                <c:pt idx="3447">
                  <c:v>7.5860000000000003</c:v>
                </c:pt>
                <c:pt idx="3448">
                  <c:v>7.5860000000000003</c:v>
                </c:pt>
                <c:pt idx="3449">
                  <c:v>7.5860000000000003</c:v>
                </c:pt>
                <c:pt idx="3450">
                  <c:v>7.5860000000000003</c:v>
                </c:pt>
                <c:pt idx="3451">
                  <c:v>7.5860000000000003</c:v>
                </c:pt>
                <c:pt idx="3452">
                  <c:v>7.5860000000000003</c:v>
                </c:pt>
                <c:pt idx="3453">
                  <c:v>7.5860000000000003</c:v>
                </c:pt>
                <c:pt idx="3454">
                  <c:v>7.585</c:v>
                </c:pt>
                <c:pt idx="3455">
                  <c:v>7.5860000000000003</c:v>
                </c:pt>
                <c:pt idx="3456">
                  <c:v>7.585</c:v>
                </c:pt>
                <c:pt idx="3457">
                  <c:v>7.585</c:v>
                </c:pt>
                <c:pt idx="3458">
                  <c:v>7.585</c:v>
                </c:pt>
                <c:pt idx="3459">
                  <c:v>7.585</c:v>
                </c:pt>
                <c:pt idx="3460">
                  <c:v>7.585</c:v>
                </c:pt>
                <c:pt idx="3461">
                  <c:v>7.585</c:v>
                </c:pt>
                <c:pt idx="3462">
                  <c:v>7.5839999999999996</c:v>
                </c:pt>
                <c:pt idx="3463">
                  <c:v>7.5839999999999996</c:v>
                </c:pt>
                <c:pt idx="3464">
                  <c:v>7.585</c:v>
                </c:pt>
                <c:pt idx="3465">
                  <c:v>7.5839999999999996</c:v>
                </c:pt>
                <c:pt idx="3466">
                  <c:v>7.585</c:v>
                </c:pt>
                <c:pt idx="3467">
                  <c:v>7.585</c:v>
                </c:pt>
                <c:pt idx="3468">
                  <c:v>7.5839999999999996</c:v>
                </c:pt>
                <c:pt idx="3469">
                  <c:v>7.5839999999999996</c:v>
                </c:pt>
                <c:pt idx="3470">
                  <c:v>7.5839999999999996</c:v>
                </c:pt>
                <c:pt idx="3471">
                  <c:v>7.5839999999999996</c:v>
                </c:pt>
                <c:pt idx="3472">
                  <c:v>7.5839999999999996</c:v>
                </c:pt>
                <c:pt idx="3473">
                  <c:v>7.5839999999999996</c:v>
                </c:pt>
                <c:pt idx="3474">
                  <c:v>7.5839999999999996</c:v>
                </c:pt>
                <c:pt idx="3475">
                  <c:v>7.5839999999999996</c:v>
                </c:pt>
                <c:pt idx="3476">
                  <c:v>7.5839999999999996</c:v>
                </c:pt>
                <c:pt idx="3477">
                  <c:v>7.5839999999999996</c:v>
                </c:pt>
                <c:pt idx="3478">
                  <c:v>7.5839999999999996</c:v>
                </c:pt>
                <c:pt idx="3479">
                  <c:v>7.5830000000000002</c:v>
                </c:pt>
                <c:pt idx="3480">
                  <c:v>7.5839999999999996</c:v>
                </c:pt>
                <c:pt idx="3481">
                  <c:v>7.5830000000000002</c:v>
                </c:pt>
                <c:pt idx="3482">
                  <c:v>7.5830000000000002</c:v>
                </c:pt>
                <c:pt idx="3483">
                  <c:v>7.5839999999999996</c:v>
                </c:pt>
                <c:pt idx="3484">
                  <c:v>7.5830000000000002</c:v>
                </c:pt>
                <c:pt idx="3485">
                  <c:v>7.5830000000000002</c:v>
                </c:pt>
                <c:pt idx="3486">
                  <c:v>7.5830000000000002</c:v>
                </c:pt>
                <c:pt idx="3487">
                  <c:v>7.5830000000000002</c:v>
                </c:pt>
                <c:pt idx="3488">
                  <c:v>7.5819999999999999</c:v>
                </c:pt>
                <c:pt idx="3489">
                  <c:v>7.5830000000000002</c:v>
                </c:pt>
                <c:pt idx="3490">
                  <c:v>7.5819999999999999</c:v>
                </c:pt>
                <c:pt idx="3491">
                  <c:v>7.5830000000000002</c:v>
                </c:pt>
                <c:pt idx="3492">
                  <c:v>7.5819999999999999</c:v>
                </c:pt>
                <c:pt idx="3493">
                  <c:v>7.5819999999999999</c:v>
                </c:pt>
                <c:pt idx="3494">
                  <c:v>7.5819999999999999</c:v>
                </c:pt>
                <c:pt idx="3495">
                  <c:v>7.5819999999999999</c:v>
                </c:pt>
                <c:pt idx="3496">
                  <c:v>7.5819999999999999</c:v>
                </c:pt>
                <c:pt idx="3497">
                  <c:v>7.5819999999999999</c:v>
                </c:pt>
                <c:pt idx="3498">
                  <c:v>7.5810000000000004</c:v>
                </c:pt>
                <c:pt idx="3499">
                  <c:v>7.5810000000000004</c:v>
                </c:pt>
                <c:pt idx="3500">
                  <c:v>7.5819999999999999</c:v>
                </c:pt>
                <c:pt idx="3501">
                  <c:v>7.5810000000000004</c:v>
                </c:pt>
                <c:pt idx="3502">
                  <c:v>7.5810000000000004</c:v>
                </c:pt>
                <c:pt idx="3503">
                  <c:v>7.5810000000000004</c:v>
                </c:pt>
                <c:pt idx="3504">
                  <c:v>7.5810000000000004</c:v>
                </c:pt>
                <c:pt idx="3505">
                  <c:v>7.5810000000000004</c:v>
                </c:pt>
                <c:pt idx="3506">
                  <c:v>7.5810000000000004</c:v>
                </c:pt>
                <c:pt idx="3507">
                  <c:v>7.5810000000000004</c:v>
                </c:pt>
                <c:pt idx="3508">
                  <c:v>7.58</c:v>
                </c:pt>
                <c:pt idx="3509">
                  <c:v>7.5810000000000004</c:v>
                </c:pt>
                <c:pt idx="3510">
                  <c:v>7.58</c:v>
                </c:pt>
                <c:pt idx="3511">
                  <c:v>7.58</c:v>
                </c:pt>
                <c:pt idx="3512">
                  <c:v>7.58</c:v>
                </c:pt>
                <c:pt idx="3513">
                  <c:v>7.5810000000000004</c:v>
                </c:pt>
                <c:pt idx="3514">
                  <c:v>7.58</c:v>
                </c:pt>
                <c:pt idx="3515">
                  <c:v>7.58</c:v>
                </c:pt>
                <c:pt idx="3516">
                  <c:v>7.58</c:v>
                </c:pt>
                <c:pt idx="3517">
                  <c:v>7.5810000000000004</c:v>
                </c:pt>
                <c:pt idx="3518">
                  <c:v>7.58</c:v>
                </c:pt>
                <c:pt idx="3519">
                  <c:v>7.58</c:v>
                </c:pt>
                <c:pt idx="3520">
                  <c:v>7.58</c:v>
                </c:pt>
                <c:pt idx="3521">
                  <c:v>7.58</c:v>
                </c:pt>
                <c:pt idx="3522">
                  <c:v>7.5789999999999997</c:v>
                </c:pt>
                <c:pt idx="3523">
                  <c:v>7.5789999999999997</c:v>
                </c:pt>
                <c:pt idx="3524">
                  <c:v>7.58</c:v>
                </c:pt>
                <c:pt idx="3525">
                  <c:v>7.5789999999999997</c:v>
                </c:pt>
                <c:pt idx="3526">
                  <c:v>7.5789999999999997</c:v>
                </c:pt>
                <c:pt idx="3527">
                  <c:v>7.5789999999999997</c:v>
                </c:pt>
                <c:pt idx="3528">
                  <c:v>7.5789999999999997</c:v>
                </c:pt>
                <c:pt idx="3529">
                  <c:v>7.5789999999999997</c:v>
                </c:pt>
                <c:pt idx="3530">
                  <c:v>7.5789999999999997</c:v>
                </c:pt>
                <c:pt idx="3531">
                  <c:v>7.5789999999999997</c:v>
                </c:pt>
                <c:pt idx="3532">
                  <c:v>7.5789999999999997</c:v>
                </c:pt>
                <c:pt idx="3533">
                  <c:v>7.5780000000000003</c:v>
                </c:pt>
                <c:pt idx="3534">
                  <c:v>7.5780000000000003</c:v>
                </c:pt>
                <c:pt idx="3535">
                  <c:v>7.5780000000000003</c:v>
                </c:pt>
                <c:pt idx="3536">
                  <c:v>7.5789999999999997</c:v>
                </c:pt>
                <c:pt idx="3537">
                  <c:v>7.5780000000000003</c:v>
                </c:pt>
                <c:pt idx="3538">
                  <c:v>7.5780000000000003</c:v>
                </c:pt>
                <c:pt idx="3539">
                  <c:v>7.5780000000000003</c:v>
                </c:pt>
                <c:pt idx="3540">
                  <c:v>7.5780000000000003</c:v>
                </c:pt>
                <c:pt idx="3541">
                  <c:v>7.5780000000000003</c:v>
                </c:pt>
                <c:pt idx="3542">
                  <c:v>7.577</c:v>
                </c:pt>
                <c:pt idx="3543">
                  <c:v>7.5780000000000003</c:v>
                </c:pt>
                <c:pt idx="3544">
                  <c:v>7.5780000000000003</c:v>
                </c:pt>
                <c:pt idx="3545">
                  <c:v>7.5780000000000003</c:v>
                </c:pt>
                <c:pt idx="3546">
                  <c:v>7.5780000000000003</c:v>
                </c:pt>
                <c:pt idx="3547">
                  <c:v>7.577</c:v>
                </c:pt>
                <c:pt idx="3548">
                  <c:v>7.577</c:v>
                </c:pt>
                <c:pt idx="3549">
                  <c:v>7.577</c:v>
                </c:pt>
                <c:pt idx="3550">
                  <c:v>7.577</c:v>
                </c:pt>
                <c:pt idx="3551">
                  <c:v>7.577</c:v>
                </c:pt>
                <c:pt idx="3552">
                  <c:v>7.5780000000000003</c:v>
                </c:pt>
                <c:pt idx="3553">
                  <c:v>7.577</c:v>
                </c:pt>
                <c:pt idx="3554">
                  <c:v>7.577</c:v>
                </c:pt>
                <c:pt idx="3555">
                  <c:v>7.577</c:v>
                </c:pt>
                <c:pt idx="3556">
                  <c:v>7.577</c:v>
                </c:pt>
                <c:pt idx="3557">
                  <c:v>7.5759999999999996</c:v>
                </c:pt>
                <c:pt idx="3558">
                  <c:v>7.577</c:v>
                </c:pt>
                <c:pt idx="3559">
                  <c:v>7.5759999999999996</c:v>
                </c:pt>
                <c:pt idx="3560">
                  <c:v>7.577</c:v>
                </c:pt>
                <c:pt idx="3561">
                  <c:v>7.5759999999999996</c:v>
                </c:pt>
                <c:pt idx="3562">
                  <c:v>7.5759999999999996</c:v>
                </c:pt>
                <c:pt idx="3563">
                  <c:v>7.5759999999999996</c:v>
                </c:pt>
                <c:pt idx="3564">
                  <c:v>7.5759999999999996</c:v>
                </c:pt>
                <c:pt idx="3565">
                  <c:v>7.5759999999999996</c:v>
                </c:pt>
                <c:pt idx="3566">
                  <c:v>7.5759999999999996</c:v>
                </c:pt>
                <c:pt idx="3567">
                  <c:v>7.5759999999999996</c:v>
                </c:pt>
                <c:pt idx="3568">
                  <c:v>7.5759999999999996</c:v>
                </c:pt>
                <c:pt idx="3569">
                  <c:v>7.5759999999999996</c:v>
                </c:pt>
                <c:pt idx="3570">
                  <c:v>7.5759999999999996</c:v>
                </c:pt>
                <c:pt idx="3571">
                  <c:v>7.5750000000000002</c:v>
                </c:pt>
                <c:pt idx="3572">
                  <c:v>7.5750000000000002</c:v>
                </c:pt>
                <c:pt idx="3573">
                  <c:v>7.5750000000000002</c:v>
                </c:pt>
                <c:pt idx="3574">
                  <c:v>7.5759999999999996</c:v>
                </c:pt>
                <c:pt idx="3575">
                  <c:v>7.5750000000000002</c:v>
                </c:pt>
                <c:pt idx="3576">
                  <c:v>7.5750000000000002</c:v>
                </c:pt>
                <c:pt idx="3577">
                  <c:v>7.5750000000000002</c:v>
                </c:pt>
                <c:pt idx="3578">
                  <c:v>7.5750000000000002</c:v>
                </c:pt>
                <c:pt idx="3579">
                  <c:v>7.5750000000000002</c:v>
                </c:pt>
                <c:pt idx="3580">
                  <c:v>7.5739999999999998</c:v>
                </c:pt>
                <c:pt idx="3581">
                  <c:v>7.5750000000000002</c:v>
                </c:pt>
                <c:pt idx="3582">
                  <c:v>7.5739999999999998</c:v>
                </c:pt>
                <c:pt idx="3583">
                  <c:v>7.5739999999999998</c:v>
                </c:pt>
                <c:pt idx="3584">
                  <c:v>7.5750000000000002</c:v>
                </c:pt>
                <c:pt idx="3585">
                  <c:v>7.5750000000000002</c:v>
                </c:pt>
                <c:pt idx="3586">
                  <c:v>7.5739999999999998</c:v>
                </c:pt>
                <c:pt idx="3587">
                  <c:v>7.5739999999999998</c:v>
                </c:pt>
                <c:pt idx="3588">
                  <c:v>7.5739999999999998</c:v>
                </c:pt>
                <c:pt idx="3589">
                  <c:v>7.5739999999999998</c:v>
                </c:pt>
                <c:pt idx="3590">
                  <c:v>7.5739999999999998</c:v>
                </c:pt>
                <c:pt idx="3591">
                  <c:v>7.5739999999999998</c:v>
                </c:pt>
                <c:pt idx="3592">
                  <c:v>7.5739999999999998</c:v>
                </c:pt>
                <c:pt idx="3593">
                  <c:v>7.5739999999999998</c:v>
                </c:pt>
                <c:pt idx="3594">
                  <c:v>7.5730000000000004</c:v>
                </c:pt>
                <c:pt idx="3595">
                  <c:v>7.5730000000000004</c:v>
                </c:pt>
                <c:pt idx="3596">
                  <c:v>7.5739999999999998</c:v>
                </c:pt>
                <c:pt idx="3597">
                  <c:v>7.5739999999999998</c:v>
                </c:pt>
                <c:pt idx="3598">
                  <c:v>7.5730000000000004</c:v>
                </c:pt>
                <c:pt idx="3599">
                  <c:v>7.5730000000000004</c:v>
                </c:pt>
                <c:pt idx="3600">
                  <c:v>7.5730000000000004</c:v>
                </c:pt>
                <c:pt idx="3601">
                  <c:v>7.5730000000000004</c:v>
                </c:pt>
                <c:pt idx="3602">
                  <c:v>7.5720000000000001</c:v>
                </c:pt>
                <c:pt idx="3603">
                  <c:v>7.5730000000000004</c:v>
                </c:pt>
                <c:pt idx="3604">
                  <c:v>7.5730000000000004</c:v>
                </c:pt>
                <c:pt idx="3605">
                  <c:v>7.5739999999999998</c:v>
                </c:pt>
                <c:pt idx="3606">
                  <c:v>7.5730000000000004</c:v>
                </c:pt>
                <c:pt idx="3607">
                  <c:v>7.5730000000000004</c:v>
                </c:pt>
                <c:pt idx="3608">
                  <c:v>7.5720000000000001</c:v>
                </c:pt>
                <c:pt idx="3609">
                  <c:v>7.5720000000000001</c:v>
                </c:pt>
                <c:pt idx="3610">
                  <c:v>7.5720000000000001</c:v>
                </c:pt>
                <c:pt idx="3611">
                  <c:v>7.5720000000000001</c:v>
                </c:pt>
                <c:pt idx="3612">
                  <c:v>7.5720000000000001</c:v>
                </c:pt>
                <c:pt idx="3613">
                  <c:v>7.5709999999999997</c:v>
                </c:pt>
                <c:pt idx="3614">
                  <c:v>7.5709999999999997</c:v>
                </c:pt>
                <c:pt idx="3615">
                  <c:v>7.5720000000000001</c:v>
                </c:pt>
                <c:pt idx="3616">
                  <c:v>7.5720000000000001</c:v>
                </c:pt>
                <c:pt idx="3617">
                  <c:v>7.5709999999999997</c:v>
                </c:pt>
                <c:pt idx="3618">
                  <c:v>7.5709999999999997</c:v>
                </c:pt>
                <c:pt idx="3619">
                  <c:v>7.5720000000000001</c:v>
                </c:pt>
                <c:pt idx="3620">
                  <c:v>7.5709999999999997</c:v>
                </c:pt>
                <c:pt idx="3621">
                  <c:v>7.5709999999999997</c:v>
                </c:pt>
                <c:pt idx="3622">
                  <c:v>7.57</c:v>
                </c:pt>
                <c:pt idx="3623">
                  <c:v>7.5709999999999997</c:v>
                </c:pt>
                <c:pt idx="3624">
                  <c:v>7.5720000000000001</c:v>
                </c:pt>
                <c:pt idx="3625">
                  <c:v>7.5709999999999997</c:v>
                </c:pt>
                <c:pt idx="3626">
                  <c:v>7.5709999999999997</c:v>
                </c:pt>
                <c:pt idx="3627">
                  <c:v>7.57</c:v>
                </c:pt>
                <c:pt idx="3628">
                  <c:v>7.5709999999999997</c:v>
                </c:pt>
                <c:pt idx="3629">
                  <c:v>7.5709999999999997</c:v>
                </c:pt>
                <c:pt idx="3630">
                  <c:v>7.5709999999999997</c:v>
                </c:pt>
                <c:pt idx="3631">
                  <c:v>7.57</c:v>
                </c:pt>
                <c:pt idx="3632">
                  <c:v>7.5709999999999997</c:v>
                </c:pt>
                <c:pt idx="3633">
                  <c:v>7.5709999999999997</c:v>
                </c:pt>
                <c:pt idx="3634">
                  <c:v>7.57</c:v>
                </c:pt>
                <c:pt idx="3635">
                  <c:v>7.57</c:v>
                </c:pt>
                <c:pt idx="3636">
                  <c:v>7.57</c:v>
                </c:pt>
                <c:pt idx="3637">
                  <c:v>7.57</c:v>
                </c:pt>
                <c:pt idx="3638">
                  <c:v>7.57</c:v>
                </c:pt>
                <c:pt idx="3639">
                  <c:v>7.569</c:v>
                </c:pt>
                <c:pt idx="3640">
                  <c:v>7.57</c:v>
                </c:pt>
                <c:pt idx="3641">
                  <c:v>7.569</c:v>
                </c:pt>
                <c:pt idx="3642">
                  <c:v>7.569</c:v>
                </c:pt>
                <c:pt idx="3643">
                  <c:v>7.57</c:v>
                </c:pt>
                <c:pt idx="3644">
                  <c:v>7.569</c:v>
                </c:pt>
                <c:pt idx="3645">
                  <c:v>7.569</c:v>
                </c:pt>
                <c:pt idx="3646">
                  <c:v>7.569</c:v>
                </c:pt>
                <c:pt idx="3647">
                  <c:v>7.569</c:v>
                </c:pt>
                <c:pt idx="3648">
                  <c:v>7.569</c:v>
                </c:pt>
                <c:pt idx="3649">
                  <c:v>7.569</c:v>
                </c:pt>
                <c:pt idx="3650">
                  <c:v>7.569</c:v>
                </c:pt>
                <c:pt idx="3651">
                  <c:v>7.5679999999999996</c:v>
                </c:pt>
                <c:pt idx="3652">
                  <c:v>7.5679999999999996</c:v>
                </c:pt>
                <c:pt idx="3653">
                  <c:v>7.5679999999999996</c:v>
                </c:pt>
                <c:pt idx="3654">
                  <c:v>7.5679999999999996</c:v>
                </c:pt>
                <c:pt idx="3655">
                  <c:v>7.569</c:v>
                </c:pt>
                <c:pt idx="3656">
                  <c:v>7.5679999999999996</c:v>
                </c:pt>
                <c:pt idx="3657">
                  <c:v>7.5679999999999996</c:v>
                </c:pt>
                <c:pt idx="3658">
                  <c:v>7.5679999999999996</c:v>
                </c:pt>
                <c:pt idx="3659">
                  <c:v>7.5679999999999996</c:v>
                </c:pt>
                <c:pt idx="3660">
                  <c:v>7.5670000000000002</c:v>
                </c:pt>
                <c:pt idx="3661">
                  <c:v>7.5679999999999996</c:v>
                </c:pt>
                <c:pt idx="3662">
                  <c:v>7.5679999999999996</c:v>
                </c:pt>
                <c:pt idx="3663">
                  <c:v>7.5670000000000002</c:v>
                </c:pt>
                <c:pt idx="3664">
                  <c:v>7.5679999999999996</c:v>
                </c:pt>
                <c:pt idx="3665">
                  <c:v>7.5670000000000002</c:v>
                </c:pt>
                <c:pt idx="3666">
                  <c:v>7.5670000000000002</c:v>
                </c:pt>
                <c:pt idx="3667">
                  <c:v>7.5670000000000002</c:v>
                </c:pt>
                <c:pt idx="3668">
                  <c:v>7.5670000000000002</c:v>
                </c:pt>
                <c:pt idx="3669">
                  <c:v>7.5670000000000002</c:v>
                </c:pt>
                <c:pt idx="3670">
                  <c:v>7.5679999999999996</c:v>
                </c:pt>
                <c:pt idx="3671">
                  <c:v>7.5670000000000002</c:v>
                </c:pt>
                <c:pt idx="3672">
                  <c:v>7.5670000000000002</c:v>
                </c:pt>
                <c:pt idx="3673">
                  <c:v>7.5659999999999998</c:v>
                </c:pt>
                <c:pt idx="3674">
                  <c:v>7.5670000000000002</c:v>
                </c:pt>
                <c:pt idx="3675">
                  <c:v>7.5670000000000002</c:v>
                </c:pt>
                <c:pt idx="3676">
                  <c:v>7.5659999999999998</c:v>
                </c:pt>
                <c:pt idx="3677">
                  <c:v>7.5670000000000002</c:v>
                </c:pt>
                <c:pt idx="3678">
                  <c:v>7.5659999999999998</c:v>
                </c:pt>
                <c:pt idx="3679">
                  <c:v>7.5650000000000004</c:v>
                </c:pt>
                <c:pt idx="3680">
                  <c:v>7.5659999999999998</c:v>
                </c:pt>
                <c:pt idx="3681">
                  <c:v>7.5659999999999998</c:v>
                </c:pt>
                <c:pt idx="3682">
                  <c:v>7.5659999999999998</c:v>
                </c:pt>
                <c:pt idx="3683">
                  <c:v>7.5659999999999998</c:v>
                </c:pt>
                <c:pt idx="3684">
                  <c:v>7.5659999999999998</c:v>
                </c:pt>
                <c:pt idx="3685">
                  <c:v>7.5659999999999998</c:v>
                </c:pt>
                <c:pt idx="3686">
                  <c:v>7.5650000000000004</c:v>
                </c:pt>
                <c:pt idx="3687">
                  <c:v>7.5659999999999998</c:v>
                </c:pt>
                <c:pt idx="3688">
                  <c:v>7.5650000000000004</c:v>
                </c:pt>
                <c:pt idx="3689">
                  <c:v>7.5650000000000004</c:v>
                </c:pt>
                <c:pt idx="3690">
                  <c:v>7.5650000000000004</c:v>
                </c:pt>
                <c:pt idx="3691">
                  <c:v>7.5650000000000004</c:v>
                </c:pt>
                <c:pt idx="3692">
                  <c:v>7.5650000000000004</c:v>
                </c:pt>
                <c:pt idx="3693">
                  <c:v>7.5659999999999998</c:v>
                </c:pt>
                <c:pt idx="3694">
                  <c:v>7.5650000000000004</c:v>
                </c:pt>
                <c:pt idx="3695">
                  <c:v>7.5650000000000004</c:v>
                </c:pt>
                <c:pt idx="3696">
                  <c:v>7.5650000000000004</c:v>
                </c:pt>
                <c:pt idx="3697">
                  <c:v>7.5640000000000001</c:v>
                </c:pt>
                <c:pt idx="3698">
                  <c:v>7.5640000000000001</c:v>
                </c:pt>
                <c:pt idx="3699">
                  <c:v>7.5650000000000004</c:v>
                </c:pt>
                <c:pt idx="3700">
                  <c:v>7.5640000000000001</c:v>
                </c:pt>
                <c:pt idx="3701">
                  <c:v>7.5640000000000001</c:v>
                </c:pt>
                <c:pt idx="3702">
                  <c:v>7.5640000000000001</c:v>
                </c:pt>
                <c:pt idx="3703">
                  <c:v>7.5640000000000001</c:v>
                </c:pt>
                <c:pt idx="3704">
                  <c:v>7.5640000000000001</c:v>
                </c:pt>
                <c:pt idx="3705">
                  <c:v>7.5629999999999997</c:v>
                </c:pt>
                <c:pt idx="3706">
                  <c:v>7.5629999999999997</c:v>
                </c:pt>
                <c:pt idx="3707">
                  <c:v>7.5640000000000001</c:v>
                </c:pt>
                <c:pt idx="3708">
                  <c:v>7.5640000000000001</c:v>
                </c:pt>
                <c:pt idx="3709">
                  <c:v>7.5629999999999997</c:v>
                </c:pt>
                <c:pt idx="3710">
                  <c:v>7.5640000000000001</c:v>
                </c:pt>
                <c:pt idx="3711">
                  <c:v>7.5629999999999997</c:v>
                </c:pt>
                <c:pt idx="3712">
                  <c:v>7.5629999999999997</c:v>
                </c:pt>
                <c:pt idx="3713">
                  <c:v>7.5629999999999997</c:v>
                </c:pt>
                <c:pt idx="3714">
                  <c:v>7.5620000000000003</c:v>
                </c:pt>
                <c:pt idx="3715">
                  <c:v>7.5629999999999997</c:v>
                </c:pt>
                <c:pt idx="3716">
                  <c:v>7.5629999999999997</c:v>
                </c:pt>
                <c:pt idx="3717">
                  <c:v>7.5629999999999997</c:v>
                </c:pt>
                <c:pt idx="3718">
                  <c:v>7.5620000000000003</c:v>
                </c:pt>
                <c:pt idx="3719">
                  <c:v>7.5620000000000003</c:v>
                </c:pt>
                <c:pt idx="3720">
                  <c:v>7.5620000000000003</c:v>
                </c:pt>
                <c:pt idx="3721">
                  <c:v>7.5629999999999997</c:v>
                </c:pt>
                <c:pt idx="3722">
                  <c:v>7.5629999999999997</c:v>
                </c:pt>
                <c:pt idx="3723">
                  <c:v>7.5629999999999997</c:v>
                </c:pt>
                <c:pt idx="3724">
                  <c:v>7.5620000000000003</c:v>
                </c:pt>
                <c:pt idx="3725">
                  <c:v>7.5620000000000003</c:v>
                </c:pt>
                <c:pt idx="3726">
                  <c:v>7.5620000000000003</c:v>
                </c:pt>
                <c:pt idx="3727">
                  <c:v>7.5620000000000003</c:v>
                </c:pt>
                <c:pt idx="3728">
                  <c:v>7.5620000000000003</c:v>
                </c:pt>
                <c:pt idx="3729">
                  <c:v>7.5620000000000003</c:v>
                </c:pt>
                <c:pt idx="3730">
                  <c:v>7.5620000000000003</c:v>
                </c:pt>
                <c:pt idx="3731">
                  <c:v>7.5620000000000003</c:v>
                </c:pt>
                <c:pt idx="3732">
                  <c:v>7.5609999999999999</c:v>
                </c:pt>
                <c:pt idx="3733">
                  <c:v>7.5620000000000003</c:v>
                </c:pt>
                <c:pt idx="3734">
                  <c:v>7.5609999999999999</c:v>
                </c:pt>
                <c:pt idx="3735">
                  <c:v>7.5609999999999999</c:v>
                </c:pt>
                <c:pt idx="3736">
                  <c:v>7.5609999999999999</c:v>
                </c:pt>
                <c:pt idx="3737">
                  <c:v>7.5609999999999999</c:v>
                </c:pt>
                <c:pt idx="3738">
                  <c:v>7.56</c:v>
                </c:pt>
                <c:pt idx="3739">
                  <c:v>7.5609999999999999</c:v>
                </c:pt>
                <c:pt idx="3740">
                  <c:v>7.56</c:v>
                </c:pt>
                <c:pt idx="3741">
                  <c:v>7.56</c:v>
                </c:pt>
                <c:pt idx="3742">
                  <c:v>7.5609999999999999</c:v>
                </c:pt>
                <c:pt idx="3743">
                  <c:v>7.5609999999999999</c:v>
                </c:pt>
                <c:pt idx="3744">
                  <c:v>7.5609999999999999</c:v>
                </c:pt>
                <c:pt idx="3745">
                  <c:v>7.56</c:v>
                </c:pt>
                <c:pt idx="3746">
                  <c:v>7.56</c:v>
                </c:pt>
                <c:pt idx="3747">
                  <c:v>7.56</c:v>
                </c:pt>
                <c:pt idx="3748">
                  <c:v>7.56</c:v>
                </c:pt>
                <c:pt idx="3749">
                  <c:v>7.5590000000000002</c:v>
                </c:pt>
                <c:pt idx="3750">
                  <c:v>7.5590000000000002</c:v>
                </c:pt>
                <c:pt idx="3751">
                  <c:v>7.56</c:v>
                </c:pt>
                <c:pt idx="3752">
                  <c:v>7.5590000000000002</c:v>
                </c:pt>
                <c:pt idx="3753">
                  <c:v>7.5590000000000002</c:v>
                </c:pt>
                <c:pt idx="3754">
                  <c:v>7.56</c:v>
                </c:pt>
                <c:pt idx="3755">
                  <c:v>7.56</c:v>
                </c:pt>
                <c:pt idx="3756">
                  <c:v>7.5590000000000002</c:v>
                </c:pt>
                <c:pt idx="3757">
                  <c:v>7.5590000000000002</c:v>
                </c:pt>
                <c:pt idx="3758">
                  <c:v>7.56</c:v>
                </c:pt>
                <c:pt idx="3759">
                  <c:v>7.5590000000000002</c:v>
                </c:pt>
                <c:pt idx="3760">
                  <c:v>7.5590000000000002</c:v>
                </c:pt>
                <c:pt idx="3761">
                  <c:v>7.56</c:v>
                </c:pt>
                <c:pt idx="3762">
                  <c:v>7.5590000000000002</c:v>
                </c:pt>
                <c:pt idx="3763">
                  <c:v>7.5590000000000002</c:v>
                </c:pt>
                <c:pt idx="3764">
                  <c:v>7.5590000000000002</c:v>
                </c:pt>
                <c:pt idx="3765">
                  <c:v>7.5590000000000002</c:v>
                </c:pt>
                <c:pt idx="3766">
                  <c:v>7.5579999999999998</c:v>
                </c:pt>
                <c:pt idx="3767">
                  <c:v>7.5579999999999998</c:v>
                </c:pt>
                <c:pt idx="3768">
                  <c:v>7.5579999999999998</c:v>
                </c:pt>
                <c:pt idx="3769">
                  <c:v>7.5579999999999998</c:v>
                </c:pt>
                <c:pt idx="3770">
                  <c:v>7.5579999999999998</c:v>
                </c:pt>
                <c:pt idx="3771">
                  <c:v>7.5579999999999998</c:v>
                </c:pt>
                <c:pt idx="3772">
                  <c:v>7.5579999999999998</c:v>
                </c:pt>
                <c:pt idx="3773">
                  <c:v>7.5579999999999998</c:v>
                </c:pt>
                <c:pt idx="3774">
                  <c:v>7.5570000000000004</c:v>
                </c:pt>
                <c:pt idx="3775">
                  <c:v>7.5579999999999998</c:v>
                </c:pt>
                <c:pt idx="3776">
                  <c:v>7.5579999999999998</c:v>
                </c:pt>
                <c:pt idx="3777">
                  <c:v>7.5570000000000004</c:v>
                </c:pt>
                <c:pt idx="3778">
                  <c:v>7.5579999999999998</c:v>
                </c:pt>
                <c:pt idx="3779">
                  <c:v>7.5570000000000004</c:v>
                </c:pt>
                <c:pt idx="3780">
                  <c:v>7.5579999999999998</c:v>
                </c:pt>
                <c:pt idx="3781">
                  <c:v>7.5570000000000004</c:v>
                </c:pt>
                <c:pt idx="3782">
                  <c:v>7.5570000000000004</c:v>
                </c:pt>
                <c:pt idx="3783">
                  <c:v>7.5570000000000004</c:v>
                </c:pt>
                <c:pt idx="3784">
                  <c:v>7.5570000000000004</c:v>
                </c:pt>
                <c:pt idx="3785">
                  <c:v>7.5570000000000004</c:v>
                </c:pt>
                <c:pt idx="3786">
                  <c:v>7.5570000000000004</c:v>
                </c:pt>
                <c:pt idx="3787">
                  <c:v>7.556</c:v>
                </c:pt>
                <c:pt idx="3788">
                  <c:v>7.556</c:v>
                </c:pt>
                <c:pt idx="3789">
                  <c:v>7.556</c:v>
                </c:pt>
                <c:pt idx="3790">
                  <c:v>7.556</c:v>
                </c:pt>
                <c:pt idx="3791">
                  <c:v>7.5570000000000004</c:v>
                </c:pt>
                <c:pt idx="3792">
                  <c:v>7.556</c:v>
                </c:pt>
                <c:pt idx="3793">
                  <c:v>7.5570000000000004</c:v>
                </c:pt>
                <c:pt idx="3794">
                  <c:v>7.556</c:v>
                </c:pt>
                <c:pt idx="3795">
                  <c:v>7.556</c:v>
                </c:pt>
                <c:pt idx="3796">
                  <c:v>7.5549999999999997</c:v>
                </c:pt>
                <c:pt idx="3797">
                  <c:v>7.556</c:v>
                </c:pt>
                <c:pt idx="3798">
                  <c:v>7.556</c:v>
                </c:pt>
                <c:pt idx="3799">
                  <c:v>7.556</c:v>
                </c:pt>
                <c:pt idx="3800">
                  <c:v>7.556</c:v>
                </c:pt>
                <c:pt idx="3801">
                  <c:v>7.556</c:v>
                </c:pt>
                <c:pt idx="3802">
                  <c:v>7.556</c:v>
                </c:pt>
                <c:pt idx="3803">
                  <c:v>7.5549999999999997</c:v>
                </c:pt>
                <c:pt idx="3804">
                  <c:v>7.5549999999999997</c:v>
                </c:pt>
                <c:pt idx="3805">
                  <c:v>7.556</c:v>
                </c:pt>
                <c:pt idx="3806">
                  <c:v>7.556</c:v>
                </c:pt>
                <c:pt idx="3807">
                  <c:v>7.5549999999999997</c:v>
                </c:pt>
                <c:pt idx="3808">
                  <c:v>7.5549999999999997</c:v>
                </c:pt>
                <c:pt idx="3809">
                  <c:v>7.5540000000000003</c:v>
                </c:pt>
                <c:pt idx="3810">
                  <c:v>7.5540000000000003</c:v>
                </c:pt>
                <c:pt idx="3811">
                  <c:v>7.5549999999999997</c:v>
                </c:pt>
                <c:pt idx="3812">
                  <c:v>7.5549999999999997</c:v>
                </c:pt>
                <c:pt idx="3813">
                  <c:v>7.5540000000000003</c:v>
                </c:pt>
                <c:pt idx="3814">
                  <c:v>7.5540000000000003</c:v>
                </c:pt>
                <c:pt idx="3815">
                  <c:v>7.5549999999999997</c:v>
                </c:pt>
                <c:pt idx="3816">
                  <c:v>7.5549999999999997</c:v>
                </c:pt>
                <c:pt idx="3817">
                  <c:v>7.5549999999999997</c:v>
                </c:pt>
                <c:pt idx="3818">
                  <c:v>7.5540000000000003</c:v>
                </c:pt>
                <c:pt idx="3819">
                  <c:v>7.5540000000000003</c:v>
                </c:pt>
                <c:pt idx="3820">
                  <c:v>7.5540000000000003</c:v>
                </c:pt>
                <c:pt idx="3821">
                  <c:v>7.5540000000000003</c:v>
                </c:pt>
                <c:pt idx="3822">
                  <c:v>7.5540000000000003</c:v>
                </c:pt>
                <c:pt idx="3823">
                  <c:v>7.5540000000000003</c:v>
                </c:pt>
                <c:pt idx="3824">
                  <c:v>7.5540000000000003</c:v>
                </c:pt>
                <c:pt idx="3825">
                  <c:v>7.5529999999999999</c:v>
                </c:pt>
                <c:pt idx="3826">
                  <c:v>7.5540000000000003</c:v>
                </c:pt>
                <c:pt idx="3827">
                  <c:v>7.5540000000000003</c:v>
                </c:pt>
                <c:pt idx="3828">
                  <c:v>7.5529999999999999</c:v>
                </c:pt>
                <c:pt idx="3829">
                  <c:v>7.5540000000000003</c:v>
                </c:pt>
                <c:pt idx="3830">
                  <c:v>7.5540000000000003</c:v>
                </c:pt>
                <c:pt idx="3831">
                  <c:v>7.5529999999999999</c:v>
                </c:pt>
                <c:pt idx="3832">
                  <c:v>7.5529999999999999</c:v>
                </c:pt>
                <c:pt idx="3833">
                  <c:v>7.5529999999999999</c:v>
                </c:pt>
                <c:pt idx="3834">
                  <c:v>7.5529999999999999</c:v>
                </c:pt>
                <c:pt idx="3835">
                  <c:v>7.5529999999999999</c:v>
                </c:pt>
                <c:pt idx="3836">
                  <c:v>7.5529999999999999</c:v>
                </c:pt>
                <c:pt idx="3837">
                  <c:v>7.5529999999999999</c:v>
                </c:pt>
                <c:pt idx="3838">
                  <c:v>7.5529999999999999</c:v>
                </c:pt>
                <c:pt idx="3839">
                  <c:v>7.5529999999999999</c:v>
                </c:pt>
                <c:pt idx="3840">
                  <c:v>7.5540000000000003</c:v>
                </c:pt>
                <c:pt idx="3841">
                  <c:v>7.5529999999999999</c:v>
                </c:pt>
                <c:pt idx="3842">
                  <c:v>7.5519999999999996</c:v>
                </c:pt>
                <c:pt idx="3843">
                  <c:v>7.5519999999999996</c:v>
                </c:pt>
                <c:pt idx="3844">
                  <c:v>7.5519999999999996</c:v>
                </c:pt>
                <c:pt idx="3845">
                  <c:v>7.5519999999999996</c:v>
                </c:pt>
                <c:pt idx="3846">
                  <c:v>7.5529999999999999</c:v>
                </c:pt>
                <c:pt idx="3847">
                  <c:v>7.5519999999999996</c:v>
                </c:pt>
                <c:pt idx="3848">
                  <c:v>7.5529999999999999</c:v>
                </c:pt>
                <c:pt idx="3849">
                  <c:v>7.5519999999999996</c:v>
                </c:pt>
                <c:pt idx="3850">
                  <c:v>7.5510000000000002</c:v>
                </c:pt>
                <c:pt idx="3851">
                  <c:v>7.5519999999999996</c:v>
                </c:pt>
                <c:pt idx="3852">
                  <c:v>7.5519999999999996</c:v>
                </c:pt>
                <c:pt idx="3853">
                  <c:v>7.5510000000000002</c:v>
                </c:pt>
                <c:pt idx="3854">
                  <c:v>7.5519999999999996</c:v>
                </c:pt>
                <c:pt idx="3855">
                  <c:v>7.5519999999999996</c:v>
                </c:pt>
                <c:pt idx="3856">
                  <c:v>7.5510000000000002</c:v>
                </c:pt>
                <c:pt idx="3857">
                  <c:v>7.5519999999999996</c:v>
                </c:pt>
                <c:pt idx="3858">
                  <c:v>7.5510000000000002</c:v>
                </c:pt>
                <c:pt idx="3859">
                  <c:v>7.5510000000000002</c:v>
                </c:pt>
                <c:pt idx="3860">
                  <c:v>7.5510000000000002</c:v>
                </c:pt>
                <c:pt idx="3861">
                  <c:v>7.5510000000000002</c:v>
                </c:pt>
                <c:pt idx="3862">
                  <c:v>7.5510000000000002</c:v>
                </c:pt>
                <c:pt idx="3863">
                  <c:v>7.5510000000000002</c:v>
                </c:pt>
                <c:pt idx="3864">
                  <c:v>7.5510000000000002</c:v>
                </c:pt>
                <c:pt idx="3865">
                  <c:v>7.55</c:v>
                </c:pt>
                <c:pt idx="3866">
                  <c:v>7.5510000000000002</c:v>
                </c:pt>
                <c:pt idx="3867">
                  <c:v>7.55</c:v>
                </c:pt>
                <c:pt idx="3868">
                  <c:v>7.5510000000000002</c:v>
                </c:pt>
                <c:pt idx="3869">
                  <c:v>7.55</c:v>
                </c:pt>
                <c:pt idx="3870">
                  <c:v>7.55</c:v>
                </c:pt>
                <c:pt idx="3871">
                  <c:v>7.55</c:v>
                </c:pt>
                <c:pt idx="3872">
                  <c:v>7.5510000000000002</c:v>
                </c:pt>
                <c:pt idx="3873">
                  <c:v>7.55</c:v>
                </c:pt>
                <c:pt idx="3874">
                  <c:v>7.55</c:v>
                </c:pt>
                <c:pt idx="3875">
                  <c:v>7.55</c:v>
                </c:pt>
                <c:pt idx="3876">
                  <c:v>7.55</c:v>
                </c:pt>
                <c:pt idx="3877">
                  <c:v>7.5490000000000004</c:v>
                </c:pt>
                <c:pt idx="3878">
                  <c:v>7.5490000000000004</c:v>
                </c:pt>
                <c:pt idx="3879">
                  <c:v>7.5490000000000004</c:v>
                </c:pt>
                <c:pt idx="3880">
                  <c:v>7.55</c:v>
                </c:pt>
                <c:pt idx="3881">
                  <c:v>7.5490000000000004</c:v>
                </c:pt>
                <c:pt idx="3882">
                  <c:v>7.5490000000000004</c:v>
                </c:pt>
                <c:pt idx="3883">
                  <c:v>7.5490000000000004</c:v>
                </c:pt>
                <c:pt idx="3884">
                  <c:v>7.548</c:v>
                </c:pt>
                <c:pt idx="3885">
                  <c:v>7.5490000000000004</c:v>
                </c:pt>
                <c:pt idx="3886">
                  <c:v>7.5490000000000004</c:v>
                </c:pt>
                <c:pt idx="3887">
                  <c:v>7.5490000000000004</c:v>
                </c:pt>
                <c:pt idx="3888">
                  <c:v>7.5490000000000004</c:v>
                </c:pt>
                <c:pt idx="3889">
                  <c:v>7.5490000000000004</c:v>
                </c:pt>
                <c:pt idx="3890">
                  <c:v>7.5490000000000004</c:v>
                </c:pt>
                <c:pt idx="3891">
                  <c:v>7.548</c:v>
                </c:pt>
                <c:pt idx="3892">
                  <c:v>7.5490000000000004</c:v>
                </c:pt>
                <c:pt idx="3893">
                  <c:v>7.548</c:v>
                </c:pt>
                <c:pt idx="3894">
                  <c:v>7.548</c:v>
                </c:pt>
                <c:pt idx="3895">
                  <c:v>7.5490000000000004</c:v>
                </c:pt>
                <c:pt idx="3896">
                  <c:v>7.548</c:v>
                </c:pt>
                <c:pt idx="3897">
                  <c:v>7.548</c:v>
                </c:pt>
                <c:pt idx="3898">
                  <c:v>7.548</c:v>
                </c:pt>
                <c:pt idx="3899">
                  <c:v>7.548</c:v>
                </c:pt>
                <c:pt idx="3900">
                  <c:v>7.548</c:v>
                </c:pt>
                <c:pt idx="3901">
                  <c:v>7.548</c:v>
                </c:pt>
                <c:pt idx="3902">
                  <c:v>7.5469999999999997</c:v>
                </c:pt>
                <c:pt idx="3903">
                  <c:v>7.548</c:v>
                </c:pt>
                <c:pt idx="3904">
                  <c:v>7.548</c:v>
                </c:pt>
                <c:pt idx="3905">
                  <c:v>7.5469999999999997</c:v>
                </c:pt>
                <c:pt idx="3906">
                  <c:v>7.548</c:v>
                </c:pt>
                <c:pt idx="3907">
                  <c:v>7.548</c:v>
                </c:pt>
                <c:pt idx="3908">
                  <c:v>7.5469999999999997</c:v>
                </c:pt>
                <c:pt idx="3909">
                  <c:v>7.5469999999999997</c:v>
                </c:pt>
                <c:pt idx="3910">
                  <c:v>7.5469999999999997</c:v>
                </c:pt>
                <c:pt idx="3911">
                  <c:v>7.5469999999999997</c:v>
                </c:pt>
                <c:pt idx="3912">
                  <c:v>7.5469999999999997</c:v>
                </c:pt>
                <c:pt idx="3913">
                  <c:v>7.5469999999999997</c:v>
                </c:pt>
                <c:pt idx="3914">
                  <c:v>7.5460000000000003</c:v>
                </c:pt>
                <c:pt idx="3915">
                  <c:v>7.5460000000000003</c:v>
                </c:pt>
                <c:pt idx="3916">
                  <c:v>7.5469999999999997</c:v>
                </c:pt>
                <c:pt idx="3917">
                  <c:v>7.5460000000000003</c:v>
                </c:pt>
                <c:pt idx="3918">
                  <c:v>7.5460000000000003</c:v>
                </c:pt>
                <c:pt idx="3919">
                  <c:v>7.5460000000000003</c:v>
                </c:pt>
                <c:pt idx="3920">
                  <c:v>7.5460000000000003</c:v>
                </c:pt>
                <c:pt idx="3921">
                  <c:v>7.5469999999999997</c:v>
                </c:pt>
                <c:pt idx="3922">
                  <c:v>7.5460000000000003</c:v>
                </c:pt>
                <c:pt idx="3923">
                  <c:v>7.5460000000000003</c:v>
                </c:pt>
                <c:pt idx="3924">
                  <c:v>7.5460000000000003</c:v>
                </c:pt>
                <c:pt idx="3925">
                  <c:v>7.5460000000000003</c:v>
                </c:pt>
                <c:pt idx="3926">
                  <c:v>7.5460000000000003</c:v>
                </c:pt>
                <c:pt idx="3927">
                  <c:v>7.5460000000000003</c:v>
                </c:pt>
                <c:pt idx="3928">
                  <c:v>7.5460000000000003</c:v>
                </c:pt>
                <c:pt idx="3929">
                  <c:v>7.5449999999999999</c:v>
                </c:pt>
                <c:pt idx="3930">
                  <c:v>7.5460000000000003</c:v>
                </c:pt>
                <c:pt idx="3931">
                  <c:v>7.5449999999999999</c:v>
                </c:pt>
                <c:pt idx="3932">
                  <c:v>7.5449999999999999</c:v>
                </c:pt>
                <c:pt idx="3933">
                  <c:v>7.5449999999999999</c:v>
                </c:pt>
                <c:pt idx="3934">
                  <c:v>7.5460000000000003</c:v>
                </c:pt>
                <c:pt idx="3935">
                  <c:v>7.5449999999999999</c:v>
                </c:pt>
                <c:pt idx="3936">
                  <c:v>7.5439999999999996</c:v>
                </c:pt>
                <c:pt idx="3937">
                  <c:v>7.5449999999999999</c:v>
                </c:pt>
                <c:pt idx="3938">
                  <c:v>7.5439999999999996</c:v>
                </c:pt>
                <c:pt idx="3939">
                  <c:v>7.5449999999999999</c:v>
                </c:pt>
                <c:pt idx="3940">
                  <c:v>7.5449999999999999</c:v>
                </c:pt>
                <c:pt idx="3941">
                  <c:v>7.5449999999999999</c:v>
                </c:pt>
                <c:pt idx="3942">
                  <c:v>7.5449999999999999</c:v>
                </c:pt>
                <c:pt idx="3943">
                  <c:v>7.5439999999999996</c:v>
                </c:pt>
                <c:pt idx="3944">
                  <c:v>7.5449999999999999</c:v>
                </c:pt>
                <c:pt idx="3945">
                  <c:v>7.5439999999999996</c:v>
                </c:pt>
                <c:pt idx="3946">
                  <c:v>7.5449999999999999</c:v>
                </c:pt>
                <c:pt idx="3947">
                  <c:v>7.5439999999999996</c:v>
                </c:pt>
                <c:pt idx="3948">
                  <c:v>7.5439999999999996</c:v>
                </c:pt>
                <c:pt idx="3949">
                  <c:v>7.5439999999999996</c:v>
                </c:pt>
                <c:pt idx="3950">
                  <c:v>7.5439999999999996</c:v>
                </c:pt>
                <c:pt idx="3951">
                  <c:v>7.5439999999999996</c:v>
                </c:pt>
                <c:pt idx="3952">
                  <c:v>7.5439999999999996</c:v>
                </c:pt>
                <c:pt idx="3953">
                  <c:v>7.5439999999999996</c:v>
                </c:pt>
                <c:pt idx="3954">
                  <c:v>7.5430000000000001</c:v>
                </c:pt>
                <c:pt idx="3955">
                  <c:v>7.5439999999999996</c:v>
                </c:pt>
                <c:pt idx="3956">
                  <c:v>7.5430000000000001</c:v>
                </c:pt>
                <c:pt idx="3957">
                  <c:v>7.5430000000000001</c:v>
                </c:pt>
                <c:pt idx="3958">
                  <c:v>7.5430000000000001</c:v>
                </c:pt>
                <c:pt idx="3959">
                  <c:v>7.5430000000000001</c:v>
                </c:pt>
                <c:pt idx="3960">
                  <c:v>7.5430000000000001</c:v>
                </c:pt>
                <c:pt idx="3961">
                  <c:v>7.5430000000000001</c:v>
                </c:pt>
                <c:pt idx="3962">
                  <c:v>7.5430000000000001</c:v>
                </c:pt>
                <c:pt idx="3963">
                  <c:v>7.5430000000000001</c:v>
                </c:pt>
                <c:pt idx="3964">
                  <c:v>7.5439999999999996</c:v>
                </c:pt>
                <c:pt idx="3965">
                  <c:v>7.5430000000000001</c:v>
                </c:pt>
                <c:pt idx="3966">
                  <c:v>7.5430000000000001</c:v>
                </c:pt>
                <c:pt idx="3967">
                  <c:v>7.5430000000000001</c:v>
                </c:pt>
                <c:pt idx="3968">
                  <c:v>7.5430000000000001</c:v>
                </c:pt>
                <c:pt idx="3969">
                  <c:v>7.5410000000000004</c:v>
                </c:pt>
                <c:pt idx="3970">
                  <c:v>7.5419999999999998</c:v>
                </c:pt>
                <c:pt idx="3971">
                  <c:v>7.5430000000000001</c:v>
                </c:pt>
                <c:pt idx="3972">
                  <c:v>7.5419999999999998</c:v>
                </c:pt>
                <c:pt idx="3973">
                  <c:v>7.5430000000000001</c:v>
                </c:pt>
                <c:pt idx="3974">
                  <c:v>7.5419999999999998</c:v>
                </c:pt>
                <c:pt idx="3975">
                  <c:v>7.5419999999999998</c:v>
                </c:pt>
                <c:pt idx="3976">
                  <c:v>7.5430000000000001</c:v>
                </c:pt>
                <c:pt idx="3977">
                  <c:v>7.5410000000000004</c:v>
                </c:pt>
                <c:pt idx="3978">
                  <c:v>7.5419999999999998</c:v>
                </c:pt>
                <c:pt idx="3979">
                  <c:v>7.5410000000000004</c:v>
                </c:pt>
                <c:pt idx="3980">
                  <c:v>7.5419999999999998</c:v>
                </c:pt>
                <c:pt idx="3981">
                  <c:v>7.5410000000000004</c:v>
                </c:pt>
                <c:pt idx="3982">
                  <c:v>7.5419999999999998</c:v>
                </c:pt>
                <c:pt idx="3983">
                  <c:v>7.54</c:v>
                </c:pt>
                <c:pt idx="3984">
                  <c:v>7.5410000000000004</c:v>
                </c:pt>
                <c:pt idx="3985">
                  <c:v>7.5419999999999998</c:v>
                </c:pt>
                <c:pt idx="3986">
                  <c:v>7.5410000000000004</c:v>
                </c:pt>
                <c:pt idx="3987">
                  <c:v>7.54</c:v>
                </c:pt>
                <c:pt idx="3988">
                  <c:v>7.5410000000000004</c:v>
                </c:pt>
                <c:pt idx="3989">
                  <c:v>7.5410000000000004</c:v>
                </c:pt>
                <c:pt idx="3990">
                  <c:v>7.5410000000000004</c:v>
                </c:pt>
                <c:pt idx="3991">
                  <c:v>7.5410000000000004</c:v>
                </c:pt>
                <c:pt idx="3992">
                  <c:v>7.5410000000000004</c:v>
                </c:pt>
                <c:pt idx="3993">
                  <c:v>7.5410000000000004</c:v>
                </c:pt>
                <c:pt idx="3994">
                  <c:v>7.54</c:v>
                </c:pt>
                <c:pt idx="3995">
                  <c:v>7.5410000000000004</c:v>
                </c:pt>
                <c:pt idx="3996">
                  <c:v>7.54</c:v>
                </c:pt>
                <c:pt idx="3997">
                  <c:v>7.54</c:v>
                </c:pt>
                <c:pt idx="3998">
                  <c:v>7.5410000000000004</c:v>
                </c:pt>
                <c:pt idx="3999">
                  <c:v>7.54</c:v>
                </c:pt>
                <c:pt idx="4000">
                  <c:v>7.54</c:v>
                </c:pt>
                <c:pt idx="4001">
                  <c:v>7.54</c:v>
                </c:pt>
                <c:pt idx="4002">
                  <c:v>7.54</c:v>
                </c:pt>
                <c:pt idx="4003">
                  <c:v>7.54</c:v>
                </c:pt>
                <c:pt idx="4004">
                  <c:v>7.54</c:v>
                </c:pt>
                <c:pt idx="4005">
                  <c:v>7.5389999999999997</c:v>
                </c:pt>
                <c:pt idx="4006">
                  <c:v>7.5389999999999997</c:v>
                </c:pt>
                <c:pt idx="4007">
                  <c:v>7.5389999999999997</c:v>
                </c:pt>
                <c:pt idx="4008">
                  <c:v>7.5389999999999997</c:v>
                </c:pt>
                <c:pt idx="4009">
                  <c:v>7.54</c:v>
                </c:pt>
                <c:pt idx="4010">
                  <c:v>7.5389999999999997</c:v>
                </c:pt>
                <c:pt idx="4011">
                  <c:v>7.54</c:v>
                </c:pt>
                <c:pt idx="4012">
                  <c:v>7.5389999999999997</c:v>
                </c:pt>
                <c:pt idx="4013">
                  <c:v>7.5380000000000003</c:v>
                </c:pt>
                <c:pt idx="4014">
                  <c:v>7.54</c:v>
                </c:pt>
                <c:pt idx="4015">
                  <c:v>7.5389999999999997</c:v>
                </c:pt>
                <c:pt idx="4016">
                  <c:v>7.5389999999999997</c:v>
                </c:pt>
                <c:pt idx="4017">
                  <c:v>7.5389999999999997</c:v>
                </c:pt>
                <c:pt idx="4018">
                  <c:v>7.5389999999999997</c:v>
                </c:pt>
                <c:pt idx="4019">
                  <c:v>7.5380000000000003</c:v>
                </c:pt>
                <c:pt idx="4020">
                  <c:v>7.5389999999999997</c:v>
                </c:pt>
                <c:pt idx="4021">
                  <c:v>7.5389999999999997</c:v>
                </c:pt>
                <c:pt idx="4022">
                  <c:v>7.5380000000000003</c:v>
                </c:pt>
                <c:pt idx="4023">
                  <c:v>7.5380000000000003</c:v>
                </c:pt>
                <c:pt idx="4024">
                  <c:v>7.5380000000000003</c:v>
                </c:pt>
                <c:pt idx="4025">
                  <c:v>7.5380000000000003</c:v>
                </c:pt>
                <c:pt idx="4026">
                  <c:v>7.5380000000000003</c:v>
                </c:pt>
                <c:pt idx="4027">
                  <c:v>7.5380000000000003</c:v>
                </c:pt>
                <c:pt idx="4028">
                  <c:v>7.5380000000000003</c:v>
                </c:pt>
                <c:pt idx="4029">
                  <c:v>7.5380000000000003</c:v>
                </c:pt>
                <c:pt idx="4030">
                  <c:v>7.5369999999999999</c:v>
                </c:pt>
                <c:pt idx="4031">
                  <c:v>7.5380000000000003</c:v>
                </c:pt>
                <c:pt idx="4032">
                  <c:v>7.5369999999999999</c:v>
                </c:pt>
                <c:pt idx="4033">
                  <c:v>7.5369999999999999</c:v>
                </c:pt>
                <c:pt idx="4034">
                  <c:v>7.5380000000000003</c:v>
                </c:pt>
                <c:pt idx="4035">
                  <c:v>7.5369999999999999</c:v>
                </c:pt>
                <c:pt idx="4036">
                  <c:v>7.5369999999999999</c:v>
                </c:pt>
                <c:pt idx="4037">
                  <c:v>7.5369999999999999</c:v>
                </c:pt>
                <c:pt idx="4038">
                  <c:v>7.5369999999999999</c:v>
                </c:pt>
                <c:pt idx="4039">
                  <c:v>7.5369999999999999</c:v>
                </c:pt>
                <c:pt idx="4040">
                  <c:v>7.5369999999999999</c:v>
                </c:pt>
                <c:pt idx="4041">
                  <c:v>7.5369999999999999</c:v>
                </c:pt>
                <c:pt idx="4042">
                  <c:v>7.5359999999999996</c:v>
                </c:pt>
                <c:pt idx="4043">
                  <c:v>7.5359999999999996</c:v>
                </c:pt>
                <c:pt idx="4044">
                  <c:v>7.5359999999999996</c:v>
                </c:pt>
                <c:pt idx="4045">
                  <c:v>7.5369999999999999</c:v>
                </c:pt>
                <c:pt idx="4046">
                  <c:v>7.5359999999999996</c:v>
                </c:pt>
                <c:pt idx="4047">
                  <c:v>7.5369999999999999</c:v>
                </c:pt>
                <c:pt idx="4048">
                  <c:v>7.5369999999999999</c:v>
                </c:pt>
                <c:pt idx="4049">
                  <c:v>7.5369999999999999</c:v>
                </c:pt>
                <c:pt idx="4050">
                  <c:v>7.5359999999999996</c:v>
                </c:pt>
                <c:pt idx="4051">
                  <c:v>7.5359999999999996</c:v>
                </c:pt>
                <c:pt idx="4052">
                  <c:v>7.5359999999999996</c:v>
                </c:pt>
                <c:pt idx="4053">
                  <c:v>7.5359999999999996</c:v>
                </c:pt>
                <c:pt idx="4054">
                  <c:v>7.5369999999999999</c:v>
                </c:pt>
                <c:pt idx="4055">
                  <c:v>7.5359999999999996</c:v>
                </c:pt>
                <c:pt idx="4056">
                  <c:v>7.5359999999999996</c:v>
                </c:pt>
                <c:pt idx="4057">
                  <c:v>7.5359999999999996</c:v>
                </c:pt>
                <c:pt idx="4058">
                  <c:v>7.5359999999999996</c:v>
                </c:pt>
                <c:pt idx="4059">
                  <c:v>7.5359999999999996</c:v>
                </c:pt>
                <c:pt idx="4060">
                  <c:v>7.5359999999999996</c:v>
                </c:pt>
                <c:pt idx="4061">
                  <c:v>7.5359999999999996</c:v>
                </c:pt>
                <c:pt idx="4062">
                  <c:v>7.5350000000000001</c:v>
                </c:pt>
                <c:pt idx="4063">
                  <c:v>7.5350000000000001</c:v>
                </c:pt>
                <c:pt idx="4064">
                  <c:v>7.5350000000000001</c:v>
                </c:pt>
                <c:pt idx="4065">
                  <c:v>7.5359999999999996</c:v>
                </c:pt>
                <c:pt idx="4066">
                  <c:v>7.5339999999999998</c:v>
                </c:pt>
                <c:pt idx="4067">
                  <c:v>7.5359999999999996</c:v>
                </c:pt>
                <c:pt idx="4068">
                  <c:v>7.5350000000000001</c:v>
                </c:pt>
                <c:pt idx="4069">
                  <c:v>7.5350000000000001</c:v>
                </c:pt>
                <c:pt idx="4070">
                  <c:v>7.5350000000000001</c:v>
                </c:pt>
                <c:pt idx="4071">
                  <c:v>7.5350000000000001</c:v>
                </c:pt>
                <c:pt idx="4072">
                  <c:v>7.5350000000000001</c:v>
                </c:pt>
                <c:pt idx="4073">
                  <c:v>7.5350000000000001</c:v>
                </c:pt>
                <c:pt idx="4074">
                  <c:v>7.5350000000000001</c:v>
                </c:pt>
                <c:pt idx="4075">
                  <c:v>7.5350000000000001</c:v>
                </c:pt>
                <c:pt idx="4076">
                  <c:v>7.5339999999999998</c:v>
                </c:pt>
                <c:pt idx="4077">
                  <c:v>7.5339999999999998</c:v>
                </c:pt>
                <c:pt idx="4078">
                  <c:v>7.5339999999999998</c:v>
                </c:pt>
                <c:pt idx="4079">
                  <c:v>7.5339999999999998</c:v>
                </c:pt>
                <c:pt idx="4080">
                  <c:v>7.5339999999999998</c:v>
                </c:pt>
                <c:pt idx="4081">
                  <c:v>7.5339999999999998</c:v>
                </c:pt>
                <c:pt idx="4082">
                  <c:v>7.5339999999999998</c:v>
                </c:pt>
                <c:pt idx="4083">
                  <c:v>7.5339999999999998</c:v>
                </c:pt>
                <c:pt idx="4084">
                  <c:v>7.5339999999999998</c:v>
                </c:pt>
                <c:pt idx="4085">
                  <c:v>7.5339999999999998</c:v>
                </c:pt>
                <c:pt idx="4086">
                  <c:v>7.5330000000000004</c:v>
                </c:pt>
                <c:pt idx="4087">
                  <c:v>7.5339999999999998</c:v>
                </c:pt>
                <c:pt idx="4088">
                  <c:v>7.5330000000000004</c:v>
                </c:pt>
                <c:pt idx="4089">
                  <c:v>7.5339999999999998</c:v>
                </c:pt>
                <c:pt idx="4090">
                  <c:v>7.5330000000000004</c:v>
                </c:pt>
                <c:pt idx="4091">
                  <c:v>7.5330000000000004</c:v>
                </c:pt>
                <c:pt idx="4092">
                  <c:v>7.5339999999999998</c:v>
                </c:pt>
                <c:pt idx="4093">
                  <c:v>7.5330000000000004</c:v>
                </c:pt>
                <c:pt idx="4094">
                  <c:v>7.5330000000000004</c:v>
                </c:pt>
                <c:pt idx="4095">
                  <c:v>7.5330000000000004</c:v>
                </c:pt>
                <c:pt idx="4096">
                  <c:v>7.5330000000000004</c:v>
                </c:pt>
                <c:pt idx="4097">
                  <c:v>7.5330000000000004</c:v>
                </c:pt>
                <c:pt idx="4098">
                  <c:v>7.5330000000000004</c:v>
                </c:pt>
                <c:pt idx="4099">
                  <c:v>7.5330000000000004</c:v>
                </c:pt>
                <c:pt idx="4100">
                  <c:v>7.532</c:v>
                </c:pt>
                <c:pt idx="4101">
                  <c:v>7.5330000000000004</c:v>
                </c:pt>
                <c:pt idx="4102">
                  <c:v>7.5330000000000004</c:v>
                </c:pt>
                <c:pt idx="4103">
                  <c:v>7.5330000000000004</c:v>
                </c:pt>
                <c:pt idx="4104">
                  <c:v>7.532</c:v>
                </c:pt>
                <c:pt idx="4105">
                  <c:v>7.532</c:v>
                </c:pt>
                <c:pt idx="4106">
                  <c:v>7.532</c:v>
                </c:pt>
                <c:pt idx="4107">
                  <c:v>7.532</c:v>
                </c:pt>
                <c:pt idx="4108">
                  <c:v>7.532</c:v>
                </c:pt>
                <c:pt idx="4109">
                  <c:v>7.532</c:v>
                </c:pt>
                <c:pt idx="4110">
                  <c:v>7.532</c:v>
                </c:pt>
                <c:pt idx="4111">
                  <c:v>7.532</c:v>
                </c:pt>
                <c:pt idx="4112">
                  <c:v>7.532</c:v>
                </c:pt>
                <c:pt idx="4113">
                  <c:v>7.5309999999999997</c:v>
                </c:pt>
                <c:pt idx="4114">
                  <c:v>7.5309999999999997</c:v>
                </c:pt>
                <c:pt idx="4115">
                  <c:v>7.532</c:v>
                </c:pt>
                <c:pt idx="4116">
                  <c:v>7.532</c:v>
                </c:pt>
                <c:pt idx="4117">
                  <c:v>7.5309999999999997</c:v>
                </c:pt>
                <c:pt idx="4118">
                  <c:v>7.5309999999999997</c:v>
                </c:pt>
                <c:pt idx="4119">
                  <c:v>7.532</c:v>
                </c:pt>
                <c:pt idx="4120">
                  <c:v>7.5309999999999997</c:v>
                </c:pt>
                <c:pt idx="4121">
                  <c:v>7.5309999999999997</c:v>
                </c:pt>
                <c:pt idx="4122">
                  <c:v>7.5309999999999997</c:v>
                </c:pt>
                <c:pt idx="4123">
                  <c:v>7.53</c:v>
                </c:pt>
                <c:pt idx="4124">
                  <c:v>7.5309999999999997</c:v>
                </c:pt>
                <c:pt idx="4125">
                  <c:v>7.5309999999999997</c:v>
                </c:pt>
                <c:pt idx="4126">
                  <c:v>7.53</c:v>
                </c:pt>
                <c:pt idx="4127">
                  <c:v>7.5309999999999997</c:v>
                </c:pt>
                <c:pt idx="4128">
                  <c:v>7.5309999999999997</c:v>
                </c:pt>
                <c:pt idx="4129">
                  <c:v>7.53</c:v>
                </c:pt>
                <c:pt idx="4130">
                  <c:v>7.53</c:v>
                </c:pt>
                <c:pt idx="4131">
                  <c:v>7.53</c:v>
                </c:pt>
                <c:pt idx="4132">
                  <c:v>7.53</c:v>
                </c:pt>
                <c:pt idx="4133">
                  <c:v>7.53</c:v>
                </c:pt>
                <c:pt idx="4134">
                  <c:v>7.53</c:v>
                </c:pt>
                <c:pt idx="4135">
                  <c:v>7.53</c:v>
                </c:pt>
                <c:pt idx="4136">
                  <c:v>7.53</c:v>
                </c:pt>
                <c:pt idx="4137">
                  <c:v>7.5289999999999999</c:v>
                </c:pt>
                <c:pt idx="4138">
                  <c:v>7.53</c:v>
                </c:pt>
                <c:pt idx="4139">
                  <c:v>7.5289999999999999</c:v>
                </c:pt>
                <c:pt idx="4140">
                  <c:v>7.53</c:v>
                </c:pt>
                <c:pt idx="4141">
                  <c:v>7.53</c:v>
                </c:pt>
                <c:pt idx="4142">
                  <c:v>7.53</c:v>
                </c:pt>
                <c:pt idx="4143">
                  <c:v>7.5289999999999999</c:v>
                </c:pt>
                <c:pt idx="4144">
                  <c:v>7.5289999999999999</c:v>
                </c:pt>
                <c:pt idx="4145">
                  <c:v>7.5289999999999999</c:v>
                </c:pt>
                <c:pt idx="4146">
                  <c:v>7.5289999999999999</c:v>
                </c:pt>
                <c:pt idx="4147">
                  <c:v>7.53</c:v>
                </c:pt>
                <c:pt idx="4148">
                  <c:v>7.5289999999999999</c:v>
                </c:pt>
                <c:pt idx="4149">
                  <c:v>7.5289999999999999</c:v>
                </c:pt>
                <c:pt idx="4150">
                  <c:v>7.5289999999999999</c:v>
                </c:pt>
                <c:pt idx="4151">
                  <c:v>7.5289999999999999</c:v>
                </c:pt>
                <c:pt idx="4152">
                  <c:v>7.5289999999999999</c:v>
                </c:pt>
                <c:pt idx="4153">
                  <c:v>7.5279999999999996</c:v>
                </c:pt>
                <c:pt idx="4154">
                  <c:v>7.5289999999999999</c:v>
                </c:pt>
                <c:pt idx="4155">
                  <c:v>7.5289999999999999</c:v>
                </c:pt>
                <c:pt idx="4156">
                  <c:v>7.5289999999999999</c:v>
                </c:pt>
                <c:pt idx="4157">
                  <c:v>7.5289999999999999</c:v>
                </c:pt>
                <c:pt idx="4158">
                  <c:v>7.5279999999999996</c:v>
                </c:pt>
                <c:pt idx="4159">
                  <c:v>7.5279999999999996</c:v>
                </c:pt>
                <c:pt idx="4160">
                  <c:v>7.5270000000000001</c:v>
                </c:pt>
                <c:pt idx="4161">
                  <c:v>7.5279999999999996</c:v>
                </c:pt>
                <c:pt idx="4162">
                  <c:v>7.5279999999999996</c:v>
                </c:pt>
                <c:pt idx="4163">
                  <c:v>7.5279999999999996</c:v>
                </c:pt>
                <c:pt idx="4164">
                  <c:v>7.5289999999999999</c:v>
                </c:pt>
                <c:pt idx="4165">
                  <c:v>7.5279999999999996</c:v>
                </c:pt>
                <c:pt idx="4166">
                  <c:v>7.5279999999999996</c:v>
                </c:pt>
                <c:pt idx="4167">
                  <c:v>7.5270000000000001</c:v>
                </c:pt>
                <c:pt idx="4168">
                  <c:v>7.5279999999999996</c:v>
                </c:pt>
                <c:pt idx="4169">
                  <c:v>7.5279999999999996</c:v>
                </c:pt>
                <c:pt idx="4170">
                  <c:v>7.5279999999999996</c:v>
                </c:pt>
                <c:pt idx="4171">
                  <c:v>7.5270000000000001</c:v>
                </c:pt>
                <c:pt idx="4172">
                  <c:v>7.5279999999999996</c:v>
                </c:pt>
                <c:pt idx="4173">
                  <c:v>7.5270000000000001</c:v>
                </c:pt>
                <c:pt idx="4174">
                  <c:v>7.5279999999999996</c:v>
                </c:pt>
                <c:pt idx="4175">
                  <c:v>7.5270000000000001</c:v>
                </c:pt>
                <c:pt idx="4176">
                  <c:v>7.5259999999999998</c:v>
                </c:pt>
                <c:pt idx="4177">
                  <c:v>7.5270000000000001</c:v>
                </c:pt>
                <c:pt idx="4178">
                  <c:v>7.5259999999999998</c:v>
                </c:pt>
                <c:pt idx="4179">
                  <c:v>7.5270000000000001</c:v>
                </c:pt>
                <c:pt idx="4180">
                  <c:v>7.5270000000000001</c:v>
                </c:pt>
                <c:pt idx="4181">
                  <c:v>7.5259999999999998</c:v>
                </c:pt>
                <c:pt idx="4182">
                  <c:v>7.5259999999999998</c:v>
                </c:pt>
                <c:pt idx="4183">
                  <c:v>7.5270000000000001</c:v>
                </c:pt>
                <c:pt idx="4184">
                  <c:v>7.5259999999999998</c:v>
                </c:pt>
                <c:pt idx="4185">
                  <c:v>7.5270000000000001</c:v>
                </c:pt>
                <c:pt idx="4186">
                  <c:v>7.5270000000000001</c:v>
                </c:pt>
                <c:pt idx="4187">
                  <c:v>7.5259999999999998</c:v>
                </c:pt>
                <c:pt idx="4188">
                  <c:v>7.5259999999999998</c:v>
                </c:pt>
                <c:pt idx="4189">
                  <c:v>7.5270000000000001</c:v>
                </c:pt>
                <c:pt idx="4190">
                  <c:v>7.5259999999999998</c:v>
                </c:pt>
                <c:pt idx="4191">
                  <c:v>7.5259999999999998</c:v>
                </c:pt>
                <c:pt idx="4192">
                  <c:v>7.5250000000000004</c:v>
                </c:pt>
                <c:pt idx="4193">
                  <c:v>7.5259999999999998</c:v>
                </c:pt>
                <c:pt idx="4194">
                  <c:v>7.5250000000000004</c:v>
                </c:pt>
                <c:pt idx="4195">
                  <c:v>7.5250000000000004</c:v>
                </c:pt>
                <c:pt idx="4196">
                  <c:v>7.5250000000000004</c:v>
                </c:pt>
                <c:pt idx="4197">
                  <c:v>7.5250000000000004</c:v>
                </c:pt>
                <c:pt idx="4198">
                  <c:v>7.5250000000000004</c:v>
                </c:pt>
                <c:pt idx="4199">
                  <c:v>7.5259999999999998</c:v>
                </c:pt>
                <c:pt idx="4200">
                  <c:v>7.5250000000000004</c:v>
                </c:pt>
                <c:pt idx="4201">
                  <c:v>7.5250000000000004</c:v>
                </c:pt>
                <c:pt idx="4202">
                  <c:v>7.5250000000000004</c:v>
                </c:pt>
                <c:pt idx="4203">
                  <c:v>7.5250000000000004</c:v>
                </c:pt>
                <c:pt idx="4204">
                  <c:v>7.5250000000000004</c:v>
                </c:pt>
                <c:pt idx="4205">
                  <c:v>7.5250000000000004</c:v>
                </c:pt>
                <c:pt idx="4206">
                  <c:v>7.5250000000000004</c:v>
                </c:pt>
                <c:pt idx="4207">
                  <c:v>7.524</c:v>
                </c:pt>
                <c:pt idx="4208">
                  <c:v>7.5250000000000004</c:v>
                </c:pt>
                <c:pt idx="4209">
                  <c:v>7.524</c:v>
                </c:pt>
                <c:pt idx="4210">
                  <c:v>7.5250000000000004</c:v>
                </c:pt>
                <c:pt idx="4211">
                  <c:v>7.524</c:v>
                </c:pt>
                <c:pt idx="4212">
                  <c:v>7.524</c:v>
                </c:pt>
                <c:pt idx="4213">
                  <c:v>7.5229999999999997</c:v>
                </c:pt>
                <c:pt idx="4214">
                  <c:v>7.524</c:v>
                </c:pt>
                <c:pt idx="4215">
                  <c:v>7.524</c:v>
                </c:pt>
                <c:pt idx="4216">
                  <c:v>7.524</c:v>
                </c:pt>
                <c:pt idx="4217">
                  <c:v>7.524</c:v>
                </c:pt>
                <c:pt idx="4218">
                  <c:v>7.524</c:v>
                </c:pt>
                <c:pt idx="4219">
                  <c:v>7.524</c:v>
                </c:pt>
                <c:pt idx="4220">
                  <c:v>7.5229999999999997</c:v>
                </c:pt>
                <c:pt idx="4221">
                  <c:v>7.524</c:v>
                </c:pt>
                <c:pt idx="4222">
                  <c:v>7.5229999999999997</c:v>
                </c:pt>
                <c:pt idx="4223">
                  <c:v>7.524</c:v>
                </c:pt>
                <c:pt idx="4224">
                  <c:v>7.524</c:v>
                </c:pt>
                <c:pt idx="4225">
                  <c:v>7.5229999999999997</c:v>
                </c:pt>
                <c:pt idx="4226">
                  <c:v>7.524</c:v>
                </c:pt>
                <c:pt idx="4227">
                  <c:v>7.524</c:v>
                </c:pt>
                <c:pt idx="4228">
                  <c:v>7.524</c:v>
                </c:pt>
                <c:pt idx="4229">
                  <c:v>7.5220000000000002</c:v>
                </c:pt>
                <c:pt idx="4230">
                  <c:v>7.5229999999999997</c:v>
                </c:pt>
                <c:pt idx="4231">
                  <c:v>7.5229999999999997</c:v>
                </c:pt>
                <c:pt idx="4232">
                  <c:v>7.5220000000000002</c:v>
                </c:pt>
                <c:pt idx="4233">
                  <c:v>7.5229999999999997</c:v>
                </c:pt>
                <c:pt idx="4234">
                  <c:v>7.5229999999999997</c:v>
                </c:pt>
                <c:pt idx="4235">
                  <c:v>7.5229999999999997</c:v>
                </c:pt>
                <c:pt idx="4236">
                  <c:v>7.5229999999999997</c:v>
                </c:pt>
                <c:pt idx="4237">
                  <c:v>7.5220000000000002</c:v>
                </c:pt>
                <c:pt idx="4238">
                  <c:v>7.5220000000000002</c:v>
                </c:pt>
                <c:pt idx="4239">
                  <c:v>7.5220000000000002</c:v>
                </c:pt>
                <c:pt idx="4240">
                  <c:v>7.5220000000000002</c:v>
                </c:pt>
                <c:pt idx="4241">
                  <c:v>7.5220000000000002</c:v>
                </c:pt>
                <c:pt idx="4242">
                  <c:v>7.5220000000000002</c:v>
                </c:pt>
                <c:pt idx="4243">
                  <c:v>7.5220000000000002</c:v>
                </c:pt>
                <c:pt idx="4244">
                  <c:v>7.5220000000000002</c:v>
                </c:pt>
                <c:pt idx="4245">
                  <c:v>7.5220000000000002</c:v>
                </c:pt>
                <c:pt idx="4246">
                  <c:v>7.5220000000000002</c:v>
                </c:pt>
                <c:pt idx="4247">
                  <c:v>7.5209999999999999</c:v>
                </c:pt>
                <c:pt idx="4248">
                  <c:v>7.5209999999999999</c:v>
                </c:pt>
                <c:pt idx="4249">
                  <c:v>7.5209999999999999</c:v>
                </c:pt>
                <c:pt idx="4250">
                  <c:v>7.5220000000000002</c:v>
                </c:pt>
                <c:pt idx="4251">
                  <c:v>7.5209999999999999</c:v>
                </c:pt>
                <c:pt idx="4252">
                  <c:v>7.5220000000000002</c:v>
                </c:pt>
                <c:pt idx="4253">
                  <c:v>7.5220000000000002</c:v>
                </c:pt>
                <c:pt idx="4254">
                  <c:v>7.5209999999999999</c:v>
                </c:pt>
                <c:pt idx="4255">
                  <c:v>7.5209999999999999</c:v>
                </c:pt>
                <c:pt idx="4256">
                  <c:v>7.5209999999999999</c:v>
                </c:pt>
                <c:pt idx="4257">
                  <c:v>7.5209999999999999</c:v>
                </c:pt>
                <c:pt idx="4258">
                  <c:v>7.5209999999999999</c:v>
                </c:pt>
                <c:pt idx="4259">
                  <c:v>7.5209999999999999</c:v>
                </c:pt>
                <c:pt idx="4260">
                  <c:v>7.52</c:v>
                </c:pt>
                <c:pt idx="4261">
                  <c:v>7.5209999999999999</c:v>
                </c:pt>
                <c:pt idx="4262">
                  <c:v>7.52</c:v>
                </c:pt>
                <c:pt idx="4263">
                  <c:v>7.5209999999999999</c:v>
                </c:pt>
                <c:pt idx="4264">
                  <c:v>7.52</c:v>
                </c:pt>
                <c:pt idx="4265">
                  <c:v>7.52</c:v>
                </c:pt>
                <c:pt idx="4266">
                  <c:v>7.52</c:v>
                </c:pt>
                <c:pt idx="4267">
                  <c:v>7.52</c:v>
                </c:pt>
                <c:pt idx="4268">
                  <c:v>7.5209999999999999</c:v>
                </c:pt>
                <c:pt idx="4269">
                  <c:v>7.52</c:v>
                </c:pt>
                <c:pt idx="4270">
                  <c:v>7.52</c:v>
                </c:pt>
                <c:pt idx="4271">
                  <c:v>7.52</c:v>
                </c:pt>
                <c:pt idx="4272">
                  <c:v>7.5209999999999999</c:v>
                </c:pt>
                <c:pt idx="4273">
                  <c:v>7.5190000000000001</c:v>
                </c:pt>
                <c:pt idx="4274">
                  <c:v>7.5190000000000001</c:v>
                </c:pt>
                <c:pt idx="4275">
                  <c:v>7.5190000000000001</c:v>
                </c:pt>
                <c:pt idx="4276">
                  <c:v>7.52</c:v>
                </c:pt>
                <c:pt idx="4277">
                  <c:v>7.52</c:v>
                </c:pt>
                <c:pt idx="4278">
                  <c:v>7.5190000000000001</c:v>
                </c:pt>
                <c:pt idx="4279">
                  <c:v>7.52</c:v>
                </c:pt>
                <c:pt idx="4280">
                  <c:v>7.52</c:v>
                </c:pt>
                <c:pt idx="4281">
                  <c:v>7.5190000000000001</c:v>
                </c:pt>
                <c:pt idx="4282">
                  <c:v>7.5190000000000001</c:v>
                </c:pt>
                <c:pt idx="4283">
                  <c:v>7.5190000000000001</c:v>
                </c:pt>
                <c:pt idx="4284">
                  <c:v>7.5190000000000001</c:v>
                </c:pt>
                <c:pt idx="4285">
                  <c:v>7.5190000000000001</c:v>
                </c:pt>
                <c:pt idx="4286">
                  <c:v>7.5190000000000001</c:v>
                </c:pt>
                <c:pt idx="4287">
                  <c:v>7.5190000000000001</c:v>
                </c:pt>
                <c:pt idx="4288">
                  <c:v>7.5190000000000001</c:v>
                </c:pt>
                <c:pt idx="4289">
                  <c:v>7.5179999999999998</c:v>
                </c:pt>
                <c:pt idx="4290">
                  <c:v>7.5190000000000001</c:v>
                </c:pt>
                <c:pt idx="4291">
                  <c:v>7.5190000000000001</c:v>
                </c:pt>
                <c:pt idx="4292">
                  <c:v>7.5179999999999998</c:v>
                </c:pt>
                <c:pt idx="4293">
                  <c:v>7.5179999999999998</c:v>
                </c:pt>
                <c:pt idx="4294">
                  <c:v>7.5179999999999998</c:v>
                </c:pt>
                <c:pt idx="4295">
                  <c:v>7.5179999999999998</c:v>
                </c:pt>
                <c:pt idx="4296">
                  <c:v>7.5179999999999998</c:v>
                </c:pt>
                <c:pt idx="4297">
                  <c:v>7.5179999999999998</c:v>
                </c:pt>
                <c:pt idx="4298">
                  <c:v>7.5179999999999998</c:v>
                </c:pt>
                <c:pt idx="4299">
                  <c:v>7.5179999999999998</c:v>
                </c:pt>
                <c:pt idx="4300">
                  <c:v>7.5179999999999998</c:v>
                </c:pt>
                <c:pt idx="4301">
                  <c:v>7.5170000000000003</c:v>
                </c:pt>
                <c:pt idx="4302">
                  <c:v>7.5170000000000003</c:v>
                </c:pt>
                <c:pt idx="4303">
                  <c:v>7.5179999999999998</c:v>
                </c:pt>
                <c:pt idx="4304">
                  <c:v>7.5170000000000003</c:v>
                </c:pt>
                <c:pt idx="4305">
                  <c:v>7.5170000000000003</c:v>
                </c:pt>
                <c:pt idx="4306">
                  <c:v>7.5170000000000003</c:v>
                </c:pt>
                <c:pt idx="4307">
                  <c:v>7.5179999999999998</c:v>
                </c:pt>
                <c:pt idx="4308">
                  <c:v>7.5170000000000003</c:v>
                </c:pt>
                <c:pt idx="4309">
                  <c:v>7.5170000000000003</c:v>
                </c:pt>
                <c:pt idx="4310">
                  <c:v>7.5170000000000003</c:v>
                </c:pt>
                <c:pt idx="4311">
                  <c:v>7.5170000000000003</c:v>
                </c:pt>
                <c:pt idx="4312">
                  <c:v>7.5170000000000003</c:v>
                </c:pt>
                <c:pt idx="4313">
                  <c:v>7.5170000000000003</c:v>
                </c:pt>
                <c:pt idx="4314">
                  <c:v>7.516</c:v>
                </c:pt>
                <c:pt idx="4315">
                  <c:v>7.5170000000000003</c:v>
                </c:pt>
                <c:pt idx="4316">
                  <c:v>7.516</c:v>
                </c:pt>
                <c:pt idx="4317">
                  <c:v>7.5170000000000003</c:v>
                </c:pt>
                <c:pt idx="4318">
                  <c:v>7.5170000000000003</c:v>
                </c:pt>
                <c:pt idx="4319">
                  <c:v>7.5170000000000003</c:v>
                </c:pt>
                <c:pt idx="4320">
                  <c:v>7.516</c:v>
                </c:pt>
                <c:pt idx="4321">
                  <c:v>7.516</c:v>
                </c:pt>
                <c:pt idx="4322">
                  <c:v>7.5170000000000003</c:v>
                </c:pt>
                <c:pt idx="4323">
                  <c:v>7.5170000000000003</c:v>
                </c:pt>
                <c:pt idx="4324">
                  <c:v>7.516</c:v>
                </c:pt>
                <c:pt idx="4325">
                  <c:v>7.5170000000000003</c:v>
                </c:pt>
                <c:pt idx="4326">
                  <c:v>7.516</c:v>
                </c:pt>
                <c:pt idx="4327">
                  <c:v>7.516</c:v>
                </c:pt>
                <c:pt idx="4328">
                  <c:v>7.5170000000000003</c:v>
                </c:pt>
                <c:pt idx="4329">
                  <c:v>7.516</c:v>
                </c:pt>
                <c:pt idx="4330">
                  <c:v>7.516</c:v>
                </c:pt>
                <c:pt idx="4331">
                  <c:v>7.516</c:v>
                </c:pt>
                <c:pt idx="4332">
                  <c:v>7.5149999999999997</c:v>
                </c:pt>
                <c:pt idx="4333">
                  <c:v>7.5149999999999997</c:v>
                </c:pt>
                <c:pt idx="4334">
                  <c:v>7.5149999999999997</c:v>
                </c:pt>
                <c:pt idx="4335">
                  <c:v>7.516</c:v>
                </c:pt>
                <c:pt idx="4336">
                  <c:v>7.516</c:v>
                </c:pt>
                <c:pt idx="4337">
                  <c:v>7.5149999999999997</c:v>
                </c:pt>
                <c:pt idx="4338">
                  <c:v>7.516</c:v>
                </c:pt>
                <c:pt idx="4339">
                  <c:v>7.5149999999999997</c:v>
                </c:pt>
                <c:pt idx="4340">
                  <c:v>7.5149999999999997</c:v>
                </c:pt>
                <c:pt idx="4341">
                  <c:v>7.5140000000000002</c:v>
                </c:pt>
                <c:pt idx="4342">
                  <c:v>7.5149999999999997</c:v>
                </c:pt>
                <c:pt idx="4343">
                  <c:v>7.516</c:v>
                </c:pt>
                <c:pt idx="4344">
                  <c:v>7.5149999999999997</c:v>
                </c:pt>
                <c:pt idx="4345">
                  <c:v>7.5140000000000002</c:v>
                </c:pt>
                <c:pt idx="4346">
                  <c:v>7.5149999999999997</c:v>
                </c:pt>
                <c:pt idx="4347">
                  <c:v>7.5140000000000002</c:v>
                </c:pt>
                <c:pt idx="4348">
                  <c:v>7.5149999999999997</c:v>
                </c:pt>
                <c:pt idx="4349">
                  <c:v>7.5149999999999997</c:v>
                </c:pt>
                <c:pt idx="4350">
                  <c:v>7.5140000000000002</c:v>
                </c:pt>
                <c:pt idx="4351">
                  <c:v>7.5140000000000002</c:v>
                </c:pt>
                <c:pt idx="4352">
                  <c:v>7.5140000000000002</c:v>
                </c:pt>
                <c:pt idx="4353">
                  <c:v>7.5140000000000002</c:v>
                </c:pt>
                <c:pt idx="4354">
                  <c:v>7.5140000000000002</c:v>
                </c:pt>
                <c:pt idx="4355">
                  <c:v>7.5140000000000002</c:v>
                </c:pt>
                <c:pt idx="4356">
                  <c:v>7.5140000000000002</c:v>
                </c:pt>
                <c:pt idx="4357">
                  <c:v>7.5149999999999997</c:v>
                </c:pt>
                <c:pt idx="4358">
                  <c:v>7.5140000000000002</c:v>
                </c:pt>
                <c:pt idx="4359">
                  <c:v>7.5140000000000002</c:v>
                </c:pt>
                <c:pt idx="4360">
                  <c:v>7.5140000000000002</c:v>
                </c:pt>
                <c:pt idx="4361">
                  <c:v>7.5129999999999999</c:v>
                </c:pt>
                <c:pt idx="4362">
                  <c:v>7.5129999999999999</c:v>
                </c:pt>
                <c:pt idx="4363">
                  <c:v>7.5129999999999999</c:v>
                </c:pt>
                <c:pt idx="4364">
                  <c:v>7.5129999999999999</c:v>
                </c:pt>
                <c:pt idx="4365">
                  <c:v>7.5129999999999999</c:v>
                </c:pt>
                <c:pt idx="4366">
                  <c:v>7.5129999999999999</c:v>
                </c:pt>
                <c:pt idx="4367">
                  <c:v>7.5129999999999999</c:v>
                </c:pt>
                <c:pt idx="4368">
                  <c:v>7.5129999999999999</c:v>
                </c:pt>
                <c:pt idx="4369">
                  <c:v>7.5129999999999999</c:v>
                </c:pt>
                <c:pt idx="4370">
                  <c:v>7.5129999999999999</c:v>
                </c:pt>
                <c:pt idx="4371">
                  <c:v>7.5129999999999999</c:v>
                </c:pt>
                <c:pt idx="4372">
                  <c:v>7.5129999999999999</c:v>
                </c:pt>
                <c:pt idx="4373">
                  <c:v>7.5129999999999999</c:v>
                </c:pt>
                <c:pt idx="4374">
                  <c:v>7.5129999999999999</c:v>
                </c:pt>
                <c:pt idx="4375">
                  <c:v>7.5129999999999999</c:v>
                </c:pt>
                <c:pt idx="4376">
                  <c:v>7.5129999999999999</c:v>
                </c:pt>
                <c:pt idx="4377">
                  <c:v>7.5129999999999999</c:v>
                </c:pt>
                <c:pt idx="4378">
                  <c:v>7.5129999999999999</c:v>
                </c:pt>
                <c:pt idx="4379">
                  <c:v>7.5119999999999996</c:v>
                </c:pt>
                <c:pt idx="4380">
                  <c:v>7.5119999999999996</c:v>
                </c:pt>
                <c:pt idx="4381">
                  <c:v>7.5119999999999996</c:v>
                </c:pt>
                <c:pt idx="4382">
                  <c:v>7.5129999999999999</c:v>
                </c:pt>
                <c:pt idx="4383">
                  <c:v>7.5119999999999996</c:v>
                </c:pt>
                <c:pt idx="4384">
                  <c:v>7.5119999999999996</c:v>
                </c:pt>
                <c:pt idx="4385">
                  <c:v>7.5119999999999996</c:v>
                </c:pt>
                <c:pt idx="4386">
                  <c:v>7.5119999999999996</c:v>
                </c:pt>
                <c:pt idx="4387">
                  <c:v>7.5119999999999996</c:v>
                </c:pt>
                <c:pt idx="4388">
                  <c:v>7.5119999999999996</c:v>
                </c:pt>
                <c:pt idx="4389">
                  <c:v>7.5119999999999996</c:v>
                </c:pt>
                <c:pt idx="4390">
                  <c:v>7.5119999999999996</c:v>
                </c:pt>
                <c:pt idx="4391">
                  <c:v>7.5119999999999996</c:v>
                </c:pt>
                <c:pt idx="4392">
                  <c:v>7.5119999999999996</c:v>
                </c:pt>
                <c:pt idx="4393">
                  <c:v>7.5110000000000001</c:v>
                </c:pt>
                <c:pt idx="4394">
                  <c:v>7.5110000000000001</c:v>
                </c:pt>
                <c:pt idx="4395">
                  <c:v>7.5110000000000001</c:v>
                </c:pt>
                <c:pt idx="4396">
                  <c:v>7.5110000000000001</c:v>
                </c:pt>
                <c:pt idx="4397">
                  <c:v>7.5110000000000001</c:v>
                </c:pt>
                <c:pt idx="4398">
                  <c:v>7.5110000000000001</c:v>
                </c:pt>
                <c:pt idx="4399">
                  <c:v>7.5110000000000001</c:v>
                </c:pt>
                <c:pt idx="4400">
                  <c:v>7.5110000000000001</c:v>
                </c:pt>
                <c:pt idx="4401">
                  <c:v>7.5110000000000001</c:v>
                </c:pt>
                <c:pt idx="4402">
                  <c:v>7.51</c:v>
                </c:pt>
                <c:pt idx="4403">
                  <c:v>7.51</c:v>
                </c:pt>
                <c:pt idx="4404">
                  <c:v>7.5110000000000001</c:v>
                </c:pt>
                <c:pt idx="4405">
                  <c:v>7.5110000000000001</c:v>
                </c:pt>
                <c:pt idx="4406">
                  <c:v>7.5110000000000001</c:v>
                </c:pt>
                <c:pt idx="4407">
                  <c:v>7.51</c:v>
                </c:pt>
                <c:pt idx="4408">
                  <c:v>7.5110000000000001</c:v>
                </c:pt>
                <c:pt idx="4409">
                  <c:v>7.51</c:v>
                </c:pt>
                <c:pt idx="4410">
                  <c:v>7.5110000000000001</c:v>
                </c:pt>
                <c:pt idx="4411">
                  <c:v>7.5110000000000001</c:v>
                </c:pt>
                <c:pt idx="4412">
                  <c:v>7.51</c:v>
                </c:pt>
                <c:pt idx="4413">
                  <c:v>7.51</c:v>
                </c:pt>
                <c:pt idx="4414">
                  <c:v>7.51</c:v>
                </c:pt>
                <c:pt idx="4415">
                  <c:v>7.51</c:v>
                </c:pt>
                <c:pt idx="4416">
                  <c:v>7.51</c:v>
                </c:pt>
                <c:pt idx="4417">
                  <c:v>7.51</c:v>
                </c:pt>
                <c:pt idx="4418">
                  <c:v>7.51</c:v>
                </c:pt>
                <c:pt idx="4419">
                  <c:v>7.51</c:v>
                </c:pt>
                <c:pt idx="4420">
                  <c:v>7.5090000000000003</c:v>
                </c:pt>
                <c:pt idx="4421">
                  <c:v>7.5090000000000003</c:v>
                </c:pt>
                <c:pt idx="4422">
                  <c:v>7.51</c:v>
                </c:pt>
                <c:pt idx="4423">
                  <c:v>7.51</c:v>
                </c:pt>
                <c:pt idx="4424">
                  <c:v>7.5090000000000003</c:v>
                </c:pt>
                <c:pt idx="4425">
                  <c:v>7.5090000000000003</c:v>
                </c:pt>
                <c:pt idx="4426">
                  <c:v>7.5090000000000003</c:v>
                </c:pt>
                <c:pt idx="4427">
                  <c:v>7.5090000000000003</c:v>
                </c:pt>
                <c:pt idx="4428">
                  <c:v>7.5090000000000003</c:v>
                </c:pt>
                <c:pt idx="4429">
                  <c:v>7.5090000000000003</c:v>
                </c:pt>
                <c:pt idx="4430">
                  <c:v>7.5090000000000003</c:v>
                </c:pt>
                <c:pt idx="4431">
                  <c:v>7.508</c:v>
                </c:pt>
                <c:pt idx="4432">
                  <c:v>7.5090000000000003</c:v>
                </c:pt>
                <c:pt idx="4433">
                  <c:v>7.51</c:v>
                </c:pt>
                <c:pt idx="4434">
                  <c:v>7.5090000000000003</c:v>
                </c:pt>
                <c:pt idx="4435">
                  <c:v>7.5069999999999997</c:v>
                </c:pt>
                <c:pt idx="4436">
                  <c:v>7.508</c:v>
                </c:pt>
                <c:pt idx="4437">
                  <c:v>7.5069999999999997</c:v>
                </c:pt>
                <c:pt idx="4438">
                  <c:v>7.508</c:v>
                </c:pt>
                <c:pt idx="4439">
                  <c:v>7.508</c:v>
                </c:pt>
                <c:pt idx="4440">
                  <c:v>7.5090000000000003</c:v>
                </c:pt>
                <c:pt idx="4441">
                  <c:v>7.5090000000000003</c:v>
                </c:pt>
                <c:pt idx="4442">
                  <c:v>7.508</c:v>
                </c:pt>
                <c:pt idx="4443">
                  <c:v>7.5069999999999997</c:v>
                </c:pt>
                <c:pt idx="4444">
                  <c:v>7.508</c:v>
                </c:pt>
                <c:pt idx="4445">
                  <c:v>7.508</c:v>
                </c:pt>
                <c:pt idx="4446">
                  <c:v>7.508</c:v>
                </c:pt>
                <c:pt idx="4447">
                  <c:v>7.5069999999999997</c:v>
                </c:pt>
                <c:pt idx="4448">
                  <c:v>7.508</c:v>
                </c:pt>
                <c:pt idx="4449">
                  <c:v>7.5069999999999997</c:v>
                </c:pt>
                <c:pt idx="4450">
                  <c:v>7.508</c:v>
                </c:pt>
                <c:pt idx="4451">
                  <c:v>7.508</c:v>
                </c:pt>
                <c:pt idx="4452">
                  <c:v>7.5069999999999997</c:v>
                </c:pt>
                <c:pt idx="4453">
                  <c:v>7.5069999999999997</c:v>
                </c:pt>
                <c:pt idx="4454">
                  <c:v>7.508</c:v>
                </c:pt>
                <c:pt idx="4455">
                  <c:v>7.5069999999999997</c:v>
                </c:pt>
                <c:pt idx="4456">
                  <c:v>7.5069999999999997</c:v>
                </c:pt>
                <c:pt idx="4457">
                  <c:v>7.508</c:v>
                </c:pt>
                <c:pt idx="4458">
                  <c:v>7.5060000000000002</c:v>
                </c:pt>
                <c:pt idx="4459">
                  <c:v>7.5060000000000002</c:v>
                </c:pt>
                <c:pt idx="4460">
                  <c:v>7.5069999999999997</c:v>
                </c:pt>
                <c:pt idx="4461">
                  <c:v>7.5069999999999997</c:v>
                </c:pt>
                <c:pt idx="4462">
                  <c:v>7.5069999999999997</c:v>
                </c:pt>
                <c:pt idx="4463">
                  <c:v>7.5060000000000002</c:v>
                </c:pt>
                <c:pt idx="4464">
                  <c:v>7.5060000000000002</c:v>
                </c:pt>
                <c:pt idx="4465">
                  <c:v>7.508</c:v>
                </c:pt>
                <c:pt idx="4466">
                  <c:v>7.5060000000000002</c:v>
                </c:pt>
                <c:pt idx="4467">
                  <c:v>7.5060000000000002</c:v>
                </c:pt>
                <c:pt idx="4468">
                  <c:v>7.5060000000000002</c:v>
                </c:pt>
                <c:pt idx="4469">
                  <c:v>7.5060000000000002</c:v>
                </c:pt>
                <c:pt idx="4470">
                  <c:v>7.5060000000000002</c:v>
                </c:pt>
                <c:pt idx="4471">
                  <c:v>7.5049999999999999</c:v>
                </c:pt>
                <c:pt idx="4472">
                  <c:v>7.5060000000000002</c:v>
                </c:pt>
                <c:pt idx="4473">
                  <c:v>7.5060000000000002</c:v>
                </c:pt>
                <c:pt idx="4474">
                  <c:v>7.5060000000000002</c:v>
                </c:pt>
                <c:pt idx="4475">
                  <c:v>7.5060000000000002</c:v>
                </c:pt>
                <c:pt idx="4476">
                  <c:v>7.5060000000000002</c:v>
                </c:pt>
                <c:pt idx="4477">
                  <c:v>7.5049999999999999</c:v>
                </c:pt>
                <c:pt idx="4478">
                  <c:v>7.5049999999999999</c:v>
                </c:pt>
                <c:pt idx="4479">
                  <c:v>7.5060000000000002</c:v>
                </c:pt>
                <c:pt idx="4480">
                  <c:v>7.5049999999999999</c:v>
                </c:pt>
                <c:pt idx="4481">
                  <c:v>7.5060000000000002</c:v>
                </c:pt>
                <c:pt idx="4482">
                  <c:v>7.5049999999999999</c:v>
                </c:pt>
                <c:pt idx="4483">
                  <c:v>7.5049999999999999</c:v>
                </c:pt>
                <c:pt idx="4484">
                  <c:v>7.5060000000000002</c:v>
                </c:pt>
                <c:pt idx="4485">
                  <c:v>7.5049999999999999</c:v>
                </c:pt>
                <c:pt idx="4486">
                  <c:v>7.5049999999999999</c:v>
                </c:pt>
                <c:pt idx="4487">
                  <c:v>7.5049999999999999</c:v>
                </c:pt>
                <c:pt idx="4488">
                  <c:v>7.5049999999999999</c:v>
                </c:pt>
                <c:pt idx="4489">
                  <c:v>7.5049999999999999</c:v>
                </c:pt>
                <c:pt idx="4490">
                  <c:v>7.5039999999999996</c:v>
                </c:pt>
                <c:pt idx="4491">
                  <c:v>7.5049999999999999</c:v>
                </c:pt>
                <c:pt idx="4492">
                  <c:v>7.5049999999999999</c:v>
                </c:pt>
                <c:pt idx="4493">
                  <c:v>7.5049999999999999</c:v>
                </c:pt>
                <c:pt idx="4494">
                  <c:v>7.5049999999999999</c:v>
                </c:pt>
                <c:pt idx="4495">
                  <c:v>7.5039999999999996</c:v>
                </c:pt>
                <c:pt idx="4496">
                  <c:v>7.5039999999999996</c:v>
                </c:pt>
                <c:pt idx="4497">
                  <c:v>7.5039999999999996</c:v>
                </c:pt>
                <c:pt idx="4498">
                  <c:v>7.5049999999999999</c:v>
                </c:pt>
                <c:pt idx="4499">
                  <c:v>7.5049999999999999</c:v>
                </c:pt>
                <c:pt idx="4500">
                  <c:v>7.5039999999999996</c:v>
                </c:pt>
                <c:pt idx="4501">
                  <c:v>7.5039999999999996</c:v>
                </c:pt>
                <c:pt idx="4502">
                  <c:v>7.5039999999999996</c:v>
                </c:pt>
                <c:pt idx="4503">
                  <c:v>7.5039999999999996</c:v>
                </c:pt>
                <c:pt idx="4504">
                  <c:v>7.5039999999999996</c:v>
                </c:pt>
                <c:pt idx="4505">
                  <c:v>7.5039999999999996</c:v>
                </c:pt>
                <c:pt idx="4506">
                  <c:v>7.5030000000000001</c:v>
                </c:pt>
                <c:pt idx="4507">
                  <c:v>7.5030000000000001</c:v>
                </c:pt>
                <c:pt idx="4508">
                  <c:v>7.5039999999999996</c:v>
                </c:pt>
                <c:pt idx="4509">
                  <c:v>7.5039999999999996</c:v>
                </c:pt>
                <c:pt idx="4510">
                  <c:v>7.5039999999999996</c:v>
                </c:pt>
                <c:pt idx="4511">
                  <c:v>7.5039999999999996</c:v>
                </c:pt>
                <c:pt idx="4512">
                  <c:v>7.5030000000000001</c:v>
                </c:pt>
                <c:pt idx="4513">
                  <c:v>7.5030000000000001</c:v>
                </c:pt>
                <c:pt idx="4514">
                  <c:v>7.5030000000000001</c:v>
                </c:pt>
                <c:pt idx="4515">
                  <c:v>7.5030000000000001</c:v>
                </c:pt>
                <c:pt idx="4516">
                  <c:v>7.5030000000000001</c:v>
                </c:pt>
                <c:pt idx="4517">
                  <c:v>7.5030000000000001</c:v>
                </c:pt>
                <c:pt idx="4518">
                  <c:v>7.5030000000000001</c:v>
                </c:pt>
                <c:pt idx="4519">
                  <c:v>7.5019999999999998</c:v>
                </c:pt>
                <c:pt idx="4520">
                  <c:v>7.5030000000000001</c:v>
                </c:pt>
                <c:pt idx="4521">
                  <c:v>7.5030000000000001</c:v>
                </c:pt>
                <c:pt idx="4522">
                  <c:v>7.5019999999999998</c:v>
                </c:pt>
                <c:pt idx="4523">
                  <c:v>7.5030000000000001</c:v>
                </c:pt>
                <c:pt idx="4524">
                  <c:v>7.5030000000000001</c:v>
                </c:pt>
                <c:pt idx="4525">
                  <c:v>7.5030000000000001</c:v>
                </c:pt>
                <c:pt idx="4526">
                  <c:v>7.5030000000000001</c:v>
                </c:pt>
                <c:pt idx="4527">
                  <c:v>7.5019999999999998</c:v>
                </c:pt>
                <c:pt idx="4528">
                  <c:v>7.5019999999999998</c:v>
                </c:pt>
                <c:pt idx="4529">
                  <c:v>7.5019999999999998</c:v>
                </c:pt>
                <c:pt idx="4530">
                  <c:v>7.5019999999999998</c:v>
                </c:pt>
                <c:pt idx="4531">
                  <c:v>7.5030000000000001</c:v>
                </c:pt>
                <c:pt idx="4532">
                  <c:v>7.5019999999999998</c:v>
                </c:pt>
                <c:pt idx="4533">
                  <c:v>7.5019999999999998</c:v>
                </c:pt>
                <c:pt idx="4534">
                  <c:v>7.5019999999999998</c:v>
                </c:pt>
                <c:pt idx="4535">
                  <c:v>7.5010000000000003</c:v>
                </c:pt>
                <c:pt idx="4536">
                  <c:v>7.5010000000000003</c:v>
                </c:pt>
                <c:pt idx="4537">
                  <c:v>7.5019999999999998</c:v>
                </c:pt>
                <c:pt idx="4538">
                  <c:v>7.5019999999999998</c:v>
                </c:pt>
                <c:pt idx="4539">
                  <c:v>7.5019999999999998</c:v>
                </c:pt>
                <c:pt idx="4540">
                  <c:v>7.5019999999999998</c:v>
                </c:pt>
                <c:pt idx="4541">
                  <c:v>7.5010000000000003</c:v>
                </c:pt>
                <c:pt idx="4542">
                  <c:v>7.5019999999999998</c:v>
                </c:pt>
                <c:pt idx="4543">
                  <c:v>7.5019999999999998</c:v>
                </c:pt>
                <c:pt idx="4544">
                  <c:v>7.5010000000000003</c:v>
                </c:pt>
                <c:pt idx="4545">
                  <c:v>7.5010000000000003</c:v>
                </c:pt>
                <c:pt idx="4546">
                  <c:v>7.5</c:v>
                </c:pt>
                <c:pt idx="4547">
                  <c:v>7.5010000000000003</c:v>
                </c:pt>
                <c:pt idx="4548">
                  <c:v>7.5010000000000003</c:v>
                </c:pt>
                <c:pt idx="4549">
                  <c:v>7.5010000000000003</c:v>
                </c:pt>
                <c:pt idx="4550">
                  <c:v>7.5</c:v>
                </c:pt>
                <c:pt idx="4551">
                  <c:v>7.5</c:v>
                </c:pt>
                <c:pt idx="4552">
                  <c:v>7.5</c:v>
                </c:pt>
                <c:pt idx="4553">
                  <c:v>7.5010000000000003</c:v>
                </c:pt>
                <c:pt idx="4554">
                  <c:v>7.5</c:v>
                </c:pt>
                <c:pt idx="4555">
                  <c:v>7.5</c:v>
                </c:pt>
                <c:pt idx="4556">
                  <c:v>7.5</c:v>
                </c:pt>
                <c:pt idx="4557">
                  <c:v>7.5</c:v>
                </c:pt>
                <c:pt idx="4558">
                  <c:v>7.5</c:v>
                </c:pt>
                <c:pt idx="4559">
                  <c:v>7.5</c:v>
                </c:pt>
                <c:pt idx="4560">
                  <c:v>7.5</c:v>
                </c:pt>
                <c:pt idx="4561">
                  <c:v>7.5</c:v>
                </c:pt>
                <c:pt idx="4562">
                  <c:v>7.5</c:v>
                </c:pt>
                <c:pt idx="4563">
                  <c:v>7.5</c:v>
                </c:pt>
                <c:pt idx="4564">
                  <c:v>7.5</c:v>
                </c:pt>
                <c:pt idx="4565">
                  <c:v>7.5</c:v>
                </c:pt>
                <c:pt idx="4566">
                  <c:v>7.5010000000000003</c:v>
                </c:pt>
                <c:pt idx="4567">
                  <c:v>7.4989999999999997</c:v>
                </c:pt>
                <c:pt idx="4568">
                  <c:v>7.5</c:v>
                </c:pt>
                <c:pt idx="4569">
                  <c:v>7.4989999999999997</c:v>
                </c:pt>
                <c:pt idx="4570">
                  <c:v>7.5</c:v>
                </c:pt>
                <c:pt idx="4571">
                  <c:v>7.4989999999999997</c:v>
                </c:pt>
                <c:pt idx="4572">
                  <c:v>7.4989999999999997</c:v>
                </c:pt>
                <c:pt idx="4573">
                  <c:v>7.5</c:v>
                </c:pt>
                <c:pt idx="4574">
                  <c:v>7.4989999999999997</c:v>
                </c:pt>
                <c:pt idx="4575">
                  <c:v>7.4989999999999997</c:v>
                </c:pt>
                <c:pt idx="4576">
                  <c:v>7.4989999999999997</c:v>
                </c:pt>
                <c:pt idx="4577">
                  <c:v>7.4989999999999997</c:v>
                </c:pt>
                <c:pt idx="4578">
                  <c:v>7.4989999999999997</c:v>
                </c:pt>
                <c:pt idx="4579">
                  <c:v>7.4980000000000002</c:v>
                </c:pt>
                <c:pt idx="4580">
                  <c:v>7.4989999999999997</c:v>
                </c:pt>
                <c:pt idx="4581">
                  <c:v>7.4980000000000002</c:v>
                </c:pt>
                <c:pt idx="4582">
                  <c:v>7.4980000000000002</c:v>
                </c:pt>
                <c:pt idx="4583">
                  <c:v>7.4989999999999997</c:v>
                </c:pt>
                <c:pt idx="4584">
                  <c:v>7.4989999999999997</c:v>
                </c:pt>
                <c:pt idx="4585">
                  <c:v>7.4989999999999997</c:v>
                </c:pt>
                <c:pt idx="4586">
                  <c:v>7.4989999999999997</c:v>
                </c:pt>
                <c:pt idx="4587">
                  <c:v>7.4980000000000002</c:v>
                </c:pt>
                <c:pt idx="4588">
                  <c:v>7.4989999999999997</c:v>
                </c:pt>
                <c:pt idx="4589">
                  <c:v>7.4980000000000002</c:v>
                </c:pt>
                <c:pt idx="4590">
                  <c:v>7.4989999999999997</c:v>
                </c:pt>
                <c:pt idx="4591">
                  <c:v>7.4980000000000002</c:v>
                </c:pt>
                <c:pt idx="4592">
                  <c:v>7.4980000000000002</c:v>
                </c:pt>
                <c:pt idx="4593">
                  <c:v>7.4969999999999999</c:v>
                </c:pt>
                <c:pt idx="4594">
                  <c:v>7.4980000000000002</c:v>
                </c:pt>
                <c:pt idx="4595">
                  <c:v>7.4980000000000002</c:v>
                </c:pt>
                <c:pt idx="4596">
                  <c:v>7.4980000000000002</c:v>
                </c:pt>
                <c:pt idx="4597">
                  <c:v>7.4969999999999999</c:v>
                </c:pt>
                <c:pt idx="4598">
                  <c:v>7.4980000000000002</c:v>
                </c:pt>
                <c:pt idx="4599">
                  <c:v>7.4969999999999999</c:v>
                </c:pt>
                <c:pt idx="4600">
                  <c:v>7.4980000000000002</c:v>
                </c:pt>
                <c:pt idx="4601">
                  <c:v>7.4980000000000002</c:v>
                </c:pt>
                <c:pt idx="4602">
                  <c:v>7.4969999999999999</c:v>
                </c:pt>
                <c:pt idx="4603">
                  <c:v>7.4969999999999999</c:v>
                </c:pt>
                <c:pt idx="4604">
                  <c:v>7.4969999999999999</c:v>
                </c:pt>
                <c:pt idx="4605">
                  <c:v>7.4980000000000002</c:v>
                </c:pt>
                <c:pt idx="4606">
                  <c:v>7.4969999999999999</c:v>
                </c:pt>
                <c:pt idx="4607">
                  <c:v>7.4960000000000004</c:v>
                </c:pt>
                <c:pt idx="4608">
                  <c:v>7.4969999999999999</c:v>
                </c:pt>
                <c:pt idx="4609">
                  <c:v>7.4969999999999999</c:v>
                </c:pt>
                <c:pt idx="4610">
                  <c:v>7.4960000000000004</c:v>
                </c:pt>
                <c:pt idx="4611">
                  <c:v>7.4969999999999999</c:v>
                </c:pt>
                <c:pt idx="4612">
                  <c:v>7.4969999999999999</c:v>
                </c:pt>
                <c:pt idx="4613">
                  <c:v>7.4960000000000004</c:v>
                </c:pt>
                <c:pt idx="4614">
                  <c:v>7.4969999999999999</c:v>
                </c:pt>
                <c:pt idx="4615">
                  <c:v>7.4980000000000002</c:v>
                </c:pt>
                <c:pt idx="4616">
                  <c:v>7.4960000000000004</c:v>
                </c:pt>
                <c:pt idx="4617">
                  <c:v>7.4969999999999999</c:v>
                </c:pt>
                <c:pt idx="4618">
                  <c:v>7.4969999999999999</c:v>
                </c:pt>
                <c:pt idx="4619">
                  <c:v>7.4960000000000004</c:v>
                </c:pt>
                <c:pt idx="4620">
                  <c:v>7.4960000000000004</c:v>
                </c:pt>
                <c:pt idx="4621">
                  <c:v>7.4960000000000004</c:v>
                </c:pt>
                <c:pt idx="4622">
                  <c:v>7.4960000000000004</c:v>
                </c:pt>
                <c:pt idx="4623">
                  <c:v>7.4960000000000004</c:v>
                </c:pt>
                <c:pt idx="4624">
                  <c:v>7.4960000000000004</c:v>
                </c:pt>
                <c:pt idx="4625">
                  <c:v>7.4960000000000004</c:v>
                </c:pt>
                <c:pt idx="4626">
                  <c:v>7.4960000000000004</c:v>
                </c:pt>
                <c:pt idx="4627">
                  <c:v>7.4960000000000004</c:v>
                </c:pt>
                <c:pt idx="4628">
                  <c:v>7.4950000000000001</c:v>
                </c:pt>
                <c:pt idx="4629">
                  <c:v>7.4960000000000004</c:v>
                </c:pt>
                <c:pt idx="4630">
                  <c:v>7.4950000000000001</c:v>
                </c:pt>
                <c:pt idx="4631">
                  <c:v>7.4950000000000001</c:v>
                </c:pt>
                <c:pt idx="4632">
                  <c:v>7.4960000000000004</c:v>
                </c:pt>
                <c:pt idx="4633">
                  <c:v>7.4960000000000004</c:v>
                </c:pt>
                <c:pt idx="4634">
                  <c:v>7.4950000000000001</c:v>
                </c:pt>
                <c:pt idx="4635">
                  <c:v>7.4950000000000001</c:v>
                </c:pt>
                <c:pt idx="4636">
                  <c:v>7.4950000000000001</c:v>
                </c:pt>
                <c:pt idx="4637">
                  <c:v>7.4950000000000001</c:v>
                </c:pt>
                <c:pt idx="4638">
                  <c:v>7.4950000000000001</c:v>
                </c:pt>
                <c:pt idx="4639">
                  <c:v>7.4950000000000001</c:v>
                </c:pt>
                <c:pt idx="4640">
                  <c:v>7.4939999999999998</c:v>
                </c:pt>
                <c:pt idx="4641">
                  <c:v>7.4950000000000001</c:v>
                </c:pt>
                <c:pt idx="4642">
                  <c:v>7.4939999999999998</c:v>
                </c:pt>
                <c:pt idx="4643">
                  <c:v>7.4950000000000001</c:v>
                </c:pt>
                <c:pt idx="4644">
                  <c:v>7.4939999999999998</c:v>
                </c:pt>
                <c:pt idx="4645">
                  <c:v>7.4939999999999998</c:v>
                </c:pt>
                <c:pt idx="4646">
                  <c:v>7.4939999999999998</c:v>
                </c:pt>
                <c:pt idx="4647">
                  <c:v>7.4950000000000001</c:v>
                </c:pt>
                <c:pt idx="4648">
                  <c:v>7.4950000000000001</c:v>
                </c:pt>
                <c:pt idx="4649">
                  <c:v>7.4939999999999998</c:v>
                </c:pt>
                <c:pt idx="4650">
                  <c:v>7.4950000000000001</c:v>
                </c:pt>
                <c:pt idx="4651">
                  <c:v>7.4939999999999998</c:v>
                </c:pt>
                <c:pt idx="4652">
                  <c:v>7.4939999999999998</c:v>
                </c:pt>
                <c:pt idx="4653">
                  <c:v>7.4950000000000001</c:v>
                </c:pt>
                <c:pt idx="4654">
                  <c:v>7.4930000000000003</c:v>
                </c:pt>
                <c:pt idx="4655">
                  <c:v>7.4939999999999998</c:v>
                </c:pt>
                <c:pt idx="4656">
                  <c:v>7.4930000000000003</c:v>
                </c:pt>
                <c:pt idx="4657">
                  <c:v>7.4930000000000003</c:v>
                </c:pt>
                <c:pt idx="4658">
                  <c:v>7.4939999999999998</c:v>
                </c:pt>
                <c:pt idx="4659">
                  <c:v>7.4939999999999998</c:v>
                </c:pt>
                <c:pt idx="4660">
                  <c:v>7.4939999999999998</c:v>
                </c:pt>
                <c:pt idx="4661">
                  <c:v>7.4930000000000003</c:v>
                </c:pt>
                <c:pt idx="4662">
                  <c:v>7.4930000000000003</c:v>
                </c:pt>
                <c:pt idx="4663">
                  <c:v>7.4930000000000003</c:v>
                </c:pt>
                <c:pt idx="4664">
                  <c:v>7.4930000000000003</c:v>
                </c:pt>
                <c:pt idx="4665">
                  <c:v>7.4930000000000003</c:v>
                </c:pt>
                <c:pt idx="4666">
                  <c:v>7.4930000000000003</c:v>
                </c:pt>
                <c:pt idx="4667">
                  <c:v>7.4930000000000003</c:v>
                </c:pt>
                <c:pt idx="4668">
                  <c:v>7.492</c:v>
                </c:pt>
                <c:pt idx="4669">
                  <c:v>7.4930000000000003</c:v>
                </c:pt>
                <c:pt idx="4670">
                  <c:v>7.492</c:v>
                </c:pt>
                <c:pt idx="4671">
                  <c:v>7.4930000000000003</c:v>
                </c:pt>
                <c:pt idx="4672">
                  <c:v>7.4930000000000003</c:v>
                </c:pt>
                <c:pt idx="4673">
                  <c:v>7.4930000000000003</c:v>
                </c:pt>
                <c:pt idx="4674">
                  <c:v>7.492</c:v>
                </c:pt>
                <c:pt idx="4675">
                  <c:v>7.4930000000000003</c:v>
                </c:pt>
                <c:pt idx="4676">
                  <c:v>7.4930000000000003</c:v>
                </c:pt>
                <c:pt idx="4677">
                  <c:v>7.4930000000000003</c:v>
                </c:pt>
                <c:pt idx="4678">
                  <c:v>7.492</c:v>
                </c:pt>
                <c:pt idx="4679">
                  <c:v>7.492</c:v>
                </c:pt>
                <c:pt idx="4680">
                  <c:v>7.492</c:v>
                </c:pt>
                <c:pt idx="4681">
                  <c:v>7.492</c:v>
                </c:pt>
                <c:pt idx="4682">
                  <c:v>7.4930000000000003</c:v>
                </c:pt>
                <c:pt idx="4683">
                  <c:v>7.4909999999999997</c:v>
                </c:pt>
                <c:pt idx="4684">
                  <c:v>7.492</c:v>
                </c:pt>
                <c:pt idx="4685">
                  <c:v>7.492</c:v>
                </c:pt>
                <c:pt idx="4686">
                  <c:v>7.492</c:v>
                </c:pt>
                <c:pt idx="4687">
                  <c:v>7.492</c:v>
                </c:pt>
                <c:pt idx="4688">
                  <c:v>7.492</c:v>
                </c:pt>
                <c:pt idx="4689">
                  <c:v>7.492</c:v>
                </c:pt>
                <c:pt idx="4690">
                  <c:v>7.4909999999999997</c:v>
                </c:pt>
                <c:pt idx="4691">
                  <c:v>7.492</c:v>
                </c:pt>
                <c:pt idx="4692">
                  <c:v>7.492</c:v>
                </c:pt>
                <c:pt idx="4693">
                  <c:v>7.4909999999999997</c:v>
                </c:pt>
                <c:pt idx="4694">
                  <c:v>7.4909999999999997</c:v>
                </c:pt>
                <c:pt idx="4695">
                  <c:v>7.4909999999999997</c:v>
                </c:pt>
                <c:pt idx="4696">
                  <c:v>7.492</c:v>
                </c:pt>
                <c:pt idx="4697">
                  <c:v>7.492</c:v>
                </c:pt>
                <c:pt idx="4698">
                  <c:v>7.4909999999999997</c:v>
                </c:pt>
                <c:pt idx="4699">
                  <c:v>7.4909999999999997</c:v>
                </c:pt>
                <c:pt idx="4700">
                  <c:v>7.4909999999999997</c:v>
                </c:pt>
                <c:pt idx="4701">
                  <c:v>7.4909999999999997</c:v>
                </c:pt>
                <c:pt idx="4702">
                  <c:v>7.492</c:v>
                </c:pt>
                <c:pt idx="4703">
                  <c:v>7.4909999999999997</c:v>
                </c:pt>
                <c:pt idx="4704">
                  <c:v>7.49</c:v>
                </c:pt>
                <c:pt idx="4705">
                  <c:v>7.4909999999999997</c:v>
                </c:pt>
                <c:pt idx="4706">
                  <c:v>7.49</c:v>
                </c:pt>
                <c:pt idx="4707">
                  <c:v>7.4909999999999997</c:v>
                </c:pt>
                <c:pt idx="4708">
                  <c:v>7.4909999999999997</c:v>
                </c:pt>
                <c:pt idx="4709">
                  <c:v>7.49</c:v>
                </c:pt>
                <c:pt idx="4710">
                  <c:v>7.49</c:v>
                </c:pt>
                <c:pt idx="4711">
                  <c:v>7.49</c:v>
                </c:pt>
                <c:pt idx="4712">
                  <c:v>7.4909999999999997</c:v>
                </c:pt>
                <c:pt idx="4713">
                  <c:v>7.49</c:v>
                </c:pt>
                <c:pt idx="4714">
                  <c:v>7.4909999999999997</c:v>
                </c:pt>
                <c:pt idx="4715">
                  <c:v>7.49</c:v>
                </c:pt>
                <c:pt idx="4716">
                  <c:v>7.4909999999999997</c:v>
                </c:pt>
                <c:pt idx="4717">
                  <c:v>7.49</c:v>
                </c:pt>
                <c:pt idx="4718">
                  <c:v>7.49</c:v>
                </c:pt>
                <c:pt idx="4719">
                  <c:v>7.49</c:v>
                </c:pt>
                <c:pt idx="4720">
                  <c:v>7.4889999999999999</c:v>
                </c:pt>
                <c:pt idx="4721">
                  <c:v>7.49</c:v>
                </c:pt>
                <c:pt idx="4722">
                  <c:v>7.49</c:v>
                </c:pt>
                <c:pt idx="4723">
                  <c:v>7.49</c:v>
                </c:pt>
                <c:pt idx="4724">
                  <c:v>7.49</c:v>
                </c:pt>
                <c:pt idx="4725">
                  <c:v>7.4889999999999999</c:v>
                </c:pt>
                <c:pt idx="4726">
                  <c:v>7.4889999999999999</c:v>
                </c:pt>
                <c:pt idx="4727">
                  <c:v>7.49</c:v>
                </c:pt>
                <c:pt idx="4728">
                  <c:v>7.4889999999999999</c:v>
                </c:pt>
                <c:pt idx="4729">
                  <c:v>7.4889999999999999</c:v>
                </c:pt>
                <c:pt idx="4730">
                  <c:v>7.49</c:v>
                </c:pt>
                <c:pt idx="4731">
                  <c:v>7.4889999999999999</c:v>
                </c:pt>
                <c:pt idx="4732">
                  <c:v>7.4889999999999999</c:v>
                </c:pt>
                <c:pt idx="4733">
                  <c:v>7.49</c:v>
                </c:pt>
                <c:pt idx="4734">
                  <c:v>7.4889999999999999</c:v>
                </c:pt>
                <c:pt idx="4735">
                  <c:v>7.4880000000000004</c:v>
                </c:pt>
                <c:pt idx="4736">
                  <c:v>7.4889999999999999</c:v>
                </c:pt>
                <c:pt idx="4737">
                  <c:v>7.4889999999999999</c:v>
                </c:pt>
                <c:pt idx="4738">
                  <c:v>7.4880000000000004</c:v>
                </c:pt>
                <c:pt idx="4739">
                  <c:v>7.4889999999999999</c:v>
                </c:pt>
                <c:pt idx="4740">
                  <c:v>7.4889999999999999</c:v>
                </c:pt>
                <c:pt idx="4741">
                  <c:v>7.4880000000000004</c:v>
                </c:pt>
                <c:pt idx="4742">
                  <c:v>7.4880000000000004</c:v>
                </c:pt>
                <c:pt idx="4743">
                  <c:v>7.4889999999999999</c:v>
                </c:pt>
                <c:pt idx="4744">
                  <c:v>7.4889999999999999</c:v>
                </c:pt>
                <c:pt idx="4745">
                  <c:v>7.4889999999999999</c:v>
                </c:pt>
                <c:pt idx="4746">
                  <c:v>7.4880000000000004</c:v>
                </c:pt>
                <c:pt idx="4747">
                  <c:v>7.4889999999999999</c:v>
                </c:pt>
                <c:pt idx="4748">
                  <c:v>7.4880000000000004</c:v>
                </c:pt>
                <c:pt idx="4749">
                  <c:v>7.4889999999999999</c:v>
                </c:pt>
                <c:pt idx="4750">
                  <c:v>7.4880000000000004</c:v>
                </c:pt>
                <c:pt idx="4751">
                  <c:v>7.4880000000000004</c:v>
                </c:pt>
                <c:pt idx="4752">
                  <c:v>7.4880000000000004</c:v>
                </c:pt>
                <c:pt idx="4753">
                  <c:v>7.4880000000000004</c:v>
                </c:pt>
                <c:pt idx="4754">
                  <c:v>7.4880000000000004</c:v>
                </c:pt>
                <c:pt idx="4755">
                  <c:v>7.4870000000000001</c:v>
                </c:pt>
                <c:pt idx="4756">
                  <c:v>7.4880000000000004</c:v>
                </c:pt>
                <c:pt idx="4757">
                  <c:v>7.4880000000000004</c:v>
                </c:pt>
                <c:pt idx="4758">
                  <c:v>7.4870000000000001</c:v>
                </c:pt>
                <c:pt idx="4759">
                  <c:v>7.4870000000000001</c:v>
                </c:pt>
                <c:pt idx="4760">
                  <c:v>7.4870000000000001</c:v>
                </c:pt>
                <c:pt idx="4761">
                  <c:v>7.4880000000000004</c:v>
                </c:pt>
                <c:pt idx="4762">
                  <c:v>7.4870000000000001</c:v>
                </c:pt>
                <c:pt idx="4763">
                  <c:v>7.4870000000000001</c:v>
                </c:pt>
                <c:pt idx="4764">
                  <c:v>7.4870000000000001</c:v>
                </c:pt>
                <c:pt idx="4765">
                  <c:v>7.4880000000000004</c:v>
                </c:pt>
                <c:pt idx="4766">
                  <c:v>7.4870000000000001</c:v>
                </c:pt>
                <c:pt idx="4767">
                  <c:v>7.4870000000000001</c:v>
                </c:pt>
                <c:pt idx="4768">
                  <c:v>7.4870000000000001</c:v>
                </c:pt>
                <c:pt idx="4769">
                  <c:v>7.4859999999999998</c:v>
                </c:pt>
                <c:pt idx="4770">
                  <c:v>7.4870000000000001</c:v>
                </c:pt>
                <c:pt idx="4771">
                  <c:v>7.4880000000000004</c:v>
                </c:pt>
                <c:pt idx="4772">
                  <c:v>7.4870000000000001</c:v>
                </c:pt>
                <c:pt idx="4773">
                  <c:v>7.4859999999999998</c:v>
                </c:pt>
                <c:pt idx="4774">
                  <c:v>7.4859999999999998</c:v>
                </c:pt>
                <c:pt idx="4775">
                  <c:v>7.4859999999999998</c:v>
                </c:pt>
                <c:pt idx="4776">
                  <c:v>7.4870000000000001</c:v>
                </c:pt>
                <c:pt idx="4777">
                  <c:v>7.4859999999999998</c:v>
                </c:pt>
                <c:pt idx="4778">
                  <c:v>7.4870000000000001</c:v>
                </c:pt>
                <c:pt idx="4779">
                  <c:v>7.4859999999999998</c:v>
                </c:pt>
                <c:pt idx="4780">
                  <c:v>7.4870000000000001</c:v>
                </c:pt>
                <c:pt idx="4781">
                  <c:v>7.4859999999999998</c:v>
                </c:pt>
                <c:pt idx="4782">
                  <c:v>7.4859999999999998</c:v>
                </c:pt>
                <c:pt idx="4783">
                  <c:v>7.4859999999999998</c:v>
                </c:pt>
                <c:pt idx="4784">
                  <c:v>7.4859999999999998</c:v>
                </c:pt>
                <c:pt idx="4785">
                  <c:v>7.4859999999999998</c:v>
                </c:pt>
                <c:pt idx="4786">
                  <c:v>7.4859999999999998</c:v>
                </c:pt>
                <c:pt idx="4787">
                  <c:v>7.4859999999999998</c:v>
                </c:pt>
                <c:pt idx="4788">
                  <c:v>7.4859999999999998</c:v>
                </c:pt>
                <c:pt idx="4789">
                  <c:v>7.4850000000000003</c:v>
                </c:pt>
                <c:pt idx="4790">
                  <c:v>7.4859999999999998</c:v>
                </c:pt>
                <c:pt idx="4791">
                  <c:v>7.4859999999999998</c:v>
                </c:pt>
                <c:pt idx="4792">
                  <c:v>7.4850000000000003</c:v>
                </c:pt>
                <c:pt idx="4793">
                  <c:v>7.4850000000000003</c:v>
                </c:pt>
                <c:pt idx="4794">
                  <c:v>7.4850000000000003</c:v>
                </c:pt>
                <c:pt idx="4795">
                  <c:v>7.4850000000000003</c:v>
                </c:pt>
                <c:pt idx="4796">
                  <c:v>7.4850000000000003</c:v>
                </c:pt>
                <c:pt idx="4797">
                  <c:v>7.4850000000000003</c:v>
                </c:pt>
                <c:pt idx="4798">
                  <c:v>7.4850000000000003</c:v>
                </c:pt>
                <c:pt idx="4799">
                  <c:v>7.4850000000000003</c:v>
                </c:pt>
                <c:pt idx="4800">
                  <c:v>7.4850000000000003</c:v>
                </c:pt>
                <c:pt idx="4801">
                  <c:v>7.484</c:v>
                </c:pt>
                <c:pt idx="4802">
                  <c:v>7.4850000000000003</c:v>
                </c:pt>
                <c:pt idx="4803">
                  <c:v>7.4850000000000003</c:v>
                </c:pt>
                <c:pt idx="4804">
                  <c:v>7.484</c:v>
                </c:pt>
                <c:pt idx="4805">
                  <c:v>7.4850000000000003</c:v>
                </c:pt>
                <c:pt idx="4806">
                  <c:v>7.484</c:v>
                </c:pt>
                <c:pt idx="4807">
                  <c:v>7.4850000000000003</c:v>
                </c:pt>
                <c:pt idx="4808">
                  <c:v>7.484</c:v>
                </c:pt>
                <c:pt idx="4809">
                  <c:v>7.484</c:v>
                </c:pt>
                <c:pt idx="4810">
                  <c:v>7.484</c:v>
                </c:pt>
                <c:pt idx="4811">
                  <c:v>7.484</c:v>
                </c:pt>
                <c:pt idx="4812">
                  <c:v>7.484</c:v>
                </c:pt>
                <c:pt idx="4813">
                  <c:v>7.484</c:v>
                </c:pt>
                <c:pt idx="4814">
                  <c:v>7.4850000000000003</c:v>
                </c:pt>
                <c:pt idx="4815">
                  <c:v>7.484</c:v>
                </c:pt>
                <c:pt idx="4816">
                  <c:v>7.4829999999999997</c:v>
                </c:pt>
                <c:pt idx="4817">
                  <c:v>7.484</c:v>
                </c:pt>
                <c:pt idx="4818">
                  <c:v>7.484</c:v>
                </c:pt>
                <c:pt idx="4819">
                  <c:v>7.4829999999999997</c:v>
                </c:pt>
                <c:pt idx="4820">
                  <c:v>7.484</c:v>
                </c:pt>
                <c:pt idx="4821">
                  <c:v>7.4829999999999997</c:v>
                </c:pt>
                <c:pt idx="4822">
                  <c:v>7.484</c:v>
                </c:pt>
                <c:pt idx="4823">
                  <c:v>7.4829999999999997</c:v>
                </c:pt>
                <c:pt idx="4824">
                  <c:v>7.484</c:v>
                </c:pt>
                <c:pt idx="4825">
                  <c:v>7.4829999999999997</c:v>
                </c:pt>
                <c:pt idx="4826">
                  <c:v>7.4829999999999997</c:v>
                </c:pt>
                <c:pt idx="4827">
                  <c:v>7.4829999999999997</c:v>
                </c:pt>
                <c:pt idx="4828">
                  <c:v>7.4829999999999997</c:v>
                </c:pt>
                <c:pt idx="4829">
                  <c:v>7.4829999999999997</c:v>
                </c:pt>
                <c:pt idx="4830">
                  <c:v>7.4829999999999997</c:v>
                </c:pt>
                <c:pt idx="4831">
                  <c:v>7.4829999999999997</c:v>
                </c:pt>
                <c:pt idx="4832">
                  <c:v>7.484</c:v>
                </c:pt>
                <c:pt idx="4833">
                  <c:v>7.4829999999999997</c:v>
                </c:pt>
                <c:pt idx="4834">
                  <c:v>7.4829999999999997</c:v>
                </c:pt>
                <c:pt idx="4835">
                  <c:v>7.4829999999999997</c:v>
                </c:pt>
                <c:pt idx="4836">
                  <c:v>7.4829999999999997</c:v>
                </c:pt>
                <c:pt idx="4837">
                  <c:v>7.4829999999999997</c:v>
                </c:pt>
                <c:pt idx="4838">
                  <c:v>7.4829999999999997</c:v>
                </c:pt>
                <c:pt idx="4839">
                  <c:v>7.4820000000000002</c:v>
                </c:pt>
                <c:pt idx="4840">
                  <c:v>7.4809999999999999</c:v>
                </c:pt>
                <c:pt idx="4841">
                  <c:v>7.4820000000000002</c:v>
                </c:pt>
                <c:pt idx="4842">
                  <c:v>7.4820000000000002</c:v>
                </c:pt>
                <c:pt idx="4843">
                  <c:v>7.4820000000000002</c:v>
                </c:pt>
                <c:pt idx="4844">
                  <c:v>7.4820000000000002</c:v>
                </c:pt>
                <c:pt idx="4845">
                  <c:v>7.4820000000000002</c:v>
                </c:pt>
                <c:pt idx="4846">
                  <c:v>7.4820000000000002</c:v>
                </c:pt>
                <c:pt idx="4847">
                  <c:v>7.4820000000000002</c:v>
                </c:pt>
                <c:pt idx="4848">
                  <c:v>7.4829999999999997</c:v>
                </c:pt>
                <c:pt idx="4849">
                  <c:v>7.4820000000000002</c:v>
                </c:pt>
                <c:pt idx="4850">
                  <c:v>7.4820000000000002</c:v>
                </c:pt>
                <c:pt idx="4851">
                  <c:v>7.4809999999999999</c:v>
                </c:pt>
                <c:pt idx="4852">
                  <c:v>7.4820000000000002</c:v>
                </c:pt>
                <c:pt idx="4853">
                  <c:v>7.4820000000000002</c:v>
                </c:pt>
                <c:pt idx="4854">
                  <c:v>7.4809999999999999</c:v>
                </c:pt>
                <c:pt idx="4855">
                  <c:v>7.4829999999999997</c:v>
                </c:pt>
                <c:pt idx="4856">
                  <c:v>7.4820000000000002</c:v>
                </c:pt>
                <c:pt idx="4857">
                  <c:v>7.4820000000000002</c:v>
                </c:pt>
                <c:pt idx="4858">
                  <c:v>7.4809999999999999</c:v>
                </c:pt>
                <c:pt idx="4859">
                  <c:v>7.4809999999999999</c:v>
                </c:pt>
                <c:pt idx="4860">
                  <c:v>7.4809999999999999</c:v>
                </c:pt>
                <c:pt idx="4861">
                  <c:v>7.4809999999999999</c:v>
                </c:pt>
                <c:pt idx="4862">
                  <c:v>7.4809999999999999</c:v>
                </c:pt>
                <c:pt idx="4863">
                  <c:v>7.4809999999999999</c:v>
                </c:pt>
                <c:pt idx="4864">
                  <c:v>7.4820000000000002</c:v>
                </c:pt>
                <c:pt idx="4865">
                  <c:v>7.4809999999999999</c:v>
                </c:pt>
                <c:pt idx="4866">
                  <c:v>7.4809999999999999</c:v>
                </c:pt>
                <c:pt idx="4867">
                  <c:v>7.4809999999999999</c:v>
                </c:pt>
                <c:pt idx="4868">
                  <c:v>7.4809999999999999</c:v>
                </c:pt>
                <c:pt idx="4869">
                  <c:v>7.4809999999999999</c:v>
                </c:pt>
                <c:pt idx="4870">
                  <c:v>7.4809999999999999</c:v>
                </c:pt>
                <c:pt idx="4871">
                  <c:v>7.48</c:v>
                </c:pt>
                <c:pt idx="4872">
                  <c:v>7.4809999999999999</c:v>
                </c:pt>
                <c:pt idx="4873">
                  <c:v>7.4809999999999999</c:v>
                </c:pt>
                <c:pt idx="4874">
                  <c:v>7.4809999999999999</c:v>
                </c:pt>
                <c:pt idx="4875">
                  <c:v>7.4809999999999999</c:v>
                </c:pt>
                <c:pt idx="4876">
                  <c:v>7.48</c:v>
                </c:pt>
                <c:pt idx="4877">
                  <c:v>7.48</c:v>
                </c:pt>
                <c:pt idx="4878">
                  <c:v>7.48</c:v>
                </c:pt>
                <c:pt idx="4879">
                  <c:v>7.48</c:v>
                </c:pt>
                <c:pt idx="4880">
                  <c:v>7.48</c:v>
                </c:pt>
                <c:pt idx="4881">
                  <c:v>7.48</c:v>
                </c:pt>
                <c:pt idx="4882">
                  <c:v>7.48</c:v>
                </c:pt>
                <c:pt idx="4883">
                  <c:v>7.48</c:v>
                </c:pt>
                <c:pt idx="4884">
                  <c:v>7.4790000000000001</c:v>
                </c:pt>
                <c:pt idx="4885">
                  <c:v>7.4809999999999999</c:v>
                </c:pt>
                <c:pt idx="4886">
                  <c:v>7.48</c:v>
                </c:pt>
                <c:pt idx="4887">
                  <c:v>7.48</c:v>
                </c:pt>
                <c:pt idx="4888">
                  <c:v>7.48</c:v>
                </c:pt>
                <c:pt idx="4889">
                  <c:v>7.48</c:v>
                </c:pt>
                <c:pt idx="4890">
                  <c:v>7.48</c:v>
                </c:pt>
                <c:pt idx="4891">
                  <c:v>7.48</c:v>
                </c:pt>
                <c:pt idx="4892">
                  <c:v>7.4790000000000001</c:v>
                </c:pt>
                <c:pt idx="4893">
                  <c:v>7.4790000000000001</c:v>
                </c:pt>
                <c:pt idx="4894">
                  <c:v>7.4790000000000001</c:v>
                </c:pt>
                <c:pt idx="4895">
                  <c:v>7.48</c:v>
                </c:pt>
                <c:pt idx="4896">
                  <c:v>7.4790000000000001</c:v>
                </c:pt>
                <c:pt idx="4897">
                  <c:v>7.4790000000000001</c:v>
                </c:pt>
                <c:pt idx="4898">
                  <c:v>7.4790000000000001</c:v>
                </c:pt>
                <c:pt idx="4899">
                  <c:v>7.4790000000000001</c:v>
                </c:pt>
                <c:pt idx="4900">
                  <c:v>7.48</c:v>
                </c:pt>
                <c:pt idx="4901">
                  <c:v>7.4779999999999998</c:v>
                </c:pt>
                <c:pt idx="4902">
                  <c:v>7.4790000000000001</c:v>
                </c:pt>
                <c:pt idx="4903">
                  <c:v>7.4779999999999998</c:v>
                </c:pt>
                <c:pt idx="4904">
                  <c:v>7.4779999999999998</c:v>
                </c:pt>
                <c:pt idx="4905">
                  <c:v>7.4790000000000001</c:v>
                </c:pt>
                <c:pt idx="4906">
                  <c:v>7.4779999999999998</c:v>
                </c:pt>
                <c:pt idx="4907">
                  <c:v>7.4779999999999998</c:v>
                </c:pt>
                <c:pt idx="4908">
                  <c:v>7.4779999999999998</c:v>
                </c:pt>
                <c:pt idx="4909">
                  <c:v>7.4779999999999998</c:v>
                </c:pt>
                <c:pt idx="4910">
                  <c:v>7.4779999999999998</c:v>
                </c:pt>
                <c:pt idx="4911">
                  <c:v>7.4779999999999998</c:v>
                </c:pt>
                <c:pt idx="4912">
                  <c:v>7.4790000000000001</c:v>
                </c:pt>
                <c:pt idx="4913">
                  <c:v>7.4779999999999998</c:v>
                </c:pt>
                <c:pt idx="4914">
                  <c:v>7.4779999999999998</c:v>
                </c:pt>
                <c:pt idx="4915">
                  <c:v>7.4779999999999998</c:v>
                </c:pt>
                <c:pt idx="4916">
                  <c:v>7.4779999999999998</c:v>
                </c:pt>
                <c:pt idx="4917">
                  <c:v>7.4779999999999998</c:v>
                </c:pt>
                <c:pt idx="4918">
                  <c:v>7.4779999999999998</c:v>
                </c:pt>
                <c:pt idx="4919">
                  <c:v>7.4779999999999998</c:v>
                </c:pt>
                <c:pt idx="4920">
                  <c:v>7.4790000000000001</c:v>
                </c:pt>
                <c:pt idx="4921">
                  <c:v>7.4779999999999998</c:v>
                </c:pt>
                <c:pt idx="4922">
                  <c:v>7.4779999999999998</c:v>
                </c:pt>
                <c:pt idx="4923">
                  <c:v>7.4779999999999998</c:v>
                </c:pt>
                <c:pt idx="4924">
                  <c:v>7.4779999999999998</c:v>
                </c:pt>
                <c:pt idx="4925">
                  <c:v>7.4770000000000003</c:v>
                </c:pt>
                <c:pt idx="4926">
                  <c:v>7.4779999999999998</c:v>
                </c:pt>
                <c:pt idx="4927">
                  <c:v>7.4770000000000003</c:v>
                </c:pt>
                <c:pt idx="4928">
                  <c:v>7.4770000000000003</c:v>
                </c:pt>
                <c:pt idx="4929">
                  <c:v>7.4770000000000003</c:v>
                </c:pt>
                <c:pt idx="4930">
                  <c:v>7.4770000000000003</c:v>
                </c:pt>
                <c:pt idx="4931">
                  <c:v>7.4770000000000003</c:v>
                </c:pt>
                <c:pt idx="4932">
                  <c:v>7.4770000000000003</c:v>
                </c:pt>
                <c:pt idx="4933">
                  <c:v>7.4779999999999998</c:v>
                </c:pt>
                <c:pt idx="4934">
                  <c:v>7.476</c:v>
                </c:pt>
                <c:pt idx="4935">
                  <c:v>7.4770000000000003</c:v>
                </c:pt>
                <c:pt idx="4936">
                  <c:v>7.4770000000000003</c:v>
                </c:pt>
                <c:pt idx="4937">
                  <c:v>7.476</c:v>
                </c:pt>
                <c:pt idx="4938">
                  <c:v>7.476</c:v>
                </c:pt>
                <c:pt idx="4939">
                  <c:v>7.4770000000000003</c:v>
                </c:pt>
                <c:pt idx="4940">
                  <c:v>7.4770000000000003</c:v>
                </c:pt>
                <c:pt idx="4941">
                  <c:v>7.4770000000000003</c:v>
                </c:pt>
                <c:pt idx="4942">
                  <c:v>7.476</c:v>
                </c:pt>
                <c:pt idx="4943">
                  <c:v>7.476</c:v>
                </c:pt>
                <c:pt idx="4944">
                  <c:v>7.476</c:v>
                </c:pt>
                <c:pt idx="4945">
                  <c:v>7.4770000000000003</c:v>
                </c:pt>
                <c:pt idx="4946">
                  <c:v>7.476</c:v>
                </c:pt>
                <c:pt idx="4947">
                  <c:v>7.476</c:v>
                </c:pt>
                <c:pt idx="4948">
                  <c:v>7.476</c:v>
                </c:pt>
                <c:pt idx="4949">
                  <c:v>7.476</c:v>
                </c:pt>
                <c:pt idx="4950">
                  <c:v>7.476</c:v>
                </c:pt>
                <c:pt idx="4951">
                  <c:v>7.476</c:v>
                </c:pt>
                <c:pt idx="4952">
                  <c:v>7.476</c:v>
                </c:pt>
                <c:pt idx="4953">
                  <c:v>7.4749999999999996</c:v>
                </c:pt>
                <c:pt idx="4954">
                  <c:v>7.476</c:v>
                </c:pt>
                <c:pt idx="4955">
                  <c:v>7.476</c:v>
                </c:pt>
                <c:pt idx="4956">
                  <c:v>7.476</c:v>
                </c:pt>
                <c:pt idx="4957">
                  <c:v>7.476</c:v>
                </c:pt>
                <c:pt idx="4958">
                  <c:v>7.476</c:v>
                </c:pt>
                <c:pt idx="4959">
                  <c:v>7.476</c:v>
                </c:pt>
                <c:pt idx="4960">
                  <c:v>7.4749999999999996</c:v>
                </c:pt>
                <c:pt idx="4961">
                  <c:v>7.476</c:v>
                </c:pt>
                <c:pt idx="4962">
                  <c:v>7.476</c:v>
                </c:pt>
                <c:pt idx="4963">
                  <c:v>7.4749999999999996</c:v>
                </c:pt>
                <c:pt idx="4964">
                  <c:v>7.4749999999999996</c:v>
                </c:pt>
                <c:pt idx="4965">
                  <c:v>7.4749999999999996</c:v>
                </c:pt>
                <c:pt idx="4966">
                  <c:v>7.4749999999999996</c:v>
                </c:pt>
                <c:pt idx="4967">
                  <c:v>7.476</c:v>
                </c:pt>
                <c:pt idx="4968">
                  <c:v>7.4749999999999996</c:v>
                </c:pt>
                <c:pt idx="4969">
                  <c:v>7.4749999999999996</c:v>
                </c:pt>
                <c:pt idx="4970">
                  <c:v>7.4749999999999996</c:v>
                </c:pt>
                <c:pt idx="4971">
                  <c:v>7.4749999999999996</c:v>
                </c:pt>
                <c:pt idx="4972">
                  <c:v>7.4749999999999996</c:v>
                </c:pt>
                <c:pt idx="4973">
                  <c:v>7.4749999999999996</c:v>
                </c:pt>
                <c:pt idx="4974">
                  <c:v>7.4749999999999996</c:v>
                </c:pt>
                <c:pt idx="4975">
                  <c:v>7.4740000000000002</c:v>
                </c:pt>
                <c:pt idx="4976">
                  <c:v>7.4749999999999996</c:v>
                </c:pt>
                <c:pt idx="4977">
                  <c:v>7.4740000000000002</c:v>
                </c:pt>
                <c:pt idx="4978">
                  <c:v>7.4740000000000002</c:v>
                </c:pt>
                <c:pt idx="4979">
                  <c:v>7.4740000000000002</c:v>
                </c:pt>
                <c:pt idx="4980">
                  <c:v>7.4740000000000002</c:v>
                </c:pt>
                <c:pt idx="4981">
                  <c:v>7.4740000000000002</c:v>
                </c:pt>
                <c:pt idx="4982">
                  <c:v>7.4740000000000002</c:v>
                </c:pt>
                <c:pt idx="4983">
                  <c:v>7.4749999999999996</c:v>
                </c:pt>
                <c:pt idx="4984">
                  <c:v>7.4740000000000002</c:v>
                </c:pt>
                <c:pt idx="4985">
                  <c:v>7.4749999999999996</c:v>
                </c:pt>
                <c:pt idx="4986">
                  <c:v>7.4749999999999996</c:v>
                </c:pt>
                <c:pt idx="4987">
                  <c:v>7.4749999999999996</c:v>
                </c:pt>
                <c:pt idx="4988">
                  <c:v>7.4740000000000002</c:v>
                </c:pt>
                <c:pt idx="4989">
                  <c:v>7.4740000000000002</c:v>
                </c:pt>
                <c:pt idx="4990">
                  <c:v>7.4740000000000002</c:v>
                </c:pt>
                <c:pt idx="4991">
                  <c:v>7.4740000000000002</c:v>
                </c:pt>
                <c:pt idx="4992">
                  <c:v>7.4740000000000002</c:v>
                </c:pt>
                <c:pt idx="4993">
                  <c:v>7.4729999999999999</c:v>
                </c:pt>
                <c:pt idx="4994">
                  <c:v>7.4740000000000002</c:v>
                </c:pt>
                <c:pt idx="4995">
                  <c:v>7.4740000000000002</c:v>
                </c:pt>
                <c:pt idx="4996">
                  <c:v>7.4740000000000002</c:v>
                </c:pt>
                <c:pt idx="4997">
                  <c:v>7.4729999999999999</c:v>
                </c:pt>
                <c:pt idx="4998">
                  <c:v>7.4729999999999999</c:v>
                </c:pt>
                <c:pt idx="4999">
                  <c:v>7.4729999999999999</c:v>
                </c:pt>
                <c:pt idx="5000">
                  <c:v>7.4740000000000002</c:v>
                </c:pt>
                <c:pt idx="5001">
                  <c:v>7.4740000000000002</c:v>
                </c:pt>
                <c:pt idx="5002">
                  <c:v>7.4729999999999999</c:v>
                </c:pt>
                <c:pt idx="5003">
                  <c:v>7.4729999999999999</c:v>
                </c:pt>
                <c:pt idx="5004">
                  <c:v>7.4729999999999999</c:v>
                </c:pt>
                <c:pt idx="5005">
                  <c:v>7.4729999999999999</c:v>
                </c:pt>
                <c:pt idx="5006">
                  <c:v>7.4729999999999999</c:v>
                </c:pt>
                <c:pt idx="5007">
                  <c:v>7.4729999999999999</c:v>
                </c:pt>
                <c:pt idx="5008">
                  <c:v>7.4729999999999999</c:v>
                </c:pt>
                <c:pt idx="5009">
                  <c:v>7.4720000000000004</c:v>
                </c:pt>
                <c:pt idx="5010">
                  <c:v>7.4729999999999999</c:v>
                </c:pt>
                <c:pt idx="5011">
                  <c:v>7.4720000000000004</c:v>
                </c:pt>
                <c:pt idx="5012">
                  <c:v>7.4720000000000004</c:v>
                </c:pt>
                <c:pt idx="5013">
                  <c:v>7.4729999999999999</c:v>
                </c:pt>
                <c:pt idx="5014">
                  <c:v>7.4729999999999999</c:v>
                </c:pt>
                <c:pt idx="5015">
                  <c:v>7.4729999999999999</c:v>
                </c:pt>
                <c:pt idx="5016">
                  <c:v>7.4729999999999999</c:v>
                </c:pt>
                <c:pt idx="5017">
                  <c:v>7.4720000000000004</c:v>
                </c:pt>
                <c:pt idx="5018">
                  <c:v>7.4720000000000004</c:v>
                </c:pt>
                <c:pt idx="5019">
                  <c:v>7.4720000000000004</c:v>
                </c:pt>
                <c:pt idx="5020">
                  <c:v>7.4720000000000004</c:v>
                </c:pt>
                <c:pt idx="5021">
                  <c:v>7.4720000000000004</c:v>
                </c:pt>
                <c:pt idx="5022">
                  <c:v>7.4720000000000004</c:v>
                </c:pt>
                <c:pt idx="5023">
                  <c:v>7.4720000000000004</c:v>
                </c:pt>
                <c:pt idx="5024">
                  <c:v>7.4720000000000004</c:v>
                </c:pt>
                <c:pt idx="5025">
                  <c:v>7.4720000000000004</c:v>
                </c:pt>
                <c:pt idx="5026">
                  <c:v>7.4720000000000004</c:v>
                </c:pt>
                <c:pt idx="5027">
                  <c:v>7.4720000000000004</c:v>
                </c:pt>
                <c:pt idx="5028">
                  <c:v>7.4720000000000004</c:v>
                </c:pt>
                <c:pt idx="5029">
                  <c:v>7.4720000000000004</c:v>
                </c:pt>
                <c:pt idx="5030">
                  <c:v>7.4720000000000004</c:v>
                </c:pt>
                <c:pt idx="5031">
                  <c:v>7.4720000000000004</c:v>
                </c:pt>
                <c:pt idx="5032">
                  <c:v>7.4720000000000004</c:v>
                </c:pt>
                <c:pt idx="5033">
                  <c:v>7.4720000000000004</c:v>
                </c:pt>
                <c:pt idx="5034">
                  <c:v>7.4710000000000001</c:v>
                </c:pt>
                <c:pt idx="5035">
                  <c:v>7.4720000000000004</c:v>
                </c:pt>
                <c:pt idx="5036">
                  <c:v>7.4710000000000001</c:v>
                </c:pt>
                <c:pt idx="5037">
                  <c:v>7.4710000000000001</c:v>
                </c:pt>
                <c:pt idx="5038">
                  <c:v>7.4720000000000004</c:v>
                </c:pt>
                <c:pt idx="5039">
                  <c:v>7.4710000000000001</c:v>
                </c:pt>
                <c:pt idx="5040">
                  <c:v>7.4720000000000004</c:v>
                </c:pt>
                <c:pt idx="5041">
                  <c:v>7.47</c:v>
                </c:pt>
                <c:pt idx="5042">
                  <c:v>7.4710000000000001</c:v>
                </c:pt>
                <c:pt idx="5043">
                  <c:v>7.4710000000000001</c:v>
                </c:pt>
                <c:pt idx="5044">
                  <c:v>7.4710000000000001</c:v>
                </c:pt>
                <c:pt idx="5045">
                  <c:v>7.4710000000000001</c:v>
                </c:pt>
                <c:pt idx="5046">
                  <c:v>7.4710000000000001</c:v>
                </c:pt>
                <c:pt idx="5047">
                  <c:v>7.4710000000000001</c:v>
                </c:pt>
                <c:pt idx="5048">
                  <c:v>7.4710000000000001</c:v>
                </c:pt>
                <c:pt idx="5049">
                  <c:v>7.47</c:v>
                </c:pt>
                <c:pt idx="5050">
                  <c:v>7.4710000000000001</c:v>
                </c:pt>
                <c:pt idx="5051">
                  <c:v>7.47</c:v>
                </c:pt>
                <c:pt idx="5052">
                  <c:v>7.47</c:v>
                </c:pt>
                <c:pt idx="5053">
                  <c:v>7.47</c:v>
                </c:pt>
                <c:pt idx="5054">
                  <c:v>7.47</c:v>
                </c:pt>
                <c:pt idx="5055">
                  <c:v>7.4710000000000001</c:v>
                </c:pt>
                <c:pt idx="5056">
                  <c:v>7.47</c:v>
                </c:pt>
                <c:pt idx="5057">
                  <c:v>7.47</c:v>
                </c:pt>
                <c:pt idx="5058">
                  <c:v>7.4710000000000001</c:v>
                </c:pt>
                <c:pt idx="5059">
                  <c:v>7.47</c:v>
                </c:pt>
                <c:pt idx="5060">
                  <c:v>7.47</c:v>
                </c:pt>
                <c:pt idx="5061">
                  <c:v>7.4690000000000003</c:v>
                </c:pt>
                <c:pt idx="5062">
                  <c:v>7.47</c:v>
                </c:pt>
                <c:pt idx="5063">
                  <c:v>7.47</c:v>
                </c:pt>
                <c:pt idx="5064">
                  <c:v>7.4710000000000001</c:v>
                </c:pt>
                <c:pt idx="5065">
                  <c:v>7.47</c:v>
                </c:pt>
                <c:pt idx="5066">
                  <c:v>7.47</c:v>
                </c:pt>
                <c:pt idx="5067">
                  <c:v>7.47</c:v>
                </c:pt>
                <c:pt idx="5068">
                  <c:v>7.47</c:v>
                </c:pt>
                <c:pt idx="5069">
                  <c:v>7.47</c:v>
                </c:pt>
                <c:pt idx="5070">
                  <c:v>7.4690000000000003</c:v>
                </c:pt>
                <c:pt idx="5071">
                  <c:v>7.47</c:v>
                </c:pt>
                <c:pt idx="5072">
                  <c:v>7.4690000000000003</c:v>
                </c:pt>
                <c:pt idx="5073">
                  <c:v>7.47</c:v>
                </c:pt>
                <c:pt idx="5074">
                  <c:v>7.4690000000000003</c:v>
                </c:pt>
                <c:pt idx="5075">
                  <c:v>7.4690000000000003</c:v>
                </c:pt>
                <c:pt idx="5076">
                  <c:v>7.47</c:v>
                </c:pt>
                <c:pt idx="5077">
                  <c:v>7.4690000000000003</c:v>
                </c:pt>
                <c:pt idx="5078">
                  <c:v>7.4690000000000003</c:v>
                </c:pt>
                <c:pt idx="5079">
                  <c:v>7.4690000000000003</c:v>
                </c:pt>
                <c:pt idx="5080">
                  <c:v>7.4690000000000003</c:v>
                </c:pt>
                <c:pt idx="5081">
                  <c:v>7.4690000000000003</c:v>
                </c:pt>
                <c:pt idx="5082">
                  <c:v>7.4690000000000003</c:v>
                </c:pt>
                <c:pt idx="5083">
                  <c:v>7.47</c:v>
                </c:pt>
                <c:pt idx="5084">
                  <c:v>7.4690000000000003</c:v>
                </c:pt>
                <c:pt idx="5085">
                  <c:v>7.468</c:v>
                </c:pt>
                <c:pt idx="5086">
                  <c:v>7.468</c:v>
                </c:pt>
                <c:pt idx="5087">
                  <c:v>7.4690000000000003</c:v>
                </c:pt>
                <c:pt idx="5088">
                  <c:v>7.4690000000000003</c:v>
                </c:pt>
                <c:pt idx="5089">
                  <c:v>7.468</c:v>
                </c:pt>
                <c:pt idx="5090">
                  <c:v>7.468</c:v>
                </c:pt>
                <c:pt idx="5091">
                  <c:v>7.4690000000000003</c:v>
                </c:pt>
                <c:pt idx="5092">
                  <c:v>7.468</c:v>
                </c:pt>
                <c:pt idx="5093">
                  <c:v>7.4690000000000003</c:v>
                </c:pt>
                <c:pt idx="5094">
                  <c:v>7.468</c:v>
                </c:pt>
                <c:pt idx="5095">
                  <c:v>7.468</c:v>
                </c:pt>
                <c:pt idx="5096">
                  <c:v>7.468</c:v>
                </c:pt>
                <c:pt idx="5097">
                  <c:v>7.468</c:v>
                </c:pt>
                <c:pt idx="5098">
                  <c:v>7.468</c:v>
                </c:pt>
                <c:pt idx="5099">
                  <c:v>7.468</c:v>
                </c:pt>
                <c:pt idx="5100">
                  <c:v>7.4669999999999996</c:v>
                </c:pt>
                <c:pt idx="5101">
                  <c:v>7.468</c:v>
                </c:pt>
                <c:pt idx="5102">
                  <c:v>7.468</c:v>
                </c:pt>
                <c:pt idx="5103">
                  <c:v>7.468</c:v>
                </c:pt>
                <c:pt idx="5104">
                  <c:v>7.4669999999999996</c:v>
                </c:pt>
                <c:pt idx="5105">
                  <c:v>7.4669999999999996</c:v>
                </c:pt>
                <c:pt idx="5106">
                  <c:v>7.468</c:v>
                </c:pt>
                <c:pt idx="5107">
                  <c:v>7.468</c:v>
                </c:pt>
                <c:pt idx="5108">
                  <c:v>7.4669999999999996</c:v>
                </c:pt>
                <c:pt idx="5109">
                  <c:v>7.4669999999999996</c:v>
                </c:pt>
                <c:pt idx="5110">
                  <c:v>7.4669999999999996</c:v>
                </c:pt>
                <c:pt idx="5111">
                  <c:v>7.4669999999999996</c:v>
                </c:pt>
                <c:pt idx="5112">
                  <c:v>7.4669999999999996</c:v>
                </c:pt>
                <c:pt idx="5113">
                  <c:v>7.4669999999999996</c:v>
                </c:pt>
                <c:pt idx="5114">
                  <c:v>7.4669999999999996</c:v>
                </c:pt>
                <c:pt idx="5115">
                  <c:v>7.4660000000000002</c:v>
                </c:pt>
                <c:pt idx="5116">
                  <c:v>7.4669999999999996</c:v>
                </c:pt>
                <c:pt idx="5117">
                  <c:v>7.4669999999999996</c:v>
                </c:pt>
                <c:pt idx="5118">
                  <c:v>7.4669999999999996</c:v>
                </c:pt>
                <c:pt idx="5119">
                  <c:v>7.4669999999999996</c:v>
                </c:pt>
                <c:pt idx="5120">
                  <c:v>7.4669999999999996</c:v>
                </c:pt>
                <c:pt idx="5121">
                  <c:v>7.4660000000000002</c:v>
                </c:pt>
                <c:pt idx="5122">
                  <c:v>7.4669999999999996</c:v>
                </c:pt>
                <c:pt idx="5123">
                  <c:v>7.4660000000000002</c:v>
                </c:pt>
                <c:pt idx="5124">
                  <c:v>7.4669999999999996</c:v>
                </c:pt>
                <c:pt idx="5125">
                  <c:v>7.4660000000000002</c:v>
                </c:pt>
                <c:pt idx="5126">
                  <c:v>7.4669999999999996</c:v>
                </c:pt>
                <c:pt idx="5127">
                  <c:v>7.4669999999999996</c:v>
                </c:pt>
                <c:pt idx="5128">
                  <c:v>7.4669999999999996</c:v>
                </c:pt>
                <c:pt idx="5129">
                  <c:v>7.4660000000000002</c:v>
                </c:pt>
                <c:pt idx="5130">
                  <c:v>7.4660000000000002</c:v>
                </c:pt>
                <c:pt idx="5131">
                  <c:v>7.4669999999999996</c:v>
                </c:pt>
                <c:pt idx="5132">
                  <c:v>7.4660000000000002</c:v>
                </c:pt>
                <c:pt idx="5133">
                  <c:v>7.4660000000000002</c:v>
                </c:pt>
                <c:pt idx="5134">
                  <c:v>7.4660000000000002</c:v>
                </c:pt>
                <c:pt idx="5135">
                  <c:v>7.4660000000000002</c:v>
                </c:pt>
                <c:pt idx="5136">
                  <c:v>7.4660000000000002</c:v>
                </c:pt>
                <c:pt idx="5137">
                  <c:v>7.4660000000000002</c:v>
                </c:pt>
                <c:pt idx="5138">
                  <c:v>7.4660000000000002</c:v>
                </c:pt>
                <c:pt idx="5139">
                  <c:v>7.4660000000000002</c:v>
                </c:pt>
                <c:pt idx="5140">
                  <c:v>7.4660000000000002</c:v>
                </c:pt>
                <c:pt idx="5141">
                  <c:v>7.4649999999999999</c:v>
                </c:pt>
                <c:pt idx="5142">
                  <c:v>7.4660000000000002</c:v>
                </c:pt>
                <c:pt idx="5143">
                  <c:v>7.4649999999999999</c:v>
                </c:pt>
                <c:pt idx="5144">
                  <c:v>7.4660000000000002</c:v>
                </c:pt>
                <c:pt idx="5145">
                  <c:v>7.4660000000000002</c:v>
                </c:pt>
                <c:pt idx="5146">
                  <c:v>7.4649999999999999</c:v>
                </c:pt>
                <c:pt idx="5147">
                  <c:v>7.4649999999999999</c:v>
                </c:pt>
                <c:pt idx="5148">
                  <c:v>7.4660000000000002</c:v>
                </c:pt>
                <c:pt idx="5149">
                  <c:v>7.4649999999999999</c:v>
                </c:pt>
                <c:pt idx="5150">
                  <c:v>7.4649999999999999</c:v>
                </c:pt>
                <c:pt idx="5151">
                  <c:v>7.4660000000000002</c:v>
                </c:pt>
                <c:pt idx="5152">
                  <c:v>7.4649999999999999</c:v>
                </c:pt>
                <c:pt idx="5153">
                  <c:v>7.4649999999999999</c:v>
                </c:pt>
                <c:pt idx="5154">
                  <c:v>7.4649999999999999</c:v>
                </c:pt>
                <c:pt idx="5155">
                  <c:v>7.4640000000000004</c:v>
                </c:pt>
                <c:pt idx="5156">
                  <c:v>7.4649999999999999</c:v>
                </c:pt>
                <c:pt idx="5157">
                  <c:v>7.4649999999999999</c:v>
                </c:pt>
                <c:pt idx="5158">
                  <c:v>7.4640000000000004</c:v>
                </c:pt>
                <c:pt idx="5159">
                  <c:v>7.4649999999999999</c:v>
                </c:pt>
                <c:pt idx="5160">
                  <c:v>7.4649999999999999</c:v>
                </c:pt>
                <c:pt idx="5161">
                  <c:v>7.4640000000000004</c:v>
                </c:pt>
                <c:pt idx="5162">
                  <c:v>7.4660000000000002</c:v>
                </c:pt>
                <c:pt idx="5163">
                  <c:v>7.4640000000000004</c:v>
                </c:pt>
                <c:pt idx="5164">
                  <c:v>7.4649999999999999</c:v>
                </c:pt>
                <c:pt idx="5165">
                  <c:v>7.4640000000000004</c:v>
                </c:pt>
                <c:pt idx="5166">
                  <c:v>7.4640000000000004</c:v>
                </c:pt>
                <c:pt idx="5167">
                  <c:v>7.4640000000000004</c:v>
                </c:pt>
                <c:pt idx="5168">
                  <c:v>7.4640000000000004</c:v>
                </c:pt>
                <c:pt idx="5169">
                  <c:v>7.4640000000000004</c:v>
                </c:pt>
                <c:pt idx="5170">
                  <c:v>7.4640000000000004</c:v>
                </c:pt>
                <c:pt idx="5171">
                  <c:v>7.4649999999999999</c:v>
                </c:pt>
                <c:pt idx="5172">
                  <c:v>7.4640000000000004</c:v>
                </c:pt>
                <c:pt idx="5173">
                  <c:v>7.4640000000000004</c:v>
                </c:pt>
                <c:pt idx="5174">
                  <c:v>7.4640000000000004</c:v>
                </c:pt>
                <c:pt idx="5175">
                  <c:v>7.4640000000000004</c:v>
                </c:pt>
                <c:pt idx="5176">
                  <c:v>7.4640000000000004</c:v>
                </c:pt>
                <c:pt idx="5177">
                  <c:v>7.4630000000000001</c:v>
                </c:pt>
                <c:pt idx="5178">
                  <c:v>7.4640000000000004</c:v>
                </c:pt>
                <c:pt idx="5179">
                  <c:v>7.4630000000000001</c:v>
                </c:pt>
                <c:pt idx="5180">
                  <c:v>7.4640000000000004</c:v>
                </c:pt>
                <c:pt idx="5181">
                  <c:v>7.4640000000000004</c:v>
                </c:pt>
                <c:pt idx="5182">
                  <c:v>7.4640000000000004</c:v>
                </c:pt>
                <c:pt idx="5183">
                  <c:v>7.4640000000000004</c:v>
                </c:pt>
                <c:pt idx="5184">
                  <c:v>7.4640000000000004</c:v>
                </c:pt>
                <c:pt idx="5185">
                  <c:v>7.4630000000000001</c:v>
                </c:pt>
                <c:pt idx="5186">
                  <c:v>7.4630000000000001</c:v>
                </c:pt>
                <c:pt idx="5187">
                  <c:v>7.4640000000000004</c:v>
                </c:pt>
                <c:pt idx="5188">
                  <c:v>7.4630000000000001</c:v>
                </c:pt>
                <c:pt idx="5189">
                  <c:v>7.4630000000000001</c:v>
                </c:pt>
                <c:pt idx="5190">
                  <c:v>7.4630000000000001</c:v>
                </c:pt>
                <c:pt idx="5191">
                  <c:v>7.4630000000000001</c:v>
                </c:pt>
                <c:pt idx="5192">
                  <c:v>7.4630000000000001</c:v>
                </c:pt>
                <c:pt idx="5193">
                  <c:v>7.4630000000000001</c:v>
                </c:pt>
                <c:pt idx="5194">
                  <c:v>7.4630000000000001</c:v>
                </c:pt>
                <c:pt idx="5195">
                  <c:v>7.4630000000000001</c:v>
                </c:pt>
                <c:pt idx="5196">
                  <c:v>7.4630000000000001</c:v>
                </c:pt>
                <c:pt idx="5197">
                  <c:v>7.4630000000000001</c:v>
                </c:pt>
                <c:pt idx="5198">
                  <c:v>7.4619999999999997</c:v>
                </c:pt>
                <c:pt idx="5199">
                  <c:v>7.4630000000000001</c:v>
                </c:pt>
                <c:pt idx="5200">
                  <c:v>7.4619999999999997</c:v>
                </c:pt>
                <c:pt idx="5201">
                  <c:v>7.4630000000000001</c:v>
                </c:pt>
                <c:pt idx="5202">
                  <c:v>7.4630000000000001</c:v>
                </c:pt>
                <c:pt idx="5203">
                  <c:v>7.4619999999999997</c:v>
                </c:pt>
                <c:pt idx="5204">
                  <c:v>7.4630000000000001</c:v>
                </c:pt>
                <c:pt idx="5205">
                  <c:v>7.4630000000000001</c:v>
                </c:pt>
                <c:pt idx="5206">
                  <c:v>7.4619999999999997</c:v>
                </c:pt>
                <c:pt idx="5207">
                  <c:v>7.4619999999999997</c:v>
                </c:pt>
                <c:pt idx="5208">
                  <c:v>7.4619999999999997</c:v>
                </c:pt>
                <c:pt idx="5209">
                  <c:v>7.4630000000000001</c:v>
                </c:pt>
                <c:pt idx="5210">
                  <c:v>7.4619999999999997</c:v>
                </c:pt>
                <c:pt idx="5211">
                  <c:v>7.4619999999999997</c:v>
                </c:pt>
                <c:pt idx="5212">
                  <c:v>7.4619999999999997</c:v>
                </c:pt>
                <c:pt idx="5213">
                  <c:v>7.4619999999999997</c:v>
                </c:pt>
                <c:pt idx="5214">
                  <c:v>7.4619999999999997</c:v>
                </c:pt>
                <c:pt idx="5215">
                  <c:v>7.4610000000000003</c:v>
                </c:pt>
                <c:pt idx="5216">
                  <c:v>7.4619999999999997</c:v>
                </c:pt>
                <c:pt idx="5217">
                  <c:v>7.4619999999999997</c:v>
                </c:pt>
                <c:pt idx="5218">
                  <c:v>7.4610000000000003</c:v>
                </c:pt>
                <c:pt idx="5219">
                  <c:v>7.4619999999999997</c:v>
                </c:pt>
                <c:pt idx="5220">
                  <c:v>7.4610000000000003</c:v>
                </c:pt>
                <c:pt idx="5221">
                  <c:v>7.4619999999999997</c:v>
                </c:pt>
                <c:pt idx="5222">
                  <c:v>7.4610000000000003</c:v>
                </c:pt>
                <c:pt idx="5223">
                  <c:v>7.4610000000000003</c:v>
                </c:pt>
                <c:pt idx="5224">
                  <c:v>7.4610000000000003</c:v>
                </c:pt>
                <c:pt idx="5225">
                  <c:v>7.4610000000000003</c:v>
                </c:pt>
                <c:pt idx="5226">
                  <c:v>7.4610000000000003</c:v>
                </c:pt>
                <c:pt idx="5227">
                  <c:v>7.4610000000000003</c:v>
                </c:pt>
                <c:pt idx="5228">
                  <c:v>7.4610000000000003</c:v>
                </c:pt>
                <c:pt idx="5229">
                  <c:v>7.46</c:v>
                </c:pt>
                <c:pt idx="5230">
                  <c:v>7.4610000000000003</c:v>
                </c:pt>
                <c:pt idx="5231">
                  <c:v>7.4610000000000003</c:v>
                </c:pt>
                <c:pt idx="5232">
                  <c:v>7.4610000000000003</c:v>
                </c:pt>
                <c:pt idx="5233">
                  <c:v>7.4610000000000003</c:v>
                </c:pt>
                <c:pt idx="5234">
                  <c:v>7.46</c:v>
                </c:pt>
                <c:pt idx="5235">
                  <c:v>7.46</c:v>
                </c:pt>
                <c:pt idx="5236">
                  <c:v>7.4610000000000003</c:v>
                </c:pt>
                <c:pt idx="5237">
                  <c:v>7.4610000000000003</c:v>
                </c:pt>
                <c:pt idx="5238">
                  <c:v>7.4610000000000003</c:v>
                </c:pt>
                <c:pt idx="5239">
                  <c:v>7.4610000000000003</c:v>
                </c:pt>
                <c:pt idx="5240">
                  <c:v>7.46</c:v>
                </c:pt>
                <c:pt idx="5241">
                  <c:v>7.46</c:v>
                </c:pt>
                <c:pt idx="5242">
                  <c:v>7.4589999999999996</c:v>
                </c:pt>
                <c:pt idx="5243">
                  <c:v>7.46</c:v>
                </c:pt>
                <c:pt idx="5244">
                  <c:v>7.46</c:v>
                </c:pt>
                <c:pt idx="5245">
                  <c:v>7.46</c:v>
                </c:pt>
                <c:pt idx="5246">
                  <c:v>7.4610000000000003</c:v>
                </c:pt>
                <c:pt idx="5247">
                  <c:v>7.46</c:v>
                </c:pt>
                <c:pt idx="5248">
                  <c:v>7.46</c:v>
                </c:pt>
                <c:pt idx="5249">
                  <c:v>7.46</c:v>
                </c:pt>
                <c:pt idx="5250">
                  <c:v>7.46</c:v>
                </c:pt>
                <c:pt idx="5251">
                  <c:v>7.4589999999999996</c:v>
                </c:pt>
                <c:pt idx="5252">
                  <c:v>7.46</c:v>
                </c:pt>
                <c:pt idx="5253">
                  <c:v>7.46</c:v>
                </c:pt>
                <c:pt idx="5254">
                  <c:v>7.46</c:v>
                </c:pt>
                <c:pt idx="5255">
                  <c:v>7.46</c:v>
                </c:pt>
                <c:pt idx="5256">
                  <c:v>7.4589999999999996</c:v>
                </c:pt>
                <c:pt idx="5257">
                  <c:v>7.46</c:v>
                </c:pt>
                <c:pt idx="5258">
                  <c:v>7.4589999999999996</c:v>
                </c:pt>
                <c:pt idx="5259">
                  <c:v>7.4589999999999996</c:v>
                </c:pt>
                <c:pt idx="5260">
                  <c:v>7.46</c:v>
                </c:pt>
                <c:pt idx="5261">
                  <c:v>7.4589999999999996</c:v>
                </c:pt>
                <c:pt idx="5262">
                  <c:v>7.4589999999999996</c:v>
                </c:pt>
                <c:pt idx="5263">
                  <c:v>7.4589999999999996</c:v>
                </c:pt>
                <c:pt idx="5264">
                  <c:v>7.4589999999999996</c:v>
                </c:pt>
                <c:pt idx="5265">
                  <c:v>7.4589999999999996</c:v>
                </c:pt>
                <c:pt idx="5266">
                  <c:v>7.4589999999999996</c:v>
                </c:pt>
                <c:pt idx="5267">
                  <c:v>7.4589999999999996</c:v>
                </c:pt>
                <c:pt idx="5268">
                  <c:v>7.4589999999999996</c:v>
                </c:pt>
                <c:pt idx="5269">
                  <c:v>7.4589999999999996</c:v>
                </c:pt>
                <c:pt idx="5270">
                  <c:v>7.4589999999999996</c:v>
                </c:pt>
                <c:pt idx="5271">
                  <c:v>7.4589999999999996</c:v>
                </c:pt>
                <c:pt idx="5272">
                  <c:v>7.46</c:v>
                </c:pt>
                <c:pt idx="5273">
                  <c:v>7.4589999999999996</c:v>
                </c:pt>
                <c:pt idx="5274">
                  <c:v>7.4580000000000002</c:v>
                </c:pt>
                <c:pt idx="5275">
                  <c:v>7.4589999999999996</c:v>
                </c:pt>
                <c:pt idx="5276">
                  <c:v>7.4589999999999996</c:v>
                </c:pt>
                <c:pt idx="5277">
                  <c:v>7.4589999999999996</c:v>
                </c:pt>
                <c:pt idx="5278">
                  <c:v>7.4589999999999996</c:v>
                </c:pt>
                <c:pt idx="5279">
                  <c:v>7.4589999999999996</c:v>
                </c:pt>
                <c:pt idx="5280">
                  <c:v>7.4580000000000002</c:v>
                </c:pt>
                <c:pt idx="5281">
                  <c:v>7.4580000000000002</c:v>
                </c:pt>
                <c:pt idx="5282">
                  <c:v>7.4589999999999996</c:v>
                </c:pt>
                <c:pt idx="5283">
                  <c:v>7.4580000000000002</c:v>
                </c:pt>
                <c:pt idx="5284">
                  <c:v>7.4580000000000002</c:v>
                </c:pt>
                <c:pt idx="5285">
                  <c:v>7.4589999999999996</c:v>
                </c:pt>
                <c:pt idx="5286">
                  <c:v>7.4580000000000002</c:v>
                </c:pt>
                <c:pt idx="5287">
                  <c:v>7.4580000000000002</c:v>
                </c:pt>
                <c:pt idx="5288">
                  <c:v>7.4580000000000002</c:v>
                </c:pt>
                <c:pt idx="5289">
                  <c:v>7.4580000000000002</c:v>
                </c:pt>
                <c:pt idx="5290">
                  <c:v>7.4580000000000002</c:v>
                </c:pt>
                <c:pt idx="5291">
                  <c:v>7.4569999999999999</c:v>
                </c:pt>
                <c:pt idx="5292">
                  <c:v>7.4569999999999999</c:v>
                </c:pt>
                <c:pt idx="5293">
                  <c:v>7.4580000000000002</c:v>
                </c:pt>
                <c:pt idx="5294">
                  <c:v>7.4580000000000002</c:v>
                </c:pt>
                <c:pt idx="5295">
                  <c:v>7.4580000000000002</c:v>
                </c:pt>
                <c:pt idx="5296">
                  <c:v>7.4569999999999999</c:v>
                </c:pt>
                <c:pt idx="5297">
                  <c:v>7.4580000000000002</c:v>
                </c:pt>
                <c:pt idx="5298">
                  <c:v>7.4569999999999999</c:v>
                </c:pt>
                <c:pt idx="5299">
                  <c:v>7.4589999999999996</c:v>
                </c:pt>
                <c:pt idx="5300">
                  <c:v>7.4569999999999999</c:v>
                </c:pt>
                <c:pt idx="5301">
                  <c:v>7.4580000000000002</c:v>
                </c:pt>
                <c:pt idx="5302">
                  <c:v>7.4569999999999999</c:v>
                </c:pt>
                <c:pt idx="5303">
                  <c:v>7.4560000000000004</c:v>
                </c:pt>
                <c:pt idx="5304">
                  <c:v>7.4580000000000002</c:v>
                </c:pt>
                <c:pt idx="5305">
                  <c:v>7.4569999999999999</c:v>
                </c:pt>
                <c:pt idx="5306">
                  <c:v>7.4569999999999999</c:v>
                </c:pt>
                <c:pt idx="5307">
                  <c:v>7.4569999999999999</c:v>
                </c:pt>
                <c:pt idx="5308">
                  <c:v>7.4569999999999999</c:v>
                </c:pt>
                <c:pt idx="5309">
                  <c:v>7.4569999999999999</c:v>
                </c:pt>
                <c:pt idx="5310">
                  <c:v>7.4580000000000002</c:v>
                </c:pt>
                <c:pt idx="5311">
                  <c:v>7.4569999999999999</c:v>
                </c:pt>
                <c:pt idx="5312">
                  <c:v>7.4569999999999999</c:v>
                </c:pt>
                <c:pt idx="5313">
                  <c:v>7.4569999999999999</c:v>
                </c:pt>
                <c:pt idx="5314">
                  <c:v>7.4569999999999999</c:v>
                </c:pt>
                <c:pt idx="5315">
                  <c:v>7.4569999999999999</c:v>
                </c:pt>
                <c:pt idx="5316">
                  <c:v>7.4569999999999999</c:v>
                </c:pt>
                <c:pt idx="5317">
                  <c:v>7.4560000000000004</c:v>
                </c:pt>
                <c:pt idx="5318">
                  <c:v>7.4560000000000004</c:v>
                </c:pt>
                <c:pt idx="5319">
                  <c:v>7.4560000000000004</c:v>
                </c:pt>
                <c:pt idx="5320">
                  <c:v>7.4560000000000004</c:v>
                </c:pt>
                <c:pt idx="5321">
                  <c:v>7.4560000000000004</c:v>
                </c:pt>
                <c:pt idx="5322">
                  <c:v>7.4560000000000004</c:v>
                </c:pt>
                <c:pt idx="5323">
                  <c:v>7.4560000000000004</c:v>
                </c:pt>
                <c:pt idx="5324">
                  <c:v>7.4560000000000004</c:v>
                </c:pt>
                <c:pt idx="5325">
                  <c:v>7.4560000000000004</c:v>
                </c:pt>
                <c:pt idx="5326">
                  <c:v>7.4560000000000004</c:v>
                </c:pt>
                <c:pt idx="5327">
                  <c:v>7.4560000000000004</c:v>
                </c:pt>
                <c:pt idx="5328">
                  <c:v>7.4550000000000001</c:v>
                </c:pt>
                <c:pt idx="5329">
                  <c:v>7.4560000000000004</c:v>
                </c:pt>
                <c:pt idx="5330">
                  <c:v>7.4550000000000001</c:v>
                </c:pt>
                <c:pt idx="5331">
                  <c:v>7.4560000000000004</c:v>
                </c:pt>
                <c:pt idx="5332">
                  <c:v>7.4550000000000001</c:v>
                </c:pt>
                <c:pt idx="5333">
                  <c:v>7.4560000000000004</c:v>
                </c:pt>
                <c:pt idx="5334">
                  <c:v>7.4550000000000001</c:v>
                </c:pt>
                <c:pt idx="5335">
                  <c:v>7.4560000000000004</c:v>
                </c:pt>
                <c:pt idx="5336">
                  <c:v>7.4550000000000001</c:v>
                </c:pt>
                <c:pt idx="5337">
                  <c:v>7.4550000000000001</c:v>
                </c:pt>
                <c:pt idx="5338">
                  <c:v>7.4550000000000001</c:v>
                </c:pt>
                <c:pt idx="5339">
                  <c:v>7.4560000000000004</c:v>
                </c:pt>
                <c:pt idx="5340">
                  <c:v>7.4550000000000001</c:v>
                </c:pt>
                <c:pt idx="5341">
                  <c:v>7.4550000000000001</c:v>
                </c:pt>
                <c:pt idx="5342">
                  <c:v>7.4550000000000001</c:v>
                </c:pt>
                <c:pt idx="5343">
                  <c:v>7.4550000000000001</c:v>
                </c:pt>
                <c:pt idx="5344">
                  <c:v>7.4550000000000001</c:v>
                </c:pt>
                <c:pt idx="5345">
                  <c:v>7.4550000000000001</c:v>
                </c:pt>
                <c:pt idx="5346">
                  <c:v>7.4539999999999997</c:v>
                </c:pt>
                <c:pt idx="5347">
                  <c:v>7.4550000000000001</c:v>
                </c:pt>
                <c:pt idx="5348">
                  <c:v>7.4539999999999997</c:v>
                </c:pt>
                <c:pt idx="5349">
                  <c:v>7.4550000000000001</c:v>
                </c:pt>
                <c:pt idx="5350">
                  <c:v>7.4539999999999997</c:v>
                </c:pt>
                <c:pt idx="5351">
                  <c:v>7.4539999999999997</c:v>
                </c:pt>
                <c:pt idx="5352">
                  <c:v>7.4550000000000001</c:v>
                </c:pt>
                <c:pt idx="5353">
                  <c:v>7.4539999999999997</c:v>
                </c:pt>
                <c:pt idx="5354">
                  <c:v>7.4550000000000001</c:v>
                </c:pt>
                <c:pt idx="5355">
                  <c:v>7.4539999999999997</c:v>
                </c:pt>
                <c:pt idx="5356">
                  <c:v>7.4539999999999997</c:v>
                </c:pt>
                <c:pt idx="5357">
                  <c:v>7.4539999999999997</c:v>
                </c:pt>
                <c:pt idx="5358">
                  <c:v>7.4539999999999997</c:v>
                </c:pt>
                <c:pt idx="5359">
                  <c:v>7.4539999999999997</c:v>
                </c:pt>
                <c:pt idx="5360">
                  <c:v>7.4550000000000001</c:v>
                </c:pt>
                <c:pt idx="5361">
                  <c:v>7.4539999999999997</c:v>
                </c:pt>
                <c:pt idx="5362">
                  <c:v>7.4539999999999997</c:v>
                </c:pt>
                <c:pt idx="5363">
                  <c:v>7.4539999999999997</c:v>
                </c:pt>
                <c:pt idx="5364">
                  <c:v>7.4530000000000003</c:v>
                </c:pt>
                <c:pt idx="5365">
                  <c:v>7.4539999999999997</c:v>
                </c:pt>
                <c:pt idx="5366">
                  <c:v>7.4539999999999997</c:v>
                </c:pt>
                <c:pt idx="5367">
                  <c:v>7.4530000000000003</c:v>
                </c:pt>
                <c:pt idx="5368">
                  <c:v>7.4530000000000003</c:v>
                </c:pt>
                <c:pt idx="5369">
                  <c:v>7.4539999999999997</c:v>
                </c:pt>
                <c:pt idx="5370">
                  <c:v>7.4530000000000003</c:v>
                </c:pt>
                <c:pt idx="5371">
                  <c:v>7.4530000000000003</c:v>
                </c:pt>
                <c:pt idx="5372">
                  <c:v>7.4530000000000003</c:v>
                </c:pt>
                <c:pt idx="5373">
                  <c:v>7.4530000000000003</c:v>
                </c:pt>
                <c:pt idx="5374">
                  <c:v>7.4530000000000003</c:v>
                </c:pt>
                <c:pt idx="5375">
                  <c:v>7.4530000000000003</c:v>
                </c:pt>
                <c:pt idx="5376">
                  <c:v>7.4530000000000003</c:v>
                </c:pt>
                <c:pt idx="5377">
                  <c:v>7.4530000000000003</c:v>
                </c:pt>
                <c:pt idx="5378">
                  <c:v>7.4530000000000003</c:v>
                </c:pt>
                <c:pt idx="5379">
                  <c:v>7.4530000000000003</c:v>
                </c:pt>
                <c:pt idx="5380">
                  <c:v>7.4530000000000003</c:v>
                </c:pt>
                <c:pt idx="5381">
                  <c:v>7.452</c:v>
                </c:pt>
                <c:pt idx="5382">
                  <c:v>7.4530000000000003</c:v>
                </c:pt>
                <c:pt idx="5383">
                  <c:v>7.4530000000000003</c:v>
                </c:pt>
                <c:pt idx="5384">
                  <c:v>7.4530000000000003</c:v>
                </c:pt>
                <c:pt idx="5385">
                  <c:v>7.4530000000000003</c:v>
                </c:pt>
                <c:pt idx="5386">
                  <c:v>7.4530000000000003</c:v>
                </c:pt>
                <c:pt idx="5387">
                  <c:v>7.452</c:v>
                </c:pt>
                <c:pt idx="5388">
                  <c:v>7.4530000000000003</c:v>
                </c:pt>
                <c:pt idx="5389">
                  <c:v>7.452</c:v>
                </c:pt>
                <c:pt idx="5390">
                  <c:v>7.4530000000000003</c:v>
                </c:pt>
                <c:pt idx="5391">
                  <c:v>7.452</c:v>
                </c:pt>
                <c:pt idx="5392">
                  <c:v>7.452</c:v>
                </c:pt>
                <c:pt idx="5393">
                  <c:v>7.4530000000000003</c:v>
                </c:pt>
                <c:pt idx="5394">
                  <c:v>7.452</c:v>
                </c:pt>
                <c:pt idx="5395">
                  <c:v>7.452</c:v>
                </c:pt>
                <c:pt idx="5396">
                  <c:v>7.452</c:v>
                </c:pt>
                <c:pt idx="5397">
                  <c:v>7.452</c:v>
                </c:pt>
                <c:pt idx="5398">
                  <c:v>7.452</c:v>
                </c:pt>
                <c:pt idx="5399">
                  <c:v>7.452</c:v>
                </c:pt>
                <c:pt idx="5400">
                  <c:v>7.452</c:v>
                </c:pt>
                <c:pt idx="5401">
                  <c:v>7.452</c:v>
                </c:pt>
                <c:pt idx="5402">
                  <c:v>7.452</c:v>
                </c:pt>
                <c:pt idx="5403">
                  <c:v>7.4530000000000003</c:v>
                </c:pt>
                <c:pt idx="5404">
                  <c:v>7.452</c:v>
                </c:pt>
                <c:pt idx="5405">
                  <c:v>7.452</c:v>
                </c:pt>
                <c:pt idx="5406">
                  <c:v>7.4509999999999996</c:v>
                </c:pt>
                <c:pt idx="5407">
                  <c:v>7.4509999999999996</c:v>
                </c:pt>
                <c:pt idx="5408">
                  <c:v>7.4509999999999996</c:v>
                </c:pt>
                <c:pt idx="5409">
                  <c:v>7.4509999999999996</c:v>
                </c:pt>
                <c:pt idx="5410">
                  <c:v>7.4509999999999996</c:v>
                </c:pt>
                <c:pt idx="5411">
                  <c:v>7.4509999999999996</c:v>
                </c:pt>
                <c:pt idx="5412">
                  <c:v>7.4509999999999996</c:v>
                </c:pt>
                <c:pt idx="5413">
                  <c:v>7.4509999999999996</c:v>
                </c:pt>
                <c:pt idx="5414">
                  <c:v>7.4509999999999996</c:v>
                </c:pt>
                <c:pt idx="5415">
                  <c:v>7.4509999999999996</c:v>
                </c:pt>
                <c:pt idx="5416">
                  <c:v>7.4509999999999996</c:v>
                </c:pt>
                <c:pt idx="5417">
                  <c:v>7.45</c:v>
                </c:pt>
                <c:pt idx="5418">
                  <c:v>7.452</c:v>
                </c:pt>
                <c:pt idx="5419">
                  <c:v>7.4509999999999996</c:v>
                </c:pt>
                <c:pt idx="5420">
                  <c:v>7.45</c:v>
                </c:pt>
                <c:pt idx="5421">
                  <c:v>7.4509999999999996</c:v>
                </c:pt>
                <c:pt idx="5422">
                  <c:v>7.4509999999999996</c:v>
                </c:pt>
                <c:pt idx="5423">
                  <c:v>7.4509999999999996</c:v>
                </c:pt>
                <c:pt idx="5424">
                  <c:v>7.45</c:v>
                </c:pt>
                <c:pt idx="5425">
                  <c:v>7.45</c:v>
                </c:pt>
                <c:pt idx="5426">
                  <c:v>7.45</c:v>
                </c:pt>
                <c:pt idx="5427">
                  <c:v>7.45</c:v>
                </c:pt>
                <c:pt idx="5428">
                  <c:v>7.45</c:v>
                </c:pt>
                <c:pt idx="5429">
                  <c:v>7.45</c:v>
                </c:pt>
                <c:pt idx="5430">
                  <c:v>7.4509999999999996</c:v>
                </c:pt>
                <c:pt idx="5431">
                  <c:v>7.45</c:v>
                </c:pt>
                <c:pt idx="5432">
                  <c:v>7.45</c:v>
                </c:pt>
                <c:pt idx="5433">
                  <c:v>7.4489999999999998</c:v>
                </c:pt>
                <c:pt idx="5434">
                  <c:v>7.45</c:v>
                </c:pt>
                <c:pt idx="5435">
                  <c:v>7.45</c:v>
                </c:pt>
                <c:pt idx="5436">
                  <c:v>7.4489999999999998</c:v>
                </c:pt>
                <c:pt idx="5437">
                  <c:v>7.45</c:v>
                </c:pt>
                <c:pt idx="5438">
                  <c:v>7.45</c:v>
                </c:pt>
                <c:pt idx="5439">
                  <c:v>7.4489999999999998</c:v>
                </c:pt>
                <c:pt idx="5440">
                  <c:v>7.4489999999999998</c:v>
                </c:pt>
                <c:pt idx="5441">
                  <c:v>7.4489999999999998</c:v>
                </c:pt>
                <c:pt idx="5442">
                  <c:v>7.45</c:v>
                </c:pt>
                <c:pt idx="5443">
                  <c:v>7.4489999999999998</c:v>
                </c:pt>
                <c:pt idx="5444">
                  <c:v>7.4489999999999998</c:v>
                </c:pt>
                <c:pt idx="5445">
                  <c:v>7.4489999999999998</c:v>
                </c:pt>
                <c:pt idx="5446">
                  <c:v>7.45</c:v>
                </c:pt>
                <c:pt idx="5447">
                  <c:v>7.45</c:v>
                </c:pt>
                <c:pt idx="5448">
                  <c:v>7.4489999999999998</c:v>
                </c:pt>
                <c:pt idx="5449">
                  <c:v>7.4489999999999998</c:v>
                </c:pt>
                <c:pt idx="5450">
                  <c:v>7.4489999999999998</c:v>
                </c:pt>
                <c:pt idx="5451">
                  <c:v>7.4480000000000004</c:v>
                </c:pt>
                <c:pt idx="5452">
                  <c:v>7.4489999999999998</c:v>
                </c:pt>
                <c:pt idx="5453">
                  <c:v>7.4489999999999998</c:v>
                </c:pt>
                <c:pt idx="5454">
                  <c:v>7.4489999999999998</c:v>
                </c:pt>
                <c:pt idx="5455">
                  <c:v>7.4489999999999998</c:v>
                </c:pt>
                <c:pt idx="5456">
                  <c:v>7.4480000000000004</c:v>
                </c:pt>
                <c:pt idx="5457">
                  <c:v>7.4489999999999998</c:v>
                </c:pt>
                <c:pt idx="5458">
                  <c:v>7.4489999999999998</c:v>
                </c:pt>
                <c:pt idx="5459">
                  <c:v>7.4480000000000004</c:v>
                </c:pt>
                <c:pt idx="5460">
                  <c:v>7.4480000000000004</c:v>
                </c:pt>
                <c:pt idx="5461">
                  <c:v>7.4480000000000004</c:v>
                </c:pt>
                <c:pt idx="5462">
                  <c:v>7.4480000000000004</c:v>
                </c:pt>
                <c:pt idx="5463">
                  <c:v>7.4489999999999998</c:v>
                </c:pt>
                <c:pt idx="5464">
                  <c:v>7.4480000000000004</c:v>
                </c:pt>
                <c:pt idx="5465">
                  <c:v>7.4480000000000004</c:v>
                </c:pt>
                <c:pt idx="5466">
                  <c:v>7.4480000000000004</c:v>
                </c:pt>
                <c:pt idx="5467">
                  <c:v>7.4480000000000004</c:v>
                </c:pt>
                <c:pt idx="5468">
                  <c:v>7.4480000000000004</c:v>
                </c:pt>
                <c:pt idx="5469">
                  <c:v>7.4480000000000004</c:v>
                </c:pt>
                <c:pt idx="5470">
                  <c:v>7.4470000000000001</c:v>
                </c:pt>
                <c:pt idx="5471">
                  <c:v>7.4470000000000001</c:v>
                </c:pt>
                <c:pt idx="5472">
                  <c:v>7.4470000000000001</c:v>
                </c:pt>
                <c:pt idx="5473">
                  <c:v>7.4470000000000001</c:v>
                </c:pt>
                <c:pt idx="5474">
                  <c:v>7.4470000000000001</c:v>
                </c:pt>
                <c:pt idx="5475">
                  <c:v>7.4470000000000001</c:v>
                </c:pt>
                <c:pt idx="5476">
                  <c:v>7.4470000000000001</c:v>
                </c:pt>
                <c:pt idx="5477">
                  <c:v>7.4480000000000004</c:v>
                </c:pt>
                <c:pt idx="5478">
                  <c:v>7.4459999999999997</c:v>
                </c:pt>
                <c:pt idx="5479">
                  <c:v>7.4480000000000004</c:v>
                </c:pt>
                <c:pt idx="5480">
                  <c:v>7.4470000000000001</c:v>
                </c:pt>
                <c:pt idx="5481">
                  <c:v>7.4470000000000001</c:v>
                </c:pt>
                <c:pt idx="5482">
                  <c:v>7.4470000000000001</c:v>
                </c:pt>
                <c:pt idx="5483">
                  <c:v>7.4470000000000001</c:v>
                </c:pt>
                <c:pt idx="5484">
                  <c:v>7.4459999999999997</c:v>
                </c:pt>
                <c:pt idx="5485">
                  <c:v>7.4470000000000001</c:v>
                </c:pt>
                <c:pt idx="5486">
                  <c:v>7.4470000000000001</c:v>
                </c:pt>
                <c:pt idx="5487">
                  <c:v>7.4459999999999997</c:v>
                </c:pt>
                <c:pt idx="5488">
                  <c:v>7.4470000000000001</c:v>
                </c:pt>
                <c:pt idx="5489">
                  <c:v>7.4470000000000001</c:v>
                </c:pt>
                <c:pt idx="5490">
                  <c:v>7.4459999999999997</c:v>
                </c:pt>
                <c:pt idx="5491">
                  <c:v>7.4459999999999997</c:v>
                </c:pt>
                <c:pt idx="5492">
                  <c:v>7.4470000000000001</c:v>
                </c:pt>
                <c:pt idx="5493">
                  <c:v>7.4470000000000001</c:v>
                </c:pt>
                <c:pt idx="5494">
                  <c:v>7.4470000000000001</c:v>
                </c:pt>
                <c:pt idx="5495">
                  <c:v>7.4459999999999997</c:v>
                </c:pt>
                <c:pt idx="5496">
                  <c:v>7.4459999999999997</c:v>
                </c:pt>
                <c:pt idx="5497">
                  <c:v>7.4459999999999997</c:v>
                </c:pt>
                <c:pt idx="5498">
                  <c:v>7.4459999999999997</c:v>
                </c:pt>
                <c:pt idx="5499">
                  <c:v>7.4459999999999997</c:v>
                </c:pt>
                <c:pt idx="5500">
                  <c:v>7.4470000000000001</c:v>
                </c:pt>
                <c:pt idx="5501">
                  <c:v>7.4459999999999997</c:v>
                </c:pt>
                <c:pt idx="5502">
                  <c:v>7.4459999999999997</c:v>
                </c:pt>
                <c:pt idx="5503">
                  <c:v>7.4459999999999997</c:v>
                </c:pt>
                <c:pt idx="5504">
                  <c:v>7.4459999999999997</c:v>
                </c:pt>
                <c:pt idx="5505">
                  <c:v>7.4459999999999997</c:v>
                </c:pt>
                <c:pt idx="5506">
                  <c:v>7.4459999999999997</c:v>
                </c:pt>
                <c:pt idx="5507">
                  <c:v>7.4459999999999997</c:v>
                </c:pt>
                <c:pt idx="5508">
                  <c:v>7.4459999999999997</c:v>
                </c:pt>
                <c:pt idx="5509">
                  <c:v>7.4459999999999997</c:v>
                </c:pt>
                <c:pt idx="5510">
                  <c:v>7.4459999999999997</c:v>
                </c:pt>
                <c:pt idx="5511">
                  <c:v>7.4459999999999997</c:v>
                </c:pt>
                <c:pt idx="5512">
                  <c:v>7.4459999999999997</c:v>
                </c:pt>
                <c:pt idx="5513">
                  <c:v>7.4459999999999997</c:v>
                </c:pt>
                <c:pt idx="5514">
                  <c:v>7.4450000000000003</c:v>
                </c:pt>
                <c:pt idx="5515">
                  <c:v>7.4459999999999997</c:v>
                </c:pt>
                <c:pt idx="5516">
                  <c:v>7.4450000000000003</c:v>
                </c:pt>
                <c:pt idx="5517">
                  <c:v>7.4450000000000003</c:v>
                </c:pt>
                <c:pt idx="5518">
                  <c:v>7.4450000000000003</c:v>
                </c:pt>
                <c:pt idx="5519">
                  <c:v>7.4450000000000003</c:v>
                </c:pt>
                <c:pt idx="5520">
                  <c:v>7.4450000000000003</c:v>
                </c:pt>
                <c:pt idx="5521">
                  <c:v>7.4450000000000003</c:v>
                </c:pt>
                <c:pt idx="5522">
                  <c:v>7.444</c:v>
                </c:pt>
                <c:pt idx="5523">
                  <c:v>7.4450000000000003</c:v>
                </c:pt>
                <c:pt idx="5524">
                  <c:v>7.4450000000000003</c:v>
                </c:pt>
                <c:pt idx="5525">
                  <c:v>7.4450000000000003</c:v>
                </c:pt>
                <c:pt idx="5526">
                  <c:v>7.4450000000000003</c:v>
                </c:pt>
                <c:pt idx="5527">
                  <c:v>7.4450000000000003</c:v>
                </c:pt>
                <c:pt idx="5528">
                  <c:v>7.444</c:v>
                </c:pt>
                <c:pt idx="5529">
                  <c:v>7.444</c:v>
                </c:pt>
                <c:pt idx="5530">
                  <c:v>7.444</c:v>
                </c:pt>
                <c:pt idx="5531">
                  <c:v>7.444</c:v>
                </c:pt>
                <c:pt idx="5532">
                  <c:v>7.4450000000000003</c:v>
                </c:pt>
                <c:pt idx="5533">
                  <c:v>7.4450000000000003</c:v>
                </c:pt>
                <c:pt idx="5534">
                  <c:v>7.444</c:v>
                </c:pt>
                <c:pt idx="5535">
                  <c:v>7.444</c:v>
                </c:pt>
                <c:pt idx="5536">
                  <c:v>7.444</c:v>
                </c:pt>
                <c:pt idx="5537">
                  <c:v>7.444</c:v>
                </c:pt>
                <c:pt idx="5538">
                  <c:v>7.444</c:v>
                </c:pt>
                <c:pt idx="5539">
                  <c:v>7.4450000000000003</c:v>
                </c:pt>
                <c:pt idx="5540">
                  <c:v>7.444</c:v>
                </c:pt>
                <c:pt idx="5541">
                  <c:v>7.444</c:v>
                </c:pt>
                <c:pt idx="5542">
                  <c:v>7.444</c:v>
                </c:pt>
                <c:pt idx="5543">
                  <c:v>7.444</c:v>
                </c:pt>
                <c:pt idx="5544">
                  <c:v>7.444</c:v>
                </c:pt>
                <c:pt idx="5545">
                  <c:v>7.4429999999999996</c:v>
                </c:pt>
                <c:pt idx="5546">
                  <c:v>7.4450000000000003</c:v>
                </c:pt>
                <c:pt idx="5547">
                  <c:v>7.444</c:v>
                </c:pt>
                <c:pt idx="5548">
                  <c:v>7.444</c:v>
                </c:pt>
                <c:pt idx="5549">
                  <c:v>7.4429999999999996</c:v>
                </c:pt>
                <c:pt idx="5550">
                  <c:v>7.4429999999999996</c:v>
                </c:pt>
                <c:pt idx="5551">
                  <c:v>7.4429999999999996</c:v>
                </c:pt>
                <c:pt idx="5552">
                  <c:v>7.444</c:v>
                </c:pt>
                <c:pt idx="5553">
                  <c:v>7.4429999999999996</c:v>
                </c:pt>
                <c:pt idx="5554">
                  <c:v>7.444</c:v>
                </c:pt>
                <c:pt idx="5555">
                  <c:v>7.4429999999999996</c:v>
                </c:pt>
                <c:pt idx="5556">
                  <c:v>7.4429999999999996</c:v>
                </c:pt>
                <c:pt idx="5557">
                  <c:v>7.4429999999999996</c:v>
                </c:pt>
                <c:pt idx="5558">
                  <c:v>7.444</c:v>
                </c:pt>
                <c:pt idx="5559">
                  <c:v>7.4429999999999996</c:v>
                </c:pt>
                <c:pt idx="5560">
                  <c:v>7.4420000000000002</c:v>
                </c:pt>
                <c:pt idx="5561">
                  <c:v>7.4429999999999996</c:v>
                </c:pt>
                <c:pt idx="5562">
                  <c:v>7.4429999999999996</c:v>
                </c:pt>
                <c:pt idx="5563">
                  <c:v>7.4429999999999996</c:v>
                </c:pt>
                <c:pt idx="5564">
                  <c:v>7.4429999999999996</c:v>
                </c:pt>
                <c:pt idx="5565">
                  <c:v>7.4429999999999996</c:v>
                </c:pt>
                <c:pt idx="5566">
                  <c:v>7.4420000000000002</c:v>
                </c:pt>
                <c:pt idx="5567">
                  <c:v>7.4429999999999996</c:v>
                </c:pt>
                <c:pt idx="5568">
                  <c:v>7.4420000000000002</c:v>
                </c:pt>
                <c:pt idx="5569">
                  <c:v>7.4420000000000002</c:v>
                </c:pt>
                <c:pt idx="5570">
                  <c:v>7.4429999999999996</c:v>
                </c:pt>
                <c:pt idx="5571">
                  <c:v>7.4420000000000002</c:v>
                </c:pt>
                <c:pt idx="5572">
                  <c:v>7.4420000000000002</c:v>
                </c:pt>
                <c:pt idx="5573">
                  <c:v>7.4420000000000002</c:v>
                </c:pt>
                <c:pt idx="5574">
                  <c:v>7.4429999999999996</c:v>
                </c:pt>
                <c:pt idx="5575">
                  <c:v>7.4420000000000002</c:v>
                </c:pt>
                <c:pt idx="5576">
                  <c:v>7.4420000000000002</c:v>
                </c:pt>
                <c:pt idx="5577">
                  <c:v>7.4420000000000002</c:v>
                </c:pt>
                <c:pt idx="5578">
                  <c:v>7.4420000000000002</c:v>
                </c:pt>
                <c:pt idx="5579">
                  <c:v>7.4420000000000002</c:v>
                </c:pt>
                <c:pt idx="5580">
                  <c:v>7.4420000000000002</c:v>
                </c:pt>
                <c:pt idx="5581">
                  <c:v>7.4429999999999996</c:v>
                </c:pt>
                <c:pt idx="5582">
                  <c:v>7.4420000000000002</c:v>
                </c:pt>
                <c:pt idx="5583">
                  <c:v>7.4420000000000002</c:v>
                </c:pt>
                <c:pt idx="5584">
                  <c:v>7.4420000000000002</c:v>
                </c:pt>
                <c:pt idx="5585">
                  <c:v>7.4409999999999998</c:v>
                </c:pt>
                <c:pt idx="5586">
                  <c:v>7.4409999999999998</c:v>
                </c:pt>
                <c:pt idx="5587">
                  <c:v>7.4409999999999998</c:v>
                </c:pt>
                <c:pt idx="5588">
                  <c:v>7.4409999999999998</c:v>
                </c:pt>
                <c:pt idx="5589">
                  <c:v>7.4409999999999998</c:v>
                </c:pt>
                <c:pt idx="5590">
                  <c:v>7.4420000000000002</c:v>
                </c:pt>
                <c:pt idx="5591">
                  <c:v>7.4420000000000002</c:v>
                </c:pt>
                <c:pt idx="5592">
                  <c:v>7.4409999999999998</c:v>
                </c:pt>
                <c:pt idx="5593">
                  <c:v>7.4409999999999998</c:v>
                </c:pt>
                <c:pt idx="5594">
                  <c:v>7.4409999999999998</c:v>
                </c:pt>
                <c:pt idx="5595">
                  <c:v>7.4420000000000002</c:v>
                </c:pt>
                <c:pt idx="5596">
                  <c:v>7.4409999999999998</c:v>
                </c:pt>
                <c:pt idx="5597">
                  <c:v>7.4409999999999998</c:v>
                </c:pt>
                <c:pt idx="5598">
                  <c:v>7.4409999999999998</c:v>
                </c:pt>
                <c:pt idx="5599">
                  <c:v>7.4409999999999998</c:v>
                </c:pt>
                <c:pt idx="5600">
                  <c:v>7.4409999999999998</c:v>
                </c:pt>
                <c:pt idx="5601">
                  <c:v>7.44</c:v>
                </c:pt>
                <c:pt idx="5602">
                  <c:v>7.4409999999999998</c:v>
                </c:pt>
                <c:pt idx="5603">
                  <c:v>7.44</c:v>
                </c:pt>
                <c:pt idx="5604">
                  <c:v>7.4409999999999998</c:v>
                </c:pt>
                <c:pt idx="5605">
                  <c:v>7.44</c:v>
                </c:pt>
                <c:pt idx="5606">
                  <c:v>7.44</c:v>
                </c:pt>
                <c:pt idx="5607">
                  <c:v>7.4409999999999998</c:v>
                </c:pt>
                <c:pt idx="5608">
                  <c:v>7.4409999999999998</c:v>
                </c:pt>
                <c:pt idx="5609">
                  <c:v>7.44</c:v>
                </c:pt>
                <c:pt idx="5610">
                  <c:v>7.44</c:v>
                </c:pt>
                <c:pt idx="5611">
                  <c:v>7.4409999999999998</c:v>
                </c:pt>
                <c:pt idx="5612">
                  <c:v>7.44</c:v>
                </c:pt>
                <c:pt idx="5613">
                  <c:v>7.4409999999999998</c:v>
                </c:pt>
                <c:pt idx="5614">
                  <c:v>7.44</c:v>
                </c:pt>
                <c:pt idx="5615">
                  <c:v>7.44</c:v>
                </c:pt>
                <c:pt idx="5616">
                  <c:v>7.4390000000000001</c:v>
                </c:pt>
                <c:pt idx="5617">
                  <c:v>7.44</c:v>
                </c:pt>
                <c:pt idx="5618">
                  <c:v>7.4390000000000001</c:v>
                </c:pt>
                <c:pt idx="5619">
                  <c:v>7.4409999999999998</c:v>
                </c:pt>
                <c:pt idx="5620">
                  <c:v>7.4390000000000001</c:v>
                </c:pt>
                <c:pt idx="5621">
                  <c:v>7.4390000000000001</c:v>
                </c:pt>
                <c:pt idx="5622">
                  <c:v>7.44</c:v>
                </c:pt>
                <c:pt idx="5623">
                  <c:v>7.4390000000000001</c:v>
                </c:pt>
                <c:pt idx="5624">
                  <c:v>7.44</c:v>
                </c:pt>
                <c:pt idx="5625">
                  <c:v>7.44</c:v>
                </c:pt>
                <c:pt idx="5626">
                  <c:v>7.44</c:v>
                </c:pt>
                <c:pt idx="5627">
                  <c:v>7.44</c:v>
                </c:pt>
                <c:pt idx="5628">
                  <c:v>7.44</c:v>
                </c:pt>
                <c:pt idx="5629">
                  <c:v>7.4390000000000001</c:v>
                </c:pt>
                <c:pt idx="5630">
                  <c:v>7.44</c:v>
                </c:pt>
                <c:pt idx="5631">
                  <c:v>7.4390000000000001</c:v>
                </c:pt>
                <c:pt idx="5632">
                  <c:v>7.4390000000000001</c:v>
                </c:pt>
                <c:pt idx="5633">
                  <c:v>7.4390000000000001</c:v>
                </c:pt>
                <c:pt idx="5634">
                  <c:v>7.4390000000000001</c:v>
                </c:pt>
                <c:pt idx="5635">
                  <c:v>7.4390000000000001</c:v>
                </c:pt>
                <c:pt idx="5636">
                  <c:v>7.4390000000000001</c:v>
                </c:pt>
                <c:pt idx="5637">
                  <c:v>7.4390000000000001</c:v>
                </c:pt>
                <c:pt idx="5638">
                  <c:v>7.4390000000000001</c:v>
                </c:pt>
                <c:pt idx="5639">
                  <c:v>7.4390000000000001</c:v>
                </c:pt>
                <c:pt idx="5640">
                  <c:v>7.4390000000000001</c:v>
                </c:pt>
                <c:pt idx="5641">
                  <c:v>7.4379999999999997</c:v>
                </c:pt>
                <c:pt idx="5642">
                  <c:v>7.4379999999999997</c:v>
                </c:pt>
                <c:pt idx="5643">
                  <c:v>7.4390000000000001</c:v>
                </c:pt>
                <c:pt idx="5644">
                  <c:v>7.4379999999999997</c:v>
                </c:pt>
                <c:pt idx="5645">
                  <c:v>7.4390000000000001</c:v>
                </c:pt>
                <c:pt idx="5646">
                  <c:v>7.4390000000000001</c:v>
                </c:pt>
                <c:pt idx="5647">
                  <c:v>7.4379999999999997</c:v>
                </c:pt>
                <c:pt idx="5648">
                  <c:v>7.4379999999999997</c:v>
                </c:pt>
                <c:pt idx="5649">
                  <c:v>7.4379999999999997</c:v>
                </c:pt>
                <c:pt idx="5650">
                  <c:v>7.4379999999999997</c:v>
                </c:pt>
                <c:pt idx="5651">
                  <c:v>7.4379999999999997</c:v>
                </c:pt>
                <c:pt idx="5652">
                  <c:v>7.4379999999999997</c:v>
                </c:pt>
                <c:pt idx="5653">
                  <c:v>7.4379999999999997</c:v>
                </c:pt>
                <c:pt idx="5654">
                  <c:v>7.4379999999999997</c:v>
                </c:pt>
                <c:pt idx="5655">
                  <c:v>7.4379999999999997</c:v>
                </c:pt>
                <c:pt idx="5656">
                  <c:v>7.4379999999999997</c:v>
                </c:pt>
                <c:pt idx="5657">
                  <c:v>7.4390000000000001</c:v>
                </c:pt>
                <c:pt idx="5658">
                  <c:v>7.4379999999999997</c:v>
                </c:pt>
                <c:pt idx="5659">
                  <c:v>7.4370000000000003</c:v>
                </c:pt>
                <c:pt idx="5660">
                  <c:v>7.4379999999999997</c:v>
                </c:pt>
                <c:pt idx="5661">
                  <c:v>7.4370000000000003</c:v>
                </c:pt>
                <c:pt idx="5662">
                  <c:v>7.4379999999999997</c:v>
                </c:pt>
                <c:pt idx="5663">
                  <c:v>7.4379999999999997</c:v>
                </c:pt>
                <c:pt idx="5664">
                  <c:v>7.4370000000000003</c:v>
                </c:pt>
                <c:pt idx="5665">
                  <c:v>7.4379999999999997</c:v>
                </c:pt>
                <c:pt idx="5666">
                  <c:v>7.4379999999999997</c:v>
                </c:pt>
                <c:pt idx="5667">
                  <c:v>7.4370000000000003</c:v>
                </c:pt>
                <c:pt idx="5668">
                  <c:v>7.4379999999999997</c:v>
                </c:pt>
                <c:pt idx="5669">
                  <c:v>7.4379999999999997</c:v>
                </c:pt>
                <c:pt idx="5670">
                  <c:v>7.4370000000000003</c:v>
                </c:pt>
                <c:pt idx="5671">
                  <c:v>7.4370000000000003</c:v>
                </c:pt>
                <c:pt idx="5672">
                  <c:v>7.4370000000000003</c:v>
                </c:pt>
                <c:pt idx="5673">
                  <c:v>7.4370000000000003</c:v>
                </c:pt>
                <c:pt idx="5674">
                  <c:v>7.4370000000000003</c:v>
                </c:pt>
                <c:pt idx="5675">
                  <c:v>7.4379999999999997</c:v>
                </c:pt>
                <c:pt idx="5676">
                  <c:v>7.4370000000000003</c:v>
                </c:pt>
                <c:pt idx="5677">
                  <c:v>7.4370000000000003</c:v>
                </c:pt>
                <c:pt idx="5678">
                  <c:v>7.4370000000000003</c:v>
                </c:pt>
                <c:pt idx="5679">
                  <c:v>7.4370000000000003</c:v>
                </c:pt>
                <c:pt idx="5680">
                  <c:v>7.4370000000000003</c:v>
                </c:pt>
                <c:pt idx="5681">
                  <c:v>7.4359999999999999</c:v>
                </c:pt>
                <c:pt idx="5682">
                  <c:v>7.4359999999999999</c:v>
                </c:pt>
                <c:pt idx="5683">
                  <c:v>7.4359999999999999</c:v>
                </c:pt>
                <c:pt idx="5684">
                  <c:v>7.4370000000000003</c:v>
                </c:pt>
                <c:pt idx="5685">
                  <c:v>7.4370000000000003</c:v>
                </c:pt>
                <c:pt idx="5686">
                  <c:v>7.4359999999999999</c:v>
                </c:pt>
                <c:pt idx="5687">
                  <c:v>7.4359999999999999</c:v>
                </c:pt>
                <c:pt idx="5688">
                  <c:v>7.4359999999999999</c:v>
                </c:pt>
                <c:pt idx="5689">
                  <c:v>7.4370000000000003</c:v>
                </c:pt>
                <c:pt idx="5690">
                  <c:v>7.4359999999999999</c:v>
                </c:pt>
                <c:pt idx="5691">
                  <c:v>7.4359999999999999</c:v>
                </c:pt>
                <c:pt idx="5692">
                  <c:v>7.4359999999999999</c:v>
                </c:pt>
                <c:pt idx="5693">
                  <c:v>7.4359999999999999</c:v>
                </c:pt>
                <c:pt idx="5694">
                  <c:v>7.4359999999999999</c:v>
                </c:pt>
                <c:pt idx="5695">
                  <c:v>7.4359999999999999</c:v>
                </c:pt>
                <c:pt idx="5696">
                  <c:v>7.4359999999999999</c:v>
                </c:pt>
                <c:pt idx="5697">
                  <c:v>7.4359999999999999</c:v>
                </c:pt>
                <c:pt idx="5698">
                  <c:v>7.4359999999999999</c:v>
                </c:pt>
                <c:pt idx="5699">
                  <c:v>7.4359999999999999</c:v>
                </c:pt>
                <c:pt idx="5700">
                  <c:v>7.4359999999999999</c:v>
                </c:pt>
                <c:pt idx="5701">
                  <c:v>7.4359999999999999</c:v>
                </c:pt>
                <c:pt idx="5702">
                  <c:v>7.4359999999999999</c:v>
                </c:pt>
                <c:pt idx="5703">
                  <c:v>7.4359999999999999</c:v>
                </c:pt>
                <c:pt idx="5704">
                  <c:v>7.4359999999999999</c:v>
                </c:pt>
                <c:pt idx="5705">
                  <c:v>7.4359999999999999</c:v>
                </c:pt>
                <c:pt idx="5706">
                  <c:v>7.4349999999999996</c:v>
                </c:pt>
                <c:pt idx="5707">
                  <c:v>7.4349999999999996</c:v>
                </c:pt>
                <c:pt idx="5708">
                  <c:v>7.4359999999999999</c:v>
                </c:pt>
                <c:pt idx="5709">
                  <c:v>7.4349999999999996</c:v>
                </c:pt>
                <c:pt idx="5710">
                  <c:v>7.4359999999999999</c:v>
                </c:pt>
                <c:pt idx="5711">
                  <c:v>7.4349999999999996</c:v>
                </c:pt>
                <c:pt idx="5712">
                  <c:v>7.4349999999999996</c:v>
                </c:pt>
                <c:pt idx="5713">
                  <c:v>7.4349999999999996</c:v>
                </c:pt>
                <c:pt idx="5714">
                  <c:v>7.4359999999999999</c:v>
                </c:pt>
                <c:pt idx="5715">
                  <c:v>7.4349999999999996</c:v>
                </c:pt>
                <c:pt idx="5716">
                  <c:v>7.4349999999999996</c:v>
                </c:pt>
                <c:pt idx="5717">
                  <c:v>7.4349999999999996</c:v>
                </c:pt>
                <c:pt idx="5718">
                  <c:v>7.4349999999999996</c:v>
                </c:pt>
                <c:pt idx="5719">
                  <c:v>7.4349999999999996</c:v>
                </c:pt>
                <c:pt idx="5720">
                  <c:v>7.4349999999999996</c:v>
                </c:pt>
                <c:pt idx="5721">
                  <c:v>7.4349999999999996</c:v>
                </c:pt>
                <c:pt idx="5722">
                  <c:v>7.4340000000000002</c:v>
                </c:pt>
                <c:pt idx="5723">
                  <c:v>7.4340000000000002</c:v>
                </c:pt>
                <c:pt idx="5724">
                  <c:v>7.4340000000000002</c:v>
                </c:pt>
                <c:pt idx="5725">
                  <c:v>7.4349999999999996</c:v>
                </c:pt>
                <c:pt idx="5726">
                  <c:v>7.4340000000000002</c:v>
                </c:pt>
                <c:pt idx="5727">
                  <c:v>7.4349999999999996</c:v>
                </c:pt>
                <c:pt idx="5728">
                  <c:v>7.4340000000000002</c:v>
                </c:pt>
                <c:pt idx="5729">
                  <c:v>7.4340000000000002</c:v>
                </c:pt>
                <c:pt idx="5730">
                  <c:v>7.4349999999999996</c:v>
                </c:pt>
                <c:pt idx="5731">
                  <c:v>7.4349999999999996</c:v>
                </c:pt>
                <c:pt idx="5732">
                  <c:v>7.4340000000000002</c:v>
                </c:pt>
                <c:pt idx="5733">
                  <c:v>7.4340000000000002</c:v>
                </c:pt>
                <c:pt idx="5734">
                  <c:v>7.4340000000000002</c:v>
                </c:pt>
                <c:pt idx="5735">
                  <c:v>7.4349999999999996</c:v>
                </c:pt>
                <c:pt idx="5736">
                  <c:v>7.4340000000000002</c:v>
                </c:pt>
                <c:pt idx="5737">
                  <c:v>7.4340000000000002</c:v>
                </c:pt>
                <c:pt idx="5738">
                  <c:v>7.4340000000000002</c:v>
                </c:pt>
                <c:pt idx="5739">
                  <c:v>7.4340000000000002</c:v>
                </c:pt>
                <c:pt idx="5740">
                  <c:v>7.4340000000000002</c:v>
                </c:pt>
                <c:pt idx="5741">
                  <c:v>7.4340000000000002</c:v>
                </c:pt>
                <c:pt idx="5742">
                  <c:v>7.4340000000000002</c:v>
                </c:pt>
                <c:pt idx="5743">
                  <c:v>7.4349999999999996</c:v>
                </c:pt>
                <c:pt idx="5744">
                  <c:v>7.4340000000000002</c:v>
                </c:pt>
                <c:pt idx="5745">
                  <c:v>7.4329999999999998</c:v>
                </c:pt>
                <c:pt idx="5746">
                  <c:v>7.4329999999999998</c:v>
                </c:pt>
                <c:pt idx="5747">
                  <c:v>7.4329999999999998</c:v>
                </c:pt>
                <c:pt idx="5748">
                  <c:v>7.4329999999999998</c:v>
                </c:pt>
                <c:pt idx="5749">
                  <c:v>7.4329999999999998</c:v>
                </c:pt>
                <c:pt idx="5750">
                  <c:v>7.4329999999999998</c:v>
                </c:pt>
                <c:pt idx="5751">
                  <c:v>7.4340000000000002</c:v>
                </c:pt>
                <c:pt idx="5752">
                  <c:v>7.4320000000000004</c:v>
                </c:pt>
                <c:pt idx="5753">
                  <c:v>7.4329999999999998</c:v>
                </c:pt>
                <c:pt idx="5754">
                  <c:v>7.4329999999999998</c:v>
                </c:pt>
                <c:pt idx="5755">
                  <c:v>7.4329999999999998</c:v>
                </c:pt>
                <c:pt idx="5756">
                  <c:v>7.4320000000000004</c:v>
                </c:pt>
                <c:pt idx="5757">
                  <c:v>7.4329999999999998</c:v>
                </c:pt>
                <c:pt idx="5758">
                  <c:v>7.4329999999999998</c:v>
                </c:pt>
                <c:pt idx="5759">
                  <c:v>7.4320000000000004</c:v>
                </c:pt>
                <c:pt idx="5760">
                  <c:v>7.4329999999999998</c:v>
                </c:pt>
                <c:pt idx="5761">
                  <c:v>7.4329999999999998</c:v>
                </c:pt>
                <c:pt idx="5762">
                  <c:v>7.4329999999999998</c:v>
                </c:pt>
                <c:pt idx="5763">
                  <c:v>7.4320000000000004</c:v>
                </c:pt>
                <c:pt idx="5764">
                  <c:v>7.4329999999999998</c:v>
                </c:pt>
                <c:pt idx="5765">
                  <c:v>7.4320000000000004</c:v>
                </c:pt>
                <c:pt idx="5766">
                  <c:v>7.4320000000000004</c:v>
                </c:pt>
                <c:pt idx="5767">
                  <c:v>7.4320000000000004</c:v>
                </c:pt>
                <c:pt idx="5768">
                  <c:v>7.4329999999999998</c:v>
                </c:pt>
                <c:pt idx="5769">
                  <c:v>7.4329999999999998</c:v>
                </c:pt>
                <c:pt idx="5770">
                  <c:v>7.4320000000000004</c:v>
                </c:pt>
                <c:pt idx="5771">
                  <c:v>7.4320000000000004</c:v>
                </c:pt>
                <c:pt idx="5772">
                  <c:v>7.4329999999999998</c:v>
                </c:pt>
                <c:pt idx="5773">
                  <c:v>7.4320000000000004</c:v>
                </c:pt>
                <c:pt idx="5774">
                  <c:v>7.4320000000000004</c:v>
                </c:pt>
                <c:pt idx="5775">
                  <c:v>7.4320000000000004</c:v>
                </c:pt>
                <c:pt idx="5776">
                  <c:v>7.4320000000000004</c:v>
                </c:pt>
                <c:pt idx="5777">
                  <c:v>7.4320000000000004</c:v>
                </c:pt>
                <c:pt idx="5778">
                  <c:v>7.4320000000000004</c:v>
                </c:pt>
                <c:pt idx="5779">
                  <c:v>7.4320000000000004</c:v>
                </c:pt>
                <c:pt idx="5780">
                  <c:v>7.4320000000000004</c:v>
                </c:pt>
                <c:pt idx="5781">
                  <c:v>7.4320000000000004</c:v>
                </c:pt>
                <c:pt idx="5782">
                  <c:v>7.431</c:v>
                </c:pt>
                <c:pt idx="5783">
                  <c:v>7.4320000000000004</c:v>
                </c:pt>
                <c:pt idx="5784">
                  <c:v>7.4329999999999998</c:v>
                </c:pt>
                <c:pt idx="5785">
                  <c:v>7.4320000000000004</c:v>
                </c:pt>
                <c:pt idx="5786">
                  <c:v>7.4320000000000004</c:v>
                </c:pt>
                <c:pt idx="5787">
                  <c:v>7.431</c:v>
                </c:pt>
                <c:pt idx="5788">
                  <c:v>7.4320000000000004</c:v>
                </c:pt>
                <c:pt idx="5789">
                  <c:v>7.4320000000000004</c:v>
                </c:pt>
                <c:pt idx="5790">
                  <c:v>7.431</c:v>
                </c:pt>
                <c:pt idx="5791">
                  <c:v>7.431</c:v>
                </c:pt>
                <c:pt idx="5792">
                  <c:v>7.431</c:v>
                </c:pt>
                <c:pt idx="5793">
                  <c:v>7.431</c:v>
                </c:pt>
                <c:pt idx="5794">
                  <c:v>7.431</c:v>
                </c:pt>
                <c:pt idx="5795">
                  <c:v>7.43</c:v>
                </c:pt>
                <c:pt idx="5796">
                  <c:v>7.431</c:v>
                </c:pt>
                <c:pt idx="5797">
                  <c:v>7.43</c:v>
                </c:pt>
                <c:pt idx="5798">
                  <c:v>7.431</c:v>
                </c:pt>
                <c:pt idx="5799">
                  <c:v>7.43</c:v>
                </c:pt>
                <c:pt idx="5800">
                  <c:v>7.43</c:v>
                </c:pt>
                <c:pt idx="5801">
                  <c:v>7.43</c:v>
                </c:pt>
                <c:pt idx="5802">
                  <c:v>7.431</c:v>
                </c:pt>
                <c:pt idx="5803">
                  <c:v>7.43</c:v>
                </c:pt>
                <c:pt idx="5804">
                  <c:v>7.43</c:v>
                </c:pt>
                <c:pt idx="5805">
                  <c:v>7.43</c:v>
                </c:pt>
                <c:pt idx="5806">
                  <c:v>7.43</c:v>
                </c:pt>
                <c:pt idx="5807">
                  <c:v>7.431</c:v>
                </c:pt>
                <c:pt idx="5808">
                  <c:v>7.431</c:v>
                </c:pt>
                <c:pt idx="5809">
                  <c:v>7.431</c:v>
                </c:pt>
                <c:pt idx="5810">
                  <c:v>7.43</c:v>
                </c:pt>
                <c:pt idx="5811">
                  <c:v>7.43</c:v>
                </c:pt>
                <c:pt idx="5812">
                  <c:v>7.43</c:v>
                </c:pt>
                <c:pt idx="5813">
                  <c:v>7.43</c:v>
                </c:pt>
                <c:pt idx="5814">
                  <c:v>7.43</c:v>
                </c:pt>
                <c:pt idx="5815">
                  <c:v>7.43</c:v>
                </c:pt>
                <c:pt idx="5816">
                  <c:v>7.43</c:v>
                </c:pt>
                <c:pt idx="5817">
                  <c:v>7.43</c:v>
                </c:pt>
                <c:pt idx="5818">
                  <c:v>7.43</c:v>
                </c:pt>
                <c:pt idx="5819">
                  <c:v>7.43</c:v>
                </c:pt>
                <c:pt idx="5820">
                  <c:v>7.43</c:v>
                </c:pt>
                <c:pt idx="5821">
                  <c:v>7.43</c:v>
                </c:pt>
                <c:pt idx="5822">
                  <c:v>7.43</c:v>
                </c:pt>
                <c:pt idx="5823">
                  <c:v>7.43</c:v>
                </c:pt>
                <c:pt idx="5824">
                  <c:v>7.4290000000000003</c:v>
                </c:pt>
                <c:pt idx="5825">
                  <c:v>7.4290000000000003</c:v>
                </c:pt>
                <c:pt idx="5826">
                  <c:v>7.43</c:v>
                </c:pt>
                <c:pt idx="5827">
                  <c:v>7.4290000000000003</c:v>
                </c:pt>
                <c:pt idx="5828">
                  <c:v>7.4290000000000003</c:v>
                </c:pt>
                <c:pt idx="5829">
                  <c:v>7.4290000000000003</c:v>
                </c:pt>
                <c:pt idx="5830">
                  <c:v>7.4290000000000003</c:v>
                </c:pt>
                <c:pt idx="5831">
                  <c:v>7.43</c:v>
                </c:pt>
                <c:pt idx="5832">
                  <c:v>7.4290000000000003</c:v>
                </c:pt>
                <c:pt idx="5833">
                  <c:v>7.4290000000000003</c:v>
                </c:pt>
                <c:pt idx="5834">
                  <c:v>7.4290000000000003</c:v>
                </c:pt>
                <c:pt idx="5835">
                  <c:v>7.4290000000000003</c:v>
                </c:pt>
                <c:pt idx="5836">
                  <c:v>7.4279999999999999</c:v>
                </c:pt>
                <c:pt idx="5837">
                  <c:v>7.4290000000000003</c:v>
                </c:pt>
                <c:pt idx="5838">
                  <c:v>7.4290000000000003</c:v>
                </c:pt>
                <c:pt idx="5839">
                  <c:v>7.4290000000000003</c:v>
                </c:pt>
                <c:pt idx="5840">
                  <c:v>7.4290000000000003</c:v>
                </c:pt>
                <c:pt idx="5841">
                  <c:v>7.4290000000000003</c:v>
                </c:pt>
                <c:pt idx="5842">
                  <c:v>7.4290000000000003</c:v>
                </c:pt>
                <c:pt idx="5843">
                  <c:v>7.4279999999999999</c:v>
                </c:pt>
                <c:pt idx="5844">
                  <c:v>7.4290000000000003</c:v>
                </c:pt>
                <c:pt idx="5845">
                  <c:v>7.4279999999999999</c:v>
                </c:pt>
                <c:pt idx="5846">
                  <c:v>7.4279999999999999</c:v>
                </c:pt>
                <c:pt idx="5847">
                  <c:v>7.4290000000000003</c:v>
                </c:pt>
                <c:pt idx="5848">
                  <c:v>7.4279999999999999</c:v>
                </c:pt>
                <c:pt idx="5849">
                  <c:v>7.4290000000000003</c:v>
                </c:pt>
                <c:pt idx="5850">
                  <c:v>7.4279999999999999</c:v>
                </c:pt>
                <c:pt idx="5851">
                  <c:v>7.4279999999999999</c:v>
                </c:pt>
                <c:pt idx="5852">
                  <c:v>7.4279999999999999</c:v>
                </c:pt>
                <c:pt idx="5853">
                  <c:v>7.4279999999999999</c:v>
                </c:pt>
                <c:pt idx="5854">
                  <c:v>7.4279999999999999</c:v>
                </c:pt>
                <c:pt idx="5855">
                  <c:v>7.4290000000000003</c:v>
                </c:pt>
                <c:pt idx="5856">
                  <c:v>7.4279999999999999</c:v>
                </c:pt>
                <c:pt idx="5857">
                  <c:v>7.4279999999999999</c:v>
                </c:pt>
                <c:pt idx="5858">
                  <c:v>7.4279999999999999</c:v>
                </c:pt>
                <c:pt idx="5859">
                  <c:v>7.4279999999999999</c:v>
                </c:pt>
                <c:pt idx="5860">
                  <c:v>7.4269999999999996</c:v>
                </c:pt>
                <c:pt idx="5861">
                  <c:v>7.4279999999999999</c:v>
                </c:pt>
                <c:pt idx="5862">
                  <c:v>7.4279999999999999</c:v>
                </c:pt>
                <c:pt idx="5863">
                  <c:v>7.4279999999999999</c:v>
                </c:pt>
                <c:pt idx="5864">
                  <c:v>7.4279999999999999</c:v>
                </c:pt>
                <c:pt idx="5865">
                  <c:v>7.4269999999999996</c:v>
                </c:pt>
                <c:pt idx="5866">
                  <c:v>7.4269999999999996</c:v>
                </c:pt>
                <c:pt idx="5867">
                  <c:v>7.4269999999999996</c:v>
                </c:pt>
                <c:pt idx="5868">
                  <c:v>7.4279999999999999</c:v>
                </c:pt>
                <c:pt idx="5869">
                  <c:v>7.4279999999999999</c:v>
                </c:pt>
                <c:pt idx="5870">
                  <c:v>7.4269999999999996</c:v>
                </c:pt>
                <c:pt idx="5871">
                  <c:v>7.4269999999999996</c:v>
                </c:pt>
                <c:pt idx="5872">
                  <c:v>7.4269999999999996</c:v>
                </c:pt>
                <c:pt idx="5873">
                  <c:v>7.4269999999999996</c:v>
                </c:pt>
                <c:pt idx="5874">
                  <c:v>7.4279999999999999</c:v>
                </c:pt>
                <c:pt idx="5875">
                  <c:v>7.4269999999999996</c:v>
                </c:pt>
                <c:pt idx="5876">
                  <c:v>7.4269999999999996</c:v>
                </c:pt>
                <c:pt idx="5877">
                  <c:v>7.4269999999999996</c:v>
                </c:pt>
                <c:pt idx="5878">
                  <c:v>7.4269999999999996</c:v>
                </c:pt>
                <c:pt idx="5879">
                  <c:v>7.4269999999999996</c:v>
                </c:pt>
                <c:pt idx="5880">
                  <c:v>7.4269999999999996</c:v>
                </c:pt>
                <c:pt idx="5881">
                  <c:v>7.4269999999999996</c:v>
                </c:pt>
                <c:pt idx="5882">
                  <c:v>7.4269999999999996</c:v>
                </c:pt>
                <c:pt idx="5883">
                  <c:v>7.4269999999999996</c:v>
                </c:pt>
                <c:pt idx="5884">
                  <c:v>7.4269999999999996</c:v>
                </c:pt>
                <c:pt idx="5885">
                  <c:v>7.4269999999999996</c:v>
                </c:pt>
                <c:pt idx="5886">
                  <c:v>7.4269999999999996</c:v>
                </c:pt>
                <c:pt idx="5887">
                  <c:v>7.4260000000000002</c:v>
                </c:pt>
                <c:pt idx="5888">
                  <c:v>7.4269999999999996</c:v>
                </c:pt>
                <c:pt idx="5889">
                  <c:v>7.4260000000000002</c:v>
                </c:pt>
                <c:pt idx="5890">
                  <c:v>7.4260000000000002</c:v>
                </c:pt>
                <c:pt idx="5891">
                  <c:v>7.4260000000000002</c:v>
                </c:pt>
                <c:pt idx="5892">
                  <c:v>7.4260000000000002</c:v>
                </c:pt>
                <c:pt idx="5893">
                  <c:v>7.4260000000000002</c:v>
                </c:pt>
                <c:pt idx="5894">
                  <c:v>7.4260000000000002</c:v>
                </c:pt>
                <c:pt idx="5895">
                  <c:v>7.4260000000000002</c:v>
                </c:pt>
                <c:pt idx="5896">
                  <c:v>7.4260000000000002</c:v>
                </c:pt>
                <c:pt idx="5897">
                  <c:v>7.4260000000000002</c:v>
                </c:pt>
                <c:pt idx="5898">
                  <c:v>7.4260000000000002</c:v>
                </c:pt>
                <c:pt idx="5899">
                  <c:v>7.4260000000000002</c:v>
                </c:pt>
                <c:pt idx="5900">
                  <c:v>7.4260000000000002</c:v>
                </c:pt>
                <c:pt idx="5901">
                  <c:v>7.4260000000000002</c:v>
                </c:pt>
                <c:pt idx="5902">
                  <c:v>7.4260000000000002</c:v>
                </c:pt>
                <c:pt idx="5903">
                  <c:v>7.4249999999999998</c:v>
                </c:pt>
                <c:pt idx="5904">
                  <c:v>7.4260000000000002</c:v>
                </c:pt>
                <c:pt idx="5905">
                  <c:v>7.4260000000000002</c:v>
                </c:pt>
                <c:pt idx="5906">
                  <c:v>7.4260000000000002</c:v>
                </c:pt>
                <c:pt idx="5907">
                  <c:v>7.4260000000000002</c:v>
                </c:pt>
                <c:pt idx="5908">
                  <c:v>7.4260000000000002</c:v>
                </c:pt>
                <c:pt idx="5909">
                  <c:v>7.4260000000000002</c:v>
                </c:pt>
                <c:pt idx="5910">
                  <c:v>7.4260000000000002</c:v>
                </c:pt>
                <c:pt idx="5911">
                  <c:v>7.4249999999999998</c:v>
                </c:pt>
                <c:pt idx="5912">
                  <c:v>7.4260000000000002</c:v>
                </c:pt>
                <c:pt idx="5913">
                  <c:v>7.4249999999999998</c:v>
                </c:pt>
                <c:pt idx="5914">
                  <c:v>7.4249999999999998</c:v>
                </c:pt>
                <c:pt idx="5915">
                  <c:v>7.4249999999999998</c:v>
                </c:pt>
                <c:pt idx="5916">
                  <c:v>7.4249999999999998</c:v>
                </c:pt>
                <c:pt idx="5917">
                  <c:v>7.4249999999999998</c:v>
                </c:pt>
                <c:pt idx="5918">
                  <c:v>7.4249999999999998</c:v>
                </c:pt>
                <c:pt idx="5919">
                  <c:v>7.4249999999999998</c:v>
                </c:pt>
                <c:pt idx="5920">
                  <c:v>7.4249999999999998</c:v>
                </c:pt>
                <c:pt idx="5921">
                  <c:v>7.4240000000000004</c:v>
                </c:pt>
                <c:pt idx="5922">
                  <c:v>7.4249999999999998</c:v>
                </c:pt>
                <c:pt idx="5923">
                  <c:v>7.4249999999999998</c:v>
                </c:pt>
                <c:pt idx="5924">
                  <c:v>7.4249999999999998</c:v>
                </c:pt>
                <c:pt idx="5925">
                  <c:v>7.4260000000000002</c:v>
                </c:pt>
                <c:pt idx="5926">
                  <c:v>7.4249999999999998</c:v>
                </c:pt>
                <c:pt idx="5927">
                  <c:v>7.4249999999999998</c:v>
                </c:pt>
                <c:pt idx="5928">
                  <c:v>7.4249999999999998</c:v>
                </c:pt>
                <c:pt idx="5929">
                  <c:v>7.4249999999999998</c:v>
                </c:pt>
                <c:pt idx="5930">
                  <c:v>7.4249999999999998</c:v>
                </c:pt>
                <c:pt idx="5931">
                  <c:v>7.4249999999999998</c:v>
                </c:pt>
                <c:pt idx="5932">
                  <c:v>7.4249999999999998</c:v>
                </c:pt>
                <c:pt idx="5933">
                  <c:v>7.4249999999999998</c:v>
                </c:pt>
                <c:pt idx="5934">
                  <c:v>7.423</c:v>
                </c:pt>
                <c:pt idx="5935">
                  <c:v>7.4240000000000004</c:v>
                </c:pt>
                <c:pt idx="5936">
                  <c:v>7.4249999999999998</c:v>
                </c:pt>
                <c:pt idx="5937">
                  <c:v>7.4240000000000004</c:v>
                </c:pt>
                <c:pt idx="5938">
                  <c:v>7.4240000000000004</c:v>
                </c:pt>
                <c:pt idx="5939">
                  <c:v>7.4240000000000004</c:v>
                </c:pt>
                <c:pt idx="5940">
                  <c:v>7.4240000000000004</c:v>
                </c:pt>
                <c:pt idx="5941">
                  <c:v>7.4240000000000004</c:v>
                </c:pt>
                <c:pt idx="5942">
                  <c:v>7.4240000000000004</c:v>
                </c:pt>
                <c:pt idx="5943">
                  <c:v>7.423</c:v>
                </c:pt>
                <c:pt idx="5944">
                  <c:v>7.4240000000000004</c:v>
                </c:pt>
                <c:pt idx="5945">
                  <c:v>7.4240000000000004</c:v>
                </c:pt>
                <c:pt idx="5946">
                  <c:v>7.4240000000000004</c:v>
                </c:pt>
                <c:pt idx="5947">
                  <c:v>7.4240000000000004</c:v>
                </c:pt>
                <c:pt idx="5948">
                  <c:v>7.4240000000000004</c:v>
                </c:pt>
                <c:pt idx="5949">
                  <c:v>7.4240000000000004</c:v>
                </c:pt>
                <c:pt idx="5950">
                  <c:v>7.423</c:v>
                </c:pt>
                <c:pt idx="5951">
                  <c:v>7.4240000000000004</c:v>
                </c:pt>
                <c:pt idx="5952">
                  <c:v>7.423</c:v>
                </c:pt>
                <c:pt idx="5953">
                  <c:v>7.423</c:v>
                </c:pt>
                <c:pt idx="5954">
                  <c:v>7.4240000000000004</c:v>
                </c:pt>
                <c:pt idx="5955">
                  <c:v>7.4240000000000004</c:v>
                </c:pt>
                <c:pt idx="5956">
                  <c:v>7.423</c:v>
                </c:pt>
                <c:pt idx="5957">
                  <c:v>7.4240000000000004</c:v>
                </c:pt>
                <c:pt idx="5958">
                  <c:v>7.4240000000000004</c:v>
                </c:pt>
                <c:pt idx="5959">
                  <c:v>7.4240000000000004</c:v>
                </c:pt>
                <c:pt idx="5960">
                  <c:v>7.423</c:v>
                </c:pt>
                <c:pt idx="5961">
                  <c:v>7.423</c:v>
                </c:pt>
                <c:pt idx="5962">
                  <c:v>7.4219999999999997</c:v>
                </c:pt>
                <c:pt idx="5963">
                  <c:v>7.423</c:v>
                </c:pt>
                <c:pt idx="5964">
                  <c:v>7.423</c:v>
                </c:pt>
                <c:pt idx="5965">
                  <c:v>7.4240000000000004</c:v>
                </c:pt>
                <c:pt idx="5966">
                  <c:v>7.423</c:v>
                </c:pt>
                <c:pt idx="5967">
                  <c:v>7.4219999999999997</c:v>
                </c:pt>
                <c:pt idx="5968">
                  <c:v>7.423</c:v>
                </c:pt>
                <c:pt idx="5969">
                  <c:v>7.423</c:v>
                </c:pt>
                <c:pt idx="5970">
                  <c:v>7.423</c:v>
                </c:pt>
                <c:pt idx="5971">
                  <c:v>7.423</c:v>
                </c:pt>
                <c:pt idx="5972">
                  <c:v>7.423</c:v>
                </c:pt>
                <c:pt idx="5973">
                  <c:v>7.423</c:v>
                </c:pt>
                <c:pt idx="5974">
                  <c:v>7.423</c:v>
                </c:pt>
                <c:pt idx="5975">
                  <c:v>7.423</c:v>
                </c:pt>
                <c:pt idx="5976">
                  <c:v>7.4219999999999997</c:v>
                </c:pt>
                <c:pt idx="5977">
                  <c:v>7.4219999999999997</c:v>
                </c:pt>
                <c:pt idx="5978">
                  <c:v>7.4219999999999997</c:v>
                </c:pt>
                <c:pt idx="5979">
                  <c:v>7.4219999999999997</c:v>
                </c:pt>
                <c:pt idx="5980">
                  <c:v>7.4219999999999997</c:v>
                </c:pt>
                <c:pt idx="5981">
                  <c:v>7.4219999999999997</c:v>
                </c:pt>
                <c:pt idx="5982">
                  <c:v>7.4219999999999997</c:v>
                </c:pt>
                <c:pt idx="5983">
                  <c:v>7.423</c:v>
                </c:pt>
                <c:pt idx="5984">
                  <c:v>7.423</c:v>
                </c:pt>
                <c:pt idx="5985">
                  <c:v>7.4219999999999997</c:v>
                </c:pt>
                <c:pt idx="5986">
                  <c:v>7.4219999999999997</c:v>
                </c:pt>
                <c:pt idx="5987">
                  <c:v>7.4219999999999997</c:v>
                </c:pt>
                <c:pt idx="5988">
                  <c:v>7.4219999999999997</c:v>
                </c:pt>
                <c:pt idx="5989">
                  <c:v>7.4219999999999997</c:v>
                </c:pt>
                <c:pt idx="5990">
                  <c:v>7.4219999999999997</c:v>
                </c:pt>
                <c:pt idx="5991">
                  <c:v>7.4219999999999997</c:v>
                </c:pt>
                <c:pt idx="5992">
                  <c:v>7.423</c:v>
                </c:pt>
                <c:pt idx="5993">
                  <c:v>7.4210000000000003</c:v>
                </c:pt>
                <c:pt idx="5994">
                  <c:v>7.423</c:v>
                </c:pt>
                <c:pt idx="5995">
                  <c:v>7.4219999999999997</c:v>
                </c:pt>
                <c:pt idx="5996">
                  <c:v>7.4210000000000003</c:v>
                </c:pt>
                <c:pt idx="5997">
                  <c:v>7.4210000000000003</c:v>
                </c:pt>
                <c:pt idx="5998">
                  <c:v>7.4219999999999997</c:v>
                </c:pt>
                <c:pt idx="5999">
                  <c:v>7.4210000000000003</c:v>
                </c:pt>
                <c:pt idx="6000">
                  <c:v>7.4210000000000003</c:v>
                </c:pt>
                <c:pt idx="6001">
                  <c:v>7.4210000000000003</c:v>
                </c:pt>
                <c:pt idx="6002">
                  <c:v>7.4210000000000003</c:v>
                </c:pt>
                <c:pt idx="6003">
                  <c:v>7.4210000000000003</c:v>
                </c:pt>
                <c:pt idx="6004">
                  <c:v>7.4219999999999997</c:v>
                </c:pt>
                <c:pt idx="6005">
                  <c:v>7.4210000000000003</c:v>
                </c:pt>
                <c:pt idx="6006">
                  <c:v>7.4219999999999997</c:v>
                </c:pt>
                <c:pt idx="6007">
                  <c:v>7.4210000000000003</c:v>
                </c:pt>
                <c:pt idx="6008">
                  <c:v>7.4210000000000003</c:v>
                </c:pt>
                <c:pt idx="6009">
                  <c:v>7.4210000000000003</c:v>
                </c:pt>
                <c:pt idx="6010">
                  <c:v>7.4210000000000003</c:v>
                </c:pt>
                <c:pt idx="6011">
                  <c:v>7.4210000000000003</c:v>
                </c:pt>
                <c:pt idx="6012">
                  <c:v>7.42</c:v>
                </c:pt>
                <c:pt idx="6013">
                  <c:v>7.4210000000000003</c:v>
                </c:pt>
                <c:pt idx="6014">
                  <c:v>7.4210000000000003</c:v>
                </c:pt>
                <c:pt idx="6015">
                  <c:v>7.4210000000000003</c:v>
                </c:pt>
                <c:pt idx="6016">
                  <c:v>7.4210000000000003</c:v>
                </c:pt>
                <c:pt idx="6017">
                  <c:v>7.4219999999999997</c:v>
                </c:pt>
                <c:pt idx="6018">
                  <c:v>7.4210000000000003</c:v>
                </c:pt>
                <c:pt idx="6019">
                  <c:v>7.42</c:v>
                </c:pt>
                <c:pt idx="6020">
                  <c:v>7.42</c:v>
                </c:pt>
                <c:pt idx="6021">
                  <c:v>7.42</c:v>
                </c:pt>
                <c:pt idx="6022">
                  <c:v>7.4210000000000003</c:v>
                </c:pt>
                <c:pt idx="6023">
                  <c:v>7.42</c:v>
                </c:pt>
                <c:pt idx="6024">
                  <c:v>7.42</c:v>
                </c:pt>
                <c:pt idx="6025">
                  <c:v>7.42</c:v>
                </c:pt>
                <c:pt idx="6026">
                  <c:v>7.4210000000000003</c:v>
                </c:pt>
                <c:pt idx="6027">
                  <c:v>7.42</c:v>
                </c:pt>
                <c:pt idx="6028">
                  <c:v>7.42</c:v>
                </c:pt>
                <c:pt idx="6029">
                  <c:v>7.42</c:v>
                </c:pt>
                <c:pt idx="6030">
                  <c:v>7.42</c:v>
                </c:pt>
                <c:pt idx="6031">
                  <c:v>7.42</c:v>
                </c:pt>
                <c:pt idx="6032">
                  <c:v>7.42</c:v>
                </c:pt>
                <c:pt idx="6033">
                  <c:v>7.42</c:v>
                </c:pt>
                <c:pt idx="6034">
                  <c:v>7.4210000000000003</c:v>
                </c:pt>
                <c:pt idx="6035">
                  <c:v>7.4210000000000003</c:v>
                </c:pt>
                <c:pt idx="6036">
                  <c:v>7.42</c:v>
                </c:pt>
                <c:pt idx="6037">
                  <c:v>7.42</c:v>
                </c:pt>
                <c:pt idx="6038">
                  <c:v>7.4189999999999996</c:v>
                </c:pt>
                <c:pt idx="6039">
                  <c:v>7.42</c:v>
                </c:pt>
                <c:pt idx="6040">
                  <c:v>7.42</c:v>
                </c:pt>
                <c:pt idx="6041">
                  <c:v>7.4189999999999996</c:v>
                </c:pt>
                <c:pt idx="6042">
                  <c:v>7.4189999999999996</c:v>
                </c:pt>
                <c:pt idx="6043">
                  <c:v>7.4189999999999996</c:v>
                </c:pt>
                <c:pt idx="6044">
                  <c:v>7.4189999999999996</c:v>
                </c:pt>
                <c:pt idx="6045">
                  <c:v>7.4189999999999996</c:v>
                </c:pt>
                <c:pt idx="6046">
                  <c:v>7.42</c:v>
                </c:pt>
                <c:pt idx="6047">
                  <c:v>7.4189999999999996</c:v>
                </c:pt>
                <c:pt idx="6048">
                  <c:v>7.4189999999999996</c:v>
                </c:pt>
                <c:pt idx="6049">
                  <c:v>7.4189999999999996</c:v>
                </c:pt>
                <c:pt idx="6050">
                  <c:v>7.42</c:v>
                </c:pt>
                <c:pt idx="6051">
                  <c:v>7.4189999999999996</c:v>
                </c:pt>
                <c:pt idx="6052">
                  <c:v>7.4189999999999996</c:v>
                </c:pt>
                <c:pt idx="6053">
                  <c:v>7.4180000000000001</c:v>
                </c:pt>
                <c:pt idx="6054">
                  <c:v>7.4189999999999996</c:v>
                </c:pt>
                <c:pt idx="6055">
                  <c:v>7.42</c:v>
                </c:pt>
                <c:pt idx="6056">
                  <c:v>7.4189999999999996</c:v>
                </c:pt>
                <c:pt idx="6057">
                  <c:v>7.4189999999999996</c:v>
                </c:pt>
                <c:pt idx="6058">
                  <c:v>7.4180000000000001</c:v>
                </c:pt>
                <c:pt idx="6059">
                  <c:v>7.4180000000000001</c:v>
                </c:pt>
                <c:pt idx="6060">
                  <c:v>7.4189999999999996</c:v>
                </c:pt>
                <c:pt idx="6061">
                  <c:v>7.42</c:v>
                </c:pt>
                <c:pt idx="6062">
                  <c:v>7.4189999999999996</c:v>
                </c:pt>
                <c:pt idx="6063">
                  <c:v>7.4189999999999996</c:v>
                </c:pt>
                <c:pt idx="6064">
                  <c:v>7.4189999999999996</c:v>
                </c:pt>
                <c:pt idx="6065">
                  <c:v>7.4189999999999996</c:v>
                </c:pt>
                <c:pt idx="6066">
                  <c:v>7.4189999999999996</c:v>
                </c:pt>
                <c:pt idx="6067">
                  <c:v>7.4189999999999996</c:v>
                </c:pt>
                <c:pt idx="6068">
                  <c:v>7.42</c:v>
                </c:pt>
                <c:pt idx="6069">
                  <c:v>7.4189999999999996</c:v>
                </c:pt>
                <c:pt idx="6070">
                  <c:v>7.4180000000000001</c:v>
                </c:pt>
                <c:pt idx="6071">
                  <c:v>7.4189999999999996</c:v>
                </c:pt>
                <c:pt idx="6072">
                  <c:v>7.4189999999999996</c:v>
                </c:pt>
                <c:pt idx="6073">
                  <c:v>7.4180000000000001</c:v>
                </c:pt>
                <c:pt idx="6074">
                  <c:v>7.42</c:v>
                </c:pt>
                <c:pt idx="6075">
                  <c:v>7.4189999999999996</c:v>
                </c:pt>
                <c:pt idx="6076">
                  <c:v>7.4189999999999996</c:v>
                </c:pt>
                <c:pt idx="6077">
                  <c:v>7.4189999999999996</c:v>
                </c:pt>
                <c:pt idx="6078">
                  <c:v>7.4180000000000001</c:v>
                </c:pt>
                <c:pt idx="6079">
                  <c:v>7.4189999999999996</c:v>
                </c:pt>
                <c:pt idx="6080">
                  <c:v>7.4189999999999996</c:v>
                </c:pt>
                <c:pt idx="6081">
                  <c:v>7.4189999999999996</c:v>
                </c:pt>
                <c:pt idx="6082">
                  <c:v>7.4180000000000001</c:v>
                </c:pt>
                <c:pt idx="6083">
                  <c:v>7.4180000000000001</c:v>
                </c:pt>
                <c:pt idx="6084">
                  <c:v>7.4189999999999996</c:v>
                </c:pt>
                <c:pt idx="6085">
                  <c:v>7.4180000000000001</c:v>
                </c:pt>
                <c:pt idx="6086">
                  <c:v>7.4180000000000001</c:v>
                </c:pt>
                <c:pt idx="6087">
                  <c:v>7.4180000000000001</c:v>
                </c:pt>
                <c:pt idx="6088">
                  <c:v>7.4189999999999996</c:v>
                </c:pt>
                <c:pt idx="6089">
                  <c:v>7.4180000000000001</c:v>
                </c:pt>
                <c:pt idx="6090">
                  <c:v>7.4180000000000001</c:v>
                </c:pt>
                <c:pt idx="6091">
                  <c:v>7.4189999999999996</c:v>
                </c:pt>
                <c:pt idx="6092">
                  <c:v>7.4180000000000001</c:v>
                </c:pt>
                <c:pt idx="6093">
                  <c:v>7.4180000000000001</c:v>
                </c:pt>
                <c:pt idx="6094">
                  <c:v>7.4189999999999996</c:v>
                </c:pt>
                <c:pt idx="6095">
                  <c:v>7.4180000000000001</c:v>
                </c:pt>
                <c:pt idx="6096">
                  <c:v>7.4180000000000001</c:v>
                </c:pt>
                <c:pt idx="6097">
                  <c:v>7.4180000000000001</c:v>
                </c:pt>
                <c:pt idx="6098">
                  <c:v>7.4180000000000001</c:v>
                </c:pt>
                <c:pt idx="6099">
                  <c:v>7.4180000000000001</c:v>
                </c:pt>
                <c:pt idx="6100">
                  <c:v>7.4180000000000001</c:v>
                </c:pt>
                <c:pt idx="6101">
                  <c:v>7.4180000000000001</c:v>
                </c:pt>
                <c:pt idx="6102">
                  <c:v>7.4180000000000001</c:v>
                </c:pt>
                <c:pt idx="6103">
                  <c:v>7.4180000000000001</c:v>
                </c:pt>
                <c:pt idx="6104">
                  <c:v>7.4180000000000001</c:v>
                </c:pt>
                <c:pt idx="6105">
                  <c:v>7.4169999999999998</c:v>
                </c:pt>
                <c:pt idx="6106">
                  <c:v>7.4169999999999998</c:v>
                </c:pt>
                <c:pt idx="6107">
                  <c:v>7.4180000000000001</c:v>
                </c:pt>
                <c:pt idx="6108">
                  <c:v>7.4169999999999998</c:v>
                </c:pt>
                <c:pt idx="6109">
                  <c:v>7.4169999999999998</c:v>
                </c:pt>
                <c:pt idx="6110">
                  <c:v>7.4169999999999998</c:v>
                </c:pt>
                <c:pt idx="6111">
                  <c:v>7.4180000000000001</c:v>
                </c:pt>
                <c:pt idx="6112">
                  <c:v>7.4169999999999998</c:v>
                </c:pt>
                <c:pt idx="6113">
                  <c:v>7.4169999999999998</c:v>
                </c:pt>
                <c:pt idx="6114">
                  <c:v>7.4180000000000001</c:v>
                </c:pt>
                <c:pt idx="6115">
                  <c:v>7.4169999999999998</c:v>
                </c:pt>
                <c:pt idx="6116">
                  <c:v>7.4169999999999998</c:v>
                </c:pt>
                <c:pt idx="6117">
                  <c:v>7.4169999999999998</c:v>
                </c:pt>
                <c:pt idx="6118">
                  <c:v>7.4169999999999998</c:v>
                </c:pt>
                <c:pt idx="6119">
                  <c:v>7.4169999999999998</c:v>
                </c:pt>
                <c:pt idx="6120">
                  <c:v>7.4160000000000004</c:v>
                </c:pt>
                <c:pt idx="6121">
                  <c:v>7.4169999999999998</c:v>
                </c:pt>
                <c:pt idx="6122">
                  <c:v>7.4169999999999998</c:v>
                </c:pt>
                <c:pt idx="6123">
                  <c:v>7.4169999999999998</c:v>
                </c:pt>
                <c:pt idx="6124">
                  <c:v>7.4169999999999998</c:v>
                </c:pt>
                <c:pt idx="6125">
                  <c:v>7.4169999999999998</c:v>
                </c:pt>
                <c:pt idx="6126">
                  <c:v>7.4160000000000004</c:v>
                </c:pt>
                <c:pt idx="6127">
                  <c:v>7.4169999999999998</c:v>
                </c:pt>
                <c:pt idx="6128">
                  <c:v>7.4160000000000004</c:v>
                </c:pt>
                <c:pt idx="6129">
                  <c:v>7.4160000000000004</c:v>
                </c:pt>
                <c:pt idx="6130">
                  <c:v>7.4160000000000004</c:v>
                </c:pt>
                <c:pt idx="6131">
                  <c:v>7.4160000000000004</c:v>
                </c:pt>
                <c:pt idx="6132">
                  <c:v>7.4169999999999998</c:v>
                </c:pt>
                <c:pt idx="6133">
                  <c:v>7.4160000000000004</c:v>
                </c:pt>
                <c:pt idx="6134">
                  <c:v>7.4160000000000004</c:v>
                </c:pt>
                <c:pt idx="6135">
                  <c:v>7.4160000000000004</c:v>
                </c:pt>
                <c:pt idx="6136">
                  <c:v>7.4160000000000004</c:v>
                </c:pt>
                <c:pt idx="6137">
                  <c:v>7.4160000000000004</c:v>
                </c:pt>
                <c:pt idx="6138">
                  <c:v>7.4160000000000004</c:v>
                </c:pt>
                <c:pt idx="6139">
                  <c:v>7.4160000000000004</c:v>
                </c:pt>
                <c:pt idx="6140">
                  <c:v>7.4160000000000004</c:v>
                </c:pt>
                <c:pt idx="6141">
                  <c:v>7.4160000000000004</c:v>
                </c:pt>
                <c:pt idx="6142">
                  <c:v>7.4160000000000004</c:v>
                </c:pt>
                <c:pt idx="6143">
                  <c:v>7.4160000000000004</c:v>
                </c:pt>
                <c:pt idx="6144">
                  <c:v>7.4160000000000004</c:v>
                </c:pt>
                <c:pt idx="6145">
                  <c:v>7.4160000000000004</c:v>
                </c:pt>
                <c:pt idx="6146">
                  <c:v>7.415</c:v>
                </c:pt>
                <c:pt idx="6147">
                  <c:v>7.4169999999999998</c:v>
                </c:pt>
                <c:pt idx="6148">
                  <c:v>7.4160000000000004</c:v>
                </c:pt>
                <c:pt idx="6149">
                  <c:v>7.4160000000000004</c:v>
                </c:pt>
                <c:pt idx="6150">
                  <c:v>7.4160000000000004</c:v>
                </c:pt>
                <c:pt idx="6151">
                  <c:v>7.4160000000000004</c:v>
                </c:pt>
                <c:pt idx="6152">
                  <c:v>7.4160000000000004</c:v>
                </c:pt>
                <c:pt idx="6153">
                  <c:v>7.415</c:v>
                </c:pt>
                <c:pt idx="6154">
                  <c:v>7.415</c:v>
                </c:pt>
                <c:pt idx="6155">
                  <c:v>7.4160000000000004</c:v>
                </c:pt>
                <c:pt idx="6156">
                  <c:v>7.415</c:v>
                </c:pt>
                <c:pt idx="6157">
                  <c:v>7.4160000000000004</c:v>
                </c:pt>
                <c:pt idx="6158">
                  <c:v>7.4160000000000004</c:v>
                </c:pt>
                <c:pt idx="6159">
                  <c:v>7.415</c:v>
                </c:pt>
                <c:pt idx="6160">
                  <c:v>7.415</c:v>
                </c:pt>
                <c:pt idx="6161">
                  <c:v>7.4160000000000004</c:v>
                </c:pt>
                <c:pt idx="6162">
                  <c:v>7.415</c:v>
                </c:pt>
                <c:pt idx="6163">
                  <c:v>7.415</c:v>
                </c:pt>
                <c:pt idx="6164">
                  <c:v>7.415</c:v>
                </c:pt>
                <c:pt idx="6165">
                  <c:v>7.415</c:v>
                </c:pt>
                <c:pt idx="6166">
                  <c:v>7.415</c:v>
                </c:pt>
                <c:pt idx="6167">
                  <c:v>7.4139999999999997</c:v>
                </c:pt>
                <c:pt idx="6168">
                  <c:v>7.415</c:v>
                </c:pt>
                <c:pt idx="6169">
                  <c:v>7.415</c:v>
                </c:pt>
                <c:pt idx="6170">
                  <c:v>7.4139999999999997</c:v>
                </c:pt>
                <c:pt idx="6171">
                  <c:v>7.415</c:v>
                </c:pt>
                <c:pt idx="6172">
                  <c:v>7.4139999999999997</c:v>
                </c:pt>
                <c:pt idx="6173">
                  <c:v>7.4139999999999997</c:v>
                </c:pt>
                <c:pt idx="6174">
                  <c:v>7.415</c:v>
                </c:pt>
                <c:pt idx="6175">
                  <c:v>7.415</c:v>
                </c:pt>
                <c:pt idx="6176">
                  <c:v>7.4139999999999997</c:v>
                </c:pt>
                <c:pt idx="6177">
                  <c:v>7.4139999999999997</c:v>
                </c:pt>
                <c:pt idx="6178">
                  <c:v>7.415</c:v>
                </c:pt>
                <c:pt idx="6179">
                  <c:v>7.4139999999999997</c:v>
                </c:pt>
                <c:pt idx="6180">
                  <c:v>7.4139999999999997</c:v>
                </c:pt>
                <c:pt idx="6181">
                  <c:v>7.4139999999999997</c:v>
                </c:pt>
                <c:pt idx="6182">
                  <c:v>7.4139999999999997</c:v>
                </c:pt>
                <c:pt idx="6183">
                  <c:v>7.4139999999999997</c:v>
                </c:pt>
                <c:pt idx="6184">
                  <c:v>7.415</c:v>
                </c:pt>
                <c:pt idx="6185">
                  <c:v>7.415</c:v>
                </c:pt>
                <c:pt idx="6186">
                  <c:v>7.4139999999999997</c:v>
                </c:pt>
                <c:pt idx="6187">
                  <c:v>7.4130000000000003</c:v>
                </c:pt>
                <c:pt idx="6188">
                  <c:v>7.4139999999999997</c:v>
                </c:pt>
                <c:pt idx="6189">
                  <c:v>7.4139999999999997</c:v>
                </c:pt>
                <c:pt idx="6190">
                  <c:v>7.4130000000000003</c:v>
                </c:pt>
                <c:pt idx="6191">
                  <c:v>7.4139999999999997</c:v>
                </c:pt>
                <c:pt idx="6192">
                  <c:v>7.4130000000000003</c:v>
                </c:pt>
                <c:pt idx="6193">
                  <c:v>7.4139999999999997</c:v>
                </c:pt>
                <c:pt idx="6194">
                  <c:v>7.4139999999999997</c:v>
                </c:pt>
                <c:pt idx="6195">
                  <c:v>7.4130000000000003</c:v>
                </c:pt>
                <c:pt idx="6196">
                  <c:v>7.4139999999999997</c:v>
                </c:pt>
                <c:pt idx="6197">
                  <c:v>7.4139999999999997</c:v>
                </c:pt>
                <c:pt idx="6198">
                  <c:v>7.4130000000000003</c:v>
                </c:pt>
                <c:pt idx="6199">
                  <c:v>7.4130000000000003</c:v>
                </c:pt>
                <c:pt idx="6200">
                  <c:v>7.4139999999999997</c:v>
                </c:pt>
                <c:pt idx="6201">
                  <c:v>7.4130000000000003</c:v>
                </c:pt>
                <c:pt idx="6202">
                  <c:v>7.4130000000000003</c:v>
                </c:pt>
                <c:pt idx="6203">
                  <c:v>7.4130000000000003</c:v>
                </c:pt>
                <c:pt idx="6204">
                  <c:v>7.4119999999999999</c:v>
                </c:pt>
                <c:pt idx="6205">
                  <c:v>7.4119999999999999</c:v>
                </c:pt>
                <c:pt idx="6206">
                  <c:v>7.4130000000000003</c:v>
                </c:pt>
                <c:pt idx="6207">
                  <c:v>7.4130000000000003</c:v>
                </c:pt>
                <c:pt idx="6208">
                  <c:v>7.4139999999999997</c:v>
                </c:pt>
                <c:pt idx="6209">
                  <c:v>7.4130000000000003</c:v>
                </c:pt>
                <c:pt idx="6210">
                  <c:v>7.4130000000000003</c:v>
                </c:pt>
                <c:pt idx="6211">
                  <c:v>7.4130000000000003</c:v>
                </c:pt>
                <c:pt idx="6212">
                  <c:v>7.4119999999999999</c:v>
                </c:pt>
                <c:pt idx="6213">
                  <c:v>7.4119999999999999</c:v>
                </c:pt>
                <c:pt idx="6214">
                  <c:v>7.4119999999999999</c:v>
                </c:pt>
                <c:pt idx="6215">
                  <c:v>7.4130000000000003</c:v>
                </c:pt>
                <c:pt idx="6216">
                  <c:v>7.4119999999999999</c:v>
                </c:pt>
                <c:pt idx="6217">
                  <c:v>7.4130000000000003</c:v>
                </c:pt>
                <c:pt idx="6218">
                  <c:v>7.4119999999999999</c:v>
                </c:pt>
                <c:pt idx="6219">
                  <c:v>7.4130000000000003</c:v>
                </c:pt>
                <c:pt idx="6220">
                  <c:v>7.4119999999999999</c:v>
                </c:pt>
                <c:pt idx="6221">
                  <c:v>7.4119999999999999</c:v>
                </c:pt>
                <c:pt idx="6222">
                  <c:v>7.4119999999999999</c:v>
                </c:pt>
                <c:pt idx="6223">
                  <c:v>7.4130000000000003</c:v>
                </c:pt>
                <c:pt idx="6224">
                  <c:v>7.4119999999999999</c:v>
                </c:pt>
                <c:pt idx="6225">
                  <c:v>7.4119999999999999</c:v>
                </c:pt>
                <c:pt idx="6226">
                  <c:v>7.4119999999999999</c:v>
                </c:pt>
                <c:pt idx="6227">
                  <c:v>7.4119999999999999</c:v>
                </c:pt>
                <c:pt idx="6228">
                  <c:v>7.4119999999999999</c:v>
                </c:pt>
                <c:pt idx="6229">
                  <c:v>7.4119999999999999</c:v>
                </c:pt>
                <c:pt idx="6230">
                  <c:v>7.4119999999999999</c:v>
                </c:pt>
                <c:pt idx="6231">
                  <c:v>7.4119999999999999</c:v>
                </c:pt>
                <c:pt idx="6232">
                  <c:v>7.4119999999999999</c:v>
                </c:pt>
                <c:pt idx="6233">
                  <c:v>7.4109999999999996</c:v>
                </c:pt>
                <c:pt idx="6234">
                  <c:v>7.4109999999999996</c:v>
                </c:pt>
                <c:pt idx="6235">
                  <c:v>7.4109999999999996</c:v>
                </c:pt>
                <c:pt idx="6236">
                  <c:v>7.4119999999999999</c:v>
                </c:pt>
                <c:pt idx="6237">
                  <c:v>7.4119999999999999</c:v>
                </c:pt>
                <c:pt idx="6238">
                  <c:v>7.4109999999999996</c:v>
                </c:pt>
                <c:pt idx="6239">
                  <c:v>7.4119999999999999</c:v>
                </c:pt>
                <c:pt idx="6240">
                  <c:v>7.4119999999999999</c:v>
                </c:pt>
                <c:pt idx="6241">
                  <c:v>7.4119999999999999</c:v>
                </c:pt>
                <c:pt idx="6242">
                  <c:v>7.4109999999999996</c:v>
                </c:pt>
                <c:pt idx="6243">
                  <c:v>7.4109999999999996</c:v>
                </c:pt>
                <c:pt idx="6244">
                  <c:v>7.4109999999999996</c:v>
                </c:pt>
                <c:pt idx="6245">
                  <c:v>7.4119999999999999</c:v>
                </c:pt>
                <c:pt idx="6246">
                  <c:v>7.4109999999999996</c:v>
                </c:pt>
                <c:pt idx="6247">
                  <c:v>7.4109999999999996</c:v>
                </c:pt>
                <c:pt idx="6248">
                  <c:v>7.4119999999999999</c:v>
                </c:pt>
                <c:pt idx="6249">
                  <c:v>7.4109999999999996</c:v>
                </c:pt>
                <c:pt idx="6250">
                  <c:v>7.4109999999999996</c:v>
                </c:pt>
                <c:pt idx="6251">
                  <c:v>7.4109999999999996</c:v>
                </c:pt>
                <c:pt idx="6252">
                  <c:v>7.4109999999999996</c:v>
                </c:pt>
                <c:pt idx="6253">
                  <c:v>7.4109999999999996</c:v>
                </c:pt>
                <c:pt idx="6254">
                  <c:v>7.41</c:v>
                </c:pt>
                <c:pt idx="6255">
                  <c:v>7.4109999999999996</c:v>
                </c:pt>
                <c:pt idx="6256">
                  <c:v>7.41</c:v>
                </c:pt>
                <c:pt idx="6257">
                  <c:v>7.41</c:v>
                </c:pt>
                <c:pt idx="6258">
                  <c:v>7.41</c:v>
                </c:pt>
                <c:pt idx="6259">
                  <c:v>7.41</c:v>
                </c:pt>
                <c:pt idx="6260">
                  <c:v>7.41</c:v>
                </c:pt>
                <c:pt idx="6261">
                  <c:v>7.4109999999999996</c:v>
                </c:pt>
                <c:pt idx="6262">
                  <c:v>7.4109999999999996</c:v>
                </c:pt>
                <c:pt idx="6263">
                  <c:v>7.41</c:v>
                </c:pt>
                <c:pt idx="6264">
                  <c:v>7.41</c:v>
                </c:pt>
                <c:pt idx="6265">
                  <c:v>7.41</c:v>
                </c:pt>
                <c:pt idx="6266">
                  <c:v>7.41</c:v>
                </c:pt>
                <c:pt idx="6267">
                  <c:v>7.41</c:v>
                </c:pt>
                <c:pt idx="6268">
                  <c:v>7.41</c:v>
                </c:pt>
                <c:pt idx="6269">
                  <c:v>7.41</c:v>
                </c:pt>
                <c:pt idx="6270">
                  <c:v>7.41</c:v>
                </c:pt>
                <c:pt idx="6271">
                  <c:v>7.41</c:v>
                </c:pt>
                <c:pt idx="6272">
                  <c:v>7.41</c:v>
                </c:pt>
                <c:pt idx="6273">
                  <c:v>7.41</c:v>
                </c:pt>
                <c:pt idx="6274">
                  <c:v>7.41</c:v>
                </c:pt>
                <c:pt idx="6275">
                  <c:v>7.4089999999999998</c:v>
                </c:pt>
                <c:pt idx="6276">
                  <c:v>7.41</c:v>
                </c:pt>
                <c:pt idx="6277">
                  <c:v>7.41</c:v>
                </c:pt>
                <c:pt idx="6278">
                  <c:v>7.41</c:v>
                </c:pt>
                <c:pt idx="6279">
                  <c:v>7.41</c:v>
                </c:pt>
                <c:pt idx="6280">
                  <c:v>7.41</c:v>
                </c:pt>
                <c:pt idx="6281">
                  <c:v>7.4089999999999998</c:v>
                </c:pt>
                <c:pt idx="6282">
                  <c:v>7.4089999999999998</c:v>
                </c:pt>
                <c:pt idx="6283">
                  <c:v>7.4080000000000004</c:v>
                </c:pt>
                <c:pt idx="6284">
                  <c:v>7.41</c:v>
                </c:pt>
                <c:pt idx="6285">
                  <c:v>7.4089999999999998</c:v>
                </c:pt>
                <c:pt idx="6286">
                  <c:v>7.41</c:v>
                </c:pt>
                <c:pt idx="6287">
                  <c:v>7.4089999999999998</c:v>
                </c:pt>
                <c:pt idx="6288">
                  <c:v>7.4089999999999998</c:v>
                </c:pt>
                <c:pt idx="6289">
                  <c:v>7.4089999999999998</c:v>
                </c:pt>
                <c:pt idx="6290">
                  <c:v>7.4089999999999998</c:v>
                </c:pt>
                <c:pt idx="6291">
                  <c:v>7.4089999999999998</c:v>
                </c:pt>
                <c:pt idx="6292">
                  <c:v>7.41</c:v>
                </c:pt>
                <c:pt idx="6293">
                  <c:v>7.4089999999999998</c:v>
                </c:pt>
                <c:pt idx="6294">
                  <c:v>7.4080000000000004</c:v>
                </c:pt>
                <c:pt idx="6295">
                  <c:v>7.4089999999999998</c:v>
                </c:pt>
                <c:pt idx="6296">
                  <c:v>7.4089999999999998</c:v>
                </c:pt>
                <c:pt idx="6297">
                  <c:v>7.4080000000000004</c:v>
                </c:pt>
                <c:pt idx="6298">
                  <c:v>7.4080000000000004</c:v>
                </c:pt>
                <c:pt idx="6299">
                  <c:v>7.4089999999999998</c:v>
                </c:pt>
                <c:pt idx="6300">
                  <c:v>7.4089999999999998</c:v>
                </c:pt>
                <c:pt idx="6301">
                  <c:v>7.4089999999999998</c:v>
                </c:pt>
                <c:pt idx="6302">
                  <c:v>7.4089999999999998</c:v>
                </c:pt>
                <c:pt idx="6303">
                  <c:v>7.4080000000000004</c:v>
                </c:pt>
                <c:pt idx="6304">
                  <c:v>7.4089999999999998</c:v>
                </c:pt>
                <c:pt idx="6305">
                  <c:v>7.4089999999999998</c:v>
                </c:pt>
                <c:pt idx="6306">
                  <c:v>7.4080000000000004</c:v>
                </c:pt>
                <c:pt idx="6307">
                  <c:v>7.4080000000000004</c:v>
                </c:pt>
                <c:pt idx="6308">
                  <c:v>7.4080000000000004</c:v>
                </c:pt>
                <c:pt idx="6309">
                  <c:v>7.4089999999999998</c:v>
                </c:pt>
                <c:pt idx="6310">
                  <c:v>7.4089999999999998</c:v>
                </c:pt>
                <c:pt idx="6311">
                  <c:v>7.4080000000000004</c:v>
                </c:pt>
                <c:pt idx="6312">
                  <c:v>7.4080000000000004</c:v>
                </c:pt>
                <c:pt idx="6313">
                  <c:v>7.4080000000000004</c:v>
                </c:pt>
                <c:pt idx="6314">
                  <c:v>7.4080000000000004</c:v>
                </c:pt>
                <c:pt idx="6315">
                  <c:v>7.4080000000000004</c:v>
                </c:pt>
                <c:pt idx="6316">
                  <c:v>7.4080000000000004</c:v>
                </c:pt>
                <c:pt idx="6317">
                  <c:v>7.407</c:v>
                </c:pt>
                <c:pt idx="6318">
                  <c:v>7.4080000000000004</c:v>
                </c:pt>
                <c:pt idx="6319">
                  <c:v>7.4080000000000004</c:v>
                </c:pt>
                <c:pt idx="6320">
                  <c:v>7.4080000000000004</c:v>
                </c:pt>
                <c:pt idx="6321">
                  <c:v>7.4080000000000004</c:v>
                </c:pt>
                <c:pt idx="6322">
                  <c:v>7.4080000000000004</c:v>
                </c:pt>
                <c:pt idx="6323">
                  <c:v>7.407</c:v>
                </c:pt>
                <c:pt idx="6324">
                  <c:v>7.4080000000000004</c:v>
                </c:pt>
                <c:pt idx="6325">
                  <c:v>7.4080000000000004</c:v>
                </c:pt>
                <c:pt idx="6326">
                  <c:v>7.407</c:v>
                </c:pt>
                <c:pt idx="6327">
                  <c:v>7.407</c:v>
                </c:pt>
                <c:pt idx="6328">
                  <c:v>7.4080000000000004</c:v>
                </c:pt>
                <c:pt idx="6329">
                  <c:v>7.407</c:v>
                </c:pt>
                <c:pt idx="6330">
                  <c:v>7.407</c:v>
                </c:pt>
                <c:pt idx="6331">
                  <c:v>7.407</c:v>
                </c:pt>
                <c:pt idx="6332">
                  <c:v>7.407</c:v>
                </c:pt>
                <c:pt idx="6333">
                  <c:v>7.407</c:v>
                </c:pt>
                <c:pt idx="6334">
                  <c:v>7.407</c:v>
                </c:pt>
                <c:pt idx="6335">
                  <c:v>7.407</c:v>
                </c:pt>
                <c:pt idx="6336">
                  <c:v>7.407</c:v>
                </c:pt>
                <c:pt idx="6337">
                  <c:v>7.407</c:v>
                </c:pt>
                <c:pt idx="6338">
                  <c:v>7.407</c:v>
                </c:pt>
                <c:pt idx="6339">
                  <c:v>7.407</c:v>
                </c:pt>
                <c:pt idx="6340">
                  <c:v>7.407</c:v>
                </c:pt>
                <c:pt idx="6341">
                  <c:v>7.4059999999999997</c:v>
                </c:pt>
                <c:pt idx="6342">
                  <c:v>7.407</c:v>
                </c:pt>
                <c:pt idx="6343">
                  <c:v>7.407</c:v>
                </c:pt>
                <c:pt idx="6344">
                  <c:v>7.407</c:v>
                </c:pt>
                <c:pt idx="6345">
                  <c:v>7.407</c:v>
                </c:pt>
                <c:pt idx="6346">
                  <c:v>7.407</c:v>
                </c:pt>
                <c:pt idx="6347">
                  <c:v>7.4059999999999997</c:v>
                </c:pt>
                <c:pt idx="6348">
                  <c:v>7.4059999999999997</c:v>
                </c:pt>
                <c:pt idx="6349">
                  <c:v>7.407</c:v>
                </c:pt>
                <c:pt idx="6350">
                  <c:v>7.4059999999999997</c:v>
                </c:pt>
                <c:pt idx="6351">
                  <c:v>7.4059999999999997</c:v>
                </c:pt>
                <c:pt idx="6352">
                  <c:v>7.4059999999999997</c:v>
                </c:pt>
                <c:pt idx="6353">
                  <c:v>7.4059999999999997</c:v>
                </c:pt>
                <c:pt idx="6354">
                  <c:v>7.4059999999999997</c:v>
                </c:pt>
                <c:pt idx="6355">
                  <c:v>7.4059999999999997</c:v>
                </c:pt>
                <c:pt idx="6356">
                  <c:v>7.4059999999999997</c:v>
                </c:pt>
                <c:pt idx="6357">
                  <c:v>7.4059999999999997</c:v>
                </c:pt>
                <c:pt idx="6358">
                  <c:v>7.4059999999999997</c:v>
                </c:pt>
                <c:pt idx="6359">
                  <c:v>7.4050000000000002</c:v>
                </c:pt>
                <c:pt idx="6360">
                  <c:v>7.4059999999999997</c:v>
                </c:pt>
                <c:pt idx="6361">
                  <c:v>7.4059999999999997</c:v>
                </c:pt>
                <c:pt idx="6362">
                  <c:v>7.4059999999999997</c:v>
                </c:pt>
                <c:pt idx="6363">
                  <c:v>7.4059999999999997</c:v>
                </c:pt>
                <c:pt idx="6364">
                  <c:v>7.4059999999999997</c:v>
                </c:pt>
                <c:pt idx="6365">
                  <c:v>7.4059999999999997</c:v>
                </c:pt>
                <c:pt idx="6366">
                  <c:v>7.4059999999999997</c:v>
                </c:pt>
                <c:pt idx="6367">
                  <c:v>7.4050000000000002</c:v>
                </c:pt>
                <c:pt idx="6368">
                  <c:v>7.4050000000000002</c:v>
                </c:pt>
                <c:pt idx="6369">
                  <c:v>7.4050000000000002</c:v>
                </c:pt>
                <c:pt idx="6370">
                  <c:v>7.4059999999999997</c:v>
                </c:pt>
                <c:pt idx="6371">
                  <c:v>7.4059999999999997</c:v>
                </c:pt>
                <c:pt idx="6372">
                  <c:v>7.4059999999999997</c:v>
                </c:pt>
                <c:pt idx="6373">
                  <c:v>7.4050000000000002</c:v>
                </c:pt>
                <c:pt idx="6374">
                  <c:v>7.4050000000000002</c:v>
                </c:pt>
                <c:pt idx="6375">
                  <c:v>7.4050000000000002</c:v>
                </c:pt>
                <c:pt idx="6376">
                  <c:v>7.4050000000000002</c:v>
                </c:pt>
                <c:pt idx="6377">
                  <c:v>7.4050000000000002</c:v>
                </c:pt>
                <c:pt idx="6378">
                  <c:v>7.4050000000000002</c:v>
                </c:pt>
                <c:pt idx="6379">
                  <c:v>7.4050000000000002</c:v>
                </c:pt>
                <c:pt idx="6380">
                  <c:v>7.4059999999999997</c:v>
                </c:pt>
                <c:pt idx="6381">
                  <c:v>7.4050000000000002</c:v>
                </c:pt>
                <c:pt idx="6382">
                  <c:v>7.4050000000000002</c:v>
                </c:pt>
                <c:pt idx="6383">
                  <c:v>7.4050000000000002</c:v>
                </c:pt>
                <c:pt idx="6384">
                  <c:v>7.4050000000000002</c:v>
                </c:pt>
                <c:pt idx="6385">
                  <c:v>7.4050000000000002</c:v>
                </c:pt>
                <c:pt idx="6386">
                  <c:v>7.4050000000000002</c:v>
                </c:pt>
                <c:pt idx="6387">
                  <c:v>7.4050000000000002</c:v>
                </c:pt>
                <c:pt idx="6388">
                  <c:v>7.4039999999999999</c:v>
                </c:pt>
                <c:pt idx="6389">
                  <c:v>7.4050000000000002</c:v>
                </c:pt>
                <c:pt idx="6390">
                  <c:v>7.4039999999999999</c:v>
                </c:pt>
                <c:pt idx="6391">
                  <c:v>7.4039999999999999</c:v>
                </c:pt>
                <c:pt idx="6392">
                  <c:v>7.4039999999999999</c:v>
                </c:pt>
                <c:pt idx="6393">
                  <c:v>7.4039999999999999</c:v>
                </c:pt>
                <c:pt idx="6394">
                  <c:v>7.4039999999999999</c:v>
                </c:pt>
                <c:pt idx="6395">
                  <c:v>7.4050000000000002</c:v>
                </c:pt>
                <c:pt idx="6396">
                  <c:v>7.4039999999999999</c:v>
                </c:pt>
                <c:pt idx="6397">
                  <c:v>7.4050000000000002</c:v>
                </c:pt>
                <c:pt idx="6398">
                  <c:v>7.4039999999999999</c:v>
                </c:pt>
                <c:pt idx="6399">
                  <c:v>7.4039999999999999</c:v>
                </c:pt>
                <c:pt idx="6400">
                  <c:v>7.4039999999999999</c:v>
                </c:pt>
                <c:pt idx="6401">
                  <c:v>7.4039999999999999</c:v>
                </c:pt>
                <c:pt idx="6402">
                  <c:v>7.4039999999999999</c:v>
                </c:pt>
                <c:pt idx="6403">
                  <c:v>7.4029999999999996</c:v>
                </c:pt>
                <c:pt idx="6404">
                  <c:v>7.4029999999999996</c:v>
                </c:pt>
                <c:pt idx="6405">
                  <c:v>7.4029999999999996</c:v>
                </c:pt>
                <c:pt idx="6406">
                  <c:v>7.4029999999999996</c:v>
                </c:pt>
                <c:pt idx="6407">
                  <c:v>7.4029999999999996</c:v>
                </c:pt>
                <c:pt idx="6408">
                  <c:v>7.4039999999999999</c:v>
                </c:pt>
                <c:pt idx="6409">
                  <c:v>7.4029999999999996</c:v>
                </c:pt>
                <c:pt idx="6410">
                  <c:v>7.4029999999999996</c:v>
                </c:pt>
                <c:pt idx="6411">
                  <c:v>7.4029999999999996</c:v>
                </c:pt>
                <c:pt idx="6412">
                  <c:v>7.4029999999999996</c:v>
                </c:pt>
                <c:pt idx="6413">
                  <c:v>7.4029999999999996</c:v>
                </c:pt>
                <c:pt idx="6414">
                  <c:v>7.4029999999999996</c:v>
                </c:pt>
                <c:pt idx="6415">
                  <c:v>7.4029999999999996</c:v>
                </c:pt>
                <c:pt idx="6416">
                  <c:v>7.4029999999999996</c:v>
                </c:pt>
                <c:pt idx="6417">
                  <c:v>7.4029999999999996</c:v>
                </c:pt>
                <c:pt idx="6418">
                  <c:v>7.4039999999999999</c:v>
                </c:pt>
                <c:pt idx="6419">
                  <c:v>7.4029999999999996</c:v>
                </c:pt>
                <c:pt idx="6420">
                  <c:v>7.4029999999999996</c:v>
                </c:pt>
                <c:pt idx="6421">
                  <c:v>7.4029999999999996</c:v>
                </c:pt>
                <c:pt idx="6422">
                  <c:v>7.4020000000000001</c:v>
                </c:pt>
                <c:pt idx="6423">
                  <c:v>7.4020000000000001</c:v>
                </c:pt>
                <c:pt idx="6424">
                  <c:v>7.4020000000000001</c:v>
                </c:pt>
                <c:pt idx="6425">
                  <c:v>7.4020000000000001</c:v>
                </c:pt>
                <c:pt idx="6426">
                  <c:v>7.4029999999999996</c:v>
                </c:pt>
                <c:pt idx="6427">
                  <c:v>7.4020000000000001</c:v>
                </c:pt>
                <c:pt idx="6428">
                  <c:v>7.4029999999999996</c:v>
                </c:pt>
                <c:pt idx="6429">
                  <c:v>7.4020000000000001</c:v>
                </c:pt>
                <c:pt idx="6430">
                  <c:v>7.4020000000000001</c:v>
                </c:pt>
                <c:pt idx="6431">
                  <c:v>7.4020000000000001</c:v>
                </c:pt>
                <c:pt idx="6432">
                  <c:v>7.4020000000000001</c:v>
                </c:pt>
                <c:pt idx="6433">
                  <c:v>7.4020000000000001</c:v>
                </c:pt>
                <c:pt idx="6434">
                  <c:v>7.4020000000000001</c:v>
                </c:pt>
                <c:pt idx="6435">
                  <c:v>7.4029999999999996</c:v>
                </c:pt>
                <c:pt idx="6436">
                  <c:v>7.4020000000000001</c:v>
                </c:pt>
                <c:pt idx="6437">
                  <c:v>7.4009999999999998</c:v>
                </c:pt>
                <c:pt idx="6438">
                  <c:v>7.4020000000000001</c:v>
                </c:pt>
                <c:pt idx="6439">
                  <c:v>7.4029999999999996</c:v>
                </c:pt>
                <c:pt idx="6440">
                  <c:v>7.4020000000000001</c:v>
                </c:pt>
                <c:pt idx="6441">
                  <c:v>7.4020000000000001</c:v>
                </c:pt>
                <c:pt idx="6442">
                  <c:v>7.4020000000000001</c:v>
                </c:pt>
                <c:pt idx="6443">
                  <c:v>7.4009999999999998</c:v>
                </c:pt>
                <c:pt idx="6444">
                  <c:v>7.4020000000000001</c:v>
                </c:pt>
                <c:pt idx="6445">
                  <c:v>7.4020000000000001</c:v>
                </c:pt>
                <c:pt idx="6446">
                  <c:v>7.4009999999999998</c:v>
                </c:pt>
                <c:pt idx="6447">
                  <c:v>7.4009999999999998</c:v>
                </c:pt>
                <c:pt idx="6448">
                  <c:v>7.4009999999999998</c:v>
                </c:pt>
                <c:pt idx="6449">
                  <c:v>7.4009999999999998</c:v>
                </c:pt>
                <c:pt idx="6450">
                  <c:v>7.4020000000000001</c:v>
                </c:pt>
                <c:pt idx="6451">
                  <c:v>7.4020000000000001</c:v>
                </c:pt>
                <c:pt idx="6452">
                  <c:v>7.4020000000000001</c:v>
                </c:pt>
                <c:pt idx="6453">
                  <c:v>7.4020000000000001</c:v>
                </c:pt>
                <c:pt idx="6454">
                  <c:v>7.4009999999999998</c:v>
                </c:pt>
                <c:pt idx="6455">
                  <c:v>7.4009999999999998</c:v>
                </c:pt>
                <c:pt idx="6456">
                  <c:v>7.4020000000000001</c:v>
                </c:pt>
                <c:pt idx="6457">
                  <c:v>7.4009999999999998</c:v>
                </c:pt>
                <c:pt idx="6458">
                  <c:v>7.4009999999999998</c:v>
                </c:pt>
                <c:pt idx="6459">
                  <c:v>7.4009999999999998</c:v>
                </c:pt>
                <c:pt idx="6460">
                  <c:v>7.4020000000000001</c:v>
                </c:pt>
                <c:pt idx="6461">
                  <c:v>7.4009999999999998</c:v>
                </c:pt>
                <c:pt idx="6462">
                  <c:v>7.4009999999999998</c:v>
                </c:pt>
                <c:pt idx="6463">
                  <c:v>7.4</c:v>
                </c:pt>
                <c:pt idx="6464">
                  <c:v>7.4009999999999998</c:v>
                </c:pt>
                <c:pt idx="6465">
                  <c:v>7.4009999999999998</c:v>
                </c:pt>
                <c:pt idx="6466">
                  <c:v>7.4009999999999998</c:v>
                </c:pt>
                <c:pt idx="6467">
                  <c:v>7.4</c:v>
                </c:pt>
                <c:pt idx="6468">
                  <c:v>7.4009999999999998</c:v>
                </c:pt>
                <c:pt idx="6469">
                  <c:v>7.4009999999999998</c:v>
                </c:pt>
                <c:pt idx="6470">
                  <c:v>7.4009999999999998</c:v>
                </c:pt>
                <c:pt idx="6471">
                  <c:v>7.4</c:v>
                </c:pt>
                <c:pt idx="6472">
                  <c:v>7.4</c:v>
                </c:pt>
                <c:pt idx="6473">
                  <c:v>7.4</c:v>
                </c:pt>
                <c:pt idx="6474">
                  <c:v>7.4</c:v>
                </c:pt>
                <c:pt idx="6475">
                  <c:v>7.4</c:v>
                </c:pt>
                <c:pt idx="6476">
                  <c:v>7.4</c:v>
                </c:pt>
                <c:pt idx="6477">
                  <c:v>7.4</c:v>
                </c:pt>
                <c:pt idx="6478">
                  <c:v>7.4</c:v>
                </c:pt>
                <c:pt idx="6479">
                  <c:v>7.4</c:v>
                </c:pt>
                <c:pt idx="6480">
                  <c:v>7.4</c:v>
                </c:pt>
                <c:pt idx="6481">
                  <c:v>7.4</c:v>
                </c:pt>
                <c:pt idx="6482">
                  <c:v>7.4</c:v>
                </c:pt>
                <c:pt idx="6483">
                  <c:v>7.399</c:v>
                </c:pt>
                <c:pt idx="6484">
                  <c:v>7.4</c:v>
                </c:pt>
                <c:pt idx="6485">
                  <c:v>7.4</c:v>
                </c:pt>
                <c:pt idx="6486">
                  <c:v>7.4</c:v>
                </c:pt>
                <c:pt idx="6487">
                  <c:v>7.4</c:v>
                </c:pt>
                <c:pt idx="6488">
                  <c:v>7.4</c:v>
                </c:pt>
                <c:pt idx="6489">
                  <c:v>7.4</c:v>
                </c:pt>
                <c:pt idx="6490">
                  <c:v>7.399</c:v>
                </c:pt>
                <c:pt idx="6491">
                  <c:v>7.399</c:v>
                </c:pt>
                <c:pt idx="6492">
                  <c:v>7.4</c:v>
                </c:pt>
                <c:pt idx="6493">
                  <c:v>7.399</c:v>
                </c:pt>
                <c:pt idx="6494">
                  <c:v>7.4</c:v>
                </c:pt>
                <c:pt idx="6495">
                  <c:v>7.399</c:v>
                </c:pt>
                <c:pt idx="6496">
                  <c:v>7.4</c:v>
                </c:pt>
                <c:pt idx="6497">
                  <c:v>7.399</c:v>
                </c:pt>
                <c:pt idx="6498">
                  <c:v>7.399</c:v>
                </c:pt>
                <c:pt idx="6499">
                  <c:v>7.399</c:v>
                </c:pt>
                <c:pt idx="6500">
                  <c:v>7.4</c:v>
                </c:pt>
                <c:pt idx="6501">
                  <c:v>7.399</c:v>
                </c:pt>
                <c:pt idx="6502">
                  <c:v>7.4</c:v>
                </c:pt>
                <c:pt idx="6503">
                  <c:v>7.399</c:v>
                </c:pt>
                <c:pt idx="6504">
                  <c:v>7.4</c:v>
                </c:pt>
                <c:pt idx="6505">
                  <c:v>7.399</c:v>
                </c:pt>
                <c:pt idx="6506">
                  <c:v>7.399</c:v>
                </c:pt>
                <c:pt idx="6507">
                  <c:v>7.399</c:v>
                </c:pt>
                <c:pt idx="6508">
                  <c:v>7.399</c:v>
                </c:pt>
                <c:pt idx="6509">
                  <c:v>7.399</c:v>
                </c:pt>
                <c:pt idx="6510">
                  <c:v>7.399</c:v>
                </c:pt>
                <c:pt idx="6511">
                  <c:v>7.399</c:v>
                </c:pt>
                <c:pt idx="6512">
                  <c:v>7.399</c:v>
                </c:pt>
                <c:pt idx="6513">
                  <c:v>7.3979999999999997</c:v>
                </c:pt>
                <c:pt idx="6514">
                  <c:v>7.3979999999999997</c:v>
                </c:pt>
                <c:pt idx="6515">
                  <c:v>7.3979999999999997</c:v>
                </c:pt>
                <c:pt idx="6516">
                  <c:v>7.399</c:v>
                </c:pt>
                <c:pt idx="6517">
                  <c:v>7.399</c:v>
                </c:pt>
                <c:pt idx="6518">
                  <c:v>7.399</c:v>
                </c:pt>
                <c:pt idx="6519">
                  <c:v>7.399</c:v>
                </c:pt>
                <c:pt idx="6520">
                  <c:v>7.399</c:v>
                </c:pt>
                <c:pt idx="6521">
                  <c:v>7.399</c:v>
                </c:pt>
                <c:pt idx="6522">
                  <c:v>7.399</c:v>
                </c:pt>
                <c:pt idx="6523">
                  <c:v>7.3979999999999997</c:v>
                </c:pt>
                <c:pt idx="6524">
                  <c:v>7.3979999999999997</c:v>
                </c:pt>
                <c:pt idx="6525">
                  <c:v>7.3979999999999997</c:v>
                </c:pt>
                <c:pt idx="6526">
                  <c:v>7.3979999999999997</c:v>
                </c:pt>
                <c:pt idx="6527">
                  <c:v>7.3979999999999997</c:v>
                </c:pt>
                <c:pt idx="6528">
                  <c:v>7.3979999999999997</c:v>
                </c:pt>
                <c:pt idx="6529">
                  <c:v>7.3979999999999997</c:v>
                </c:pt>
                <c:pt idx="6530">
                  <c:v>7.3979999999999997</c:v>
                </c:pt>
                <c:pt idx="6531">
                  <c:v>7.3970000000000002</c:v>
                </c:pt>
                <c:pt idx="6532">
                  <c:v>7.3979999999999997</c:v>
                </c:pt>
                <c:pt idx="6533">
                  <c:v>7.3970000000000002</c:v>
                </c:pt>
                <c:pt idx="6534">
                  <c:v>7.3979999999999997</c:v>
                </c:pt>
                <c:pt idx="6535">
                  <c:v>7.3970000000000002</c:v>
                </c:pt>
                <c:pt idx="6536">
                  <c:v>7.3979999999999997</c:v>
                </c:pt>
                <c:pt idx="6537">
                  <c:v>7.3979999999999997</c:v>
                </c:pt>
                <c:pt idx="6538">
                  <c:v>7.3979999999999997</c:v>
                </c:pt>
                <c:pt idx="6539">
                  <c:v>7.3979999999999997</c:v>
                </c:pt>
                <c:pt idx="6540">
                  <c:v>7.3979999999999997</c:v>
                </c:pt>
                <c:pt idx="6541">
                  <c:v>7.3970000000000002</c:v>
                </c:pt>
                <c:pt idx="6542">
                  <c:v>7.3979999999999997</c:v>
                </c:pt>
                <c:pt idx="6543">
                  <c:v>7.3970000000000002</c:v>
                </c:pt>
                <c:pt idx="6544">
                  <c:v>7.3970000000000002</c:v>
                </c:pt>
                <c:pt idx="6545">
                  <c:v>7.3970000000000002</c:v>
                </c:pt>
                <c:pt idx="6546">
                  <c:v>7.3970000000000002</c:v>
                </c:pt>
                <c:pt idx="6547">
                  <c:v>7.3970000000000002</c:v>
                </c:pt>
                <c:pt idx="6548">
                  <c:v>7.3970000000000002</c:v>
                </c:pt>
                <c:pt idx="6549">
                  <c:v>7.3970000000000002</c:v>
                </c:pt>
                <c:pt idx="6550">
                  <c:v>7.3970000000000002</c:v>
                </c:pt>
                <c:pt idx="6551">
                  <c:v>7.3970000000000002</c:v>
                </c:pt>
                <c:pt idx="6552">
                  <c:v>7.3970000000000002</c:v>
                </c:pt>
                <c:pt idx="6553">
                  <c:v>7.3979999999999997</c:v>
                </c:pt>
                <c:pt idx="6554">
                  <c:v>7.3970000000000002</c:v>
                </c:pt>
                <c:pt idx="6555">
                  <c:v>7.3970000000000002</c:v>
                </c:pt>
                <c:pt idx="6556">
                  <c:v>7.3970000000000002</c:v>
                </c:pt>
                <c:pt idx="6557">
                  <c:v>7.3970000000000002</c:v>
                </c:pt>
                <c:pt idx="6558">
                  <c:v>7.3970000000000002</c:v>
                </c:pt>
                <c:pt idx="6559">
                  <c:v>7.3970000000000002</c:v>
                </c:pt>
                <c:pt idx="6560">
                  <c:v>7.3959999999999999</c:v>
                </c:pt>
                <c:pt idx="6561">
                  <c:v>7.3970000000000002</c:v>
                </c:pt>
                <c:pt idx="6562">
                  <c:v>7.3970000000000002</c:v>
                </c:pt>
                <c:pt idx="6563">
                  <c:v>7.3959999999999999</c:v>
                </c:pt>
                <c:pt idx="6564">
                  <c:v>7.3959999999999999</c:v>
                </c:pt>
                <c:pt idx="6565">
                  <c:v>7.3959999999999999</c:v>
                </c:pt>
                <c:pt idx="6566">
                  <c:v>7.3959999999999999</c:v>
                </c:pt>
                <c:pt idx="6567">
                  <c:v>7.3959999999999999</c:v>
                </c:pt>
                <c:pt idx="6568">
                  <c:v>7.3959999999999999</c:v>
                </c:pt>
                <c:pt idx="6569">
                  <c:v>7.3959999999999999</c:v>
                </c:pt>
                <c:pt idx="6570">
                  <c:v>7.3959999999999999</c:v>
                </c:pt>
                <c:pt idx="6571">
                  <c:v>7.3959999999999999</c:v>
                </c:pt>
                <c:pt idx="6572">
                  <c:v>7.3959999999999999</c:v>
                </c:pt>
                <c:pt idx="6573">
                  <c:v>7.3959999999999999</c:v>
                </c:pt>
                <c:pt idx="6574">
                  <c:v>7.3959999999999999</c:v>
                </c:pt>
                <c:pt idx="6575">
                  <c:v>7.3959999999999999</c:v>
                </c:pt>
                <c:pt idx="6576">
                  <c:v>7.3959999999999999</c:v>
                </c:pt>
                <c:pt idx="6577">
                  <c:v>7.3949999999999996</c:v>
                </c:pt>
                <c:pt idx="6578">
                  <c:v>7.3959999999999999</c:v>
                </c:pt>
                <c:pt idx="6579">
                  <c:v>7.3959999999999999</c:v>
                </c:pt>
                <c:pt idx="6580">
                  <c:v>7.3959999999999999</c:v>
                </c:pt>
                <c:pt idx="6581">
                  <c:v>7.3959999999999999</c:v>
                </c:pt>
                <c:pt idx="6582">
                  <c:v>7.3949999999999996</c:v>
                </c:pt>
                <c:pt idx="6583">
                  <c:v>7.3959999999999999</c:v>
                </c:pt>
                <c:pt idx="6584">
                  <c:v>7.3959999999999999</c:v>
                </c:pt>
                <c:pt idx="6585">
                  <c:v>7.3949999999999996</c:v>
                </c:pt>
                <c:pt idx="6586">
                  <c:v>7.3959999999999999</c:v>
                </c:pt>
                <c:pt idx="6587">
                  <c:v>7.3949999999999996</c:v>
                </c:pt>
                <c:pt idx="6588">
                  <c:v>7.3949999999999996</c:v>
                </c:pt>
                <c:pt idx="6589">
                  <c:v>7.3959999999999999</c:v>
                </c:pt>
                <c:pt idx="6590">
                  <c:v>7.3949999999999996</c:v>
                </c:pt>
                <c:pt idx="6591">
                  <c:v>7.3949999999999996</c:v>
                </c:pt>
                <c:pt idx="6592">
                  <c:v>7.3959999999999999</c:v>
                </c:pt>
                <c:pt idx="6593">
                  <c:v>7.3959999999999999</c:v>
                </c:pt>
                <c:pt idx="6594">
                  <c:v>7.3959999999999999</c:v>
                </c:pt>
                <c:pt idx="6595">
                  <c:v>7.3959999999999999</c:v>
                </c:pt>
                <c:pt idx="6596">
                  <c:v>7.3949999999999996</c:v>
                </c:pt>
                <c:pt idx="6597">
                  <c:v>7.3949999999999996</c:v>
                </c:pt>
                <c:pt idx="6598">
                  <c:v>7.3959999999999999</c:v>
                </c:pt>
                <c:pt idx="6599">
                  <c:v>7.3949999999999996</c:v>
                </c:pt>
                <c:pt idx="6600">
                  <c:v>7.3949999999999996</c:v>
                </c:pt>
                <c:pt idx="6601">
                  <c:v>7.3949999999999996</c:v>
                </c:pt>
                <c:pt idx="6602">
                  <c:v>7.3940000000000001</c:v>
                </c:pt>
                <c:pt idx="6603">
                  <c:v>7.3949999999999996</c:v>
                </c:pt>
                <c:pt idx="6604">
                  <c:v>7.3949999999999996</c:v>
                </c:pt>
                <c:pt idx="6605">
                  <c:v>7.3949999999999996</c:v>
                </c:pt>
                <c:pt idx="6606">
                  <c:v>7.3949999999999996</c:v>
                </c:pt>
                <c:pt idx="6607">
                  <c:v>7.3949999999999996</c:v>
                </c:pt>
                <c:pt idx="6608">
                  <c:v>7.3949999999999996</c:v>
                </c:pt>
                <c:pt idx="6609">
                  <c:v>7.3949999999999996</c:v>
                </c:pt>
                <c:pt idx="6610">
                  <c:v>7.3949999999999996</c:v>
                </c:pt>
                <c:pt idx="6611">
                  <c:v>7.3949999999999996</c:v>
                </c:pt>
                <c:pt idx="6612">
                  <c:v>7.3949999999999996</c:v>
                </c:pt>
                <c:pt idx="6613">
                  <c:v>7.3940000000000001</c:v>
                </c:pt>
                <c:pt idx="6614">
                  <c:v>7.3949999999999996</c:v>
                </c:pt>
                <c:pt idx="6615">
                  <c:v>7.3940000000000001</c:v>
                </c:pt>
                <c:pt idx="6616">
                  <c:v>7.3949999999999996</c:v>
                </c:pt>
                <c:pt idx="6617">
                  <c:v>7.3940000000000001</c:v>
                </c:pt>
                <c:pt idx="6618">
                  <c:v>7.3940000000000001</c:v>
                </c:pt>
                <c:pt idx="6619">
                  <c:v>7.3940000000000001</c:v>
                </c:pt>
                <c:pt idx="6620">
                  <c:v>7.3940000000000001</c:v>
                </c:pt>
                <c:pt idx="6621">
                  <c:v>7.3940000000000001</c:v>
                </c:pt>
                <c:pt idx="6622">
                  <c:v>7.3929999999999998</c:v>
                </c:pt>
                <c:pt idx="6623">
                  <c:v>7.3940000000000001</c:v>
                </c:pt>
                <c:pt idx="6624">
                  <c:v>7.3949999999999996</c:v>
                </c:pt>
                <c:pt idx="6625">
                  <c:v>7.3940000000000001</c:v>
                </c:pt>
                <c:pt idx="6626">
                  <c:v>7.3940000000000001</c:v>
                </c:pt>
                <c:pt idx="6627">
                  <c:v>7.3940000000000001</c:v>
                </c:pt>
                <c:pt idx="6628">
                  <c:v>7.3929999999999998</c:v>
                </c:pt>
                <c:pt idx="6629">
                  <c:v>7.3940000000000001</c:v>
                </c:pt>
                <c:pt idx="6630">
                  <c:v>7.3940000000000001</c:v>
                </c:pt>
                <c:pt idx="6631">
                  <c:v>7.3929999999999998</c:v>
                </c:pt>
                <c:pt idx="6632">
                  <c:v>7.3940000000000001</c:v>
                </c:pt>
                <c:pt idx="6633">
                  <c:v>7.3929999999999998</c:v>
                </c:pt>
                <c:pt idx="6634">
                  <c:v>7.3940000000000001</c:v>
                </c:pt>
                <c:pt idx="6635">
                  <c:v>7.3929999999999998</c:v>
                </c:pt>
                <c:pt idx="6636">
                  <c:v>7.3929999999999998</c:v>
                </c:pt>
                <c:pt idx="6637">
                  <c:v>7.3929999999999998</c:v>
                </c:pt>
                <c:pt idx="6638">
                  <c:v>7.3940000000000001</c:v>
                </c:pt>
                <c:pt idx="6639">
                  <c:v>7.3940000000000001</c:v>
                </c:pt>
                <c:pt idx="6640">
                  <c:v>7.3929999999999998</c:v>
                </c:pt>
                <c:pt idx="6641">
                  <c:v>7.3940000000000001</c:v>
                </c:pt>
                <c:pt idx="6642">
                  <c:v>7.3929999999999998</c:v>
                </c:pt>
                <c:pt idx="6643">
                  <c:v>7.3929999999999998</c:v>
                </c:pt>
                <c:pt idx="6644">
                  <c:v>7.3929999999999998</c:v>
                </c:pt>
                <c:pt idx="6645">
                  <c:v>7.3929999999999998</c:v>
                </c:pt>
                <c:pt idx="6646">
                  <c:v>7.3929999999999998</c:v>
                </c:pt>
                <c:pt idx="6647">
                  <c:v>7.3929999999999998</c:v>
                </c:pt>
                <c:pt idx="6648">
                  <c:v>7.3929999999999998</c:v>
                </c:pt>
                <c:pt idx="6649">
                  <c:v>7.3929999999999998</c:v>
                </c:pt>
                <c:pt idx="6650">
                  <c:v>7.3929999999999998</c:v>
                </c:pt>
                <c:pt idx="6651">
                  <c:v>7.3929999999999998</c:v>
                </c:pt>
                <c:pt idx="6652">
                  <c:v>7.3929999999999998</c:v>
                </c:pt>
                <c:pt idx="6653">
                  <c:v>7.3940000000000001</c:v>
                </c:pt>
                <c:pt idx="6654">
                  <c:v>7.3940000000000001</c:v>
                </c:pt>
                <c:pt idx="6655">
                  <c:v>7.3929999999999998</c:v>
                </c:pt>
                <c:pt idx="6656">
                  <c:v>7.3929999999999998</c:v>
                </c:pt>
                <c:pt idx="6657">
                  <c:v>7.3920000000000003</c:v>
                </c:pt>
                <c:pt idx="6658">
                  <c:v>7.3929999999999998</c:v>
                </c:pt>
                <c:pt idx="6659">
                  <c:v>7.3920000000000003</c:v>
                </c:pt>
                <c:pt idx="6660">
                  <c:v>7.3920000000000003</c:v>
                </c:pt>
                <c:pt idx="6661">
                  <c:v>7.3920000000000003</c:v>
                </c:pt>
                <c:pt idx="6662">
                  <c:v>7.391</c:v>
                </c:pt>
                <c:pt idx="6663">
                  <c:v>7.3920000000000003</c:v>
                </c:pt>
                <c:pt idx="6664">
                  <c:v>7.3920000000000003</c:v>
                </c:pt>
                <c:pt idx="6665">
                  <c:v>7.3920000000000003</c:v>
                </c:pt>
                <c:pt idx="6666">
                  <c:v>7.3929999999999998</c:v>
                </c:pt>
                <c:pt idx="6667">
                  <c:v>7.3920000000000003</c:v>
                </c:pt>
                <c:pt idx="6668">
                  <c:v>7.3929999999999998</c:v>
                </c:pt>
                <c:pt idx="6669">
                  <c:v>7.3920000000000003</c:v>
                </c:pt>
                <c:pt idx="6670">
                  <c:v>7.3920000000000003</c:v>
                </c:pt>
                <c:pt idx="6671">
                  <c:v>7.3920000000000003</c:v>
                </c:pt>
                <c:pt idx="6672">
                  <c:v>7.3920000000000003</c:v>
                </c:pt>
                <c:pt idx="6673">
                  <c:v>7.3920000000000003</c:v>
                </c:pt>
                <c:pt idx="6674">
                  <c:v>7.3920000000000003</c:v>
                </c:pt>
                <c:pt idx="6675">
                  <c:v>7.3920000000000003</c:v>
                </c:pt>
                <c:pt idx="6676">
                  <c:v>7.3920000000000003</c:v>
                </c:pt>
                <c:pt idx="6677">
                  <c:v>7.3920000000000003</c:v>
                </c:pt>
                <c:pt idx="6678">
                  <c:v>7.391</c:v>
                </c:pt>
                <c:pt idx="6679">
                  <c:v>7.3920000000000003</c:v>
                </c:pt>
                <c:pt idx="6680">
                  <c:v>7.391</c:v>
                </c:pt>
                <c:pt idx="6681">
                  <c:v>7.391</c:v>
                </c:pt>
                <c:pt idx="6682">
                  <c:v>7.391</c:v>
                </c:pt>
                <c:pt idx="6683">
                  <c:v>7.391</c:v>
                </c:pt>
                <c:pt idx="6684">
                  <c:v>7.391</c:v>
                </c:pt>
                <c:pt idx="6685">
                  <c:v>7.3920000000000003</c:v>
                </c:pt>
                <c:pt idx="6686">
                  <c:v>7.391</c:v>
                </c:pt>
                <c:pt idx="6687">
                  <c:v>7.391</c:v>
                </c:pt>
                <c:pt idx="6688">
                  <c:v>7.391</c:v>
                </c:pt>
                <c:pt idx="6689">
                  <c:v>7.391</c:v>
                </c:pt>
                <c:pt idx="6690">
                  <c:v>7.391</c:v>
                </c:pt>
                <c:pt idx="6691">
                  <c:v>7.3920000000000003</c:v>
                </c:pt>
                <c:pt idx="6692">
                  <c:v>7.391</c:v>
                </c:pt>
                <c:pt idx="6693">
                  <c:v>7.391</c:v>
                </c:pt>
                <c:pt idx="6694">
                  <c:v>7.391</c:v>
                </c:pt>
                <c:pt idx="6695">
                  <c:v>7.391</c:v>
                </c:pt>
                <c:pt idx="6696">
                  <c:v>7.39</c:v>
                </c:pt>
                <c:pt idx="6697">
                  <c:v>7.391</c:v>
                </c:pt>
                <c:pt idx="6698">
                  <c:v>7.391</c:v>
                </c:pt>
                <c:pt idx="6699">
                  <c:v>7.391</c:v>
                </c:pt>
                <c:pt idx="6700">
                  <c:v>7.391</c:v>
                </c:pt>
                <c:pt idx="6701">
                  <c:v>7.39</c:v>
                </c:pt>
                <c:pt idx="6702">
                  <c:v>7.391</c:v>
                </c:pt>
                <c:pt idx="6703">
                  <c:v>7.391</c:v>
                </c:pt>
                <c:pt idx="6704">
                  <c:v>7.39</c:v>
                </c:pt>
                <c:pt idx="6705">
                  <c:v>7.391</c:v>
                </c:pt>
                <c:pt idx="6706">
                  <c:v>7.39</c:v>
                </c:pt>
                <c:pt idx="6707">
                  <c:v>7.39</c:v>
                </c:pt>
                <c:pt idx="6708">
                  <c:v>7.39</c:v>
                </c:pt>
                <c:pt idx="6709">
                  <c:v>7.39</c:v>
                </c:pt>
                <c:pt idx="6710">
                  <c:v>7.39</c:v>
                </c:pt>
                <c:pt idx="6711">
                  <c:v>7.39</c:v>
                </c:pt>
                <c:pt idx="6712">
                  <c:v>7.39</c:v>
                </c:pt>
                <c:pt idx="6713">
                  <c:v>7.39</c:v>
                </c:pt>
                <c:pt idx="6714">
                  <c:v>7.39</c:v>
                </c:pt>
                <c:pt idx="6715">
                  <c:v>7.391</c:v>
                </c:pt>
                <c:pt idx="6716">
                  <c:v>7.39</c:v>
                </c:pt>
                <c:pt idx="6717">
                  <c:v>7.39</c:v>
                </c:pt>
                <c:pt idx="6718">
                  <c:v>7.39</c:v>
                </c:pt>
                <c:pt idx="6719">
                  <c:v>7.39</c:v>
                </c:pt>
                <c:pt idx="6720">
                  <c:v>7.39</c:v>
                </c:pt>
                <c:pt idx="6721">
                  <c:v>7.391</c:v>
                </c:pt>
                <c:pt idx="6722">
                  <c:v>7.3890000000000002</c:v>
                </c:pt>
                <c:pt idx="6723">
                  <c:v>7.39</c:v>
                </c:pt>
                <c:pt idx="6724">
                  <c:v>7.3890000000000002</c:v>
                </c:pt>
                <c:pt idx="6725">
                  <c:v>7.39</c:v>
                </c:pt>
                <c:pt idx="6726">
                  <c:v>7.3890000000000002</c:v>
                </c:pt>
                <c:pt idx="6727">
                  <c:v>7.3890000000000002</c:v>
                </c:pt>
                <c:pt idx="6728">
                  <c:v>7.3890000000000002</c:v>
                </c:pt>
                <c:pt idx="6729">
                  <c:v>7.39</c:v>
                </c:pt>
                <c:pt idx="6730">
                  <c:v>7.3890000000000002</c:v>
                </c:pt>
                <c:pt idx="6731">
                  <c:v>7.3890000000000002</c:v>
                </c:pt>
                <c:pt idx="6732">
                  <c:v>7.3890000000000002</c:v>
                </c:pt>
                <c:pt idx="6733">
                  <c:v>7.3890000000000002</c:v>
                </c:pt>
                <c:pt idx="6734">
                  <c:v>7.3890000000000002</c:v>
                </c:pt>
                <c:pt idx="6735">
                  <c:v>7.3890000000000002</c:v>
                </c:pt>
                <c:pt idx="6736">
                  <c:v>7.3890000000000002</c:v>
                </c:pt>
                <c:pt idx="6737">
                  <c:v>7.3890000000000002</c:v>
                </c:pt>
                <c:pt idx="6738">
                  <c:v>7.3890000000000002</c:v>
                </c:pt>
                <c:pt idx="6739">
                  <c:v>7.3890000000000002</c:v>
                </c:pt>
                <c:pt idx="6740">
                  <c:v>7.3890000000000002</c:v>
                </c:pt>
                <c:pt idx="6741">
                  <c:v>7.3890000000000002</c:v>
                </c:pt>
                <c:pt idx="6742">
                  <c:v>7.3890000000000002</c:v>
                </c:pt>
                <c:pt idx="6743">
                  <c:v>7.3879999999999999</c:v>
                </c:pt>
                <c:pt idx="6744">
                  <c:v>7.3890000000000002</c:v>
                </c:pt>
                <c:pt idx="6745">
                  <c:v>7.3890000000000002</c:v>
                </c:pt>
                <c:pt idx="6746">
                  <c:v>7.3890000000000002</c:v>
                </c:pt>
                <c:pt idx="6747">
                  <c:v>7.3890000000000002</c:v>
                </c:pt>
                <c:pt idx="6748">
                  <c:v>7.3879999999999999</c:v>
                </c:pt>
                <c:pt idx="6749">
                  <c:v>7.3890000000000002</c:v>
                </c:pt>
                <c:pt idx="6750">
                  <c:v>7.3879999999999999</c:v>
                </c:pt>
                <c:pt idx="6751">
                  <c:v>7.3879999999999999</c:v>
                </c:pt>
                <c:pt idx="6752">
                  <c:v>7.3890000000000002</c:v>
                </c:pt>
                <c:pt idx="6753">
                  <c:v>7.3879999999999999</c:v>
                </c:pt>
                <c:pt idx="6754">
                  <c:v>7.3879999999999999</c:v>
                </c:pt>
                <c:pt idx="6755">
                  <c:v>7.3879999999999999</c:v>
                </c:pt>
                <c:pt idx="6756">
                  <c:v>7.3890000000000002</c:v>
                </c:pt>
                <c:pt idx="6757">
                  <c:v>7.3879999999999999</c:v>
                </c:pt>
                <c:pt idx="6758">
                  <c:v>7.3879999999999999</c:v>
                </c:pt>
                <c:pt idx="6759">
                  <c:v>7.3879999999999999</c:v>
                </c:pt>
                <c:pt idx="6760">
                  <c:v>7.3890000000000002</c:v>
                </c:pt>
                <c:pt idx="6761">
                  <c:v>7.3879999999999999</c:v>
                </c:pt>
                <c:pt idx="6762">
                  <c:v>7.3879999999999999</c:v>
                </c:pt>
                <c:pt idx="6763">
                  <c:v>7.3879999999999999</c:v>
                </c:pt>
                <c:pt idx="6764">
                  <c:v>7.3879999999999999</c:v>
                </c:pt>
                <c:pt idx="6765">
                  <c:v>7.3879999999999999</c:v>
                </c:pt>
                <c:pt idx="6766">
                  <c:v>7.3879999999999999</c:v>
                </c:pt>
                <c:pt idx="6767">
                  <c:v>7.3879999999999999</c:v>
                </c:pt>
                <c:pt idx="6768">
                  <c:v>7.3879999999999999</c:v>
                </c:pt>
                <c:pt idx="6769">
                  <c:v>7.3879999999999999</c:v>
                </c:pt>
                <c:pt idx="6770">
                  <c:v>7.3869999999999996</c:v>
                </c:pt>
                <c:pt idx="6771">
                  <c:v>7.3879999999999999</c:v>
                </c:pt>
                <c:pt idx="6772">
                  <c:v>7.3879999999999999</c:v>
                </c:pt>
                <c:pt idx="6773">
                  <c:v>7.3869999999999996</c:v>
                </c:pt>
                <c:pt idx="6774">
                  <c:v>7.3869999999999996</c:v>
                </c:pt>
                <c:pt idx="6775">
                  <c:v>7.3869999999999996</c:v>
                </c:pt>
                <c:pt idx="6776">
                  <c:v>7.3869999999999996</c:v>
                </c:pt>
                <c:pt idx="6777">
                  <c:v>7.3879999999999999</c:v>
                </c:pt>
                <c:pt idx="6778">
                  <c:v>7.3869999999999996</c:v>
                </c:pt>
                <c:pt idx="6779">
                  <c:v>7.3869999999999996</c:v>
                </c:pt>
                <c:pt idx="6780">
                  <c:v>7.3869999999999996</c:v>
                </c:pt>
                <c:pt idx="6781">
                  <c:v>7.3869999999999996</c:v>
                </c:pt>
                <c:pt idx="6782">
                  <c:v>7.3869999999999996</c:v>
                </c:pt>
                <c:pt idx="6783">
                  <c:v>7.3860000000000001</c:v>
                </c:pt>
                <c:pt idx="6784">
                  <c:v>7.3869999999999996</c:v>
                </c:pt>
                <c:pt idx="6785">
                  <c:v>7.3869999999999996</c:v>
                </c:pt>
                <c:pt idx="6786">
                  <c:v>7.3869999999999996</c:v>
                </c:pt>
                <c:pt idx="6787">
                  <c:v>7.3869999999999996</c:v>
                </c:pt>
                <c:pt idx="6788">
                  <c:v>7.3869999999999996</c:v>
                </c:pt>
                <c:pt idx="6789">
                  <c:v>7.3869999999999996</c:v>
                </c:pt>
                <c:pt idx="6790">
                  <c:v>7.3869999999999996</c:v>
                </c:pt>
                <c:pt idx="6791">
                  <c:v>7.3869999999999996</c:v>
                </c:pt>
                <c:pt idx="6792">
                  <c:v>7.3869999999999996</c:v>
                </c:pt>
                <c:pt idx="6793">
                  <c:v>7.3869999999999996</c:v>
                </c:pt>
                <c:pt idx="6794">
                  <c:v>7.3869999999999996</c:v>
                </c:pt>
                <c:pt idx="6795">
                  <c:v>7.3860000000000001</c:v>
                </c:pt>
                <c:pt idx="6796">
                  <c:v>7.3869999999999996</c:v>
                </c:pt>
                <c:pt idx="6797">
                  <c:v>7.3860000000000001</c:v>
                </c:pt>
                <c:pt idx="6798">
                  <c:v>7.3869999999999996</c:v>
                </c:pt>
                <c:pt idx="6799">
                  <c:v>7.3860000000000001</c:v>
                </c:pt>
                <c:pt idx="6800">
                  <c:v>7.3860000000000001</c:v>
                </c:pt>
                <c:pt idx="6801">
                  <c:v>7.3869999999999996</c:v>
                </c:pt>
                <c:pt idx="6802">
                  <c:v>7.3860000000000001</c:v>
                </c:pt>
                <c:pt idx="6803">
                  <c:v>7.3860000000000001</c:v>
                </c:pt>
                <c:pt idx="6804">
                  <c:v>7.3860000000000001</c:v>
                </c:pt>
                <c:pt idx="6805">
                  <c:v>7.3860000000000001</c:v>
                </c:pt>
                <c:pt idx="6806">
                  <c:v>7.3849999999999998</c:v>
                </c:pt>
                <c:pt idx="6807">
                  <c:v>7.3860000000000001</c:v>
                </c:pt>
                <c:pt idx="6808">
                  <c:v>7.3860000000000001</c:v>
                </c:pt>
                <c:pt idx="6809">
                  <c:v>7.3860000000000001</c:v>
                </c:pt>
                <c:pt idx="6810">
                  <c:v>7.3849999999999998</c:v>
                </c:pt>
                <c:pt idx="6811">
                  <c:v>7.3860000000000001</c:v>
                </c:pt>
                <c:pt idx="6812">
                  <c:v>7.3860000000000001</c:v>
                </c:pt>
                <c:pt idx="6813">
                  <c:v>7.3860000000000001</c:v>
                </c:pt>
                <c:pt idx="6814">
                  <c:v>7.3860000000000001</c:v>
                </c:pt>
                <c:pt idx="6815">
                  <c:v>7.3849999999999998</c:v>
                </c:pt>
                <c:pt idx="6816">
                  <c:v>7.3849999999999998</c:v>
                </c:pt>
                <c:pt idx="6817">
                  <c:v>7.3860000000000001</c:v>
                </c:pt>
                <c:pt idx="6818">
                  <c:v>7.3860000000000001</c:v>
                </c:pt>
                <c:pt idx="6819">
                  <c:v>7.3860000000000001</c:v>
                </c:pt>
                <c:pt idx="6820">
                  <c:v>7.3849999999999998</c:v>
                </c:pt>
                <c:pt idx="6821">
                  <c:v>7.3849999999999998</c:v>
                </c:pt>
                <c:pt idx="6822">
                  <c:v>7.3849999999999998</c:v>
                </c:pt>
                <c:pt idx="6823">
                  <c:v>7.3860000000000001</c:v>
                </c:pt>
                <c:pt idx="6824">
                  <c:v>7.3849999999999998</c:v>
                </c:pt>
                <c:pt idx="6825">
                  <c:v>7.3849999999999998</c:v>
                </c:pt>
                <c:pt idx="6826">
                  <c:v>7.3849999999999998</c:v>
                </c:pt>
                <c:pt idx="6827">
                  <c:v>7.3849999999999998</c:v>
                </c:pt>
                <c:pt idx="6828">
                  <c:v>7.3849999999999998</c:v>
                </c:pt>
                <c:pt idx="6829">
                  <c:v>7.3849999999999998</c:v>
                </c:pt>
                <c:pt idx="6830">
                  <c:v>7.3840000000000003</c:v>
                </c:pt>
                <c:pt idx="6831">
                  <c:v>7.3849999999999998</c:v>
                </c:pt>
                <c:pt idx="6832">
                  <c:v>7.3849999999999998</c:v>
                </c:pt>
                <c:pt idx="6833">
                  <c:v>7.3849999999999998</c:v>
                </c:pt>
                <c:pt idx="6834">
                  <c:v>7.3849999999999998</c:v>
                </c:pt>
                <c:pt idx="6835">
                  <c:v>7.3840000000000003</c:v>
                </c:pt>
                <c:pt idx="6836">
                  <c:v>7.3840000000000003</c:v>
                </c:pt>
                <c:pt idx="6837">
                  <c:v>7.3849999999999998</c:v>
                </c:pt>
                <c:pt idx="6838">
                  <c:v>7.3849999999999998</c:v>
                </c:pt>
                <c:pt idx="6839">
                  <c:v>7.3849999999999998</c:v>
                </c:pt>
                <c:pt idx="6840">
                  <c:v>7.3840000000000003</c:v>
                </c:pt>
                <c:pt idx="6841">
                  <c:v>7.3840000000000003</c:v>
                </c:pt>
                <c:pt idx="6842">
                  <c:v>7.3840000000000003</c:v>
                </c:pt>
                <c:pt idx="6843">
                  <c:v>7.3840000000000003</c:v>
                </c:pt>
                <c:pt idx="6844">
                  <c:v>7.3840000000000003</c:v>
                </c:pt>
                <c:pt idx="6845">
                  <c:v>7.383</c:v>
                </c:pt>
                <c:pt idx="6846">
                  <c:v>7.3840000000000003</c:v>
                </c:pt>
                <c:pt idx="6847">
                  <c:v>7.3840000000000003</c:v>
                </c:pt>
                <c:pt idx="6848">
                  <c:v>7.3840000000000003</c:v>
                </c:pt>
                <c:pt idx="6849">
                  <c:v>7.3840000000000003</c:v>
                </c:pt>
                <c:pt idx="6850">
                  <c:v>7.3840000000000003</c:v>
                </c:pt>
                <c:pt idx="6851">
                  <c:v>7.3840000000000003</c:v>
                </c:pt>
                <c:pt idx="6852">
                  <c:v>7.3840000000000003</c:v>
                </c:pt>
                <c:pt idx="6853">
                  <c:v>7.3840000000000003</c:v>
                </c:pt>
                <c:pt idx="6854">
                  <c:v>7.3840000000000003</c:v>
                </c:pt>
                <c:pt idx="6855">
                  <c:v>7.3840000000000003</c:v>
                </c:pt>
                <c:pt idx="6856">
                  <c:v>7.3840000000000003</c:v>
                </c:pt>
                <c:pt idx="6857">
                  <c:v>7.3840000000000003</c:v>
                </c:pt>
                <c:pt idx="6858">
                  <c:v>7.383</c:v>
                </c:pt>
                <c:pt idx="6859">
                  <c:v>7.3840000000000003</c:v>
                </c:pt>
                <c:pt idx="6860">
                  <c:v>7.383</c:v>
                </c:pt>
                <c:pt idx="6861">
                  <c:v>7.383</c:v>
                </c:pt>
                <c:pt idx="6862">
                  <c:v>7.3840000000000003</c:v>
                </c:pt>
                <c:pt idx="6863">
                  <c:v>7.383</c:v>
                </c:pt>
                <c:pt idx="6864">
                  <c:v>7.3840000000000003</c:v>
                </c:pt>
                <c:pt idx="6865">
                  <c:v>7.383</c:v>
                </c:pt>
                <c:pt idx="6866">
                  <c:v>7.383</c:v>
                </c:pt>
                <c:pt idx="6867">
                  <c:v>7.383</c:v>
                </c:pt>
                <c:pt idx="6868">
                  <c:v>7.383</c:v>
                </c:pt>
                <c:pt idx="6869">
                  <c:v>7.383</c:v>
                </c:pt>
                <c:pt idx="6870">
                  <c:v>7.383</c:v>
                </c:pt>
                <c:pt idx="6871">
                  <c:v>7.383</c:v>
                </c:pt>
                <c:pt idx="6872">
                  <c:v>7.3819999999999997</c:v>
                </c:pt>
                <c:pt idx="6873">
                  <c:v>7.383</c:v>
                </c:pt>
                <c:pt idx="6874">
                  <c:v>7.3840000000000003</c:v>
                </c:pt>
                <c:pt idx="6875">
                  <c:v>7.383</c:v>
                </c:pt>
                <c:pt idx="6876">
                  <c:v>7.383</c:v>
                </c:pt>
                <c:pt idx="6877">
                  <c:v>7.383</c:v>
                </c:pt>
                <c:pt idx="6878">
                  <c:v>7.3819999999999997</c:v>
                </c:pt>
                <c:pt idx="6879">
                  <c:v>7.383</c:v>
                </c:pt>
                <c:pt idx="6880">
                  <c:v>7.383</c:v>
                </c:pt>
                <c:pt idx="6881">
                  <c:v>7.383</c:v>
                </c:pt>
                <c:pt idx="6882">
                  <c:v>7.383</c:v>
                </c:pt>
                <c:pt idx="6883">
                  <c:v>7.3819999999999997</c:v>
                </c:pt>
                <c:pt idx="6884">
                  <c:v>7.3819999999999997</c:v>
                </c:pt>
                <c:pt idx="6885">
                  <c:v>7.3819999999999997</c:v>
                </c:pt>
                <c:pt idx="6886">
                  <c:v>7.3819999999999997</c:v>
                </c:pt>
                <c:pt idx="6887">
                  <c:v>7.3819999999999997</c:v>
                </c:pt>
                <c:pt idx="6888">
                  <c:v>7.3819999999999997</c:v>
                </c:pt>
                <c:pt idx="6889">
                  <c:v>7.383</c:v>
                </c:pt>
                <c:pt idx="6890">
                  <c:v>7.383</c:v>
                </c:pt>
                <c:pt idx="6891">
                  <c:v>7.3819999999999997</c:v>
                </c:pt>
                <c:pt idx="6892">
                  <c:v>7.383</c:v>
                </c:pt>
                <c:pt idx="6893">
                  <c:v>7.3819999999999997</c:v>
                </c:pt>
                <c:pt idx="6894">
                  <c:v>7.3819999999999997</c:v>
                </c:pt>
                <c:pt idx="6895">
                  <c:v>7.3819999999999997</c:v>
                </c:pt>
                <c:pt idx="6896">
                  <c:v>7.3819999999999997</c:v>
                </c:pt>
                <c:pt idx="6897">
                  <c:v>7.3819999999999997</c:v>
                </c:pt>
                <c:pt idx="6898">
                  <c:v>7.3819999999999997</c:v>
                </c:pt>
                <c:pt idx="6899">
                  <c:v>7.3810000000000002</c:v>
                </c:pt>
                <c:pt idx="6900">
                  <c:v>7.3819999999999997</c:v>
                </c:pt>
                <c:pt idx="6901">
                  <c:v>7.3819999999999997</c:v>
                </c:pt>
                <c:pt idx="6902">
                  <c:v>7.3819999999999997</c:v>
                </c:pt>
                <c:pt idx="6903">
                  <c:v>7.3819999999999997</c:v>
                </c:pt>
                <c:pt idx="6904">
                  <c:v>7.3819999999999997</c:v>
                </c:pt>
                <c:pt idx="6905">
                  <c:v>7.3819999999999997</c:v>
                </c:pt>
                <c:pt idx="6906">
                  <c:v>7.3819999999999997</c:v>
                </c:pt>
                <c:pt idx="6907">
                  <c:v>7.3810000000000002</c:v>
                </c:pt>
                <c:pt idx="6908">
                  <c:v>7.3819999999999997</c:v>
                </c:pt>
                <c:pt idx="6909">
                  <c:v>7.3819999999999997</c:v>
                </c:pt>
                <c:pt idx="6910">
                  <c:v>7.3810000000000002</c:v>
                </c:pt>
                <c:pt idx="6911">
                  <c:v>7.3810000000000002</c:v>
                </c:pt>
                <c:pt idx="6912">
                  <c:v>7.3810000000000002</c:v>
                </c:pt>
                <c:pt idx="6913">
                  <c:v>7.3810000000000002</c:v>
                </c:pt>
                <c:pt idx="6914">
                  <c:v>7.3810000000000002</c:v>
                </c:pt>
                <c:pt idx="6915">
                  <c:v>7.3810000000000002</c:v>
                </c:pt>
                <c:pt idx="6916">
                  <c:v>7.3810000000000002</c:v>
                </c:pt>
                <c:pt idx="6917">
                  <c:v>7.3810000000000002</c:v>
                </c:pt>
                <c:pt idx="6918">
                  <c:v>7.3810000000000002</c:v>
                </c:pt>
                <c:pt idx="6919">
                  <c:v>7.3810000000000002</c:v>
                </c:pt>
                <c:pt idx="6920">
                  <c:v>7.38</c:v>
                </c:pt>
                <c:pt idx="6921">
                  <c:v>7.3810000000000002</c:v>
                </c:pt>
                <c:pt idx="6922">
                  <c:v>7.38</c:v>
                </c:pt>
                <c:pt idx="6923">
                  <c:v>7.3810000000000002</c:v>
                </c:pt>
                <c:pt idx="6924">
                  <c:v>7.3810000000000002</c:v>
                </c:pt>
                <c:pt idx="6925">
                  <c:v>7.38</c:v>
                </c:pt>
                <c:pt idx="6926">
                  <c:v>7.3810000000000002</c:v>
                </c:pt>
                <c:pt idx="6927">
                  <c:v>7.38</c:v>
                </c:pt>
                <c:pt idx="6928">
                  <c:v>7.38</c:v>
                </c:pt>
                <c:pt idx="6929">
                  <c:v>7.38</c:v>
                </c:pt>
                <c:pt idx="6930">
                  <c:v>7.3810000000000002</c:v>
                </c:pt>
                <c:pt idx="6931">
                  <c:v>7.38</c:v>
                </c:pt>
                <c:pt idx="6932">
                  <c:v>7.38</c:v>
                </c:pt>
                <c:pt idx="6933">
                  <c:v>7.38</c:v>
                </c:pt>
                <c:pt idx="6934">
                  <c:v>7.3810000000000002</c:v>
                </c:pt>
                <c:pt idx="6935">
                  <c:v>7.3810000000000002</c:v>
                </c:pt>
                <c:pt idx="6936">
                  <c:v>7.38</c:v>
                </c:pt>
                <c:pt idx="6937">
                  <c:v>7.38</c:v>
                </c:pt>
                <c:pt idx="6938">
                  <c:v>7.3810000000000002</c:v>
                </c:pt>
                <c:pt idx="6939">
                  <c:v>7.38</c:v>
                </c:pt>
                <c:pt idx="6940">
                  <c:v>7.38</c:v>
                </c:pt>
                <c:pt idx="6941">
                  <c:v>7.38</c:v>
                </c:pt>
                <c:pt idx="6942">
                  <c:v>7.38</c:v>
                </c:pt>
                <c:pt idx="6943">
                  <c:v>7.3789999999999996</c:v>
                </c:pt>
                <c:pt idx="6944">
                  <c:v>7.38</c:v>
                </c:pt>
                <c:pt idx="6945">
                  <c:v>7.38</c:v>
                </c:pt>
                <c:pt idx="6946">
                  <c:v>7.38</c:v>
                </c:pt>
                <c:pt idx="6947">
                  <c:v>7.3810000000000002</c:v>
                </c:pt>
                <c:pt idx="6948">
                  <c:v>7.3789999999999996</c:v>
                </c:pt>
                <c:pt idx="6949">
                  <c:v>7.38</c:v>
                </c:pt>
                <c:pt idx="6950">
                  <c:v>7.3789999999999996</c:v>
                </c:pt>
                <c:pt idx="6951">
                  <c:v>7.3789999999999996</c:v>
                </c:pt>
                <c:pt idx="6952">
                  <c:v>7.3789999999999996</c:v>
                </c:pt>
                <c:pt idx="6953">
                  <c:v>7.38</c:v>
                </c:pt>
                <c:pt idx="6954">
                  <c:v>7.3810000000000002</c:v>
                </c:pt>
                <c:pt idx="6955">
                  <c:v>7.3789999999999996</c:v>
                </c:pt>
                <c:pt idx="6956">
                  <c:v>7.38</c:v>
                </c:pt>
                <c:pt idx="6957">
                  <c:v>7.3789999999999996</c:v>
                </c:pt>
                <c:pt idx="6958">
                  <c:v>7.3789999999999996</c:v>
                </c:pt>
                <c:pt idx="6959">
                  <c:v>7.3789999999999996</c:v>
                </c:pt>
                <c:pt idx="6960">
                  <c:v>7.3789999999999996</c:v>
                </c:pt>
                <c:pt idx="6961">
                  <c:v>7.3789999999999996</c:v>
                </c:pt>
                <c:pt idx="6962">
                  <c:v>7.3789999999999996</c:v>
                </c:pt>
                <c:pt idx="6963">
                  <c:v>7.38</c:v>
                </c:pt>
                <c:pt idx="6964">
                  <c:v>7.3780000000000001</c:v>
                </c:pt>
                <c:pt idx="6965">
                  <c:v>7.3789999999999996</c:v>
                </c:pt>
                <c:pt idx="6966">
                  <c:v>7.3789999999999996</c:v>
                </c:pt>
                <c:pt idx="6967">
                  <c:v>7.3789999999999996</c:v>
                </c:pt>
                <c:pt idx="6968">
                  <c:v>7.3789999999999996</c:v>
                </c:pt>
                <c:pt idx="6969">
                  <c:v>7.3780000000000001</c:v>
                </c:pt>
                <c:pt idx="6970">
                  <c:v>7.3789999999999996</c:v>
                </c:pt>
                <c:pt idx="6971">
                  <c:v>7.3789999999999996</c:v>
                </c:pt>
                <c:pt idx="6972">
                  <c:v>7.3789999999999996</c:v>
                </c:pt>
                <c:pt idx="6973">
                  <c:v>7.3789999999999996</c:v>
                </c:pt>
                <c:pt idx="6974">
                  <c:v>7.3780000000000001</c:v>
                </c:pt>
                <c:pt idx="6975">
                  <c:v>7.3780000000000001</c:v>
                </c:pt>
                <c:pt idx="6976">
                  <c:v>7.3780000000000001</c:v>
                </c:pt>
                <c:pt idx="6977">
                  <c:v>7.3789999999999996</c:v>
                </c:pt>
                <c:pt idx="6978">
                  <c:v>7.3780000000000001</c:v>
                </c:pt>
                <c:pt idx="6979">
                  <c:v>7.3780000000000001</c:v>
                </c:pt>
                <c:pt idx="6980">
                  <c:v>7.3789999999999996</c:v>
                </c:pt>
                <c:pt idx="6981">
                  <c:v>7.3780000000000001</c:v>
                </c:pt>
                <c:pt idx="6982">
                  <c:v>7.3789999999999996</c:v>
                </c:pt>
                <c:pt idx="6983">
                  <c:v>7.3780000000000001</c:v>
                </c:pt>
                <c:pt idx="6984">
                  <c:v>7.3789999999999996</c:v>
                </c:pt>
                <c:pt idx="6985">
                  <c:v>7.3780000000000001</c:v>
                </c:pt>
                <c:pt idx="6986">
                  <c:v>7.3780000000000001</c:v>
                </c:pt>
                <c:pt idx="6987">
                  <c:v>7.3780000000000001</c:v>
                </c:pt>
                <c:pt idx="6988">
                  <c:v>7.3780000000000001</c:v>
                </c:pt>
                <c:pt idx="6989">
                  <c:v>7.3780000000000001</c:v>
                </c:pt>
                <c:pt idx="6990">
                  <c:v>7.3780000000000001</c:v>
                </c:pt>
                <c:pt idx="6991">
                  <c:v>7.3780000000000001</c:v>
                </c:pt>
                <c:pt idx="6992">
                  <c:v>7.3780000000000001</c:v>
                </c:pt>
                <c:pt idx="6993">
                  <c:v>7.3780000000000001</c:v>
                </c:pt>
                <c:pt idx="6994">
                  <c:v>7.3780000000000001</c:v>
                </c:pt>
                <c:pt idx="6995">
                  <c:v>7.3780000000000001</c:v>
                </c:pt>
                <c:pt idx="6996">
                  <c:v>7.3780000000000001</c:v>
                </c:pt>
                <c:pt idx="6997">
                  <c:v>7.3780000000000001</c:v>
                </c:pt>
                <c:pt idx="6998">
                  <c:v>7.3780000000000001</c:v>
                </c:pt>
                <c:pt idx="6999">
                  <c:v>7.3780000000000001</c:v>
                </c:pt>
                <c:pt idx="7000">
                  <c:v>7.3769999999999998</c:v>
                </c:pt>
                <c:pt idx="7001">
                  <c:v>7.3780000000000001</c:v>
                </c:pt>
                <c:pt idx="7002">
                  <c:v>7.3769999999999998</c:v>
                </c:pt>
                <c:pt idx="7003">
                  <c:v>7.3780000000000001</c:v>
                </c:pt>
                <c:pt idx="7004">
                  <c:v>7.3769999999999998</c:v>
                </c:pt>
                <c:pt idx="7005">
                  <c:v>7.3769999999999998</c:v>
                </c:pt>
                <c:pt idx="7006">
                  <c:v>7.3780000000000001</c:v>
                </c:pt>
                <c:pt idx="7007">
                  <c:v>7.3769999999999998</c:v>
                </c:pt>
                <c:pt idx="7008">
                  <c:v>7.3769999999999998</c:v>
                </c:pt>
                <c:pt idx="7009">
                  <c:v>7.3769999999999998</c:v>
                </c:pt>
                <c:pt idx="7010">
                  <c:v>7.3769999999999998</c:v>
                </c:pt>
                <c:pt idx="7011">
                  <c:v>7.3780000000000001</c:v>
                </c:pt>
                <c:pt idx="7012">
                  <c:v>7.3769999999999998</c:v>
                </c:pt>
                <c:pt idx="7013">
                  <c:v>7.3769999999999998</c:v>
                </c:pt>
                <c:pt idx="7014">
                  <c:v>7.3780000000000001</c:v>
                </c:pt>
                <c:pt idx="7015">
                  <c:v>7.3760000000000003</c:v>
                </c:pt>
                <c:pt idx="7016">
                  <c:v>7.3769999999999998</c:v>
                </c:pt>
                <c:pt idx="7017">
                  <c:v>7.3769999999999998</c:v>
                </c:pt>
                <c:pt idx="7018">
                  <c:v>7.3769999999999998</c:v>
                </c:pt>
                <c:pt idx="7019">
                  <c:v>7.3769999999999998</c:v>
                </c:pt>
                <c:pt idx="7020">
                  <c:v>7.3769999999999998</c:v>
                </c:pt>
                <c:pt idx="7021">
                  <c:v>7.3769999999999998</c:v>
                </c:pt>
                <c:pt idx="7022">
                  <c:v>7.3769999999999998</c:v>
                </c:pt>
                <c:pt idx="7023">
                  <c:v>7.3769999999999998</c:v>
                </c:pt>
                <c:pt idx="7024">
                  <c:v>7.3769999999999998</c:v>
                </c:pt>
                <c:pt idx="7025">
                  <c:v>7.3769999999999998</c:v>
                </c:pt>
                <c:pt idx="7026">
                  <c:v>7.3769999999999998</c:v>
                </c:pt>
                <c:pt idx="7027">
                  <c:v>7.3760000000000003</c:v>
                </c:pt>
                <c:pt idx="7028">
                  <c:v>7.3760000000000003</c:v>
                </c:pt>
                <c:pt idx="7029">
                  <c:v>7.3769999999999998</c:v>
                </c:pt>
                <c:pt idx="7030">
                  <c:v>7.3769999999999998</c:v>
                </c:pt>
                <c:pt idx="7031">
                  <c:v>7.3760000000000003</c:v>
                </c:pt>
                <c:pt idx="7032">
                  <c:v>7.3760000000000003</c:v>
                </c:pt>
                <c:pt idx="7033">
                  <c:v>7.3760000000000003</c:v>
                </c:pt>
                <c:pt idx="7034">
                  <c:v>7.3760000000000003</c:v>
                </c:pt>
                <c:pt idx="7035">
                  <c:v>7.3760000000000003</c:v>
                </c:pt>
                <c:pt idx="7036">
                  <c:v>7.3769999999999998</c:v>
                </c:pt>
                <c:pt idx="7037">
                  <c:v>7.3760000000000003</c:v>
                </c:pt>
                <c:pt idx="7038">
                  <c:v>7.3760000000000003</c:v>
                </c:pt>
                <c:pt idx="7039">
                  <c:v>7.3760000000000003</c:v>
                </c:pt>
                <c:pt idx="7040">
                  <c:v>7.3760000000000003</c:v>
                </c:pt>
                <c:pt idx="7041">
                  <c:v>7.3760000000000003</c:v>
                </c:pt>
                <c:pt idx="7042">
                  <c:v>7.3760000000000003</c:v>
                </c:pt>
                <c:pt idx="7043">
                  <c:v>7.3760000000000003</c:v>
                </c:pt>
                <c:pt idx="7044">
                  <c:v>7.3760000000000003</c:v>
                </c:pt>
                <c:pt idx="7045">
                  <c:v>7.3760000000000003</c:v>
                </c:pt>
                <c:pt idx="7046">
                  <c:v>7.3760000000000003</c:v>
                </c:pt>
                <c:pt idx="7047">
                  <c:v>7.3760000000000003</c:v>
                </c:pt>
                <c:pt idx="7048">
                  <c:v>7.3760000000000003</c:v>
                </c:pt>
                <c:pt idx="7049">
                  <c:v>7.3760000000000003</c:v>
                </c:pt>
                <c:pt idx="7050">
                  <c:v>7.3760000000000003</c:v>
                </c:pt>
                <c:pt idx="7051">
                  <c:v>7.375</c:v>
                </c:pt>
                <c:pt idx="7052">
                  <c:v>7.3760000000000003</c:v>
                </c:pt>
                <c:pt idx="7053">
                  <c:v>7.3760000000000003</c:v>
                </c:pt>
                <c:pt idx="7054">
                  <c:v>7.375</c:v>
                </c:pt>
                <c:pt idx="7055">
                  <c:v>7.375</c:v>
                </c:pt>
                <c:pt idx="7056">
                  <c:v>7.375</c:v>
                </c:pt>
                <c:pt idx="7057">
                  <c:v>7.3760000000000003</c:v>
                </c:pt>
                <c:pt idx="7058">
                  <c:v>7.3760000000000003</c:v>
                </c:pt>
                <c:pt idx="7059">
                  <c:v>7.3760000000000003</c:v>
                </c:pt>
                <c:pt idx="7060">
                  <c:v>7.375</c:v>
                </c:pt>
                <c:pt idx="7061">
                  <c:v>7.375</c:v>
                </c:pt>
                <c:pt idx="7062">
                  <c:v>7.375</c:v>
                </c:pt>
                <c:pt idx="7063">
                  <c:v>7.375</c:v>
                </c:pt>
                <c:pt idx="7064">
                  <c:v>7.3760000000000003</c:v>
                </c:pt>
                <c:pt idx="7065">
                  <c:v>7.375</c:v>
                </c:pt>
                <c:pt idx="7066">
                  <c:v>7.375</c:v>
                </c:pt>
                <c:pt idx="7067">
                  <c:v>7.375</c:v>
                </c:pt>
                <c:pt idx="7068">
                  <c:v>7.375</c:v>
                </c:pt>
                <c:pt idx="7069">
                  <c:v>7.375</c:v>
                </c:pt>
                <c:pt idx="7070">
                  <c:v>7.375</c:v>
                </c:pt>
                <c:pt idx="7071">
                  <c:v>7.375</c:v>
                </c:pt>
                <c:pt idx="7072">
                  <c:v>7.3739999999999997</c:v>
                </c:pt>
                <c:pt idx="7073">
                  <c:v>7.3739999999999997</c:v>
                </c:pt>
                <c:pt idx="7074">
                  <c:v>7.3739999999999997</c:v>
                </c:pt>
                <c:pt idx="7075">
                  <c:v>7.3760000000000003</c:v>
                </c:pt>
                <c:pt idx="7076">
                  <c:v>7.375</c:v>
                </c:pt>
                <c:pt idx="7077">
                  <c:v>7.3739999999999997</c:v>
                </c:pt>
                <c:pt idx="7078">
                  <c:v>7.3739999999999997</c:v>
                </c:pt>
                <c:pt idx="7079">
                  <c:v>7.3739999999999997</c:v>
                </c:pt>
                <c:pt idx="7080">
                  <c:v>7.3739999999999997</c:v>
                </c:pt>
                <c:pt idx="7081">
                  <c:v>7.3739999999999997</c:v>
                </c:pt>
                <c:pt idx="7082">
                  <c:v>7.3739999999999997</c:v>
                </c:pt>
                <c:pt idx="7083">
                  <c:v>7.3739999999999997</c:v>
                </c:pt>
                <c:pt idx="7084">
                  <c:v>7.375</c:v>
                </c:pt>
                <c:pt idx="7085">
                  <c:v>7.3739999999999997</c:v>
                </c:pt>
                <c:pt idx="7086">
                  <c:v>7.3739999999999997</c:v>
                </c:pt>
                <c:pt idx="7087">
                  <c:v>7.3739999999999997</c:v>
                </c:pt>
                <c:pt idx="7088">
                  <c:v>7.3739999999999997</c:v>
                </c:pt>
                <c:pt idx="7089">
                  <c:v>7.3739999999999997</c:v>
                </c:pt>
                <c:pt idx="7090">
                  <c:v>7.375</c:v>
                </c:pt>
                <c:pt idx="7091">
                  <c:v>7.3739999999999997</c:v>
                </c:pt>
                <c:pt idx="7092">
                  <c:v>7.3739999999999997</c:v>
                </c:pt>
                <c:pt idx="7093">
                  <c:v>7.3739999999999997</c:v>
                </c:pt>
                <c:pt idx="7094">
                  <c:v>7.3739999999999997</c:v>
                </c:pt>
                <c:pt idx="7095">
                  <c:v>7.3739999999999997</c:v>
                </c:pt>
                <c:pt idx="7096">
                  <c:v>7.3739999999999997</c:v>
                </c:pt>
                <c:pt idx="7097">
                  <c:v>7.3739999999999997</c:v>
                </c:pt>
                <c:pt idx="7098">
                  <c:v>7.3739999999999997</c:v>
                </c:pt>
                <c:pt idx="7099">
                  <c:v>7.3730000000000002</c:v>
                </c:pt>
                <c:pt idx="7100">
                  <c:v>7.3730000000000002</c:v>
                </c:pt>
                <c:pt idx="7101">
                  <c:v>7.3739999999999997</c:v>
                </c:pt>
                <c:pt idx="7102">
                  <c:v>7.3730000000000002</c:v>
                </c:pt>
                <c:pt idx="7103">
                  <c:v>7.3730000000000002</c:v>
                </c:pt>
                <c:pt idx="7104">
                  <c:v>7.3739999999999997</c:v>
                </c:pt>
                <c:pt idx="7105">
                  <c:v>7.3739999999999997</c:v>
                </c:pt>
                <c:pt idx="7106">
                  <c:v>7.3730000000000002</c:v>
                </c:pt>
                <c:pt idx="7107">
                  <c:v>7.3730000000000002</c:v>
                </c:pt>
                <c:pt idx="7108">
                  <c:v>7.3739999999999997</c:v>
                </c:pt>
                <c:pt idx="7109">
                  <c:v>7.3730000000000002</c:v>
                </c:pt>
                <c:pt idx="7110">
                  <c:v>7.3730000000000002</c:v>
                </c:pt>
                <c:pt idx="7111">
                  <c:v>7.3730000000000002</c:v>
                </c:pt>
                <c:pt idx="7112">
                  <c:v>7.3739999999999997</c:v>
                </c:pt>
                <c:pt idx="7113">
                  <c:v>7.3730000000000002</c:v>
                </c:pt>
                <c:pt idx="7114">
                  <c:v>7.3730000000000002</c:v>
                </c:pt>
                <c:pt idx="7115">
                  <c:v>7.3730000000000002</c:v>
                </c:pt>
                <c:pt idx="7116">
                  <c:v>7.3719999999999999</c:v>
                </c:pt>
                <c:pt idx="7117">
                  <c:v>7.3730000000000002</c:v>
                </c:pt>
                <c:pt idx="7118">
                  <c:v>7.3719999999999999</c:v>
                </c:pt>
                <c:pt idx="7119">
                  <c:v>7.3730000000000002</c:v>
                </c:pt>
                <c:pt idx="7120">
                  <c:v>7.3730000000000002</c:v>
                </c:pt>
                <c:pt idx="7121">
                  <c:v>7.3730000000000002</c:v>
                </c:pt>
                <c:pt idx="7122">
                  <c:v>7.3719999999999999</c:v>
                </c:pt>
                <c:pt idx="7123">
                  <c:v>7.3730000000000002</c:v>
                </c:pt>
                <c:pt idx="7124">
                  <c:v>7.3719999999999999</c:v>
                </c:pt>
                <c:pt idx="7125">
                  <c:v>7.3730000000000002</c:v>
                </c:pt>
                <c:pt idx="7126">
                  <c:v>7.3719999999999999</c:v>
                </c:pt>
                <c:pt idx="7127">
                  <c:v>7.3719999999999999</c:v>
                </c:pt>
                <c:pt idx="7128">
                  <c:v>7.3719999999999999</c:v>
                </c:pt>
                <c:pt idx="7129">
                  <c:v>7.3719999999999999</c:v>
                </c:pt>
                <c:pt idx="7130">
                  <c:v>7.3719999999999999</c:v>
                </c:pt>
                <c:pt idx="7131">
                  <c:v>7.3719999999999999</c:v>
                </c:pt>
                <c:pt idx="7132">
                  <c:v>7.3719999999999999</c:v>
                </c:pt>
                <c:pt idx="7133">
                  <c:v>7.3719999999999999</c:v>
                </c:pt>
                <c:pt idx="7134">
                  <c:v>7.3719999999999999</c:v>
                </c:pt>
                <c:pt idx="7135">
                  <c:v>7.3719999999999999</c:v>
                </c:pt>
                <c:pt idx="7136">
                  <c:v>7.3719999999999999</c:v>
                </c:pt>
                <c:pt idx="7137">
                  <c:v>7.3730000000000002</c:v>
                </c:pt>
                <c:pt idx="7138">
                  <c:v>7.3719999999999999</c:v>
                </c:pt>
                <c:pt idx="7139">
                  <c:v>7.3719999999999999</c:v>
                </c:pt>
                <c:pt idx="7140">
                  <c:v>7.3719999999999999</c:v>
                </c:pt>
                <c:pt idx="7141">
                  <c:v>7.3719999999999999</c:v>
                </c:pt>
                <c:pt idx="7142">
                  <c:v>7.3719999999999999</c:v>
                </c:pt>
                <c:pt idx="7143">
                  <c:v>7.3710000000000004</c:v>
                </c:pt>
                <c:pt idx="7144">
                  <c:v>7.3710000000000004</c:v>
                </c:pt>
                <c:pt idx="7145">
                  <c:v>7.3719999999999999</c:v>
                </c:pt>
                <c:pt idx="7146">
                  <c:v>7.3710000000000004</c:v>
                </c:pt>
                <c:pt idx="7147">
                  <c:v>7.3719999999999999</c:v>
                </c:pt>
                <c:pt idx="7148">
                  <c:v>7.3710000000000004</c:v>
                </c:pt>
                <c:pt idx="7149">
                  <c:v>7.3719999999999999</c:v>
                </c:pt>
                <c:pt idx="7150">
                  <c:v>7.3719999999999999</c:v>
                </c:pt>
                <c:pt idx="7151">
                  <c:v>7.3710000000000004</c:v>
                </c:pt>
                <c:pt idx="7152">
                  <c:v>7.3710000000000004</c:v>
                </c:pt>
                <c:pt idx="7153">
                  <c:v>7.3710000000000004</c:v>
                </c:pt>
                <c:pt idx="7154">
                  <c:v>7.3710000000000004</c:v>
                </c:pt>
                <c:pt idx="7155">
                  <c:v>7.3710000000000004</c:v>
                </c:pt>
                <c:pt idx="7156">
                  <c:v>7.37</c:v>
                </c:pt>
                <c:pt idx="7157">
                  <c:v>7.3710000000000004</c:v>
                </c:pt>
                <c:pt idx="7158">
                  <c:v>7.3710000000000004</c:v>
                </c:pt>
                <c:pt idx="7159">
                  <c:v>7.3710000000000004</c:v>
                </c:pt>
                <c:pt idx="7160">
                  <c:v>7.3710000000000004</c:v>
                </c:pt>
                <c:pt idx="7161">
                  <c:v>7.3710000000000004</c:v>
                </c:pt>
                <c:pt idx="7162">
                  <c:v>7.3710000000000004</c:v>
                </c:pt>
                <c:pt idx="7163">
                  <c:v>7.3710000000000004</c:v>
                </c:pt>
                <c:pt idx="7164">
                  <c:v>7.3710000000000004</c:v>
                </c:pt>
                <c:pt idx="7165">
                  <c:v>7.37</c:v>
                </c:pt>
                <c:pt idx="7166">
                  <c:v>7.37</c:v>
                </c:pt>
                <c:pt idx="7167">
                  <c:v>7.3710000000000004</c:v>
                </c:pt>
                <c:pt idx="7168">
                  <c:v>7.3710000000000004</c:v>
                </c:pt>
                <c:pt idx="7169">
                  <c:v>7.3710000000000004</c:v>
                </c:pt>
                <c:pt idx="7170">
                  <c:v>7.3710000000000004</c:v>
                </c:pt>
                <c:pt idx="7171">
                  <c:v>7.3710000000000004</c:v>
                </c:pt>
                <c:pt idx="7172">
                  <c:v>7.3710000000000004</c:v>
                </c:pt>
                <c:pt idx="7173">
                  <c:v>7.37</c:v>
                </c:pt>
                <c:pt idx="7174">
                  <c:v>7.37</c:v>
                </c:pt>
                <c:pt idx="7175">
                  <c:v>7.3710000000000004</c:v>
                </c:pt>
                <c:pt idx="7176">
                  <c:v>7.37</c:v>
                </c:pt>
                <c:pt idx="7177">
                  <c:v>7.37</c:v>
                </c:pt>
                <c:pt idx="7178">
                  <c:v>7.37</c:v>
                </c:pt>
                <c:pt idx="7179">
                  <c:v>7.37</c:v>
                </c:pt>
                <c:pt idx="7180">
                  <c:v>7.37</c:v>
                </c:pt>
                <c:pt idx="7181">
                  <c:v>7.37</c:v>
                </c:pt>
                <c:pt idx="7182">
                  <c:v>7.37</c:v>
                </c:pt>
                <c:pt idx="7183">
                  <c:v>7.37</c:v>
                </c:pt>
                <c:pt idx="7184">
                  <c:v>7.37</c:v>
                </c:pt>
                <c:pt idx="7185">
                  <c:v>7.3689999999999998</c:v>
                </c:pt>
                <c:pt idx="7186">
                  <c:v>7.3689999999999998</c:v>
                </c:pt>
                <c:pt idx="7187">
                  <c:v>7.37</c:v>
                </c:pt>
                <c:pt idx="7188">
                  <c:v>7.3689999999999998</c:v>
                </c:pt>
                <c:pt idx="7189">
                  <c:v>7.37</c:v>
                </c:pt>
                <c:pt idx="7190">
                  <c:v>7.3689999999999998</c:v>
                </c:pt>
                <c:pt idx="7191">
                  <c:v>7.37</c:v>
                </c:pt>
                <c:pt idx="7192">
                  <c:v>7.3689999999999998</c:v>
                </c:pt>
                <c:pt idx="7193">
                  <c:v>7.3689999999999998</c:v>
                </c:pt>
                <c:pt idx="7194">
                  <c:v>7.3689999999999998</c:v>
                </c:pt>
                <c:pt idx="7195">
                  <c:v>7.37</c:v>
                </c:pt>
                <c:pt idx="7196">
                  <c:v>7.3689999999999998</c:v>
                </c:pt>
                <c:pt idx="7197">
                  <c:v>7.37</c:v>
                </c:pt>
                <c:pt idx="7198">
                  <c:v>7.37</c:v>
                </c:pt>
                <c:pt idx="7199">
                  <c:v>7.3689999999999998</c:v>
                </c:pt>
                <c:pt idx="7200">
                  <c:v>7.37</c:v>
                </c:pt>
                <c:pt idx="7201">
                  <c:v>7.37</c:v>
                </c:pt>
                <c:pt idx="7202">
                  <c:v>7.37</c:v>
                </c:pt>
                <c:pt idx="7203">
                  <c:v>7.3689999999999998</c:v>
                </c:pt>
                <c:pt idx="7204">
                  <c:v>7.3689999999999998</c:v>
                </c:pt>
                <c:pt idx="7205">
                  <c:v>7.3689999999999998</c:v>
                </c:pt>
                <c:pt idx="7206">
                  <c:v>7.3689999999999998</c:v>
                </c:pt>
                <c:pt idx="7207">
                  <c:v>7.3689999999999998</c:v>
                </c:pt>
                <c:pt idx="7208">
                  <c:v>7.3689999999999998</c:v>
                </c:pt>
                <c:pt idx="7209">
                  <c:v>7.3689999999999998</c:v>
                </c:pt>
                <c:pt idx="7210">
                  <c:v>7.3689999999999998</c:v>
                </c:pt>
                <c:pt idx="7211">
                  <c:v>7.3689999999999998</c:v>
                </c:pt>
                <c:pt idx="7212">
                  <c:v>7.3689999999999998</c:v>
                </c:pt>
                <c:pt idx="7213">
                  <c:v>7.37</c:v>
                </c:pt>
                <c:pt idx="7214">
                  <c:v>7.3689999999999998</c:v>
                </c:pt>
                <c:pt idx="7215">
                  <c:v>7.3680000000000003</c:v>
                </c:pt>
                <c:pt idx="7216">
                  <c:v>7.3689999999999998</c:v>
                </c:pt>
                <c:pt idx="7217">
                  <c:v>7.3680000000000003</c:v>
                </c:pt>
                <c:pt idx="7218">
                  <c:v>7.3689999999999998</c:v>
                </c:pt>
                <c:pt idx="7219">
                  <c:v>7.3689999999999998</c:v>
                </c:pt>
                <c:pt idx="7220">
                  <c:v>7.3680000000000003</c:v>
                </c:pt>
                <c:pt idx="7221">
                  <c:v>7.3680000000000003</c:v>
                </c:pt>
                <c:pt idx="7222">
                  <c:v>7.3689999999999998</c:v>
                </c:pt>
                <c:pt idx="7223">
                  <c:v>7.3680000000000003</c:v>
                </c:pt>
                <c:pt idx="7224">
                  <c:v>7.3680000000000003</c:v>
                </c:pt>
                <c:pt idx="7225">
                  <c:v>7.3680000000000003</c:v>
                </c:pt>
                <c:pt idx="7226">
                  <c:v>7.3680000000000003</c:v>
                </c:pt>
                <c:pt idx="7227">
                  <c:v>7.3680000000000003</c:v>
                </c:pt>
                <c:pt idx="7228">
                  <c:v>7.3680000000000003</c:v>
                </c:pt>
                <c:pt idx="7229">
                  <c:v>7.3680000000000003</c:v>
                </c:pt>
                <c:pt idx="7230">
                  <c:v>7.3680000000000003</c:v>
                </c:pt>
                <c:pt idx="7231">
                  <c:v>7.3680000000000003</c:v>
                </c:pt>
                <c:pt idx="7232">
                  <c:v>7.3680000000000003</c:v>
                </c:pt>
                <c:pt idx="7233">
                  <c:v>7.3680000000000003</c:v>
                </c:pt>
                <c:pt idx="7234">
                  <c:v>7.3680000000000003</c:v>
                </c:pt>
                <c:pt idx="7235">
                  <c:v>7.3680000000000003</c:v>
                </c:pt>
                <c:pt idx="7236">
                  <c:v>7.3680000000000003</c:v>
                </c:pt>
                <c:pt idx="7237">
                  <c:v>7.3680000000000003</c:v>
                </c:pt>
                <c:pt idx="7238">
                  <c:v>7.367</c:v>
                </c:pt>
                <c:pt idx="7239">
                  <c:v>7.3680000000000003</c:v>
                </c:pt>
                <c:pt idx="7240">
                  <c:v>7.3680000000000003</c:v>
                </c:pt>
                <c:pt idx="7241">
                  <c:v>7.3680000000000003</c:v>
                </c:pt>
                <c:pt idx="7242">
                  <c:v>7.3680000000000003</c:v>
                </c:pt>
                <c:pt idx="7243">
                  <c:v>7.3680000000000003</c:v>
                </c:pt>
                <c:pt idx="7244">
                  <c:v>7.367</c:v>
                </c:pt>
                <c:pt idx="7245">
                  <c:v>7.367</c:v>
                </c:pt>
                <c:pt idx="7246">
                  <c:v>7.367</c:v>
                </c:pt>
                <c:pt idx="7247">
                  <c:v>7.367</c:v>
                </c:pt>
                <c:pt idx="7248">
                  <c:v>7.367</c:v>
                </c:pt>
                <c:pt idx="7249">
                  <c:v>7.3680000000000003</c:v>
                </c:pt>
                <c:pt idx="7250">
                  <c:v>7.3680000000000003</c:v>
                </c:pt>
                <c:pt idx="7251">
                  <c:v>7.367</c:v>
                </c:pt>
                <c:pt idx="7252">
                  <c:v>7.367</c:v>
                </c:pt>
                <c:pt idx="7253">
                  <c:v>7.367</c:v>
                </c:pt>
                <c:pt idx="7254">
                  <c:v>7.367</c:v>
                </c:pt>
                <c:pt idx="7255">
                  <c:v>7.3680000000000003</c:v>
                </c:pt>
                <c:pt idx="7256">
                  <c:v>7.367</c:v>
                </c:pt>
                <c:pt idx="7257">
                  <c:v>7.367</c:v>
                </c:pt>
                <c:pt idx="7258">
                  <c:v>7.367</c:v>
                </c:pt>
                <c:pt idx="7259">
                  <c:v>7.367</c:v>
                </c:pt>
                <c:pt idx="7260">
                  <c:v>7.367</c:v>
                </c:pt>
                <c:pt idx="7261">
                  <c:v>7.367</c:v>
                </c:pt>
                <c:pt idx="7262">
                  <c:v>7.367</c:v>
                </c:pt>
                <c:pt idx="7263">
                  <c:v>7.367</c:v>
                </c:pt>
                <c:pt idx="7264">
                  <c:v>7.3659999999999997</c:v>
                </c:pt>
                <c:pt idx="7265">
                  <c:v>7.367</c:v>
                </c:pt>
                <c:pt idx="7266">
                  <c:v>7.3659999999999997</c:v>
                </c:pt>
                <c:pt idx="7267">
                  <c:v>7.367</c:v>
                </c:pt>
                <c:pt idx="7268">
                  <c:v>7.367</c:v>
                </c:pt>
                <c:pt idx="7269">
                  <c:v>7.367</c:v>
                </c:pt>
                <c:pt idx="7270">
                  <c:v>7.3659999999999997</c:v>
                </c:pt>
                <c:pt idx="7271">
                  <c:v>7.367</c:v>
                </c:pt>
                <c:pt idx="7272">
                  <c:v>7.367</c:v>
                </c:pt>
                <c:pt idx="7273">
                  <c:v>7.3659999999999997</c:v>
                </c:pt>
                <c:pt idx="7274">
                  <c:v>7.3659999999999997</c:v>
                </c:pt>
                <c:pt idx="7275">
                  <c:v>7.3659999999999997</c:v>
                </c:pt>
                <c:pt idx="7276">
                  <c:v>7.3659999999999997</c:v>
                </c:pt>
                <c:pt idx="7277">
                  <c:v>7.3659999999999997</c:v>
                </c:pt>
                <c:pt idx="7278">
                  <c:v>7.3659999999999997</c:v>
                </c:pt>
                <c:pt idx="7279">
                  <c:v>7.3659999999999997</c:v>
                </c:pt>
                <c:pt idx="7280">
                  <c:v>7.3659999999999997</c:v>
                </c:pt>
                <c:pt idx="7281">
                  <c:v>7.3659999999999997</c:v>
                </c:pt>
                <c:pt idx="7282">
                  <c:v>7.3659999999999997</c:v>
                </c:pt>
                <c:pt idx="7283">
                  <c:v>7.3659999999999997</c:v>
                </c:pt>
                <c:pt idx="7284">
                  <c:v>7.367</c:v>
                </c:pt>
                <c:pt idx="7285">
                  <c:v>7.3659999999999997</c:v>
                </c:pt>
                <c:pt idx="7286">
                  <c:v>7.3659999999999997</c:v>
                </c:pt>
                <c:pt idx="7287">
                  <c:v>7.3659999999999997</c:v>
                </c:pt>
                <c:pt idx="7288">
                  <c:v>7.3659999999999997</c:v>
                </c:pt>
                <c:pt idx="7289">
                  <c:v>7.3650000000000002</c:v>
                </c:pt>
                <c:pt idx="7290">
                  <c:v>7.367</c:v>
                </c:pt>
                <c:pt idx="7291">
                  <c:v>7.3659999999999997</c:v>
                </c:pt>
                <c:pt idx="7292">
                  <c:v>7.3659999999999997</c:v>
                </c:pt>
                <c:pt idx="7293">
                  <c:v>7.3659999999999997</c:v>
                </c:pt>
                <c:pt idx="7294">
                  <c:v>7.3659999999999997</c:v>
                </c:pt>
                <c:pt idx="7295">
                  <c:v>7.3659999999999997</c:v>
                </c:pt>
                <c:pt idx="7296">
                  <c:v>7.3659999999999997</c:v>
                </c:pt>
                <c:pt idx="7297">
                  <c:v>7.3659999999999997</c:v>
                </c:pt>
                <c:pt idx="7298">
                  <c:v>7.3659999999999997</c:v>
                </c:pt>
                <c:pt idx="7299">
                  <c:v>7.3659999999999997</c:v>
                </c:pt>
                <c:pt idx="7300">
                  <c:v>7.3659999999999997</c:v>
                </c:pt>
                <c:pt idx="7301">
                  <c:v>7.3650000000000002</c:v>
                </c:pt>
                <c:pt idx="7302">
                  <c:v>7.3650000000000002</c:v>
                </c:pt>
                <c:pt idx="7303">
                  <c:v>7.3659999999999997</c:v>
                </c:pt>
                <c:pt idx="7304">
                  <c:v>7.3650000000000002</c:v>
                </c:pt>
                <c:pt idx="7305">
                  <c:v>7.3650000000000002</c:v>
                </c:pt>
                <c:pt idx="7306">
                  <c:v>7.3650000000000002</c:v>
                </c:pt>
                <c:pt idx="7307">
                  <c:v>7.3650000000000002</c:v>
                </c:pt>
                <c:pt idx="7308">
                  <c:v>7.3650000000000002</c:v>
                </c:pt>
                <c:pt idx="7309">
                  <c:v>7.3650000000000002</c:v>
                </c:pt>
                <c:pt idx="7310">
                  <c:v>7.3650000000000002</c:v>
                </c:pt>
                <c:pt idx="7311">
                  <c:v>7.3659999999999997</c:v>
                </c:pt>
                <c:pt idx="7312">
                  <c:v>7.3650000000000002</c:v>
                </c:pt>
                <c:pt idx="7313">
                  <c:v>7.3659999999999997</c:v>
                </c:pt>
                <c:pt idx="7314">
                  <c:v>7.3650000000000002</c:v>
                </c:pt>
                <c:pt idx="7315">
                  <c:v>7.3650000000000002</c:v>
                </c:pt>
                <c:pt idx="7316">
                  <c:v>7.3650000000000002</c:v>
                </c:pt>
                <c:pt idx="7317">
                  <c:v>7.3639999999999999</c:v>
                </c:pt>
                <c:pt idx="7318">
                  <c:v>7.3639999999999999</c:v>
                </c:pt>
                <c:pt idx="7319">
                  <c:v>7.3650000000000002</c:v>
                </c:pt>
                <c:pt idx="7320">
                  <c:v>7.3639999999999999</c:v>
                </c:pt>
                <c:pt idx="7321">
                  <c:v>7.3659999999999997</c:v>
                </c:pt>
                <c:pt idx="7322">
                  <c:v>7.3639999999999999</c:v>
                </c:pt>
                <c:pt idx="7323">
                  <c:v>7.3639999999999999</c:v>
                </c:pt>
                <c:pt idx="7324">
                  <c:v>7.3639999999999999</c:v>
                </c:pt>
                <c:pt idx="7325">
                  <c:v>7.3639999999999999</c:v>
                </c:pt>
                <c:pt idx="7326">
                  <c:v>7.3639999999999999</c:v>
                </c:pt>
                <c:pt idx="7327">
                  <c:v>7.3639999999999999</c:v>
                </c:pt>
                <c:pt idx="7328">
                  <c:v>7.3639999999999999</c:v>
                </c:pt>
                <c:pt idx="7329">
                  <c:v>7.3650000000000002</c:v>
                </c:pt>
                <c:pt idx="7330">
                  <c:v>7.3639999999999999</c:v>
                </c:pt>
                <c:pt idx="7331">
                  <c:v>7.3639999999999999</c:v>
                </c:pt>
                <c:pt idx="7332">
                  <c:v>7.3639999999999999</c:v>
                </c:pt>
                <c:pt idx="7333">
                  <c:v>7.3639999999999999</c:v>
                </c:pt>
                <c:pt idx="7334">
                  <c:v>7.3630000000000004</c:v>
                </c:pt>
                <c:pt idx="7335">
                  <c:v>7.3639999999999999</c:v>
                </c:pt>
                <c:pt idx="7336">
                  <c:v>7.3639999999999999</c:v>
                </c:pt>
                <c:pt idx="7337">
                  <c:v>7.3639999999999999</c:v>
                </c:pt>
                <c:pt idx="7338">
                  <c:v>7.3650000000000002</c:v>
                </c:pt>
                <c:pt idx="7339">
                  <c:v>7.3639999999999999</c:v>
                </c:pt>
                <c:pt idx="7340">
                  <c:v>7.3639999999999999</c:v>
                </c:pt>
                <c:pt idx="7341">
                  <c:v>7.3639999999999999</c:v>
                </c:pt>
                <c:pt idx="7342">
                  <c:v>7.3639999999999999</c:v>
                </c:pt>
                <c:pt idx="7343">
                  <c:v>7.3639999999999999</c:v>
                </c:pt>
                <c:pt idx="7344">
                  <c:v>7.3639999999999999</c:v>
                </c:pt>
                <c:pt idx="7345">
                  <c:v>7.3639999999999999</c:v>
                </c:pt>
                <c:pt idx="7346">
                  <c:v>7.3639999999999999</c:v>
                </c:pt>
                <c:pt idx="7347">
                  <c:v>7.3639999999999999</c:v>
                </c:pt>
                <c:pt idx="7348">
                  <c:v>7.3639999999999999</c:v>
                </c:pt>
                <c:pt idx="7349">
                  <c:v>7.3639999999999999</c:v>
                </c:pt>
                <c:pt idx="7350">
                  <c:v>7.3639999999999999</c:v>
                </c:pt>
                <c:pt idx="7351">
                  <c:v>7.3639999999999999</c:v>
                </c:pt>
                <c:pt idx="7352">
                  <c:v>7.3630000000000004</c:v>
                </c:pt>
                <c:pt idx="7353">
                  <c:v>7.3630000000000004</c:v>
                </c:pt>
                <c:pt idx="7354">
                  <c:v>7.3630000000000004</c:v>
                </c:pt>
                <c:pt idx="7355">
                  <c:v>7.3639999999999999</c:v>
                </c:pt>
                <c:pt idx="7356">
                  <c:v>7.3630000000000004</c:v>
                </c:pt>
                <c:pt idx="7357">
                  <c:v>7.3639999999999999</c:v>
                </c:pt>
                <c:pt idx="7358">
                  <c:v>7.3630000000000004</c:v>
                </c:pt>
                <c:pt idx="7359">
                  <c:v>7.3639999999999999</c:v>
                </c:pt>
                <c:pt idx="7360">
                  <c:v>7.3639999999999999</c:v>
                </c:pt>
                <c:pt idx="7361">
                  <c:v>7.3639999999999999</c:v>
                </c:pt>
                <c:pt idx="7362">
                  <c:v>7.3639999999999999</c:v>
                </c:pt>
                <c:pt idx="7363">
                  <c:v>7.3639999999999999</c:v>
                </c:pt>
                <c:pt idx="7364">
                  <c:v>7.3630000000000004</c:v>
                </c:pt>
                <c:pt idx="7365">
                  <c:v>7.3639999999999999</c:v>
                </c:pt>
                <c:pt idx="7366">
                  <c:v>7.3630000000000004</c:v>
                </c:pt>
                <c:pt idx="7367">
                  <c:v>7.3630000000000004</c:v>
                </c:pt>
                <c:pt idx="7368">
                  <c:v>7.3630000000000004</c:v>
                </c:pt>
                <c:pt idx="7369">
                  <c:v>7.3630000000000004</c:v>
                </c:pt>
                <c:pt idx="7370">
                  <c:v>7.3630000000000004</c:v>
                </c:pt>
                <c:pt idx="7371">
                  <c:v>7.3630000000000004</c:v>
                </c:pt>
                <c:pt idx="7372">
                  <c:v>7.3630000000000004</c:v>
                </c:pt>
                <c:pt idx="7373">
                  <c:v>7.3630000000000004</c:v>
                </c:pt>
                <c:pt idx="7374">
                  <c:v>7.3630000000000004</c:v>
                </c:pt>
                <c:pt idx="7375">
                  <c:v>7.3630000000000004</c:v>
                </c:pt>
                <c:pt idx="7376">
                  <c:v>7.3630000000000004</c:v>
                </c:pt>
                <c:pt idx="7377">
                  <c:v>7.3630000000000004</c:v>
                </c:pt>
                <c:pt idx="7378">
                  <c:v>7.3630000000000004</c:v>
                </c:pt>
                <c:pt idx="7379">
                  <c:v>7.3630000000000004</c:v>
                </c:pt>
                <c:pt idx="7380">
                  <c:v>7.3630000000000004</c:v>
                </c:pt>
                <c:pt idx="7381">
                  <c:v>7.3630000000000004</c:v>
                </c:pt>
                <c:pt idx="7382">
                  <c:v>7.3620000000000001</c:v>
                </c:pt>
                <c:pt idx="7383">
                  <c:v>7.3630000000000004</c:v>
                </c:pt>
                <c:pt idx="7384">
                  <c:v>7.3630000000000004</c:v>
                </c:pt>
                <c:pt idx="7385">
                  <c:v>7.3630000000000004</c:v>
                </c:pt>
                <c:pt idx="7386">
                  <c:v>7.3630000000000004</c:v>
                </c:pt>
                <c:pt idx="7387">
                  <c:v>7.3630000000000004</c:v>
                </c:pt>
                <c:pt idx="7388">
                  <c:v>7.3620000000000001</c:v>
                </c:pt>
                <c:pt idx="7389">
                  <c:v>7.3630000000000004</c:v>
                </c:pt>
                <c:pt idx="7390">
                  <c:v>7.3620000000000001</c:v>
                </c:pt>
                <c:pt idx="7391">
                  <c:v>7.3620000000000001</c:v>
                </c:pt>
                <c:pt idx="7392">
                  <c:v>7.3630000000000004</c:v>
                </c:pt>
                <c:pt idx="7393">
                  <c:v>7.3620000000000001</c:v>
                </c:pt>
                <c:pt idx="7394">
                  <c:v>7.3630000000000004</c:v>
                </c:pt>
                <c:pt idx="7395">
                  <c:v>7.3620000000000001</c:v>
                </c:pt>
                <c:pt idx="7396">
                  <c:v>7.3620000000000001</c:v>
                </c:pt>
                <c:pt idx="7397">
                  <c:v>7.3620000000000001</c:v>
                </c:pt>
                <c:pt idx="7398">
                  <c:v>7.3620000000000001</c:v>
                </c:pt>
                <c:pt idx="7399">
                  <c:v>7.3620000000000001</c:v>
                </c:pt>
                <c:pt idx="7400">
                  <c:v>7.3620000000000001</c:v>
                </c:pt>
                <c:pt idx="7401">
                  <c:v>7.3630000000000004</c:v>
                </c:pt>
                <c:pt idx="7402">
                  <c:v>7.3620000000000001</c:v>
                </c:pt>
                <c:pt idx="7403">
                  <c:v>7.3630000000000004</c:v>
                </c:pt>
                <c:pt idx="7404">
                  <c:v>7.3620000000000001</c:v>
                </c:pt>
                <c:pt idx="7405">
                  <c:v>7.3620000000000001</c:v>
                </c:pt>
                <c:pt idx="7406">
                  <c:v>7.3620000000000001</c:v>
                </c:pt>
                <c:pt idx="7407">
                  <c:v>7.3630000000000004</c:v>
                </c:pt>
                <c:pt idx="7408">
                  <c:v>7.3620000000000001</c:v>
                </c:pt>
                <c:pt idx="7409">
                  <c:v>7.3620000000000001</c:v>
                </c:pt>
                <c:pt idx="7410">
                  <c:v>7.3620000000000001</c:v>
                </c:pt>
                <c:pt idx="7411">
                  <c:v>7.3620000000000001</c:v>
                </c:pt>
                <c:pt idx="7412">
                  <c:v>7.3620000000000001</c:v>
                </c:pt>
                <c:pt idx="7413">
                  <c:v>7.3620000000000001</c:v>
                </c:pt>
                <c:pt idx="7414">
                  <c:v>7.3620000000000001</c:v>
                </c:pt>
                <c:pt idx="7415">
                  <c:v>7.3620000000000001</c:v>
                </c:pt>
                <c:pt idx="7416">
                  <c:v>7.3620000000000001</c:v>
                </c:pt>
                <c:pt idx="7417">
                  <c:v>7.3620000000000001</c:v>
                </c:pt>
                <c:pt idx="7418">
                  <c:v>7.3609999999999998</c:v>
                </c:pt>
                <c:pt idx="7419">
                  <c:v>7.3609999999999998</c:v>
                </c:pt>
                <c:pt idx="7420">
                  <c:v>7.3609999999999998</c:v>
                </c:pt>
                <c:pt idx="7421">
                  <c:v>7.3620000000000001</c:v>
                </c:pt>
                <c:pt idx="7422">
                  <c:v>7.3620000000000001</c:v>
                </c:pt>
                <c:pt idx="7423">
                  <c:v>7.3620000000000001</c:v>
                </c:pt>
                <c:pt idx="7424">
                  <c:v>7.3620000000000001</c:v>
                </c:pt>
                <c:pt idx="7425">
                  <c:v>7.3609999999999998</c:v>
                </c:pt>
                <c:pt idx="7426">
                  <c:v>7.3609999999999998</c:v>
                </c:pt>
                <c:pt idx="7427">
                  <c:v>7.3609999999999998</c:v>
                </c:pt>
                <c:pt idx="7428">
                  <c:v>7.3609999999999998</c:v>
                </c:pt>
                <c:pt idx="7429">
                  <c:v>7.3609999999999998</c:v>
                </c:pt>
                <c:pt idx="7430">
                  <c:v>7.3620000000000001</c:v>
                </c:pt>
                <c:pt idx="7431">
                  <c:v>7.3609999999999998</c:v>
                </c:pt>
                <c:pt idx="7432">
                  <c:v>7.3620000000000001</c:v>
                </c:pt>
                <c:pt idx="7433">
                  <c:v>7.3609999999999998</c:v>
                </c:pt>
                <c:pt idx="7434">
                  <c:v>7.3609999999999998</c:v>
                </c:pt>
                <c:pt idx="7435">
                  <c:v>7.3609999999999998</c:v>
                </c:pt>
                <c:pt idx="7436">
                  <c:v>7.36</c:v>
                </c:pt>
                <c:pt idx="7437">
                  <c:v>7.3609999999999998</c:v>
                </c:pt>
                <c:pt idx="7438">
                  <c:v>7.3609999999999998</c:v>
                </c:pt>
                <c:pt idx="7439">
                  <c:v>7.36</c:v>
                </c:pt>
                <c:pt idx="7440">
                  <c:v>7.36</c:v>
                </c:pt>
                <c:pt idx="7441">
                  <c:v>7.3609999999999998</c:v>
                </c:pt>
                <c:pt idx="7442">
                  <c:v>7.3609999999999998</c:v>
                </c:pt>
                <c:pt idx="7443">
                  <c:v>7.3609999999999998</c:v>
                </c:pt>
                <c:pt idx="7444">
                  <c:v>7.36</c:v>
                </c:pt>
                <c:pt idx="7445">
                  <c:v>7.3609999999999998</c:v>
                </c:pt>
                <c:pt idx="7446">
                  <c:v>7.3609999999999998</c:v>
                </c:pt>
                <c:pt idx="7447">
                  <c:v>7.3609999999999998</c:v>
                </c:pt>
                <c:pt idx="7448">
                  <c:v>7.3609999999999998</c:v>
                </c:pt>
                <c:pt idx="7449">
                  <c:v>7.3609999999999998</c:v>
                </c:pt>
                <c:pt idx="7450">
                  <c:v>7.3609999999999998</c:v>
                </c:pt>
                <c:pt idx="7451">
                  <c:v>7.3609999999999998</c:v>
                </c:pt>
                <c:pt idx="7452">
                  <c:v>7.36</c:v>
                </c:pt>
                <c:pt idx="7453">
                  <c:v>7.3609999999999998</c:v>
                </c:pt>
                <c:pt idx="7454">
                  <c:v>7.36</c:v>
                </c:pt>
                <c:pt idx="7455">
                  <c:v>7.36</c:v>
                </c:pt>
                <c:pt idx="7456">
                  <c:v>7.36</c:v>
                </c:pt>
                <c:pt idx="7457">
                  <c:v>7.36</c:v>
                </c:pt>
                <c:pt idx="7458">
                  <c:v>7.36</c:v>
                </c:pt>
                <c:pt idx="7459">
                  <c:v>7.36</c:v>
                </c:pt>
                <c:pt idx="7460">
                  <c:v>7.36</c:v>
                </c:pt>
                <c:pt idx="7461">
                  <c:v>7.36</c:v>
                </c:pt>
                <c:pt idx="7462">
                  <c:v>7.36</c:v>
                </c:pt>
                <c:pt idx="7463">
                  <c:v>7.36</c:v>
                </c:pt>
                <c:pt idx="7464">
                  <c:v>7.36</c:v>
                </c:pt>
                <c:pt idx="7465">
                  <c:v>7.36</c:v>
                </c:pt>
                <c:pt idx="7466">
                  <c:v>7.36</c:v>
                </c:pt>
                <c:pt idx="7467">
                  <c:v>7.36</c:v>
                </c:pt>
                <c:pt idx="7468">
                  <c:v>7.359</c:v>
                </c:pt>
                <c:pt idx="7469">
                  <c:v>7.36</c:v>
                </c:pt>
                <c:pt idx="7470">
                  <c:v>7.36</c:v>
                </c:pt>
                <c:pt idx="7471">
                  <c:v>7.359</c:v>
                </c:pt>
                <c:pt idx="7472">
                  <c:v>7.3609999999999998</c:v>
                </c:pt>
                <c:pt idx="7473">
                  <c:v>7.36</c:v>
                </c:pt>
                <c:pt idx="7474">
                  <c:v>7.36</c:v>
                </c:pt>
                <c:pt idx="7475">
                  <c:v>7.359</c:v>
                </c:pt>
                <c:pt idx="7476">
                  <c:v>7.36</c:v>
                </c:pt>
                <c:pt idx="7477">
                  <c:v>7.359</c:v>
                </c:pt>
                <c:pt idx="7478">
                  <c:v>7.36</c:v>
                </c:pt>
                <c:pt idx="7479">
                  <c:v>7.36</c:v>
                </c:pt>
                <c:pt idx="7480">
                  <c:v>7.359</c:v>
                </c:pt>
                <c:pt idx="7481">
                  <c:v>7.359</c:v>
                </c:pt>
                <c:pt idx="7482">
                  <c:v>7.359</c:v>
                </c:pt>
                <c:pt idx="7483">
                  <c:v>7.36</c:v>
                </c:pt>
                <c:pt idx="7484">
                  <c:v>7.359</c:v>
                </c:pt>
                <c:pt idx="7485">
                  <c:v>7.36</c:v>
                </c:pt>
                <c:pt idx="7486">
                  <c:v>7.359</c:v>
                </c:pt>
                <c:pt idx="7487">
                  <c:v>7.359</c:v>
                </c:pt>
                <c:pt idx="7488">
                  <c:v>7.359</c:v>
                </c:pt>
                <c:pt idx="7489">
                  <c:v>7.359</c:v>
                </c:pt>
                <c:pt idx="7490">
                  <c:v>7.359</c:v>
                </c:pt>
                <c:pt idx="7491">
                  <c:v>7.359</c:v>
                </c:pt>
                <c:pt idx="7492">
                  <c:v>7.3579999999999997</c:v>
                </c:pt>
                <c:pt idx="7493">
                  <c:v>7.3579999999999997</c:v>
                </c:pt>
                <c:pt idx="7494">
                  <c:v>7.36</c:v>
                </c:pt>
                <c:pt idx="7495">
                  <c:v>7.359</c:v>
                </c:pt>
                <c:pt idx="7496">
                  <c:v>7.359</c:v>
                </c:pt>
                <c:pt idx="7497">
                  <c:v>7.3579999999999997</c:v>
                </c:pt>
                <c:pt idx="7498">
                  <c:v>7.3579999999999997</c:v>
                </c:pt>
                <c:pt idx="7499">
                  <c:v>7.359</c:v>
                </c:pt>
                <c:pt idx="7500">
                  <c:v>7.359</c:v>
                </c:pt>
                <c:pt idx="7501">
                  <c:v>7.359</c:v>
                </c:pt>
                <c:pt idx="7502">
                  <c:v>7.3579999999999997</c:v>
                </c:pt>
                <c:pt idx="7503">
                  <c:v>7.359</c:v>
                </c:pt>
                <c:pt idx="7504">
                  <c:v>7.3579999999999997</c:v>
                </c:pt>
                <c:pt idx="7505">
                  <c:v>7.3579999999999997</c:v>
                </c:pt>
                <c:pt idx="7506">
                  <c:v>7.3579999999999997</c:v>
                </c:pt>
                <c:pt idx="7507">
                  <c:v>7.3579999999999997</c:v>
                </c:pt>
                <c:pt idx="7508">
                  <c:v>7.3579999999999997</c:v>
                </c:pt>
                <c:pt idx="7509">
                  <c:v>7.3579999999999997</c:v>
                </c:pt>
                <c:pt idx="7510">
                  <c:v>7.3579999999999997</c:v>
                </c:pt>
                <c:pt idx="7511">
                  <c:v>7.3579999999999997</c:v>
                </c:pt>
                <c:pt idx="7512">
                  <c:v>7.3579999999999997</c:v>
                </c:pt>
                <c:pt idx="7513">
                  <c:v>7.3579999999999997</c:v>
                </c:pt>
                <c:pt idx="7514">
                  <c:v>7.3579999999999997</c:v>
                </c:pt>
                <c:pt idx="7515">
                  <c:v>7.359</c:v>
                </c:pt>
                <c:pt idx="7516">
                  <c:v>7.3579999999999997</c:v>
                </c:pt>
                <c:pt idx="7517">
                  <c:v>7.3570000000000002</c:v>
                </c:pt>
                <c:pt idx="7518">
                  <c:v>7.3579999999999997</c:v>
                </c:pt>
                <c:pt idx="7519">
                  <c:v>7.3579999999999997</c:v>
                </c:pt>
                <c:pt idx="7520">
                  <c:v>7.3579999999999997</c:v>
                </c:pt>
                <c:pt idx="7521">
                  <c:v>7.3579999999999997</c:v>
                </c:pt>
                <c:pt idx="7522">
                  <c:v>7.3579999999999997</c:v>
                </c:pt>
                <c:pt idx="7523">
                  <c:v>7.3579999999999997</c:v>
                </c:pt>
                <c:pt idx="7524">
                  <c:v>7.3570000000000002</c:v>
                </c:pt>
                <c:pt idx="7525">
                  <c:v>7.3570000000000002</c:v>
                </c:pt>
                <c:pt idx="7526">
                  <c:v>7.3570000000000002</c:v>
                </c:pt>
                <c:pt idx="7527">
                  <c:v>7.3570000000000002</c:v>
                </c:pt>
                <c:pt idx="7528">
                  <c:v>7.359</c:v>
                </c:pt>
                <c:pt idx="7529">
                  <c:v>7.3579999999999997</c:v>
                </c:pt>
                <c:pt idx="7530">
                  <c:v>7.3570000000000002</c:v>
                </c:pt>
                <c:pt idx="7531">
                  <c:v>7.3570000000000002</c:v>
                </c:pt>
                <c:pt idx="7532">
                  <c:v>7.3570000000000002</c:v>
                </c:pt>
                <c:pt idx="7533">
                  <c:v>7.3570000000000002</c:v>
                </c:pt>
                <c:pt idx="7534">
                  <c:v>7.3570000000000002</c:v>
                </c:pt>
                <c:pt idx="7535">
                  <c:v>7.3570000000000002</c:v>
                </c:pt>
                <c:pt idx="7536">
                  <c:v>7.3579999999999997</c:v>
                </c:pt>
                <c:pt idx="7537">
                  <c:v>7.3570000000000002</c:v>
                </c:pt>
                <c:pt idx="7538">
                  <c:v>7.3579999999999997</c:v>
                </c:pt>
                <c:pt idx="7539">
                  <c:v>7.3570000000000002</c:v>
                </c:pt>
                <c:pt idx="7540">
                  <c:v>7.3570000000000002</c:v>
                </c:pt>
                <c:pt idx="7541">
                  <c:v>7.3570000000000002</c:v>
                </c:pt>
                <c:pt idx="7542">
                  <c:v>7.3570000000000002</c:v>
                </c:pt>
                <c:pt idx="7543">
                  <c:v>7.3570000000000002</c:v>
                </c:pt>
                <c:pt idx="7544">
                  <c:v>7.3579999999999997</c:v>
                </c:pt>
                <c:pt idx="7545">
                  <c:v>7.3559999999999999</c:v>
                </c:pt>
                <c:pt idx="7546">
                  <c:v>7.3570000000000002</c:v>
                </c:pt>
                <c:pt idx="7547">
                  <c:v>7.3559999999999999</c:v>
                </c:pt>
                <c:pt idx="7548">
                  <c:v>7.3570000000000002</c:v>
                </c:pt>
                <c:pt idx="7549">
                  <c:v>7.3570000000000002</c:v>
                </c:pt>
                <c:pt idx="7550">
                  <c:v>7.3559999999999999</c:v>
                </c:pt>
                <c:pt idx="7551">
                  <c:v>7.3559999999999999</c:v>
                </c:pt>
                <c:pt idx="7552">
                  <c:v>7.3570000000000002</c:v>
                </c:pt>
                <c:pt idx="7553">
                  <c:v>7.3570000000000002</c:v>
                </c:pt>
                <c:pt idx="7554">
                  <c:v>7.3559999999999999</c:v>
                </c:pt>
                <c:pt idx="7555">
                  <c:v>7.3559999999999999</c:v>
                </c:pt>
                <c:pt idx="7556">
                  <c:v>7.3570000000000002</c:v>
                </c:pt>
                <c:pt idx="7557">
                  <c:v>7.3559999999999999</c:v>
                </c:pt>
                <c:pt idx="7558">
                  <c:v>7.3550000000000004</c:v>
                </c:pt>
                <c:pt idx="7559">
                  <c:v>7.3559999999999999</c:v>
                </c:pt>
                <c:pt idx="7560">
                  <c:v>7.3559999999999999</c:v>
                </c:pt>
                <c:pt idx="7561">
                  <c:v>7.3559999999999999</c:v>
                </c:pt>
                <c:pt idx="7562">
                  <c:v>7.3570000000000002</c:v>
                </c:pt>
                <c:pt idx="7563">
                  <c:v>7.3559999999999999</c:v>
                </c:pt>
                <c:pt idx="7564">
                  <c:v>7.3559999999999999</c:v>
                </c:pt>
                <c:pt idx="7565">
                  <c:v>7.3550000000000004</c:v>
                </c:pt>
                <c:pt idx="7566">
                  <c:v>7.3559999999999999</c:v>
                </c:pt>
                <c:pt idx="7567">
                  <c:v>7.3559999999999999</c:v>
                </c:pt>
                <c:pt idx="7568">
                  <c:v>7.3559999999999999</c:v>
                </c:pt>
                <c:pt idx="7569">
                  <c:v>7.3559999999999999</c:v>
                </c:pt>
                <c:pt idx="7570">
                  <c:v>7.3550000000000004</c:v>
                </c:pt>
                <c:pt idx="7571">
                  <c:v>7.3559999999999999</c:v>
                </c:pt>
                <c:pt idx="7572">
                  <c:v>7.3559999999999999</c:v>
                </c:pt>
                <c:pt idx="7573">
                  <c:v>7.3550000000000004</c:v>
                </c:pt>
                <c:pt idx="7574">
                  <c:v>7.3550000000000004</c:v>
                </c:pt>
                <c:pt idx="7575">
                  <c:v>7.3559999999999999</c:v>
                </c:pt>
                <c:pt idx="7576">
                  <c:v>7.3550000000000004</c:v>
                </c:pt>
                <c:pt idx="7577">
                  <c:v>7.3550000000000004</c:v>
                </c:pt>
                <c:pt idx="7578">
                  <c:v>7.3559999999999999</c:v>
                </c:pt>
                <c:pt idx="7579">
                  <c:v>7.3550000000000004</c:v>
                </c:pt>
                <c:pt idx="7580">
                  <c:v>7.3550000000000004</c:v>
                </c:pt>
                <c:pt idx="7581">
                  <c:v>7.3550000000000004</c:v>
                </c:pt>
                <c:pt idx="7582">
                  <c:v>7.3550000000000004</c:v>
                </c:pt>
                <c:pt idx="7583">
                  <c:v>7.3550000000000004</c:v>
                </c:pt>
                <c:pt idx="7584">
                  <c:v>7.3550000000000004</c:v>
                </c:pt>
                <c:pt idx="7585">
                  <c:v>7.3559999999999999</c:v>
                </c:pt>
                <c:pt idx="7586">
                  <c:v>7.3550000000000004</c:v>
                </c:pt>
                <c:pt idx="7587">
                  <c:v>7.3550000000000004</c:v>
                </c:pt>
                <c:pt idx="7588">
                  <c:v>7.3550000000000004</c:v>
                </c:pt>
                <c:pt idx="7589">
                  <c:v>7.3540000000000001</c:v>
                </c:pt>
                <c:pt idx="7590">
                  <c:v>7.3550000000000004</c:v>
                </c:pt>
                <c:pt idx="7591">
                  <c:v>7.3550000000000004</c:v>
                </c:pt>
                <c:pt idx="7592">
                  <c:v>7.3550000000000004</c:v>
                </c:pt>
                <c:pt idx="7593">
                  <c:v>7.3550000000000004</c:v>
                </c:pt>
                <c:pt idx="7594">
                  <c:v>7.3550000000000004</c:v>
                </c:pt>
                <c:pt idx="7595">
                  <c:v>7.3540000000000001</c:v>
                </c:pt>
                <c:pt idx="7596">
                  <c:v>7.3540000000000001</c:v>
                </c:pt>
                <c:pt idx="7597">
                  <c:v>7.3540000000000001</c:v>
                </c:pt>
                <c:pt idx="7598">
                  <c:v>7.3540000000000001</c:v>
                </c:pt>
                <c:pt idx="7599">
                  <c:v>7.3550000000000004</c:v>
                </c:pt>
                <c:pt idx="7600">
                  <c:v>7.3540000000000001</c:v>
                </c:pt>
                <c:pt idx="7601">
                  <c:v>7.3540000000000001</c:v>
                </c:pt>
                <c:pt idx="7602">
                  <c:v>7.3540000000000001</c:v>
                </c:pt>
                <c:pt idx="7603">
                  <c:v>7.3540000000000001</c:v>
                </c:pt>
                <c:pt idx="7604">
                  <c:v>7.3550000000000004</c:v>
                </c:pt>
                <c:pt idx="7605">
                  <c:v>7.3529999999999998</c:v>
                </c:pt>
                <c:pt idx="7606">
                  <c:v>7.3540000000000001</c:v>
                </c:pt>
                <c:pt idx="7607">
                  <c:v>7.3540000000000001</c:v>
                </c:pt>
                <c:pt idx="7608">
                  <c:v>7.3540000000000001</c:v>
                </c:pt>
                <c:pt idx="7609">
                  <c:v>7.3550000000000004</c:v>
                </c:pt>
                <c:pt idx="7610">
                  <c:v>7.3540000000000001</c:v>
                </c:pt>
                <c:pt idx="7611">
                  <c:v>7.3540000000000001</c:v>
                </c:pt>
                <c:pt idx="7612">
                  <c:v>7.3540000000000001</c:v>
                </c:pt>
                <c:pt idx="7613">
                  <c:v>7.3529999999999998</c:v>
                </c:pt>
                <c:pt idx="7614">
                  <c:v>7.3540000000000001</c:v>
                </c:pt>
                <c:pt idx="7615">
                  <c:v>7.3540000000000001</c:v>
                </c:pt>
                <c:pt idx="7616">
                  <c:v>7.3540000000000001</c:v>
                </c:pt>
                <c:pt idx="7617">
                  <c:v>7.3540000000000001</c:v>
                </c:pt>
                <c:pt idx="7618">
                  <c:v>7.3540000000000001</c:v>
                </c:pt>
                <c:pt idx="7619">
                  <c:v>7.3529999999999998</c:v>
                </c:pt>
                <c:pt idx="7620">
                  <c:v>7.3529999999999998</c:v>
                </c:pt>
                <c:pt idx="7621">
                  <c:v>7.3529999999999998</c:v>
                </c:pt>
                <c:pt idx="7622">
                  <c:v>7.3529999999999998</c:v>
                </c:pt>
                <c:pt idx="7623">
                  <c:v>7.3529999999999998</c:v>
                </c:pt>
                <c:pt idx="7624">
                  <c:v>7.3529999999999998</c:v>
                </c:pt>
                <c:pt idx="7625">
                  <c:v>7.3529999999999998</c:v>
                </c:pt>
                <c:pt idx="7626">
                  <c:v>7.3529999999999998</c:v>
                </c:pt>
                <c:pt idx="7627">
                  <c:v>7.3529999999999998</c:v>
                </c:pt>
                <c:pt idx="7628">
                  <c:v>7.3520000000000003</c:v>
                </c:pt>
                <c:pt idx="7629">
                  <c:v>7.3529999999999998</c:v>
                </c:pt>
                <c:pt idx="7630">
                  <c:v>7.3520000000000003</c:v>
                </c:pt>
                <c:pt idx="7631">
                  <c:v>7.3529999999999998</c:v>
                </c:pt>
                <c:pt idx="7632">
                  <c:v>7.3520000000000003</c:v>
                </c:pt>
                <c:pt idx="7633">
                  <c:v>7.3520000000000003</c:v>
                </c:pt>
                <c:pt idx="7634">
                  <c:v>7.3520000000000003</c:v>
                </c:pt>
                <c:pt idx="7635">
                  <c:v>7.3520000000000003</c:v>
                </c:pt>
                <c:pt idx="7636">
                  <c:v>7.3529999999999998</c:v>
                </c:pt>
                <c:pt idx="7637">
                  <c:v>7.3520000000000003</c:v>
                </c:pt>
                <c:pt idx="7638">
                  <c:v>7.3520000000000003</c:v>
                </c:pt>
                <c:pt idx="7639">
                  <c:v>7.3520000000000003</c:v>
                </c:pt>
                <c:pt idx="7640">
                  <c:v>7.3520000000000003</c:v>
                </c:pt>
                <c:pt idx="7641">
                  <c:v>7.3520000000000003</c:v>
                </c:pt>
                <c:pt idx="7642">
                  <c:v>7.3520000000000003</c:v>
                </c:pt>
                <c:pt idx="7643">
                  <c:v>7.3520000000000003</c:v>
                </c:pt>
                <c:pt idx="7644">
                  <c:v>7.3520000000000003</c:v>
                </c:pt>
                <c:pt idx="7645">
                  <c:v>7.3520000000000003</c:v>
                </c:pt>
                <c:pt idx="7646">
                  <c:v>7.3520000000000003</c:v>
                </c:pt>
                <c:pt idx="7647">
                  <c:v>7.3529999999999998</c:v>
                </c:pt>
                <c:pt idx="7648">
                  <c:v>7.351</c:v>
                </c:pt>
                <c:pt idx="7649">
                  <c:v>7.351</c:v>
                </c:pt>
                <c:pt idx="7650">
                  <c:v>7.3520000000000003</c:v>
                </c:pt>
                <c:pt idx="7651">
                  <c:v>7.3520000000000003</c:v>
                </c:pt>
                <c:pt idx="7652">
                  <c:v>7.3520000000000003</c:v>
                </c:pt>
                <c:pt idx="7653">
                  <c:v>7.351</c:v>
                </c:pt>
                <c:pt idx="7654">
                  <c:v>7.3520000000000003</c:v>
                </c:pt>
                <c:pt idx="7655">
                  <c:v>7.3520000000000003</c:v>
                </c:pt>
                <c:pt idx="7656">
                  <c:v>7.351</c:v>
                </c:pt>
                <c:pt idx="7657">
                  <c:v>7.351</c:v>
                </c:pt>
                <c:pt idx="7658">
                  <c:v>7.351</c:v>
                </c:pt>
                <c:pt idx="7659">
                  <c:v>7.351</c:v>
                </c:pt>
                <c:pt idx="7660">
                  <c:v>7.351</c:v>
                </c:pt>
                <c:pt idx="7661">
                  <c:v>7.351</c:v>
                </c:pt>
                <c:pt idx="7662">
                  <c:v>7.351</c:v>
                </c:pt>
                <c:pt idx="7663">
                  <c:v>7.351</c:v>
                </c:pt>
                <c:pt idx="7664">
                  <c:v>7.351</c:v>
                </c:pt>
                <c:pt idx="7665">
                  <c:v>7.351</c:v>
                </c:pt>
                <c:pt idx="7666">
                  <c:v>7.351</c:v>
                </c:pt>
                <c:pt idx="7667">
                  <c:v>7.351</c:v>
                </c:pt>
                <c:pt idx="7668">
                  <c:v>7.351</c:v>
                </c:pt>
                <c:pt idx="7669">
                  <c:v>7.351</c:v>
                </c:pt>
                <c:pt idx="7670">
                  <c:v>7.351</c:v>
                </c:pt>
                <c:pt idx="7671">
                  <c:v>7.351</c:v>
                </c:pt>
                <c:pt idx="7672">
                  <c:v>7.35</c:v>
                </c:pt>
                <c:pt idx="7673">
                  <c:v>7.351</c:v>
                </c:pt>
                <c:pt idx="7674">
                  <c:v>7.351</c:v>
                </c:pt>
                <c:pt idx="7675">
                  <c:v>7.35</c:v>
                </c:pt>
                <c:pt idx="7676">
                  <c:v>7.351</c:v>
                </c:pt>
                <c:pt idx="7677">
                  <c:v>7.35</c:v>
                </c:pt>
                <c:pt idx="7678">
                  <c:v>7.351</c:v>
                </c:pt>
                <c:pt idx="7679">
                  <c:v>7.35</c:v>
                </c:pt>
                <c:pt idx="7680">
                  <c:v>7.35</c:v>
                </c:pt>
                <c:pt idx="7681">
                  <c:v>7.35</c:v>
                </c:pt>
                <c:pt idx="7682">
                  <c:v>7.35</c:v>
                </c:pt>
                <c:pt idx="7683">
                  <c:v>7.35</c:v>
                </c:pt>
                <c:pt idx="7684">
                  <c:v>7.35</c:v>
                </c:pt>
                <c:pt idx="7685">
                  <c:v>7.35</c:v>
                </c:pt>
                <c:pt idx="7686">
                  <c:v>7.35</c:v>
                </c:pt>
                <c:pt idx="7687">
                  <c:v>7.351</c:v>
                </c:pt>
                <c:pt idx="7688">
                  <c:v>7.35</c:v>
                </c:pt>
                <c:pt idx="7689">
                  <c:v>7.35</c:v>
                </c:pt>
                <c:pt idx="7690">
                  <c:v>7.3490000000000002</c:v>
                </c:pt>
                <c:pt idx="7691">
                  <c:v>7.351</c:v>
                </c:pt>
                <c:pt idx="7692">
                  <c:v>7.35</c:v>
                </c:pt>
                <c:pt idx="7693">
                  <c:v>7.35</c:v>
                </c:pt>
                <c:pt idx="7694">
                  <c:v>7.35</c:v>
                </c:pt>
                <c:pt idx="7695">
                  <c:v>7.3490000000000002</c:v>
                </c:pt>
                <c:pt idx="7696">
                  <c:v>7.35</c:v>
                </c:pt>
                <c:pt idx="7697">
                  <c:v>7.3490000000000002</c:v>
                </c:pt>
                <c:pt idx="7698">
                  <c:v>7.3490000000000002</c:v>
                </c:pt>
                <c:pt idx="7699">
                  <c:v>7.35</c:v>
                </c:pt>
                <c:pt idx="7700">
                  <c:v>7.35</c:v>
                </c:pt>
                <c:pt idx="7701">
                  <c:v>7.3490000000000002</c:v>
                </c:pt>
                <c:pt idx="7702">
                  <c:v>7.3490000000000002</c:v>
                </c:pt>
                <c:pt idx="7703">
                  <c:v>7.3490000000000002</c:v>
                </c:pt>
                <c:pt idx="7704">
                  <c:v>7.3490000000000002</c:v>
                </c:pt>
                <c:pt idx="7705">
                  <c:v>7.3490000000000002</c:v>
                </c:pt>
                <c:pt idx="7706">
                  <c:v>7.3490000000000002</c:v>
                </c:pt>
                <c:pt idx="7707">
                  <c:v>7.3490000000000002</c:v>
                </c:pt>
                <c:pt idx="7708">
                  <c:v>7.3490000000000002</c:v>
                </c:pt>
                <c:pt idx="7709">
                  <c:v>7.3490000000000002</c:v>
                </c:pt>
                <c:pt idx="7710">
                  <c:v>7.3490000000000002</c:v>
                </c:pt>
                <c:pt idx="7711">
                  <c:v>7.3490000000000002</c:v>
                </c:pt>
                <c:pt idx="7712">
                  <c:v>7.3490000000000002</c:v>
                </c:pt>
                <c:pt idx="7713">
                  <c:v>7.3479999999999999</c:v>
                </c:pt>
                <c:pt idx="7714">
                  <c:v>7.3490000000000002</c:v>
                </c:pt>
                <c:pt idx="7715">
                  <c:v>7.3490000000000002</c:v>
                </c:pt>
                <c:pt idx="7716">
                  <c:v>7.3490000000000002</c:v>
                </c:pt>
                <c:pt idx="7717">
                  <c:v>7.3490000000000002</c:v>
                </c:pt>
                <c:pt idx="7718">
                  <c:v>7.3490000000000002</c:v>
                </c:pt>
                <c:pt idx="7719">
                  <c:v>7.3490000000000002</c:v>
                </c:pt>
                <c:pt idx="7720">
                  <c:v>7.3479999999999999</c:v>
                </c:pt>
                <c:pt idx="7721">
                  <c:v>7.3479999999999999</c:v>
                </c:pt>
                <c:pt idx="7722">
                  <c:v>7.3490000000000002</c:v>
                </c:pt>
                <c:pt idx="7723">
                  <c:v>7.3479999999999999</c:v>
                </c:pt>
                <c:pt idx="7724">
                  <c:v>7.3490000000000002</c:v>
                </c:pt>
                <c:pt idx="7725">
                  <c:v>7.3479999999999999</c:v>
                </c:pt>
                <c:pt idx="7726">
                  <c:v>7.3479999999999999</c:v>
                </c:pt>
                <c:pt idx="7727">
                  <c:v>7.3479999999999999</c:v>
                </c:pt>
                <c:pt idx="7728">
                  <c:v>7.3479999999999999</c:v>
                </c:pt>
                <c:pt idx="7729">
                  <c:v>7.3479999999999999</c:v>
                </c:pt>
                <c:pt idx="7730">
                  <c:v>7.3479999999999999</c:v>
                </c:pt>
                <c:pt idx="7731">
                  <c:v>7.3479999999999999</c:v>
                </c:pt>
                <c:pt idx="7732">
                  <c:v>7.3470000000000004</c:v>
                </c:pt>
                <c:pt idx="7733">
                  <c:v>7.3479999999999999</c:v>
                </c:pt>
                <c:pt idx="7734">
                  <c:v>7.3479999999999999</c:v>
                </c:pt>
                <c:pt idx="7735">
                  <c:v>7.3479999999999999</c:v>
                </c:pt>
                <c:pt idx="7736">
                  <c:v>7.3490000000000002</c:v>
                </c:pt>
                <c:pt idx="7737">
                  <c:v>7.3479999999999999</c:v>
                </c:pt>
                <c:pt idx="7738">
                  <c:v>7.3470000000000004</c:v>
                </c:pt>
                <c:pt idx="7739">
                  <c:v>7.3470000000000004</c:v>
                </c:pt>
                <c:pt idx="7740">
                  <c:v>7.3479999999999999</c:v>
                </c:pt>
                <c:pt idx="7741">
                  <c:v>7.3470000000000004</c:v>
                </c:pt>
                <c:pt idx="7742">
                  <c:v>7.3470000000000004</c:v>
                </c:pt>
                <c:pt idx="7743">
                  <c:v>7.3479999999999999</c:v>
                </c:pt>
                <c:pt idx="7744">
                  <c:v>7.3470000000000004</c:v>
                </c:pt>
                <c:pt idx="7745">
                  <c:v>7.3470000000000004</c:v>
                </c:pt>
                <c:pt idx="7746">
                  <c:v>7.3479999999999999</c:v>
                </c:pt>
                <c:pt idx="7747">
                  <c:v>7.3470000000000004</c:v>
                </c:pt>
                <c:pt idx="7748">
                  <c:v>7.3470000000000004</c:v>
                </c:pt>
                <c:pt idx="7749">
                  <c:v>7.3470000000000004</c:v>
                </c:pt>
                <c:pt idx="7750">
                  <c:v>7.3470000000000004</c:v>
                </c:pt>
                <c:pt idx="7751">
                  <c:v>7.3470000000000004</c:v>
                </c:pt>
                <c:pt idx="7752">
                  <c:v>7.3470000000000004</c:v>
                </c:pt>
                <c:pt idx="7753">
                  <c:v>7.3470000000000004</c:v>
                </c:pt>
                <c:pt idx="7754">
                  <c:v>7.3470000000000004</c:v>
                </c:pt>
                <c:pt idx="7755">
                  <c:v>7.3470000000000004</c:v>
                </c:pt>
                <c:pt idx="7756">
                  <c:v>7.3470000000000004</c:v>
                </c:pt>
                <c:pt idx="7757">
                  <c:v>7.3470000000000004</c:v>
                </c:pt>
                <c:pt idx="7758">
                  <c:v>7.3470000000000004</c:v>
                </c:pt>
                <c:pt idx="7759">
                  <c:v>7.3470000000000004</c:v>
                </c:pt>
                <c:pt idx="7760">
                  <c:v>7.3470000000000004</c:v>
                </c:pt>
                <c:pt idx="7761">
                  <c:v>7.3470000000000004</c:v>
                </c:pt>
                <c:pt idx="7762">
                  <c:v>7.3460000000000001</c:v>
                </c:pt>
                <c:pt idx="7763">
                  <c:v>7.3470000000000004</c:v>
                </c:pt>
                <c:pt idx="7764">
                  <c:v>7.3460000000000001</c:v>
                </c:pt>
                <c:pt idx="7765">
                  <c:v>7.3470000000000004</c:v>
                </c:pt>
                <c:pt idx="7766">
                  <c:v>7.3470000000000004</c:v>
                </c:pt>
                <c:pt idx="7767">
                  <c:v>7.3460000000000001</c:v>
                </c:pt>
                <c:pt idx="7768">
                  <c:v>7.3470000000000004</c:v>
                </c:pt>
                <c:pt idx="7769">
                  <c:v>7.3470000000000004</c:v>
                </c:pt>
                <c:pt idx="7770">
                  <c:v>7.3470000000000004</c:v>
                </c:pt>
                <c:pt idx="7771">
                  <c:v>7.3460000000000001</c:v>
                </c:pt>
                <c:pt idx="7772">
                  <c:v>7.3460000000000001</c:v>
                </c:pt>
                <c:pt idx="7773">
                  <c:v>7.3470000000000004</c:v>
                </c:pt>
                <c:pt idx="7774">
                  <c:v>7.3460000000000001</c:v>
                </c:pt>
                <c:pt idx="7775">
                  <c:v>7.3460000000000001</c:v>
                </c:pt>
                <c:pt idx="7776">
                  <c:v>7.3460000000000001</c:v>
                </c:pt>
                <c:pt idx="7777">
                  <c:v>7.3460000000000001</c:v>
                </c:pt>
                <c:pt idx="7778">
                  <c:v>7.3460000000000001</c:v>
                </c:pt>
                <c:pt idx="7779">
                  <c:v>7.3460000000000001</c:v>
                </c:pt>
                <c:pt idx="7780">
                  <c:v>7.3449999999999998</c:v>
                </c:pt>
                <c:pt idx="7781">
                  <c:v>7.3460000000000001</c:v>
                </c:pt>
                <c:pt idx="7782">
                  <c:v>7.3460000000000001</c:v>
                </c:pt>
                <c:pt idx="7783">
                  <c:v>7.3449999999999998</c:v>
                </c:pt>
                <c:pt idx="7784">
                  <c:v>7.3460000000000001</c:v>
                </c:pt>
                <c:pt idx="7785">
                  <c:v>7.3460000000000001</c:v>
                </c:pt>
                <c:pt idx="7786">
                  <c:v>7.3460000000000001</c:v>
                </c:pt>
                <c:pt idx="7787">
                  <c:v>7.3460000000000001</c:v>
                </c:pt>
                <c:pt idx="7788">
                  <c:v>7.3460000000000001</c:v>
                </c:pt>
                <c:pt idx="7789">
                  <c:v>7.3449999999999998</c:v>
                </c:pt>
                <c:pt idx="7790">
                  <c:v>7.3460000000000001</c:v>
                </c:pt>
                <c:pt idx="7791">
                  <c:v>7.3449999999999998</c:v>
                </c:pt>
                <c:pt idx="7792">
                  <c:v>7.3449999999999998</c:v>
                </c:pt>
                <c:pt idx="7793">
                  <c:v>7.3449999999999998</c:v>
                </c:pt>
                <c:pt idx="7794">
                  <c:v>7.3449999999999998</c:v>
                </c:pt>
                <c:pt idx="7795">
                  <c:v>7.3449999999999998</c:v>
                </c:pt>
                <c:pt idx="7796">
                  <c:v>7.3449999999999998</c:v>
                </c:pt>
                <c:pt idx="7797">
                  <c:v>7.3449999999999998</c:v>
                </c:pt>
                <c:pt idx="7798">
                  <c:v>7.3449999999999998</c:v>
                </c:pt>
                <c:pt idx="7799">
                  <c:v>7.3449999999999998</c:v>
                </c:pt>
                <c:pt idx="7800">
                  <c:v>7.3449999999999998</c:v>
                </c:pt>
                <c:pt idx="7801">
                  <c:v>7.3449999999999998</c:v>
                </c:pt>
                <c:pt idx="7802">
                  <c:v>7.3449999999999998</c:v>
                </c:pt>
                <c:pt idx="7803">
                  <c:v>7.3449999999999998</c:v>
                </c:pt>
                <c:pt idx="7804">
                  <c:v>7.3449999999999998</c:v>
                </c:pt>
                <c:pt idx="7805">
                  <c:v>7.3449999999999998</c:v>
                </c:pt>
                <c:pt idx="7806">
                  <c:v>7.3449999999999998</c:v>
                </c:pt>
                <c:pt idx="7807">
                  <c:v>7.3440000000000003</c:v>
                </c:pt>
                <c:pt idx="7808">
                  <c:v>7.3449999999999998</c:v>
                </c:pt>
                <c:pt idx="7809">
                  <c:v>7.3440000000000003</c:v>
                </c:pt>
                <c:pt idx="7810">
                  <c:v>7.3440000000000003</c:v>
                </c:pt>
                <c:pt idx="7811">
                  <c:v>7.3440000000000003</c:v>
                </c:pt>
                <c:pt idx="7812">
                  <c:v>7.3440000000000003</c:v>
                </c:pt>
                <c:pt idx="7813">
                  <c:v>7.3440000000000003</c:v>
                </c:pt>
                <c:pt idx="7814">
                  <c:v>7.3440000000000003</c:v>
                </c:pt>
                <c:pt idx="7815">
                  <c:v>7.3449999999999998</c:v>
                </c:pt>
                <c:pt idx="7816">
                  <c:v>7.3440000000000003</c:v>
                </c:pt>
                <c:pt idx="7817">
                  <c:v>7.3440000000000003</c:v>
                </c:pt>
                <c:pt idx="7818">
                  <c:v>7.3440000000000003</c:v>
                </c:pt>
                <c:pt idx="7819">
                  <c:v>7.3440000000000003</c:v>
                </c:pt>
                <c:pt idx="7820">
                  <c:v>7.3449999999999998</c:v>
                </c:pt>
                <c:pt idx="7821">
                  <c:v>7.3440000000000003</c:v>
                </c:pt>
                <c:pt idx="7822">
                  <c:v>7.3440000000000003</c:v>
                </c:pt>
                <c:pt idx="7823">
                  <c:v>7.3440000000000003</c:v>
                </c:pt>
                <c:pt idx="7824">
                  <c:v>7.3440000000000003</c:v>
                </c:pt>
                <c:pt idx="7825">
                  <c:v>7.3440000000000003</c:v>
                </c:pt>
                <c:pt idx="7826">
                  <c:v>7.3440000000000003</c:v>
                </c:pt>
                <c:pt idx="7827">
                  <c:v>7.343</c:v>
                </c:pt>
                <c:pt idx="7828">
                  <c:v>7.3440000000000003</c:v>
                </c:pt>
                <c:pt idx="7829">
                  <c:v>7.3440000000000003</c:v>
                </c:pt>
                <c:pt idx="7830">
                  <c:v>7.343</c:v>
                </c:pt>
                <c:pt idx="7831">
                  <c:v>7.3440000000000003</c:v>
                </c:pt>
                <c:pt idx="7832">
                  <c:v>7.3440000000000003</c:v>
                </c:pt>
                <c:pt idx="7833">
                  <c:v>7.343</c:v>
                </c:pt>
                <c:pt idx="7834">
                  <c:v>7.3440000000000003</c:v>
                </c:pt>
                <c:pt idx="7835">
                  <c:v>7.3440000000000003</c:v>
                </c:pt>
                <c:pt idx="7836">
                  <c:v>7.3440000000000003</c:v>
                </c:pt>
                <c:pt idx="7837">
                  <c:v>7.3440000000000003</c:v>
                </c:pt>
                <c:pt idx="7838">
                  <c:v>7.343</c:v>
                </c:pt>
                <c:pt idx="7839">
                  <c:v>7.343</c:v>
                </c:pt>
                <c:pt idx="7840">
                  <c:v>7.3440000000000003</c:v>
                </c:pt>
                <c:pt idx="7841">
                  <c:v>7.3440000000000003</c:v>
                </c:pt>
                <c:pt idx="7842">
                  <c:v>7.343</c:v>
                </c:pt>
                <c:pt idx="7843">
                  <c:v>7.343</c:v>
                </c:pt>
                <c:pt idx="7844">
                  <c:v>7.343</c:v>
                </c:pt>
                <c:pt idx="7845">
                  <c:v>7.3440000000000003</c:v>
                </c:pt>
                <c:pt idx="7846">
                  <c:v>7.343</c:v>
                </c:pt>
                <c:pt idx="7847">
                  <c:v>7.343</c:v>
                </c:pt>
                <c:pt idx="7848">
                  <c:v>7.343</c:v>
                </c:pt>
                <c:pt idx="7849">
                  <c:v>7.343</c:v>
                </c:pt>
                <c:pt idx="7850">
                  <c:v>7.343</c:v>
                </c:pt>
                <c:pt idx="7851">
                  <c:v>7.343</c:v>
                </c:pt>
                <c:pt idx="7852">
                  <c:v>7.343</c:v>
                </c:pt>
                <c:pt idx="7853">
                  <c:v>7.343</c:v>
                </c:pt>
                <c:pt idx="7854">
                  <c:v>7.343</c:v>
                </c:pt>
                <c:pt idx="7855">
                  <c:v>7.343</c:v>
                </c:pt>
                <c:pt idx="7856">
                  <c:v>7.3419999999999996</c:v>
                </c:pt>
                <c:pt idx="7857">
                  <c:v>7.343</c:v>
                </c:pt>
                <c:pt idx="7858">
                  <c:v>7.3419999999999996</c:v>
                </c:pt>
                <c:pt idx="7859">
                  <c:v>7.343</c:v>
                </c:pt>
                <c:pt idx="7860">
                  <c:v>7.343</c:v>
                </c:pt>
                <c:pt idx="7861">
                  <c:v>7.343</c:v>
                </c:pt>
                <c:pt idx="7862">
                  <c:v>7.3419999999999996</c:v>
                </c:pt>
                <c:pt idx="7863">
                  <c:v>7.343</c:v>
                </c:pt>
                <c:pt idx="7864">
                  <c:v>7.3419999999999996</c:v>
                </c:pt>
                <c:pt idx="7865">
                  <c:v>7.343</c:v>
                </c:pt>
                <c:pt idx="7866">
                  <c:v>7.3419999999999996</c:v>
                </c:pt>
                <c:pt idx="7867">
                  <c:v>7.3419999999999996</c:v>
                </c:pt>
                <c:pt idx="7868">
                  <c:v>7.343</c:v>
                </c:pt>
                <c:pt idx="7869">
                  <c:v>7.3419999999999996</c:v>
                </c:pt>
                <c:pt idx="7870">
                  <c:v>7.3419999999999996</c:v>
                </c:pt>
                <c:pt idx="7871">
                  <c:v>7.3419999999999996</c:v>
                </c:pt>
                <c:pt idx="7872">
                  <c:v>7.3419999999999996</c:v>
                </c:pt>
                <c:pt idx="7873">
                  <c:v>7.3419999999999996</c:v>
                </c:pt>
                <c:pt idx="7874">
                  <c:v>7.3419999999999996</c:v>
                </c:pt>
                <c:pt idx="7875">
                  <c:v>7.3419999999999996</c:v>
                </c:pt>
                <c:pt idx="7876">
                  <c:v>7.3419999999999996</c:v>
                </c:pt>
                <c:pt idx="7877">
                  <c:v>7.3419999999999996</c:v>
                </c:pt>
                <c:pt idx="7878">
                  <c:v>7.3419999999999996</c:v>
                </c:pt>
                <c:pt idx="7879">
                  <c:v>7.3410000000000002</c:v>
                </c:pt>
                <c:pt idx="7880">
                  <c:v>7.3410000000000002</c:v>
                </c:pt>
                <c:pt idx="7881">
                  <c:v>7.3410000000000002</c:v>
                </c:pt>
                <c:pt idx="7882">
                  <c:v>7.3410000000000002</c:v>
                </c:pt>
                <c:pt idx="7883">
                  <c:v>7.3410000000000002</c:v>
                </c:pt>
                <c:pt idx="7884">
                  <c:v>7.3410000000000002</c:v>
                </c:pt>
                <c:pt idx="7885">
                  <c:v>7.3410000000000002</c:v>
                </c:pt>
                <c:pt idx="7886">
                  <c:v>7.3410000000000002</c:v>
                </c:pt>
                <c:pt idx="7887">
                  <c:v>7.3410000000000002</c:v>
                </c:pt>
                <c:pt idx="7888">
                  <c:v>7.3419999999999996</c:v>
                </c:pt>
                <c:pt idx="7889">
                  <c:v>7.3410000000000002</c:v>
                </c:pt>
                <c:pt idx="7890">
                  <c:v>7.3419999999999996</c:v>
                </c:pt>
                <c:pt idx="7891">
                  <c:v>7.3410000000000002</c:v>
                </c:pt>
                <c:pt idx="7892">
                  <c:v>7.3410000000000002</c:v>
                </c:pt>
                <c:pt idx="7893">
                  <c:v>7.3410000000000002</c:v>
                </c:pt>
                <c:pt idx="7894">
                  <c:v>7.3410000000000002</c:v>
                </c:pt>
                <c:pt idx="7895">
                  <c:v>7.3410000000000002</c:v>
                </c:pt>
                <c:pt idx="7896">
                  <c:v>7.3419999999999996</c:v>
                </c:pt>
                <c:pt idx="7897">
                  <c:v>7.3419999999999996</c:v>
                </c:pt>
                <c:pt idx="7898">
                  <c:v>7.3410000000000002</c:v>
                </c:pt>
                <c:pt idx="7899">
                  <c:v>7.3410000000000002</c:v>
                </c:pt>
                <c:pt idx="7900">
                  <c:v>7.3419999999999996</c:v>
                </c:pt>
                <c:pt idx="7901">
                  <c:v>7.3419999999999996</c:v>
                </c:pt>
                <c:pt idx="7902">
                  <c:v>7.3410000000000002</c:v>
                </c:pt>
                <c:pt idx="7903">
                  <c:v>7.3410000000000002</c:v>
                </c:pt>
                <c:pt idx="7904">
                  <c:v>7.3410000000000002</c:v>
                </c:pt>
                <c:pt idx="7905">
                  <c:v>7.3410000000000002</c:v>
                </c:pt>
                <c:pt idx="7906">
                  <c:v>7.3410000000000002</c:v>
                </c:pt>
                <c:pt idx="7907">
                  <c:v>7.3419999999999996</c:v>
                </c:pt>
                <c:pt idx="7908">
                  <c:v>7.3410000000000002</c:v>
                </c:pt>
                <c:pt idx="7909">
                  <c:v>7.3410000000000002</c:v>
                </c:pt>
                <c:pt idx="7910">
                  <c:v>7.34</c:v>
                </c:pt>
                <c:pt idx="7911">
                  <c:v>7.3410000000000002</c:v>
                </c:pt>
                <c:pt idx="7912">
                  <c:v>7.3410000000000002</c:v>
                </c:pt>
                <c:pt idx="7913">
                  <c:v>7.34</c:v>
                </c:pt>
                <c:pt idx="7914">
                  <c:v>7.34</c:v>
                </c:pt>
                <c:pt idx="7915">
                  <c:v>7.3410000000000002</c:v>
                </c:pt>
                <c:pt idx="7916">
                  <c:v>7.34</c:v>
                </c:pt>
                <c:pt idx="7917">
                  <c:v>7.34</c:v>
                </c:pt>
                <c:pt idx="7918">
                  <c:v>7.34</c:v>
                </c:pt>
                <c:pt idx="7919">
                  <c:v>7.34</c:v>
                </c:pt>
                <c:pt idx="7920">
                  <c:v>7.3410000000000002</c:v>
                </c:pt>
                <c:pt idx="7921">
                  <c:v>7.3410000000000002</c:v>
                </c:pt>
                <c:pt idx="7922">
                  <c:v>7.3410000000000002</c:v>
                </c:pt>
                <c:pt idx="7923">
                  <c:v>7.34</c:v>
                </c:pt>
                <c:pt idx="7924">
                  <c:v>7.34</c:v>
                </c:pt>
                <c:pt idx="7925">
                  <c:v>7.34</c:v>
                </c:pt>
                <c:pt idx="7926">
                  <c:v>7.34</c:v>
                </c:pt>
                <c:pt idx="7927">
                  <c:v>7.34</c:v>
                </c:pt>
                <c:pt idx="7928">
                  <c:v>7.34</c:v>
                </c:pt>
                <c:pt idx="7929">
                  <c:v>7.34</c:v>
                </c:pt>
                <c:pt idx="7930">
                  <c:v>7.34</c:v>
                </c:pt>
                <c:pt idx="7931">
                  <c:v>7.34</c:v>
                </c:pt>
                <c:pt idx="7932">
                  <c:v>7.3390000000000004</c:v>
                </c:pt>
                <c:pt idx="7933">
                  <c:v>7.34</c:v>
                </c:pt>
                <c:pt idx="7934">
                  <c:v>7.3390000000000004</c:v>
                </c:pt>
                <c:pt idx="7935">
                  <c:v>7.34</c:v>
                </c:pt>
                <c:pt idx="7936">
                  <c:v>7.34</c:v>
                </c:pt>
                <c:pt idx="7937">
                  <c:v>7.34</c:v>
                </c:pt>
                <c:pt idx="7938">
                  <c:v>7.34</c:v>
                </c:pt>
                <c:pt idx="7939">
                  <c:v>7.3390000000000004</c:v>
                </c:pt>
                <c:pt idx="7940">
                  <c:v>7.3390000000000004</c:v>
                </c:pt>
                <c:pt idx="7941">
                  <c:v>7.3390000000000004</c:v>
                </c:pt>
                <c:pt idx="7942">
                  <c:v>7.34</c:v>
                </c:pt>
                <c:pt idx="7943">
                  <c:v>7.3390000000000004</c:v>
                </c:pt>
                <c:pt idx="7944">
                  <c:v>7.3390000000000004</c:v>
                </c:pt>
                <c:pt idx="7945">
                  <c:v>7.3390000000000004</c:v>
                </c:pt>
                <c:pt idx="7946">
                  <c:v>7.34</c:v>
                </c:pt>
                <c:pt idx="7947">
                  <c:v>7.3390000000000004</c:v>
                </c:pt>
                <c:pt idx="7948">
                  <c:v>7.3390000000000004</c:v>
                </c:pt>
                <c:pt idx="7949">
                  <c:v>7.3390000000000004</c:v>
                </c:pt>
                <c:pt idx="7950">
                  <c:v>7.3390000000000004</c:v>
                </c:pt>
                <c:pt idx="7951">
                  <c:v>7.3390000000000004</c:v>
                </c:pt>
                <c:pt idx="7952">
                  <c:v>7.3390000000000004</c:v>
                </c:pt>
                <c:pt idx="7953">
                  <c:v>7.3390000000000004</c:v>
                </c:pt>
                <c:pt idx="7954">
                  <c:v>7.3390000000000004</c:v>
                </c:pt>
                <c:pt idx="7955">
                  <c:v>7.3390000000000004</c:v>
                </c:pt>
                <c:pt idx="7956">
                  <c:v>7.3390000000000004</c:v>
                </c:pt>
                <c:pt idx="7957">
                  <c:v>7.3390000000000004</c:v>
                </c:pt>
                <c:pt idx="7958">
                  <c:v>7.3390000000000004</c:v>
                </c:pt>
                <c:pt idx="7959">
                  <c:v>7.3390000000000004</c:v>
                </c:pt>
                <c:pt idx="7960">
                  <c:v>7.3390000000000004</c:v>
                </c:pt>
                <c:pt idx="7961">
                  <c:v>7.3380000000000001</c:v>
                </c:pt>
                <c:pt idx="7962">
                  <c:v>7.3380000000000001</c:v>
                </c:pt>
                <c:pt idx="7963">
                  <c:v>7.3390000000000004</c:v>
                </c:pt>
                <c:pt idx="7964">
                  <c:v>7.3390000000000004</c:v>
                </c:pt>
                <c:pt idx="7965">
                  <c:v>7.3380000000000001</c:v>
                </c:pt>
                <c:pt idx="7966">
                  <c:v>7.3390000000000004</c:v>
                </c:pt>
                <c:pt idx="7967">
                  <c:v>7.3380000000000001</c:v>
                </c:pt>
                <c:pt idx="7968">
                  <c:v>7.3380000000000001</c:v>
                </c:pt>
                <c:pt idx="7969">
                  <c:v>7.3380000000000001</c:v>
                </c:pt>
                <c:pt idx="7970">
                  <c:v>7.3390000000000004</c:v>
                </c:pt>
                <c:pt idx="7971">
                  <c:v>7.3380000000000001</c:v>
                </c:pt>
                <c:pt idx="7972">
                  <c:v>7.3380000000000001</c:v>
                </c:pt>
                <c:pt idx="7973">
                  <c:v>7.3390000000000004</c:v>
                </c:pt>
                <c:pt idx="7974">
                  <c:v>7.3390000000000004</c:v>
                </c:pt>
                <c:pt idx="7975">
                  <c:v>7.3380000000000001</c:v>
                </c:pt>
                <c:pt idx="7976">
                  <c:v>7.3380000000000001</c:v>
                </c:pt>
                <c:pt idx="7977">
                  <c:v>7.3380000000000001</c:v>
                </c:pt>
                <c:pt idx="7978">
                  <c:v>7.3369999999999997</c:v>
                </c:pt>
                <c:pt idx="7979">
                  <c:v>7.3380000000000001</c:v>
                </c:pt>
                <c:pt idx="7980">
                  <c:v>7.3380000000000001</c:v>
                </c:pt>
                <c:pt idx="7981">
                  <c:v>7.3380000000000001</c:v>
                </c:pt>
                <c:pt idx="7982">
                  <c:v>7.3380000000000001</c:v>
                </c:pt>
                <c:pt idx="7983">
                  <c:v>7.3380000000000001</c:v>
                </c:pt>
                <c:pt idx="7984">
                  <c:v>7.3380000000000001</c:v>
                </c:pt>
                <c:pt idx="7985">
                  <c:v>7.3380000000000001</c:v>
                </c:pt>
                <c:pt idx="7986">
                  <c:v>7.3380000000000001</c:v>
                </c:pt>
                <c:pt idx="7987">
                  <c:v>7.3380000000000001</c:v>
                </c:pt>
                <c:pt idx="7988">
                  <c:v>7.3380000000000001</c:v>
                </c:pt>
                <c:pt idx="7989">
                  <c:v>7.3380000000000001</c:v>
                </c:pt>
                <c:pt idx="7990">
                  <c:v>7.3380000000000001</c:v>
                </c:pt>
                <c:pt idx="7991">
                  <c:v>7.3369999999999997</c:v>
                </c:pt>
                <c:pt idx="7992">
                  <c:v>7.3380000000000001</c:v>
                </c:pt>
                <c:pt idx="7993">
                  <c:v>7.3380000000000001</c:v>
                </c:pt>
                <c:pt idx="7994">
                  <c:v>7.3380000000000001</c:v>
                </c:pt>
                <c:pt idx="7995">
                  <c:v>7.3380000000000001</c:v>
                </c:pt>
                <c:pt idx="7996">
                  <c:v>7.3369999999999997</c:v>
                </c:pt>
                <c:pt idx="7997">
                  <c:v>7.3380000000000001</c:v>
                </c:pt>
                <c:pt idx="7998">
                  <c:v>7.3369999999999997</c:v>
                </c:pt>
                <c:pt idx="7999">
                  <c:v>7.3380000000000001</c:v>
                </c:pt>
                <c:pt idx="8000">
                  <c:v>7.3369999999999997</c:v>
                </c:pt>
                <c:pt idx="8001">
                  <c:v>7.3369999999999997</c:v>
                </c:pt>
                <c:pt idx="8002">
                  <c:v>7.3369999999999997</c:v>
                </c:pt>
                <c:pt idx="8003">
                  <c:v>7.3369999999999997</c:v>
                </c:pt>
                <c:pt idx="8004">
                  <c:v>7.3369999999999997</c:v>
                </c:pt>
                <c:pt idx="8005">
                  <c:v>7.3369999999999997</c:v>
                </c:pt>
                <c:pt idx="8006">
                  <c:v>7.3369999999999997</c:v>
                </c:pt>
                <c:pt idx="8007">
                  <c:v>7.3369999999999997</c:v>
                </c:pt>
                <c:pt idx="8008">
                  <c:v>7.3380000000000001</c:v>
                </c:pt>
                <c:pt idx="8009">
                  <c:v>7.3369999999999997</c:v>
                </c:pt>
                <c:pt idx="8010">
                  <c:v>7.3369999999999997</c:v>
                </c:pt>
                <c:pt idx="8011">
                  <c:v>7.3369999999999997</c:v>
                </c:pt>
                <c:pt idx="8012">
                  <c:v>7.3369999999999997</c:v>
                </c:pt>
                <c:pt idx="8013">
                  <c:v>7.3369999999999997</c:v>
                </c:pt>
                <c:pt idx="8014">
                  <c:v>7.3369999999999997</c:v>
                </c:pt>
                <c:pt idx="8015">
                  <c:v>7.3380000000000001</c:v>
                </c:pt>
                <c:pt idx="8016">
                  <c:v>7.3369999999999997</c:v>
                </c:pt>
                <c:pt idx="8017">
                  <c:v>7.3360000000000003</c:v>
                </c:pt>
                <c:pt idx="8018">
                  <c:v>7.3360000000000003</c:v>
                </c:pt>
                <c:pt idx="8019">
                  <c:v>7.3369999999999997</c:v>
                </c:pt>
                <c:pt idx="8020">
                  <c:v>7.3360000000000003</c:v>
                </c:pt>
                <c:pt idx="8021">
                  <c:v>7.3360000000000003</c:v>
                </c:pt>
                <c:pt idx="8022">
                  <c:v>7.3360000000000003</c:v>
                </c:pt>
                <c:pt idx="8023">
                  <c:v>7.3360000000000003</c:v>
                </c:pt>
                <c:pt idx="8024">
                  <c:v>7.3369999999999997</c:v>
                </c:pt>
                <c:pt idx="8025">
                  <c:v>7.3360000000000003</c:v>
                </c:pt>
                <c:pt idx="8026">
                  <c:v>7.3360000000000003</c:v>
                </c:pt>
                <c:pt idx="8027">
                  <c:v>7.335</c:v>
                </c:pt>
                <c:pt idx="8028">
                  <c:v>7.3369999999999997</c:v>
                </c:pt>
                <c:pt idx="8029">
                  <c:v>7.3369999999999997</c:v>
                </c:pt>
                <c:pt idx="8030">
                  <c:v>7.3369999999999997</c:v>
                </c:pt>
                <c:pt idx="8031">
                  <c:v>7.3369999999999997</c:v>
                </c:pt>
                <c:pt idx="8032">
                  <c:v>7.3360000000000003</c:v>
                </c:pt>
                <c:pt idx="8033">
                  <c:v>7.3369999999999997</c:v>
                </c:pt>
                <c:pt idx="8034">
                  <c:v>7.335</c:v>
                </c:pt>
                <c:pt idx="8035">
                  <c:v>7.335</c:v>
                </c:pt>
                <c:pt idx="8036">
                  <c:v>7.3360000000000003</c:v>
                </c:pt>
                <c:pt idx="8037">
                  <c:v>7.3360000000000003</c:v>
                </c:pt>
                <c:pt idx="8038">
                  <c:v>7.3360000000000003</c:v>
                </c:pt>
                <c:pt idx="8039">
                  <c:v>7.335</c:v>
                </c:pt>
                <c:pt idx="8040">
                  <c:v>7.3360000000000003</c:v>
                </c:pt>
                <c:pt idx="8041">
                  <c:v>7.3360000000000003</c:v>
                </c:pt>
                <c:pt idx="8042">
                  <c:v>7.3360000000000003</c:v>
                </c:pt>
                <c:pt idx="8043">
                  <c:v>7.3369999999999997</c:v>
                </c:pt>
                <c:pt idx="8044">
                  <c:v>7.3360000000000003</c:v>
                </c:pt>
                <c:pt idx="8045">
                  <c:v>7.3360000000000003</c:v>
                </c:pt>
                <c:pt idx="8046">
                  <c:v>7.3360000000000003</c:v>
                </c:pt>
                <c:pt idx="8047">
                  <c:v>7.3360000000000003</c:v>
                </c:pt>
                <c:pt idx="8048">
                  <c:v>7.335</c:v>
                </c:pt>
                <c:pt idx="8049">
                  <c:v>7.335</c:v>
                </c:pt>
                <c:pt idx="8050">
                  <c:v>7.3360000000000003</c:v>
                </c:pt>
                <c:pt idx="8051">
                  <c:v>7.335</c:v>
                </c:pt>
                <c:pt idx="8052">
                  <c:v>7.335</c:v>
                </c:pt>
                <c:pt idx="8053">
                  <c:v>7.3360000000000003</c:v>
                </c:pt>
                <c:pt idx="8054">
                  <c:v>7.335</c:v>
                </c:pt>
                <c:pt idx="8055">
                  <c:v>7.3360000000000003</c:v>
                </c:pt>
                <c:pt idx="8056">
                  <c:v>7.3360000000000003</c:v>
                </c:pt>
                <c:pt idx="8057">
                  <c:v>7.335</c:v>
                </c:pt>
                <c:pt idx="8058">
                  <c:v>7.335</c:v>
                </c:pt>
                <c:pt idx="8059">
                  <c:v>7.335</c:v>
                </c:pt>
                <c:pt idx="8060">
                  <c:v>7.335</c:v>
                </c:pt>
                <c:pt idx="8061">
                  <c:v>7.335</c:v>
                </c:pt>
                <c:pt idx="8062">
                  <c:v>7.335</c:v>
                </c:pt>
                <c:pt idx="8063">
                  <c:v>7.335</c:v>
                </c:pt>
                <c:pt idx="8064">
                  <c:v>7.335</c:v>
                </c:pt>
                <c:pt idx="8065">
                  <c:v>7.3339999999999996</c:v>
                </c:pt>
                <c:pt idx="8066">
                  <c:v>7.335</c:v>
                </c:pt>
                <c:pt idx="8067">
                  <c:v>7.335</c:v>
                </c:pt>
                <c:pt idx="8068">
                  <c:v>7.335</c:v>
                </c:pt>
                <c:pt idx="8069">
                  <c:v>7.3360000000000003</c:v>
                </c:pt>
                <c:pt idx="8070">
                  <c:v>7.335</c:v>
                </c:pt>
                <c:pt idx="8071">
                  <c:v>7.335</c:v>
                </c:pt>
                <c:pt idx="8072">
                  <c:v>7.3339999999999996</c:v>
                </c:pt>
                <c:pt idx="8073">
                  <c:v>7.335</c:v>
                </c:pt>
                <c:pt idx="8074">
                  <c:v>7.3339999999999996</c:v>
                </c:pt>
                <c:pt idx="8075">
                  <c:v>7.3339999999999996</c:v>
                </c:pt>
                <c:pt idx="8076">
                  <c:v>7.335</c:v>
                </c:pt>
                <c:pt idx="8077">
                  <c:v>7.3339999999999996</c:v>
                </c:pt>
                <c:pt idx="8078">
                  <c:v>7.335</c:v>
                </c:pt>
                <c:pt idx="8079">
                  <c:v>7.3339999999999996</c:v>
                </c:pt>
                <c:pt idx="8080">
                  <c:v>7.3339999999999996</c:v>
                </c:pt>
                <c:pt idx="8081">
                  <c:v>7.3339999999999996</c:v>
                </c:pt>
                <c:pt idx="8082">
                  <c:v>7.335</c:v>
                </c:pt>
                <c:pt idx="8083">
                  <c:v>7.3339999999999996</c:v>
                </c:pt>
                <c:pt idx="8084">
                  <c:v>7.3339999999999996</c:v>
                </c:pt>
                <c:pt idx="8085">
                  <c:v>7.3339999999999996</c:v>
                </c:pt>
                <c:pt idx="8086">
                  <c:v>7.3339999999999996</c:v>
                </c:pt>
                <c:pt idx="8087">
                  <c:v>7.3339999999999996</c:v>
                </c:pt>
                <c:pt idx="8088">
                  <c:v>7.3339999999999996</c:v>
                </c:pt>
                <c:pt idx="8089">
                  <c:v>7.3339999999999996</c:v>
                </c:pt>
                <c:pt idx="8090">
                  <c:v>7.3330000000000002</c:v>
                </c:pt>
                <c:pt idx="8091">
                  <c:v>7.335</c:v>
                </c:pt>
                <c:pt idx="8092">
                  <c:v>7.3339999999999996</c:v>
                </c:pt>
                <c:pt idx="8093">
                  <c:v>7.3339999999999996</c:v>
                </c:pt>
                <c:pt idx="8094">
                  <c:v>7.3330000000000002</c:v>
                </c:pt>
                <c:pt idx="8095">
                  <c:v>7.3330000000000002</c:v>
                </c:pt>
                <c:pt idx="8096">
                  <c:v>7.3339999999999996</c:v>
                </c:pt>
                <c:pt idx="8097">
                  <c:v>7.3330000000000002</c:v>
                </c:pt>
                <c:pt idx="8098">
                  <c:v>7.3330000000000002</c:v>
                </c:pt>
                <c:pt idx="8099">
                  <c:v>7.335</c:v>
                </c:pt>
                <c:pt idx="8100">
                  <c:v>7.3339999999999996</c:v>
                </c:pt>
                <c:pt idx="8101">
                  <c:v>7.3339999999999996</c:v>
                </c:pt>
                <c:pt idx="8102">
                  <c:v>7.3339999999999996</c:v>
                </c:pt>
                <c:pt idx="8103">
                  <c:v>7.3330000000000002</c:v>
                </c:pt>
                <c:pt idx="8104">
                  <c:v>7.3330000000000002</c:v>
                </c:pt>
                <c:pt idx="8105">
                  <c:v>7.3339999999999996</c:v>
                </c:pt>
                <c:pt idx="8106">
                  <c:v>7.3330000000000002</c:v>
                </c:pt>
                <c:pt idx="8107">
                  <c:v>7.3339999999999996</c:v>
                </c:pt>
                <c:pt idx="8108">
                  <c:v>7.3330000000000002</c:v>
                </c:pt>
                <c:pt idx="8109">
                  <c:v>7.3330000000000002</c:v>
                </c:pt>
                <c:pt idx="8110">
                  <c:v>7.3330000000000002</c:v>
                </c:pt>
                <c:pt idx="8111">
                  <c:v>7.3330000000000002</c:v>
                </c:pt>
                <c:pt idx="8112">
                  <c:v>7.3330000000000002</c:v>
                </c:pt>
                <c:pt idx="8113">
                  <c:v>7.3330000000000002</c:v>
                </c:pt>
                <c:pt idx="8114">
                  <c:v>7.3330000000000002</c:v>
                </c:pt>
                <c:pt idx="8115">
                  <c:v>7.3319999999999999</c:v>
                </c:pt>
                <c:pt idx="8116">
                  <c:v>7.3330000000000002</c:v>
                </c:pt>
                <c:pt idx="8117">
                  <c:v>7.3330000000000002</c:v>
                </c:pt>
                <c:pt idx="8118">
                  <c:v>7.3319999999999999</c:v>
                </c:pt>
                <c:pt idx="8119">
                  <c:v>7.3330000000000002</c:v>
                </c:pt>
                <c:pt idx="8120">
                  <c:v>7.3330000000000002</c:v>
                </c:pt>
                <c:pt idx="8121">
                  <c:v>7.3330000000000002</c:v>
                </c:pt>
                <c:pt idx="8122">
                  <c:v>7.3330000000000002</c:v>
                </c:pt>
                <c:pt idx="8123">
                  <c:v>7.3330000000000002</c:v>
                </c:pt>
                <c:pt idx="8124">
                  <c:v>7.3330000000000002</c:v>
                </c:pt>
                <c:pt idx="8125">
                  <c:v>7.3319999999999999</c:v>
                </c:pt>
                <c:pt idx="8126">
                  <c:v>7.3319999999999999</c:v>
                </c:pt>
                <c:pt idx="8127">
                  <c:v>7.3330000000000002</c:v>
                </c:pt>
                <c:pt idx="8128">
                  <c:v>7.3319999999999999</c:v>
                </c:pt>
                <c:pt idx="8129">
                  <c:v>7.3330000000000002</c:v>
                </c:pt>
                <c:pt idx="8130">
                  <c:v>7.3319999999999999</c:v>
                </c:pt>
                <c:pt idx="8131">
                  <c:v>7.3319999999999999</c:v>
                </c:pt>
                <c:pt idx="8132">
                  <c:v>7.3319999999999999</c:v>
                </c:pt>
                <c:pt idx="8133">
                  <c:v>7.3319999999999999</c:v>
                </c:pt>
                <c:pt idx="8134">
                  <c:v>7.3330000000000002</c:v>
                </c:pt>
                <c:pt idx="8135">
                  <c:v>7.3319999999999999</c:v>
                </c:pt>
                <c:pt idx="8136">
                  <c:v>7.3330000000000002</c:v>
                </c:pt>
                <c:pt idx="8137">
                  <c:v>7.3319999999999999</c:v>
                </c:pt>
                <c:pt idx="8138">
                  <c:v>7.3319999999999999</c:v>
                </c:pt>
                <c:pt idx="8139">
                  <c:v>7.3339999999999996</c:v>
                </c:pt>
                <c:pt idx="8140">
                  <c:v>7.3319999999999999</c:v>
                </c:pt>
                <c:pt idx="8141">
                  <c:v>7.3330000000000002</c:v>
                </c:pt>
                <c:pt idx="8142">
                  <c:v>7.3310000000000004</c:v>
                </c:pt>
                <c:pt idx="8143">
                  <c:v>7.3319999999999999</c:v>
                </c:pt>
                <c:pt idx="8144">
                  <c:v>7.3319999999999999</c:v>
                </c:pt>
                <c:pt idx="8145">
                  <c:v>7.3310000000000004</c:v>
                </c:pt>
                <c:pt idx="8146">
                  <c:v>7.3310000000000004</c:v>
                </c:pt>
                <c:pt idx="8147">
                  <c:v>7.3310000000000004</c:v>
                </c:pt>
                <c:pt idx="8148">
                  <c:v>7.3319999999999999</c:v>
                </c:pt>
                <c:pt idx="8149">
                  <c:v>7.3310000000000004</c:v>
                </c:pt>
                <c:pt idx="8150">
                  <c:v>7.3319999999999999</c:v>
                </c:pt>
                <c:pt idx="8151">
                  <c:v>7.3319999999999999</c:v>
                </c:pt>
                <c:pt idx="8152">
                  <c:v>7.3310000000000004</c:v>
                </c:pt>
                <c:pt idx="8153">
                  <c:v>7.3310000000000004</c:v>
                </c:pt>
                <c:pt idx="8154">
                  <c:v>7.3319999999999999</c:v>
                </c:pt>
                <c:pt idx="8155">
                  <c:v>7.3310000000000004</c:v>
                </c:pt>
                <c:pt idx="8156">
                  <c:v>7.3310000000000004</c:v>
                </c:pt>
                <c:pt idx="8157">
                  <c:v>7.3319999999999999</c:v>
                </c:pt>
                <c:pt idx="8158">
                  <c:v>7.3319999999999999</c:v>
                </c:pt>
                <c:pt idx="8159">
                  <c:v>7.3310000000000004</c:v>
                </c:pt>
                <c:pt idx="8160">
                  <c:v>7.3310000000000004</c:v>
                </c:pt>
                <c:pt idx="8161">
                  <c:v>7.3310000000000004</c:v>
                </c:pt>
                <c:pt idx="8162">
                  <c:v>7.3310000000000004</c:v>
                </c:pt>
                <c:pt idx="8163">
                  <c:v>7.3310000000000004</c:v>
                </c:pt>
                <c:pt idx="8164">
                  <c:v>7.33</c:v>
                </c:pt>
                <c:pt idx="8165">
                  <c:v>7.3310000000000004</c:v>
                </c:pt>
                <c:pt idx="8166">
                  <c:v>7.33</c:v>
                </c:pt>
                <c:pt idx="8167">
                  <c:v>7.3319999999999999</c:v>
                </c:pt>
                <c:pt idx="8168">
                  <c:v>7.3310000000000004</c:v>
                </c:pt>
                <c:pt idx="8169">
                  <c:v>7.3310000000000004</c:v>
                </c:pt>
                <c:pt idx="8170">
                  <c:v>7.3310000000000004</c:v>
                </c:pt>
                <c:pt idx="8171">
                  <c:v>7.3310000000000004</c:v>
                </c:pt>
                <c:pt idx="8172">
                  <c:v>7.33</c:v>
                </c:pt>
                <c:pt idx="8173">
                  <c:v>7.3310000000000004</c:v>
                </c:pt>
                <c:pt idx="8174">
                  <c:v>7.3319999999999999</c:v>
                </c:pt>
                <c:pt idx="8175">
                  <c:v>7.3310000000000004</c:v>
                </c:pt>
                <c:pt idx="8176">
                  <c:v>7.33</c:v>
                </c:pt>
                <c:pt idx="8177">
                  <c:v>7.3310000000000004</c:v>
                </c:pt>
                <c:pt idx="8178">
                  <c:v>7.3310000000000004</c:v>
                </c:pt>
                <c:pt idx="8179">
                  <c:v>7.33</c:v>
                </c:pt>
                <c:pt idx="8180">
                  <c:v>7.3310000000000004</c:v>
                </c:pt>
                <c:pt idx="8181">
                  <c:v>7.3310000000000004</c:v>
                </c:pt>
                <c:pt idx="8182">
                  <c:v>7.33</c:v>
                </c:pt>
                <c:pt idx="8183">
                  <c:v>7.33</c:v>
                </c:pt>
                <c:pt idx="8184">
                  <c:v>7.33</c:v>
                </c:pt>
                <c:pt idx="8185">
                  <c:v>7.33</c:v>
                </c:pt>
                <c:pt idx="8186">
                  <c:v>7.33</c:v>
                </c:pt>
                <c:pt idx="8187">
                  <c:v>7.33</c:v>
                </c:pt>
                <c:pt idx="8188">
                  <c:v>7.33</c:v>
                </c:pt>
                <c:pt idx="8189">
                  <c:v>7.33</c:v>
                </c:pt>
                <c:pt idx="8190">
                  <c:v>7.33</c:v>
                </c:pt>
                <c:pt idx="8191">
                  <c:v>7.33</c:v>
                </c:pt>
                <c:pt idx="8192">
                  <c:v>7.3310000000000004</c:v>
                </c:pt>
                <c:pt idx="8193">
                  <c:v>7.33</c:v>
                </c:pt>
                <c:pt idx="8194">
                  <c:v>7.3310000000000004</c:v>
                </c:pt>
                <c:pt idx="8195">
                  <c:v>7.33</c:v>
                </c:pt>
                <c:pt idx="8196">
                  <c:v>7.3289999999999997</c:v>
                </c:pt>
                <c:pt idx="8197">
                  <c:v>7.33</c:v>
                </c:pt>
                <c:pt idx="8198">
                  <c:v>7.33</c:v>
                </c:pt>
                <c:pt idx="8199">
                  <c:v>7.33</c:v>
                </c:pt>
                <c:pt idx="8200">
                  <c:v>7.33</c:v>
                </c:pt>
                <c:pt idx="8201">
                  <c:v>7.33</c:v>
                </c:pt>
                <c:pt idx="8202">
                  <c:v>7.3289999999999997</c:v>
                </c:pt>
                <c:pt idx="8203">
                  <c:v>7.33</c:v>
                </c:pt>
                <c:pt idx="8204">
                  <c:v>7.3289999999999997</c:v>
                </c:pt>
                <c:pt idx="8205">
                  <c:v>7.3289999999999997</c:v>
                </c:pt>
                <c:pt idx="8206">
                  <c:v>7.33</c:v>
                </c:pt>
                <c:pt idx="8207">
                  <c:v>7.3289999999999997</c:v>
                </c:pt>
                <c:pt idx="8208">
                  <c:v>7.3289999999999997</c:v>
                </c:pt>
                <c:pt idx="8209">
                  <c:v>7.3289999999999997</c:v>
                </c:pt>
                <c:pt idx="8210">
                  <c:v>7.3289999999999997</c:v>
                </c:pt>
                <c:pt idx="8211">
                  <c:v>7.3289999999999997</c:v>
                </c:pt>
                <c:pt idx="8212">
                  <c:v>7.33</c:v>
                </c:pt>
                <c:pt idx="8213">
                  <c:v>7.3289999999999997</c:v>
                </c:pt>
                <c:pt idx="8214">
                  <c:v>7.33</c:v>
                </c:pt>
                <c:pt idx="8215">
                  <c:v>7.3289999999999997</c:v>
                </c:pt>
                <c:pt idx="8216">
                  <c:v>7.33</c:v>
                </c:pt>
                <c:pt idx="8217">
                  <c:v>7.3289999999999997</c:v>
                </c:pt>
                <c:pt idx="8218">
                  <c:v>7.3289999999999997</c:v>
                </c:pt>
                <c:pt idx="8219">
                  <c:v>7.3289999999999997</c:v>
                </c:pt>
                <c:pt idx="8220">
                  <c:v>7.3289999999999997</c:v>
                </c:pt>
                <c:pt idx="8221">
                  <c:v>7.3289999999999997</c:v>
                </c:pt>
                <c:pt idx="8222">
                  <c:v>7.3289999999999997</c:v>
                </c:pt>
                <c:pt idx="8223">
                  <c:v>7.3289999999999997</c:v>
                </c:pt>
                <c:pt idx="8224">
                  <c:v>7.3289999999999997</c:v>
                </c:pt>
                <c:pt idx="8225">
                  <c:v>7.33</c:v>
                </c:pt>
                <c:pt idx="8226">
                  <c:v>7.3289999999999997</c:v>
                </c:pt>
                <c:pt idx="8227">
                  <c:v>7.3289999999999997</c:v>
                </c:pt>
                <c:pt idx="8228">
                  <c:v>7.3289999999999997</c:v>
                </c:pt>
                <c:pt idx="8229">
                  <c:v>7.3280000000000003</c:v>
                </c:pt>
                <c:pt idx="8230">
                  <c:v>7.3289999999999997</c:v>
                </c:pt>
                <c:pt idx="8231">
                  <c:v>7.3280000000000003</c:v>
                </c:pt>
                <c:pt idx="8232">
                  <c:v>7.3289999999999997</c:v>
                </c:pt>
                <c:pt idx="8233">
                  <c:v>7.3280000000000003</c:v>
                </c:pt>
                <c:pt idx="8234">
                  <c:v>7.3280000000000003</c:v>
                </c:pt>
                <c:pt idx="8235">
                  <c:v>7.327</c:v>
                </c:pt>
                <c:pt idx="8236">
                  <c:v>7.3280000000000003</c:v>
                </c:pt>
                <c:pt idx="8237">
                  <c:v>7.3289999999999997</c:v>
                </c:pt>
                <c:pt idx="8238">
                  <c:v>7.3280000000000003</c:v>
                </c:pt>
                <c:pt idx="8239">
                  <c:v>7.3280000000000003</c:v>
                </c:pt>
                <c:pt idx="8240">
                  <c:v>7.3280000000000003</c:v>
                </c:pt>
                <c:pt idx="8241">
                  <c:v>7.3280000000000003</c:v>
                </c:pt>
                <c:pt idx="8242">
                  <c:v>7.3280000000000003</c:v>
                </c:pt>
                <c:pt idx="8243">
                  <c:v>7.3280000000000003</c:v>
                </c:pt>
                <c:pt idx="8244">
                  <c:v>7.3280000000000003</c:v>
                </c:pt>
                <c:pt idx="8245">
                  <c:v>7.3280000000000003</c:v>
                </c:pt>
                <c:pt idx="8246">
                  <c:v>7.3280000000000003</c:v>
                </c:pt>
                <c:pt idx="8247">
                  <c:v>7.3280000000000003</c:v>
                </c:pt>
                <c:pt idx="8248">
                  <c:v>7.3280000000000003</c:v>
                </c:pt>
                <c:pt idx="8249">
                  <c:v>7.3280000000000003</c:v>
                </c:pt>
                <c:pt idx="8250">
                  <c:v>7.3280000000000003</c:v>
                </c:pt>
                <c:pt idx="8251">
                  <c:v>7.3280000000000003</c:v>
                </c:pt>
                <c:pt idx="8252">
                  <c:v>7.3289999999999997</c:v>
                </c:pt>
                <c:pt idx="8253">
                  <c:v>7.3289999999999997</c:v>
                </c:pt>
                <c:pt idx="8254">
                  <c:v>7.3280000000000003</c:v>
                </c:pt>
                <c:pt idx="8255">
                  <c:v>7.3280000000000003</c:v>
                </c:pt>
                <c:pt idx="8256">
                  <c:v>7.327</c:v>
                </c:pt>
                <c:pt idx="8257">
                  <c:v>7.3280000000000003</c:v>
                </c:pt>
                <c:pt idx="8258">
                  <c:v>7.3280000000000003</c:v>
                </c:pt>
                <c:pt idx="8259">
                  <c:v>7.327</c:v>
                </c:pt>
                <c:pt idx="8260">
                  <c:v>7.327</c:v>
                </c:pt>
                <c:pt idx="8261">
                  <c:v>7.327</c:v>
                </c:pt>
                <c:pt idx="8262">
                  <c:v>7.3280000000000003</c:v>
                </c:pt>
                <c:pt idx="8263">
                  <c:v>7.3280000000000003</c:v>
                </c:pt>
                <c:pt idx="8264">
                  <c:v>7.3280000000000003</c:v>
                </c:pt>
                <c:pt idx="8265">
                  <c:v>7.327</c:v>
                </c:pt>
                <c:pt idx="8266">
                  <c:v>7.327</c:v>
                </c:pt>
                <c:pt idx="8267">
                  <c:v>7.327</c:v>
                </c:pt>
                <c:pt idx="8268">
                  <c:v>7.3280000000000003</c:v>
                </c:pt>
                <c:pt idx="8269">
                  <c:v>7.327</c:v>
                </c:pt>
                <c:pt idx="8270">
                  <c:v>7.327</c:v>
                </c:pt>
                <c:pt idx="8271">
                  <c:v>7.327</c:v>
                </c:pt>
                <c:pt idx="8272">
                  <c:v>7.327</c:v>
                </c:pt>
                <c:pt idx="8273">
                  <c:v>7.3259999999999996</c:v>
                </c:pt>
                <c:pt idx="8274">
                  <c:v>7.327</c:v>
                </c:pt>
                <c:pt idx="8275">
                  <c:v>7.327</c:v>
                </c:pt>
                <c:pt idx="8276">
                  <c:v>7.327</c:v>
                </c:pt>
                <c:pt idx="8277">
                  <c:v>7.327</c:v>
                </c:pt>
                <c:pt idx="8278">
                  <c:v>7.3259999999999996</c:v>
                </c:pt>
                <c:pt idx="8279">
                  <c:v>7.327</c:v>
                </c:pt>
                <c:pt idx="8280">
                  <c:v>7.327</c:v>
                </c:pt>
                <c:pt idx="8281">
                  <c:v>7.3259999999999996</c:v>
                </c:pt>
                <c:pt idx="8282">
                  <c:v>7.3259999999999996</c:v>
                </c:pt>
                <c:pt idx="8283">
                  <c:v>7.327</c:v>
                </c:pt>
                <c:pt idx="8284">
                  <c:v>7.3259999999999996</c:v>
                </c:pt>
                <c:pt idx="8285">
                  <c:v>7.327</c:v>
                </c:pt>
                <c:pt idx="8286">
                  <c:v>7.327</c:v>
                </c:pt>
                <c:pt idx="8287">
                  <c:v>7.327</c:v>
                </c:pt>
                <c:pt idx="8288">
                  <c:v>7.3259999999999996</c:v>
                </c:pt>
                <c:pt idx="8289">
                  <c:v>7.327</c:v>
                </c:pt>
                <c:pt idx="8290">
                  <c:v>7.3259999999999996</c:v>
                </c:pt>
                <c:pt idx="8291">
                  <c:v>7.3259999999999996</c:v>
                </c:pt>
                <c:pt idx="8292">
                  <c:v>7.327</c:v>
                </c:pt>
                <c:pt idx="8293">
                  <c:v>7.3259999999999996</c:v>
                </c:pt>
                <c:pt idx="8294">
                  <c:v>7.3259999999999996</c:v>
                </c:pt>
                <c:pt idx="8295">
                  <c:v>7.3259999999999996</c:v>
                </c:pt>
                <c:pt idx="8296">
                  <c:v>7.3259999999999996</c:v>
                </c:pt>
                <c:pt idx="8297">
                  <c:v>7.3259999999999996</c:v>
                </c:pt>
                <c:pt idx="8298">
                  <c:v>7.3259999999999996</c:v>
                </c:pt>
                <c:pt idx="8299">
                  <c:v>7.3259999999999996</c:v>
                </c:pt>
                <c:pt idx="8300">
                  <c:v>7.3259999999999996</c:v>
                </c:pt>
                <c:pt idx="8301">
                  <c:v>7.3250000000000002</c:v>
                </c:pt>
                <c:pt idx="8302">
                  <c:v>7.3259999999999996</c:v>
                </c:pt>
                <c:pt idx="8303">
                  <c:v>7.3250000000000002</c:v>
                </c:pt>
                <c:pt idx="8304">
                  <c:v>7.3250000000000002</c:v>
                </c:pt>
                <c:pt idx="8305">
                  <c:v>7.3250000000000002</c:v>
                </c:pt>
                <c:pt idx="8306">
                  <c:v>7.3250000000000002</c:v>
                </c:pt>
                <c:pt idx="8307">
                  <c:v>7.3259999999999996</c:v>
                </c:pt>
                <c:pt idx="8308">
                  <c:v>7.3259999999999996</c:v>
                </c:pt>
                <c:pt idx="8309">
                  <c:v>7.3259999999999996</c:v>
                </c:pt>
                <c:pt idx="8310">
                  <c:v>7.3250000000000002</c:v>
                </c:pt>
                <c:pt idx="8311">
                  <c:v>7.3259999999999996</c:v>
                </c:pt>
                <c:pt idx="8312">
                  <c:v>7.3259999999999996</c:v>
                </c:pt>
                <c:pt idx="8313">
                  <c:v>7.3259999999999996</c:v>
                </c:pt>
                <c:pt idx="8314">
                  <c:v>7.3259999999999996</c:v>
                </c:pt>
                <c:pt idx="8315">
                  <c:v>7.3250000000000002</c:v>
                </c:pt>
                <c:pt idx="8316">
                  <c:v>7.3250000000000002</c:v>
                </c:pt>
                <c:pt idx="8317">
                  <c:v>7.3250000000000002</c:v>
                </c:pt>
                <c:pt idx="8318">
                  <c:v>7.3259999999999996</c:v>
                </c:pt>
                <c:pt idx="8319">
                  <c:v>7.3239999999999998</c:v>
                </c:pt>
                <c:pt idx="8320">
                  <c:v>7.3250000000000002</c:v>
                </c:pt>
                <c:pt idx="8321">
                  <c:v>7.3250000000000002</c:v>
                </c:pt>
                <c:pt idx="8322">
                  <c:v>7.3250000000000002</c:v>
                </c:pt>
                <c:pt idx="8323">
                  <c:v>7.3250000000000002</c:v>
                </c:pt>
                <c:pt idx="8324">
                  <c:v>7.3239999999999998</c:v>
                </c:pt>
                <c:pt idx="8325">
                  <c:v>7.3250000000000002</c:v>
                </c:pt>
                <c:pt idx="8326">
                  <c:v>7.3250000000000002</c:v>
                </c:pt>
                <c:pt idx="8327">
                  <c:v>7.3239999999999998</c:v>
                </c:pt>
                <c:pt idx="8328">
                  <c:v>7.3250000000000002</c:v>
                </c:pt>
                <c:pt idx="8329">
                  <c:v>7.3250000000000002</c:v>
                </c:pt>
                <c:pt idx="8330">
                  <c:v>7.3250000000000002</c:v>
                </c:pt>
                <c:pt idx="8331">
                  <c:v>7.3250000000000002</c:v>
                </c:pt>
                <c:pt idx="8332">
                  <c:v>7.3250000000000002</c:v>
                </c:pt>
                <c:pt idx="8333">
                  <c:v>7.3250000000000002</c:v>
                </c:pt>
                <c:pt idx="8334">
                  <c:v>7.3250000000000002</c:v>
                </c:pt>
                <c:pt idx="8335">
                  <c:v>7.3239999999999998</c:v>
                </c:pt>
                <c:pt idx="8336">
                  <c:v>7.3250000000000002</c:v>
                </c:pt>
                <c:pt idx="8337">
                  <c:v>7.3250000000000002</c:v>
                </c:pt>
                <c:pt idx="8338">
                  <c:v>7.3239999999999998</c:v>
                </c:pt>
                <c:pt idx="8339">
                  <c:v>7.3239999999999998</c:v>
                </c:pt>
                <c:pt idx="8340">
                  <c:v>7.3250000000000002</c:v>
                </c:pt>
                <c:pt idx="8341">
                  <c:v>7.3250000000000002</c:v>
                </c:pt>
                <c:pt idx="8342">
                  <c:v>7.3250000000000002</c:v>
                </c:pt>
                <c:pt idx="8343">
                  <c:v>7.3239999999999998</c:v>
                </c:pt>
                <c:pt idx="8344">
                  <c:v>7.3239999999999998</c:v>
                </c:pt>
                <c:pt idx="8345">
                  <c:v>7.3239999999999998</c:v>
                </c:pt>
                <c:pt idx="8346">
                  <c:v>7.3239999999999998</c:v>
                </c:pt>
                <c:pt idx="8347">
                  <c:v>7.3239999999999998</c:v>
                </c:pt>
                <c:pt idx="8348">
                  <c:v>7.3239999999999998</c:v>
                </c:pt>
                <c:pt idx="8349">
                  <c:v>7.3239999999999998</c:v>
                </c:pt>
                <c:pt idx="8350">
                  <c:v>7.3239999999999998</c:v>
                </c:pt>
                <c:pt idx="8351">
                  <c:v>7.3230000000000004</c:v>
                </c:pt>
                <c:pt idx="8352">
                  <c:v>7.3239999999999998</c:v>
                </c:pt>
                <c:pt idx="8353">
                  <c:v>7.3230000000000004</c:v>
                </c:pt>
                <c:pt idx="8354">
                  <c:v>7.3250000000000002</c:v>
                </c:pt>
                <c:pt idx="8355">
                  <c:v>7.3239999999999998</c:v>
                </c:pt>
                <c:pt idx="8356">
                  <c:v>7.3230000000000004</c:v>
                </c:pt>
                <c:pt idx="8357">
                  <c:v>7.3239999999999998</c:v>
                </c:pt>
                <c:pt idx="8358">
                  <c:v>7.3230000000000004</c:v>
                </c:pt>
                <c:pt idx="8359">
                  <c:v>7.3230000000000004</c:v>
                </c:pt>
                <c:pt idx="8360">
                  <c:v>7.3239999999999998</c:v>
                </c:pt>
                <c:pt idx="8361">
                  <c:v>7.3239999999999998</c:v>
                </c:pt>
                <c:pt idx="8362">
                  <c:v>7.3230000000000004</c:v>
                </c:pt>
                <c:pt idx="8363">
                  <c:v>7.3230000000000004</c:v>
                </c:pt>
                <c:pt idx="8364">
                  <c:v>7.3239999999999998</c:v>
                </c:pt>
                <c:pt idx="8365">
                  <c:v>7.3230000000000004</c:v>
                </c:pt>
                <c:pt idx="8366">
                  <c:v>7.3239999999999998</c:v>
                </c:pt>
                <c:pt idx="8367">
                  <c:v>7.3230000000000004</c:v>
                </c:pt>
                <c:pt idx="8368">
                  <c:v>7.3230000000000004</c:v>
                </c:pt>
                <c:pt idx="8369">
                  <c:v>7.3230000000000004</c:v>
                </c:pt>
                <c:pt idx="8370">
                  <c:v>7.3230000000000004</c:v>
                </c:pt>
                <c:pt idx="8371">
                  <c:v>7.3230000000000004</c:v>
                </c:pt>
                <c:pt idx="8372">
                  <c:v>7.3239999999999998</c:v>
                </c:pt>
                <c:pt idx="8373">
                  <c:v>7.3230000000000004</c:v>
                </c:pt>
                <c:pt idx="8374">
                  <c:v>7.3230000000000004</c:v>
                </c:pt>
                <c:pt idx="8375">
                  <c:v>7.3230000000000004</c:v>
                </c:pt>
                <c:pt idx="8376">
                  <c:v>7.3230000000000004</c:v>
                </c:pt>
                <c:pt idx="8377">
                  <c:v>7.3220000000000001</c:v>
                </c:pt>
                <c:pt idx="8378">
                  <c:v>7.3230000000000004</c:v>
                </c:pt>
                <c:pt idx="8379">
                  <c:v>7.3220000000000001</c:v>
                </c:pt>
                <c:pt idx="8380">
                  <c:v>7.3230000000000004</c:v>
                </c:pt>
                <c:pt idx="8381">
                  <c:v>7.3230000000000004</c:v>
                </c:pt>
                <c:pt idx="8382">
                  <c:v>7.3220000000000001</c:v>
                </c:pt>
                <c:pt idx="8383">
                  <c:v>7.3230000000000004</c:v>
                </c:pt>
                <c:pt idx="8384">
                  <c:v>7.3230000000000004</c:v>
                </c:pt>
                <c:pt idx="8385">
                  <c:v>7.3230000000000004</c:v>
                </c:pt>
                <c:pt idx="8386">
                  <c:v>7.3220000000000001</c:v>
                </c:pt>
                <c:pt idx="8387">
                  <c:v>7.3220000000000001</c:v>
                </c:pt>
                <c:pt idx="8388">
                  <c:v>7.3230000000000004</c:v>
                </c:pt>
                <c:pt idx="8389">
                  <c:v>7.3230000000000004</c:v>
                </c:pt>
                <c:pt idx="8390">
                  <c:v>7.3230000000000004</c:v>
                </c:pt>
                <c:pt idx="8391">
                  <c:v>7.3230000000000004</c:v>
                </c:pt>
                <c:pt idx="8392">
                  <c:v>7.3220000000000001</c:v>
                </c:pt>
                <c:pt idx="8393">
                  <c:v>7.3230000000000004</c:v>
                </c:pt>
                <c:pt idx="8394">
                  <c:v>7.3220000000000001</c:v>
                </c:pt>
                <c:pt idx="8395">
                  <c:v>7.3220000000000001</c:v>
                </c:pt>
                <c:pt idx="8396">
                  <c:v>7.3230000000000004</c:v>
                </c:pt>
                <c:pt idx="8397">
                  <c:v>7.3230000000000004</c:v>
                </c:pt>
                <c:pt idx="8398">
                  <c:v>7.3220000000000001</c:v>
                </c:pt>
                <c:pt idx="8399">
                  <c:v>7.3209999999999997</c:v>
                </c:pt>
                <c:pt idx="8400">
                  <c:v>7.3220000000000001</c:v>
                </c:pt>
                <c:pt idx="8401">
                  <c:v>7.3220000000000001</c:v>
                </c:pt>
                <c:pt idx="8402">
                  <c:v>7.3220000000000001</c:v>
                </c:pt>
                <c:pt idx="8403">
                  <c:v>7.3209999999999997</c:v>
                </c:pt>
                <c:pt idx="8404">
                  <c:v>7.3220000000000001</c:v>
                </c:pt>
                <c:pt idx="8405">
                  <c:v>7.3220000000000001</c:v>
                </c:pt>
                <c:pt idx="8406">
                  <c:v>7.3220000000000001</c:v>
                </c:pt>
                <c:pt idx="8407">
                  <c:v>7.3220000000000001</c:v>
                </c:pt>
                <c:pt idx="8408">
                  <c:v>7.3220000000000001</c:v>
                </c:pt>
                <c:pt idx="8409">
                  <c:v>7.3220000000000001</c:v>
                </c:pt>
                <c:pt idx="8410">
                  <c:v>7.3220000000000001</c:v>
                </c:pt>
                <c:pt idx="8411">
                  <c:v>7.3230000000000004</c:v>
                </c:pt>
                <c:pt idx="8412">
                  <c:v>7.3220000000000001</c:v>
                </c:pt>
                <c:pt idx="8413">
                  <c:v>7.3220000000000001</c:v>
                </c:pt>
                <c:pt idx="8414">
                  <c:v>7.3220000000000001</c:v>
                </c:pt>
                <c:pt idx="8415">
                  <c:v>7.3220000000000001</c:v>
                </c:pt>
                <c:pt idx="8416">
                  <c:v>7.3220000000000001</c:v>
                </c:pt>
                <c:pt idx="8417">
                  <c:v>7.3209999999999997</c:v>
                </c:pt>
                <c:pt idx="8418">
                  <c:v>7.3209999999999997</c:v>
                </c:pt>
                <c:pt idx="8419">
                  <c:v>7.3220000000000001</c:v>
                </c:pt>
                <c:pt idx="8420">
                  <c:v>7.3220000000000001</c:v>
                </c:pt>
                <c:pt idx="8421">
                  <c:v>7.3220000000000001</c:v>
                </c:pt>
                <c:pt idx="8422">
                  <c:v>7.3220000000000001</c:v>
                </c:pt>
                <c:pt idx="8423">
                  <c:v>7.3220000000000001</c:v>
                </c:pt>
                <c:pt idx="8424">
                  <c:v>7.3209999999999997</c:v>
                </c:pt>
                <c:pt idx="8425">
                  <c:v>7.3220000000000001</c:v>
                </c:pt>
                <c:pt idx="8426">
                  <c:v>7.3209999999999997</c:v>
                </c:pt>
                <c:pt idx="8427">
                  <c:v>7.3209999999999997</c:v>
                </c:pt>
                <c:pt idx="8428">
                  <c:v>7.3209999999999997</c:v>
                </c:pt>
                <c:pt idx="8429">
                  <c:v>7.3209999999999997</c:v>
                </c:pt>
                <c:pt idx="8430">
                  <c:v>7.3209999999999997</c:v>
                </c:pt>
                <c:pt idx="8431">
                  <c:v>7.3220000000000001</c:v>
                </c:pt>
                <c:pt idx="8432">
                  <c:v>7.3209999999999997</c:v>
                </c:pt>
                <c:pt idx="8433">
                  <c:v>7.3209999999999997</c:v>
                </c:pt>
                <c:pt idx="8434">
                  <c:v>7.3209999999999997</c:v>
                </c:pt>
                <c:pt idx="8435">
                  <c:v>7.3209999999999997</c:v>
                </c:pt>
                <c:pt idx="8436">
                  <c:v>7.3209999999999997</c:v>
                </c:pt>
                <c:pt idx="8437">
                  <c:v>7.3209999999999997</c:v>
                </c:pt>
                <c:pt idx="8438">
                  <c:v>7.3209999999999997</c:v>
                </c:pt>
                <c:pt idx="8439">
                  <c:v>7.3209999999999997</c:v>
                </c:pt>
                <c:pt idx="8440">
                  <c:v>7.3209999999999997</c:v>
                </c:pt>
                <c:pt idx="8441">
                  <c:v>7.3209999999999997</c:v>
                </c:pt>
                <c:pt idx="8442">
                  <c:v>7.3209999999999997</c:v>
                </c:pt>
                <c:pt idx="8443">
                  <c:v>7.3209999999999997</c:v>
                </c:pt>
                <c:pt idx="8444">
                  <c:v>7.32</c:v>
                </c:pt>
                <c:pt idx="8445">
                  <c:v>7.3209999999999997</c:v>
                </c:pt>
                <c:pt idx="8446">
                  <c:v>7.3209999999999997</c:v>
                </c:pt>
                <c:pt idx="8447">
                  <c:v>7.3209999999999997</c:v>
                </c:pt>
                <c:pt idx="8448">
                  <c:v>7.32</c:v>
                </c:pt>
                <c:pt idx="8449">
                  <c:v>7.32</c:v>
                </c:pt>
                <c:pt idx="8450">
                  <c:v>7.3209999999999997</c:v>
                </c:pt>
                <c:pt idx="8451">
                  <c:v>7.3209999999999997</c:v>
                </c:pt>
                <c:pt idx="8452">
                  <c:v>7.3220000000000001</c:v>
                </c:pt>
                <c:pt idx="8453">
                  <c:v>7.3209999999999997</c:v>
                </c:pt>
                <c:pt idx="8454">
                  <c:v>7.32</c:v>
                </c:pt>
                <c:pt idx="8455">
                  <c:v>7.3209999999999997</c:v>
                </c:pt>
                <c:pt idx="8456">
                  <c:v>7.3209999999999997</c:v>
                </c:pt>
                <c:pt idx="8457">
                  <c:v>7.32</c:v>
                </c:pt>
                <c:pt idx="8458">
                  <c:v>7.32</c:v>
                </c:pt>
                <c:pt idx="8459">
                  <c:v>7.3209999999999997</c:v>
                </c:pt>
                <c:pt idx="8460">
                  <c:v>7.3209999999999997</c:v>
                </c:pt>
                <c:pt idx="8461">
                  <c:v>7.32</c:v>
                </c:pt>
                <c:pt idx="8462">
                  <c:v>7.32</c:v>
                </c:pt>
                <c:pt idx="8463">
                  <c:v>7.32</c:v>
                </c:pt>
                <c:pt idx="8464">
                  <c:v>7.32</c:v>
                </c:pt>
                <c:pt idx="8465">
                  <c:v>7.32</c:v>
                </c:pt>
                <c:pt idx="8466">
                  <c:v>7.3209999999999997</c:v>
                </c:pt>
                <c:pt idx="8467">
                  <c:v>7.32</c:v>
                </c:pt>
                <c:pt idx="8468">
                  <c:v>7.32</c:v>
                </c:pt>
                <c:pt idx="8469">
                  <c:v>7.32</c:v>
                </c:pt>
                <c:pt idx="8470">
                  <c:v>7.32</c:v>
                </c:pt>
                <c:pt idx="8471">
                  <c:v>7.32</c:v>
                </c:pt>
                <c:pt idx="8472">
                  <c:v>7.32</c:v>
                </c:pt>
                <c:pt idx="8473">
                  <c:v>7.32</c:v>
                </c:pt>
                <c:pt idx="8474">
                  <c:v>7.319</c:v>
                </c:pt>
                <c:pt idx="8475">
                  <c:v>7.32</c:v>
                </c:pt>
                <c:pt idx="8476">
                  <c:v>7.319</c:v>
                </c:pt>
                <c:pt idx="8477">
                  <c:v>7.32</c:v>
                </c:pt>
                <c:pt idx="8478">
                  <c:v>7.32</c:v>
                </c:pt>
                <c:pt idx="8479">
                  <c:v>7.32</c:v>
                </c:pt>
                <c:pt idx="8480">
                  <c:v>7.319</c:v>
                </c:pt>
                <c:pt idx="8481">
                  <c:v>7.32</c:v>
                </c:pt>
                <c:pt idx="8482">
                  <c:v>7.319</c:v>
                </c:pt>
                <c:pt idx="8483">
                  <c:v>7.319</c:v>
                </c:pt>
                <c:pt idx="8484">
                  <c:v>7.319</c:v>
                </c:pt>
                <c:pt idx="8485">
                  <c:v>7.319</c:v>
                </c:pt>
                <c:pt idx="8486">
                  <c:v>7.319</c:v>
                </c:pt>
                <c:pt idx="8487">
                  <c:v>7.32</c:v>
                </c:pt>
                <c:pt idx="8488">
                  <c:v>7.32</c:v>
                </c:pt>
                <c:pt idx="8489">
                  <c:v>7.319</c:v>
                </c:pt>
                <c:pt idx="8490">
                  <c:v>7.32</c:v>
                </c:pt>
                <c:pt idx="8491">
                  <c:v>7.32</c:v>
                </c:pt>
                <c:pt idx="8492">
                  <c:v>7.319</c:v>
                </c:pt>
                <c:pt idx="8493">
                  <c:v>7.319</c:v>
                </c:pt>
                <c:pt idx="8494">
                  <c:v>7.319</c:v>
                </c:pt>
                <c:pt idx="8495">
                  <c:v>7.32</c:v>
                </c:pt>
                <c:pt idx="8496">
                  <c:v>7.319</c:v>
                </c:pt>
                <c:pt idx="8497">
                  <c:v>7.319</c:v>
                </c:pt>
                <c:pt idx="8498">
                  <c:v>7.32</c:v>
                </c:pt>
                <c:pt idx="8499">
                  <c:v>7.3179999999999996</c:v>
                </c:pt>
                <c:pt idx="8500">
                  <c:v>7.319</c:v>
                </c:pt>
                <c:pt idx="8501">
                  <c:v>7.319</c:v>
                </c:pt>
                <c:pt idx="8502">
                  <c:v>7.3179999999999996</c:v>
                </c:pt>
                <c:pt idx="8503">
                  <c:v>7.319</c:v>
                </c:pt>
                <c:pt idx="8504">
                  <c:v>7.319</c:v>
                </c:pt>
                <c:pt idx="8505">
                  <c:v>7.319</c:v>
                </c:pt>
                <c:pt idx="8506">
                  <c:v>7.32</c:v>
                </c:pt>
                <c:pt idx="8507">
                  <c:v>7.3179999999999996</c:v>
                </c:pt>
                <c:pt idx="8508">
                  <c:v>7.319</c:v>
                </c:pt>
                <c:pt idx="8509">
                  <c:v>7.3179999999999996</c:v>
                </c:pt>
                <c:pt idx="8510">
                  <c:v>7.3179999999999996</c:v>
                </c:pt>
                <c:pt idx="8511">
                  <c:v>7.319</c:v>
                </c:pt>
                <c:pt idx="8512">
                  <c:v>7.319</c:v>
                </c:pt>
                <c:pt idx="8513">
                  <c:v>7.3179999999999996</c:v>
                </c:pt>
                <c:pt idx="8514">
                  <c:v>7.319</c:v>
                </c:pt>
                <c:pt idx="8515">
                  <c:v>7.319</c:v>
                </c:pt>
                <c:pt idx="8516">
                  <c:v>7.3179999999999996</c:v>
                </c:pt>
                <c:pt idx="8517">
                  <c:v>7.319</c:v>
                </c:pt>
                <c:pt idx="8518">
                  <c:v>7.3179999999999996</c:v>
                </c:pt>
                <c:pt idx="8519">
                  <c:v>7.319</c:v>
                </c:pt>
                <c:pt idx="8520">
                  <c:v>7.319</c:v>
                </c:pt>
                <c:pt idx="8521">
                  <c:v>7.319</c:v>
                </c:pt>
                <c:pt idx="8522">
                  <c:v>7.319</c:v>
                </c:pt>
                <c:pt idx="8523">
                  <c:v>7.3179999999999996</c:v>
                </c:pt>
                <c:pt idx="8524">
                  <c:v>7.319</c:v>
                </c:pt>
                <c:pt idx="8525">
                  <c:v>7.3179999999999996</c:v>
                </c:pt>
                <c:pt idx="8526">
                  <c:v>7.3179999999999996</c:v>
                </c:pt>
                <c:pt idx="8527">
                  <c:v>7.3179999999999996</c:v>
                </c:pt>
                <c:pt idx="8528">
                  <c:v>7.319</c:v>
                </c:pt>
                <c:pt idx="8529">
                  <c:v>7.319</c:v>
                </c:pt>
                <c:pt idx="8530">
                  <c:v>7.3179999999999996</c:v>
                </c:pt>
                <c:pt idx="8531">
                  <c:v>7.319</c:v>
                </c:pt>
                <c:pt idx="8532">
                  <c:v>7.3179999999999996</c:v>
                </c:pt>
                <c:pt idx="8533">
                  <c:v>7.3179999999999996</c:v>
                </c:pt>
                <c:pt idx="8534">
                  <c:v>7.3179999999999996</c:v>
                </c:pt>
                <c:pt idx="8535">
                  <c:v>7.3179999999999996</c:v>
                </c:pt>
                <c:pt idx="8536">
                  <c:v>7.3179999999999996</c:v>
                </c:pt>
                <c:pt idx="8537">
                  <c:v>7.3179999999999996</c:v>
                </c:pt>
                <c:pt idx="8538">
                  <c:v>7.3179999999999996</c:v>
                </c:pt>
                <c:pt idx="8539">
                  <c:v>7.3179999999999996</c:v>
                </c:pt>
                <c:pt idx="8540">
                  <c:v>7.3170000000000002</c:v>
                </c:pt>
                <c:pt idx="8541">
                  <c:v>7.3179999999999996</c:v>
                </c:pt>
                <c:pt idx="8542">
                  <c:v>7.3179999999999996</c:v>
                </c:pt>
                <c:pt idx="8543">
                  <c:v>7.3179999999999996</c:v>
                </c:pt>
                <c:pt idx="8544">
                  <c:v>7.3170000000000002</c:v>
                </c:pt>
                <c:pt idx="8545">
                  <c:v>7.3179999999999996</c:v>
                </c:pt>
                <c:pt idx="8546">
                  <c:v>7.3179999999999996</c:v>
                </c:pt>
                <c:pt idx="8547">
                  <c:v>7.3179999999999996</c:v>
                </c:pt>
                <c:pt idx="8548">
                  <c:v>7.3170000000000002</c:v>
                </c:pt>
                <c:pt idx="8549">
                  <c:v>7.3179999999999996</c:v>
                </c:pt>
                <c:pt idx="8550">
                  <c:v>7.3170000000000002</c:v>
                </c:pt>
                <c:pt idx="8551">
                  <c:v>7.3170000000000002</c:v>
                </c:pt>
                <c:pt idx="8552">
                  <c:v>7.3179999999999996</c:v>
                </c:pt>
                <c:pt idx="8553">
                  <c:v>7.3170000000000002</c:v>
                </c:pt>
                <c:pt idx="8554">
                  <c:v>7.3170000000000002</c:v>
                </c:pt>
                <c:pt idx="8555">
                  <c:v>7.3179999999999996</c:v>
                </c:pt>
                <c:pt idx="8556">
                  <c:v>7.3170000000000002</c:v>
                </c:pt>
                <c:pt idx="8557">
                  <c:v>7.3179999999999996</c:v>
                </c:pt>
                <c:pt idx="8558">
                  <c:v>7.3179999999999996</c:v>
                </c:pt>
                <c:pt idx="8559">
                  <c:v>7.3179999999999996</c:v>
                </c:pt>
                <c:pt idx="8560">
                  <c:v>7.3170000000000002</c:v>
                </c:pt>
                <c:pt idx="8561">
                  <c:v>7.3170000000000002</c:v>
                </c:pt>
                <c:pt idx="8562">
                  <c:v>7.3179999999999996</c:v>
                </c:pt>
                <c:pt idx="8563">
                  <c:v>7.3170000000000002</c:v>
                </c:pt>
                <c:pt idx="8564">
                  <c:v>7.3170000000000002</c:v>
                </c:pt>
                <c:pt idx="8565">
                  <c:v>7.3170000000000002</c:v>
                </c:pt>
                <c:pt idx="8566">
                  <c:v>7.3170000000000002</c:v>
                </c:pt>
                <c:pt idx="8567">
                  <c:v>7.3170000000000002</c:v>
                </c:pt>
                <c:pt idx="8568">
                  <c:v>7.3170000000000002</c:v>
                </c:pt>
                <c:pt idx="8569">
                  <c:v>7.3170000000000002</c:v>
                </c:pt>
                <c:pt idx="8570">
                  <c:v>7.3170000000000002</c:v>
                </c:pt>
                <c:pt idx="8571">
                  <c:v>7.3170000000000002</c:v>
                </c:pt>
                <c:pt idx="8572">
                  <c:v>7.3170000000000002</c:v>
                </c:pt>
                <c:pt idx="8573">
                  <c:v>7.3170000000000002</c:v>
                </c:pt>
                <c:pt idx="8574">
                  <c:v>7.3170000000000002</c:v>
                </c:pt>
                <c:pt idx="8575">
                  <c:v>7.3179999999999996</c:v>
                </c:pt>
                <c:pt idx="8576">
                  <c:v>7.3170000000000002</c:v>
                </c:pt>
                <c:pt idx="8577">
                  <c:v>7.3159999999999998</c:v>
                </c:pt>
                <c:pt idx="8578">
                  <c:v>7.3170000000000002</c:v>
                </c:pt>
                <c:pt idx="8579">
                  <c:v>7.3170000000000002</c:v>
                </c:pt>
                <c:pt idx="8580">
                  <c:v>7.3170000000000002</c:v>
                </c:pt>
                <c:pt idx="8581">
                  <c:v>7.3159999999999998</c:v>
                </c:pt>
                <c:pt idx="8582">
                  <c:v>7.3170000000000002</c:v>
                </c:pt>
                <c:pt idx="8583">
                  <c:v>7.3170000000000002</c:v>
                </c:pt>
                <c:pt idx="8584">
                  <c:v>7.3170000000000002</c:v>
                </c:pt>
                <c:pt idx="8585">
                  <c:v>7.3159999999999998</c:v>
                </c:pt>
                <c:pt idx="8586">
                  <c:v>7.3170000000000002</c:v>
                </c:pt>
                <c:pt idx="8587">
                  <c:v>7.3170000000000002</c:v>
                </c:pt>
                <c:pt idx="8588">
                  <c:v>7.3159999999999998</c:v>
                </c:pt>
                <c:pt idx="8589">
                  <c:v>7.3170000000000002</c:v>
                </c:pt>
                <c:pt idx="8590">
                  <c:v>7.3170000000000002</c:v>
                </c:pt>
                <c:pt idx="8591">
                  <c:v>7.3159999999999998</c:v>
                </c:pt>
                <c:pt idx="8592">
                  <c:v>7.3170000000000002</c:v>
                </c:pt>
                <c:pt idx="8593">
                  <c:v>7.3170000000000002</c:v>
                </c:pt>
                <c:pt idx="8594">
                  <c:v>7.3170000000000002</c:v>
                </c:pt>
                <c:pt idx="8595">
                  <c:v>7.3170000000000002</c:v>
                </c:pt>
                <c:pt idx="8596">
                  <c:v>7.3170000000000002</c:v>
                </c:pt>
                <c:pt idx="8597">
                  <c:v>7.3159999999999998</c:v>
                </c:pt>
                <c:pt idx="8598">
                  <c:v>7.3170000000000002</c:v>
                </c:pt>
                <c:pt idx="8599">
                  <c:v>7.3159999999999998</c:v>
                </c:pt>
                <c:pt idx="8600">
                  <c:v>7.3170000000000002</c:v>
                </c:pt>
                <c:pt idx="8601">
                  <c:v>7.3159999999999998</c:v>
                </c:pt>
                <c:pt idx="8602">
                  <c:v>7.3159999999999998</c:v>
                </c:pt>
                <c:pt idx="8603">
                  <c:v>7.3159999999999998</c:v>
                </c:pt>
                <c:pt idx="8604">
                  <c:v>7.3159999999999998</c:v>
                </c:pt>
                <c:pt idx="8605">
                  <c:v>7.3159999999999998</c:v>
                </c:pt>
                <c:pt idx="8606">
                  <c:v>7.3170000000000002</c:v>
                </c:pt>
                <c:pt idx="8607">
                  <c:v>7.3159999999999998</c:v>
                </c:pt>
                <c:pt idx="8608">
                  <c:v>7.3159999999999998</c:v>
                </c:pt>
                <c:pt idx="8609">
                  <c:v>7.3159999999999998</c:v>
                </c:pt>
                <c:pt idx="8610">
                  <c:v>7.3159999999999998</c:v>
                </c:pt>
                <c:pt idx="8611">
                  <c:v>7.3159999999999998</c:v>
                </c:pt>
                <c:pt idx="8612">
                  <c:v>7.3159999999999998</c:v>
                </c:pt>
                <c:pt idx="8613">
                  <c:v>7.3159999999999998</c:v>
                </c:pt>
                <c:pt idx="8614">
                  <c:v>7.3159999999999998</c:v>
                </c:pt>
                <c:pt idx="8615">
                  <c:v>7.3159999999999998</c:v>
                </c:pt>
                <c:pt idx="8616">
                  <c:v>7.3170000000000002</c:v>
                </c:pt>
                <c:pt idx="8617">
                  <c:v>7.3159999999999998</c:v>
                </c:pt>
                <c:pt idx="8618">
                  <c:v>7.3150000000000004</c:v>
                </c:pt>
                <c:pt idx="8619">
                  <c:v>7.3159999999999998</c:v>
                </c:pt>
                <c:pt idx="8620">
                  <c:v>7.3159999999999998</c:v>
                </c:pt>
                <c:pt idx="8621">
                  <c:v>7.3159999999999998</c:v>
                </c:pt>
                <c:pt idx="8622">
                  <c:v>7.3159999999999998</c:v>
                </c:pt>
                <c:pt idx="8623">
                  <c:v>7.3159999999999998</c:v>
                </c:pt>
                <c:pt idx="8624">
                  <c:v>7.3159999999999998</c:v>
                </c:pt>
                <c:pt idx="8625">
                  <c:v>7.3159999999999998</c:v>
                </c:pt>
                <c:pt idx="8626">
                  <c:v>7.3159999999999998</c:v>
                </c:pt>
                <c:pt idx="8627">
                  <c:v>7.3159999999999998</c:v>
                </c:pt>
                <c:pt idx="8628">
                  <c:v>7.3159999999999998</c:v>
                </c:pt>
                <c:pt idx="8629">
                  <c:v>7.3159999999999998</c:v>
                </c:pt>
                <c:pt idx="8630">
                  <c:v>7.3159999999999998</c:v>
                </c:pt>
                <c:pt idx="8631">
                  <c:v>7.3150000000000004</c:v>
                </c:pt>
                <c:pt idx="8632">
                  <c:v>7.3150000000000004</c:v>
                </c:pt>
                <c:pt idx="8633">
                  <c:v>7.3159999999999998</c:v>
                </c:pt>
                <c:pt idx="8634">
                  <c:v>7.3150000000000004</c:v>
                </c:pt>
                <c:pt idx="8635">
                  <c:v>7.3159999999999998</c:v>
                </c:pt>
                <c:pt idx="8636">
                  <c:v>7.3150000000000004</c:v>
                </c:pt>
                <c:pt idx="8637">
                  <c:v>7.3159999999999998</c:v>
                </c:pt>
                <c:pt idx="8638">
                  <c:v>7.3159999999999998</c:v>
                </c:pt>
                <c:pt idx="8639">
                  <c:v>7.3159999999999998</c:v>
                </c:pt>
                <c:pt idx="8640">
                  <c:v>7.3159999999999998</c:v>
                </c:pt>
                <c:pt idx="8641">
                  <c:v>7.3150000000000004</c:v>
                </c:pt>
                <c:pt idx="8642">
                  <c:v>7.3150000000000004</c:v>
                </c:pt>
                <c:pt idx="8643">
                  <c:v>7.3159999999999998</c:v>
                </c:pt>
                <c:pt idx="8644">
                  <c:v>7.3150000000000004</c:v>
                </c:pt>
                <c:pt idx="8645">
                  <c:v>7.3159999999999998</c:v>
                </c:pt>
                <c:pt idx="8646">
                  <c:v>7.3150000000000004</c:v>
                </c:pt>
                <c:pt idx="8647">
                  <c:v>7.3159999999999998</c:v>
                </c:pt>
                <c:pt idx="8648">
                  <c:v>7.3150000000000004</c:v>
                </c:pt>
                <c:pt idx="8649">
                  <c:v>7.3150000000000004</c:v>
                </c:pt>
                <c:pt idx="8650">
                  <c:v>7.3150000000000004</c:v>
                </c:pt>
                <c:pt idx="8651">
                  <c:v>7.3150000000000004</c:v>
                </c:pt>
                <c:pt idx="8652">
                  <c:v>7.3150000000000004</c:v>
                </c:pt>
                <c:pt idx="8653">
                  <c:v>7.3150000000000004</c:v>
                </c:pt>
                <c:pt idx="8654">
                  <c:v>7.3159999999999998</c:v>
                </c:pt>
                <c:pt idx="8655">
                  <c:v>7.3150000000000004</c:v>
                </c:pt>
                <c:pt idx="8656">
                  <c:v>7.3150000000000004</c:v>
                </c:pt>
                <c:pt idx="8657">
                  <c:v>7.3150000000000004</c:v>
                </c:pt>
                <c:pt idx="8658">
                  <c:v>7.3150000000000004</c:v>
                </c:pt>
                <c:pt idx="8659">
                  <c:v>7.3150000000000004</c:v>
                </c:pt>
                <c:pt idx="8660">
                  <c:v>7.3159999999999998</c:v>
                </c:pt>
                <c:pt idx="8661">
                  <c:v>7.3150000000000004</c:v>
                </c:pt>
                <c:pt idx="8662">
                  <c:v>7.3159999999999998</c:v>
                </c:pt>
                <c:pt idx="8663">
                  <c:v>7.3140000000000001</c:v>
                </c:pt>
                <c:pt idx="8664">
                  <c:v>7.3150000000000004</c:v>
                </c:pt>
                <c:pt idx="8665">
                  <c:v>7.3150000000000004</c:v>
                </c:pt>
                <c:pt idx="8666">
                  <c:v>7.3150000000000004</c:v>
                </c:pt>
                <c:pt idx="8667">
                  <c:v>7.3140000000000001</c:v>
                </c:pt>
                <c:pt idx="8668">
                  <c:v>7.3150000000000004</c:v>
                </c:pt>
                <c:pt idx="8669">
                  <c:v>7.3150000000000004</c:v>
                </c:pt>
                <c:pt idx="8670">
                  <c:v>7.3150000000000004</c:v>
                </c:pt>
                <c:pt idx="8671">
                  <c:v>7.3150000000000004</c:v>
                </c:pt>
                <c:pt idx="8672">
                  <c:v>7.3150000000000004</c:v>
                </c:pt>
                <c:pt idx="8673">
                  <c:v>7.3150000000000004</c:v>
                </c:pt>
                <c:pt idx="8674">
                  <c:v>7.3150000000000004</c:v>
                </c:pt>
                <c:pt idx="8675">
                  <c:v>7.3150000000000004</c:v>
                </c:pt>
                <c:pt idx="8676">
                  <c:v>7.3150000000000004</c:v>
                </c:pt>
                <c:pt idx="8677">
                  <c:v>7.3150000000000004</c:v>
                </c:pt>
                <c:pt idx="8678">
                  <c:v>7.3150000000000004</c:v>
                </c:pt>
                <c:pt idx="8679">
                  <c:v>7.3140000000000001</c:v>
                </c:pt>
                <c:pt idx="8680">
                  <c:v>7.3140000000000001</c:v>
                </c:pt>
                <c:pt idx="8681">
                  <c:v>7.3150000000000004</c:v>
                </c:pt>
                <c:pt idx="8682">
                  <c:v>7.3150000000000004</c:v>
                </c:pt>
                <c:pt idx="8683">
                  <c:v>7.3150000000000004</c:v>
                </c:pt>
                <c:pt idx="8684">
                  <c:v>7.3140000000000001</c:v>
                </c:pt>
                <c:pt idx="8685">
                  <c:v>7.3140000000000001</c:v>
                </c:pt>
                <c:pt idx="8686">
                  <c:v>7.3150000000000004</c:v>
                </c:pt>
                <c:pt idx="8687">
                  <c:v>7.3140000000000001</c:v>
                </c:pt>
                <c:pt idx="8688">
                  <c:v>7.3150000000000004</c:v>
                </c:pt>
                <c:pt idx="8689">
                  <c:v>7.3150000000000004</c:v>
                </c:pt>
                <c:pt idx="8690">
                  <c:v>7.3140000000000001</c:v>
                </c:pt>
                <c:pt idx="8691">
                  <c:v>7.3140000000000001</c:v>
                </c:pt>
                <c:pt idx="8692">
                  <c:v>7.3150000000000004</c:v>
                </c:pt>
                <c:pt idx="8693">
                  <c:v>7.3140000000000001</c:v>
                </c:pt>
                <c:pt idx="8694">
                  <c:v>7.3129999999999997</c:v>
                </c:pt>
                <c:pt idx="8695">
                  <c:v>7.3140000000000001</c:v>
                </c:pt>
                <c:pt idx="8696">
                  <c:v>7.3140000000000001</c:v>
                </c:pt>
                <c:pt idx="8697">
                  <c:v>7.3140000000000001</c:v>
                </c:pt>
                <c:pt idx="8698">
                  <c:v>7.3140000000000001</c:v>
                </c:pt>
                <c:pt idx="8699">
                  <c:v>7.3140000000000001</c:v>
                </c:pt>
                <c:pt idx="8700">
                  <c:v>7.3150000000000004</c:v>
                </c:pt>
                <c:pt idx="8701">
                  <c:v>7.3129999999999997</c:v>
                </c:pt>
                <c:pt idx="8702">
                  <c:v>7.3140000000000001</c:v>
                </c:pt>
                <c:pt idx="8703">
                  <c:v>7.3140000000000001</c:v>
                </c:pt>
                <c:pt idx="8704">
                  <c:v>7.3140000000000001</c:v>
                </c:pt>
                <c:pt idx="8705">
                  <c:v>7.3140000000000001</c:v>
                </c:pt>
                <c:pt idx="8706">
                  <c:v>7.3140000000000001</c:v>
                </c:pt>
                <c:pt idx="8707">
                  <c:v>7.3140000000000001</c:v>
                </c:pt>
                <c:pt idx="8708">
                  <c:v>7.3129999999999997</c:v>
                </c:pt>
                <c:pt idx="8709">
                  <c:v>7.3129999999999997</c:v>
                </c:pt>
                <c:pt idx="8710">
                  <c:v>7.3129999999999997</c:v>
                </c:pt>
                <c:pt idx="8711">
                  <c:v>7.3129999999999997</c:v>
                </c:pt>
                <c:pt idx="8712">
                  <c:v>7.3140000000000001</c:v>
                </c:pt>
                <c:pt idx="8713">
                  <c:v>7.3129999999999997</c:v>
                </c:pt>
                <c:pt idx="8714">
                  <c:v>7.3129999999999997</c:v>
                </c:pt>
                <c:pt idx="8715">
                  <c:v>7.3140000000000001</c:v>
                </c:pt>
                <c:pt idx="8716">
                  <c:v>7.3140000000000001</c:v>
                </c:pt>
                <c:pt idx="8717">
                  <c:v>7.3129999999999997</c:v>
                </c:pt>
                <c:pt idx="8718">
                  <c:v>7.3129999999999997</c:v>
                </c:pt>
                <c:pt idx="8719">
                  <c:v>7.3129999999999997</c:v>
                </c:pt>
                <c:pt idx="8720">
                  <c:v>7.3140000000000001</c:v>
                </c:pt>
                <c:pt idx="8721">
                  <c:v>7.3120000000000003</c:v>
                </c:pt>
                <c:pt idx="8722">
                  <c:v>7.3129999999999997</c:v>
                </c:pt>
                <c:pt idx="8723">
                  <c:v>7.3129999999999997</c:v>
                </c:pt>
                <c:pt idx="8724">
                  <c:v>7.3129999999999997</c:v>
                </c:pt>
                <c:pt idx="8725">
                  <c:v>7.3129999999999997</c:v>
                </c:pt>
                <c:pt idx="8726">
                  <c:v>7.3129999999999997</c:v>
                </c:pt>
                <c:pt idx="8727">
                  <c:v>7.3140000000000001</c:v>
                </c:pt>
                <c:pt idx="8728">
                  <c:v>7.3129999999999997</c:v>
                </c:pt>
                <c:pt idx="8729">
                  <c:v>7.3129999999999997</c:v>
                </c:pt>
                <c:pt idx="8730">
                  <c:v>7.3120000000000003</c:v>
                </c:pt>
                <c:pt idx="8731">
                  <c:v>7.3129999999999997</c:v>
                </c:pt>
                <c:pt idx="8732">
                  <c:v>7.3129999999999997</c:v>
                </c:pt>
                <c:pt idx="8733">
                  <c:v>7.3129999999999997</c:v>
                </c:pt>
                <c:pt idx="8734">
                  <c:v>7.3129999999999997</c:v>
                </c:pt>
                <c:pt idx="8735">
                  <c:v>7.3120000000000003</c:v>
                </c:pt>
                <c:pt idx="8736">
                  <c:v>7.3129999999999997</c:v>
                </c:pt>
                <c:pt idx="8737">
                  <c:v>7.3129999999999997</c:v>
                </c:pt>
                <c:pt idx="8738">
                  <c:v>7.3120000000000003</c:v>
                </c:pt>
                <c:pt idx="8739">
                  <c:v>7.3129999999999997</c:v>
                </c:pt>
                <c:pt idx="8740">
                  <c:v>7.3129999999999997</c:v>
                </c:pt>
                <c:pt idx="8741">
                  <c:v>7.3129999999999997</c:v>
                </c:pt>
                <c:pt idx="8742">
                  <c:v>7.3120000000000003</c:v>
                </c:pt>
                <c:pt idx="8743">
                  <c:v>7.3120000000000003</c:v>
                </c:pt>
                <c:pt idx="8744">
                  <c:v>7.3129999999999997</c:v>
                </c:pt>
                <c:pt idx="8745">
                  <c:v>7.3120000000000003</c:v>
                </c:pt>
                <c:pt idx="8746">
                  <c:v>7.3120000000000003</c:v>
                </c:pt>
                <c:pt idx="8747">
                  <c:v>7.3120000000000003</c:v>
                </c:pt>
                <c:pt idx="8748">
                  <c:v>7.3120000000000003</c:v>
                </c:pt>
                <c:pt idx="8749">
                  <c:v>7.3129999999999997</c:v>
                </c:pt>
                <c:pt idx="8750">
                  <c:v>7.3129999999999997</c:v>
                </c:pt>
                <c:pt idx="8751">
                  <c:v>7.3120000000000003</c:v>
                </c:pt>
                <c:pt idx="8752">
                  <c:v>7.3129999999999997</c:v>
                </c:pt>
                <c:pt idx="8753">
                  <c:v>7.3120000000000003</c:v>
                </c:pt>
                <c:pt idx="8754">
                  <c:v>7.3120000000000003</c:v>
                </c:pt>
                <c:pt idx="8755">
                  <c:v>7.3120000000000003</c:v>
                </c:pt>
                <c:pt idx="8756">
                  <c:v>7.3120000000000003</c:v>
                </c:pt>
                <c:pt idx="8757">
                  <c:v>7.3120000000000003</c:v>
                </c:pt>
                <c:pt idx="8758">
                  <c:v>7.3120000000000003</c:v>
                </c:pt>
                <c:pt idx="8759">
                  <c:v>7.3120000000000003</c:v>
                </c:pt>
                <c:pt idx="8760">
                  <c:v>7.3120000000000003</c:v>
                </c:pt>
                <c:pt idx="8761">
                  <c:v>7.3120000000000003</c:v>
                </c:pt>
                <c:pt idx="8762">
                  <c:v>7.3120000000000003</c:v>
                </c:pt>
                <c:pt idx="8763">
                  <c:v>7.3120000000000003</c:v>
                </c:pt>
                <c:pt idx="8764">
                  <c:v>7.3109999999999999</c:v>
                </c:pt>
                <c:pt idx="8765">
                  <c:v>7.3109999999999999</c:v>
                </c:pt>
                <c:pt idx="8766">
                  <c:v>7.3120000000000003</c:v>
                </c:pt>
                <c:pt idx="8767">
                  <c:v>7.3120000000000003</c:v>
                </c:pt>
                <c:pt idx="8768">
                  <c:v>7.3120000000000003</c:v>
                </c:pt>
                <c:pt idx="8769">
                  <c:v>7.3109999999999999</c:v>
                </c:pt>
                <c:pt idx="8770">
                  <c:v>7.3109999999999999</c:v>
                </c:pt>
                <c:pt idx="8771">
                  <c:v>7.3120000000000003</c:v>
                </c:pt>
                <c:pt idx="8772">
                  <c:v>7.3120000000000003</c:v>
                </c:pt>
                <c:pt idx="8773">
                  <c:v>7.3120000000000003</c:v>
                </c:pt>
                <c:pt idx="8774">
                  <c:v>7.3120000000000003</c:v>
                </c:pt>
                <c:pt idx="8775">
                  <c:v>7.3120000000000003</c:v>
                </c:pt>
                <c:pt idx="8776">
                  <c:v>7.3120000000000003</c:v>
                </c:pt>
                <c:pt idx="8777">
                  <c:v>7.3120000000000003</c:v>
                </c:pt>
                <c:pt idx="8778">
                  <c:v>7.3120000000000003</c:v>
                </c:pt>
                <c:pt idx="8779">
                  <c:v>7.3120000000000003</c:v>
                </c:pt>
                <c:pt idx="8780">
                  <c:v>7.3120000000000003</c:v>
                </c:pt>
                <c:pt idx="8781">
                  <c:v>7.3109999999999999</c:v>
                </c:pt>
                <c:pt idx="8782">
                  <c:v>7.3109999999999999</c:v>
                </c:pt>
                <c:pt idx="8783">
                  <c:v>7.3120000000000003</c:v>
                </c:pt>
                <c:pt idx="8784">
                  <c:v>7.3120000000000003</c:v>
                </c:pt>
                <c:pt idx="8785">
                  <c:v>7.3120000000000003</c:v>
                </c:pt>
                <c:pt idx="8786">
                  <c:v>7.3120000000000003</c:v>
                </c:pt>
                <c:pt idx="8787">
                  <c:v>7.3109999999999999</c:v>
                </c:pt>
                <c:pt idx="8788">
                  <c:v>7.3109999999999999</c:v>
                </c:pt>
                <c:pt idx="8789">
                  <c:v>7.3109999999999999</c:v>
                </c:pt>
                <c:pt idx="8790">
                  <c:v>7.3120000000000003</c:v>
                </c:pt>
                <c:pt idx="8791">
                  <c:v>7.3109999999999999</c:v>
                </c:pt>
                <c:pt idx="8792">
                  <c:v>7.3109999999999999</c:v>
                </c:pt>
                <c:pt idx="8793">
                  <c:v>7.3120000000000003</c:v>
                </c:pt>
                <c:pt idx="8794">
                  <c:v>7.3120000000000003</c:v>
                </c:pt>
                <c:pt idx="8795">
                  <c:v>7.3109999999999999</c:v>
                </c:pt>
                <c:pt idx="8796">
                  <c:v>7.3109999999999999</c:v>
                </c:pt>
                <c:pt idx="8797">
                  <c:v>7.3109999999999999</c:v>
                </c:pt>
                <c:pt idx="8798">
                  <c:v>7.3109999999999999</c:v>
                </c:pt>
                <c:pt idx="8799">
                  <c:v>7.3109999999999999</c:v>
                </c:pt>
                <c:pt idx="8800">
                  <c:v>7.3109999999999999</c:v>
                </c:pt>
                <c:pt idx="8801">
                  <c:v>7.3109999999999999</c:v>
                </c:pt>
                <c:pt idx="8802">
                  <c:v>7.3109999999999999</c:v>
                </c:pt>
                <c:pt idx="8803">
                  <c:v>7.3109999999999999</c:v>
                </c:pt>
                <c:pt idx="8804">
                  <c:v>7.3109999999999999</c:v>
                </c:pt>
                <c:pt idx="8805">
                  <c:v>7.3109999999999999</c:v>
                </c:pt>
                <c:pt idx="8806">
                  <c:v>7.3109999999999999</c:v>
                </c:pt>
                <c:pt idx="8807">
                  <c:v>7.3109999999999999</c:v>
                </c:pt>
                <c:pt idx="8808">
                  <c:v>7.3109999999999999</c:v>
                </c:pt>
                <c:pt idx="8809">
                  <c:v>7.31</c:v>
                </c:pt>
                <c:pt idx="8810">
                  <c:v>7.31</c:v>
                </c:pt>
                <c:pt idx="8811">
                  <c:v>7.31</c:v>
                </c:pt>
                <c:pt idx="8812">
                  <c:v>7.3109999999999999</c:v>
                </c:pt>
                <c:pt idx="8813">
                  <c:v>7.3109999999999999</c:v>
                </c:pt>
                <c:pt idx="8814">
                  <c:v>7.31</c:v>
                </c:pt>
                <c:pt idx="8815">
                  <c:v>7.31</c:v>
                </c:pt>
                <c:pt idx="8816">
                  <c:v>7.31</c:v>
                </c:pt>
                <c:pt idx="8817">
                  <c:v>7.31</c:v>
                </c:pt>
                <c:pt idx="8818">
                  <c:v>7.3090000000000002</c:v>
                </c:pt>
                <c:pt idx="8819">
                  <c:v>7.31</c:v>
                </c:pt>
                <c:pt idx="8820">
                  <c:v>7.31</c:v>
                </c:pt>
                <c:pt idx="8821">
                  <c:v>7.31</c:v>
                </c:pt>
                <c:pt idx="8822">
                  <c:v>7.31</c:v>
                </c:pt>
                <c:pt idx="8823">
                  <c:v>7.31</c:v>
                </c:pt>
                <c:pt idx="8824">
                  <c:v>7.3109999999999999</c:v>
                </c:pt>
                <c:pt idx="8825">
                  <c:v>7.31</c:v>
                </c:pt>
                <c:pt idx="8826">
                  <c:v>7.31</c:v>
                </c:pt>
                <c:pt idx="8827">
                  <c:v>7.31</c:v>
                </c:pt>
                <c:pt idx="8828">
                  <c:v>7.31</c:v>
                </c:pt>
                <c:pt idx="8829">
                  <c:v>7.3109999999999999</c:v>
                </c:pt>
                <c:pt idx="8830">
                  <c:v>7.31</c:v>
                </c:pt>
                <c:pt idx="8831">
                  <c:v>7.31</c:v>
                </c:pt>
                <c:pt idx="8832">
                  <c:v>7.31</c:v>
                </c:pt>
                <c:pt idx="8833">
                  <c:v>7.3090000000000002</c:v>
                </c:pt>
                <c:pt idx="8834">
                  <c:v>7.31</c:v>
                </c:pt>
                <c:pt idx="8835">
                  <c:v>7.31</c:v>
                </c:pt>
                <c:pt idx="8836">
                  <c:v>7.31</c:v>
                </c:pt>
                <c:pt idx="8837">
                  <c:v>7.31</c:v>
                </c:pt>
                <c:pt idx="8838">
                  <c:v>7.31</c:v>
                </c:pt>
                <c:pt idx="8839">
                  <c:v>7.31</c:v>
                </c:pt>
                <c:pt idx="8840">
                  <c:v>7.31</c:v>
                </c:pt>
                <c:pt idx="8841">
                  <c:v>7.31</c:v>
                </c:pt>
                <c:pt idx="8842">
                  <c:v>7.3090000000000002</c:v>
                </c:pt>
                <c:pt idx="8843">
                  <c:v>7.3090000000000002</c:v>
                </c:pt>
                <c:pt idx="8844">
                  <c:v>7.31</c:v>
                </c:pt>
                <c:pt idx="8845">
                  <c:v>7.31</c:v>
                </c:pt>
                <c:pt idx="8846">
                  <c:v>7.3090000000000002</c:v>
                </c:pt>
                <c:pt idx="8847">
                  <c:v>7.3090000000000002</c:v>
                </c:pt>
                <c:pt idx="8848">
                  <c:v>7.31</c:v>
                </c:pt>
                <c:pt idx="8849">
                  <c:v>7.3090000000000002</c:v>
                </c:pt>
                <c:pt idx="8850">
                  <c:v>7.3090000000000002</c:v>
                </c:pt>
                <c:pt idx="8851">
                  <c:v>7.3090000000000002</c:v>
                </c:pt>
                <c:pt idx="8852">
                  <c:v>7.3090000000000002</c:v>
                </c:pt>
                <c:pt idx="8853">
                  <c:v>7.3090000000000002</c:v>
                </c:pt>
                <c:pt idx="8854">
                  <c:v>7.3090000000000002</c:v>
                </c:pt>
                <c:pt idx="8855">
                  <c:v>7.31</c:v>
                </c:pt>
                <c:pt idx="8856">
                  <c:v>7.3090000000000002</c:v>
                </c:pt>
                <c:pt idx="8857">
                  <c:v>7.3090000000000002</c:v>
                </c:pt>
                <c:pt idx="8858">
                  <c:v>7.3090000000000002</c:v>
                </c:pt>
                <c:pt idx="8859">
                  <c:v>7.3090000000000002</c:v>
                </c:pt>
                <c:pt idx="8860">
                  <c:v>7.3090000000000002</c:v>
                </c:pt>
                <c:pt idx="8861">
                  <c:v>7.3090000000000002</c:v>
                </c:pt>
                <c:pt idx="8862">
                  <c:v>7.3090000000000002</c:v>
                </c:pt>
                <c:pt idx="8863">
                  <c:v>7.3090000000000002</c:v>
                </c:pt>
                <c:pt idx="8864">
                  <c:v>7.3090000000000002</c:v>
                </c:pt>
                <c:pt idx="8865">
                  <c:v>7.3090000000000002</c:v>
                </c:pt>
                <c:pt idx="8866">
                  <c:v>7.3090000000000002</c:v>
                </c:pt>
                <c:pt idx="8867">
                  <c:v>7.3090000000000002</c:v>
                </c:pt>
                <c:pt idx="8868">
                  <c:v>7.3090000000000002</c:v>
                </c:pt>
                <c:pt idx="8869">
                  <c:v>7.3079999999999998</c:v>
                </c:pt>
                <c:pt idx="8870">
                  <c:v>7.3079999999999998</c:v>
                </c:pt>
                <c:pt idx="8871">
                  <c:v>7.3090000000000002</c:v>
                </c:pt>
                <c:pt idx="8872">
                  <c:v>7.3090000000000002</c:v>
                </c:pt>
                <c:pt idx="8873">
                  <c:v>7.3079999999999998</c:v>
                </c:pt>
                <c:pt idx="8874">
                  <c:v>7.3079999999999998</c:v>
                </c:pt>
                <c:pt idx="8875">
                  <c:v>7.3090000000000002</c:v>
                </c:pt>
                <c:pt idx="8876">
                  <c:v>7.3079999999999998</c:v>
                </c:pt>
                <c:pt idx="8877">
                  <c:v>7.3090000000000002</c:v>
                </c:pt>
                <c:pt idx="8878">
                  <c:v>7.3090000000000002</c:v>
                </c:pt>
                <c:pt idx="8879">
                  <c:v>7.3079999999999998</c:v>
                </c:pt>
                <c:pt idx="8880">
                  <c:v>7.3090000000000002</c:v>
                </c:pt>
                <c:pt idx="8881">
                  <c:v>7.3079999999999998</c:v>
                </c:pt>
                <c:pt idx="8882">
                  <c:v>7.3079999999999998</c:v>
                </c:pt>
                <c:pt idx="8883">
                  <c:v>7.3079999999999998</c:v>
                </c:pt>
                <c:pt idx="8884">
                  <c:v>7.3079999999999998</c:v>
                </c:pt>
                <c:pt idx="8885">
                  <c:v>7.3079999999999998</c:v>
                </c:pt>
                <c:pt idx="8886">
                  <c:v>7.3079999999999998</c:v>
                </c:pt>
                <c:pt idx="8887">
                  <c:v>7.3079999999999998</c:v>
                </c:pt>
                <c:pt idx="8888">
                  <c:v>7.3079999999999998</c:v>
                </c:pt>
                <c:pt idx="8889">
                  <c:v>7.3070000000000004</c:v>
                </c:pt>
                <c:pt idx="8890">
                  <c:v>7.3079999999999998</c:v>
                </c:pt>
                <c:pt idx="8891">
                  <c:v>7.3079999999999998</c:v>
                </c:pt>
                <c:pt idx="8892">
                  <c:v>7.3079999999999998</c:v>
                </c:pt>
                <c:pt idx="8893">
                  <c:v>7.3079999999999998</c:v>
                </c:pt>
                <c:pt idx="8894">
                  <c:v>7.3079999999999998</c:v>
                </c:pt>
                <c:pt idx="8895">
                  <c:v>7.3079999999999998</c:v>
                </c:pt>
                <c:pt idx="8896">
                  <c:v>7.3070000000000004</c:v>
                </c:pt>
                <c:pt idx="8897">
                  <c:v>7.3079999999999998</c:v>
                </c:pt>
                <c:pt idx="8898">
                  <c:v>7.3070000000000004</c:v>
                </c:pt>
                <c:pt idx="8899">
                  <c:v>7.3070000000000004</c:v>
                </c:pt>
                <c:pt idx="8900">
                  <c:v>7.3070000000000004</c:v>
                </c:pt>
                <c:pt idx="8901">
                  <c:v>7.3070000000000004</c:v>
                </c:pt>
                <c:pt idx="8902">
                  <c:v>7.3070000000000004</c:v>
                </c:pt>
                <c:pt idx="8903">
                  <c:v>7.3079999999999998</c:v>
                </c:pt>
                <c:pt idx="8904">
                  <c:v>7.3070000000000004</c:v>
                </c:pt>
                <c:pt idx="8905">
                  <c:v>7.3070000000000004</c:v>
                </c:pt>
                <c:pt idx="8906">
                  <c:v>7.3070000000000004</c:v>
                </c:pt>
                <c:pt idx="8907">
                  <c:v>7.3070000000000004</c:v>
                </c:pt>
                <c:pt idx="8908">
                  <c:v>7.3070000000000004</c:v>
                </c:pt>
                <c:pt idx="8909">
                  <c:v>7.3070000000000004</c:v>
                </c:pt>
                <c:pt idx="8910">
                  <c:v>7.3070000000000004</c:v>
                </c:pt>
                <c:pt idx="8911">
                  <c:v>7.3070000000000004</c:v>
                </c:pt>
                <c:pt idx="8912">
                  <c:v>7.3070000000000004</c:v>
                </c:pt>
                <c:pt idx="8913">
                  <c:v>7.3070000000000004</c:v>
                </c:pt>
                <c:pt idx="8914">
                  <c:v>7.306</c:v>
                </c:pt>
                <c:pt idx="8915">
                  <c:v>7.3070000000000004</c:v>
                </c:pt>
                <c:pt idx="8916">
                  <c:v>7.306</c:v>
                </c:pt>
                <c:pt idx="8917">
                  <c:v>7.306</c:v>
                </c:pt>
                <c:pt idx="8918">
                  <c:v>7.3070000000000004</c:v>
                </c:pt>
                <c:pt idx="8919">
                  <c:v>7.3070000000000004</c:v>
                </c:pt>
                <c:pt idx="8920">
                  <c:v>7.3070000000000004</c:v>
                </c:pt>
                <c:pt idx="8921">
                  <c:v>7.3070000000000004</c:v>
                </c:pt>
                <c:pt idx="8922">
                  <c:v>7.306</c:v>
                </c:pt>
                <c:pt idx="8923">
                  <c:v>7.3070000000000004</c:v>
                </c:pt>
                <c:pt idx="8924">
                  <c:v>7.3070000000000004</c:v>
                </c:pt>
                <c:pt idx="8925">
                  <c:v>7.3070000000000004</c:v>
                </c:pt>
                <c:pt idx="8926">
                  <c:v>7.306</c:v>
                </c:pt>
                <c:pt idx="8927">
                  <c:v>7.306</c:v>
                </c:pt>
                <c:pt idx="8928">
                  <c:v>7.3070000000000004</c:v>
                </c:pt>
                <c:pt idx="8929">
                  <c:v>7.306</c:v>
                </c:pt>
                <c:pt idx="8930">
                  <c:v>7.3070000000000004</c:v>
                </c:pt>
                <c:pt idx="8931">
                  <c:v>7.306</c:v>
                </c:pt>
                <c:pt idx="8932">
                  <c:v>7.306</c:v>
                </c:pt>
                <c:pt idx="8933">
                  <c:v>7.3070000000000004</c:v>
                </c:pt>
                <c:pt idx="8934">
                  <c:v>7.3070000000000004</c:v>
                </c:pt>
                <c:pt idx="8935">
                  <c:v>7.3070000000000004</c:v>
                </c:pt>
                <c:pt idx="8936">
                  <c:v>7.3070000000000004</c:v>
                </c:pt>
                <c:pt idx="8937">
                  <c:v>7.306</c:v>
                </c:pt>
                <c:pt idx="8938">
                  <c:v>7.306</c:v>
                </c:pt>
                <c:pt idx="8939">
                  <c:v>7.306</c:v>
                </c:pt>
                <c:pt idx="8940">
                  <c:v>7.306</c:v>
                </c:pt>
                <c:pt idx="8941">
                  <c:v>7.306</c:v>
                </c:pt>
                <c:pt idx="8942">
                  <c:v>7.306</c:v>
                </c:pt>
                <c:pt idx="8943">
                  <c:v>7.306</c:v>
                </c:pt>
                <c:pt idx="8944">
                  <c:v>7.3049999999999997</c:v>
                </c:pt>
                <c:pt idx="8945">
                  <c:v>7.3049999999999997</c:v>
                </c:pt>
                <c:pt idx="8946">
                  <c:v>7.306</c:v>
                </c:pt>
                <c:pt idx="8947">
                  <c:v>7.3070000000000004</c:v>
                </c:pt>
                <c:pt idx="8948">
                  <c:v>7.3070000000000004</c:v>
                </c:pt>
                <c:pt idx="8949">
                  <c:v>7.3049999999999997</c:v>
                </c:pt>
                <c:pt idx="8950">
                  <c:v>7.306</c:v>
                </c:pt>
                <c:pt idx="8951">
                  <c:v>7.3049999999999997</c:v>
                </c:pt>
                <c:pt idx="8952">
                  <c:v>7.3049999999999997</c:v>
                </c:pt>
                <c:pt idx="8953">
                  <c:v>7.306</c:v>
                </c:pt>
                <c:pt idx="8954">
                  <c:v>7.306</c:v>
                </c:pt>
                <c:pt idx="8955">
                  <c:v>7.3049999999999997</c:v>
                </c:pt>
                <c:pt idx="8956">
                  <c:v>7.3049999999999997</c:v>
                </c:pt>
                <c:pt idx="8957">
                  <c:v>7.306</c:v>
                </c:pt>
                <c:pt idx="8958">
                  <c:v>7.3040000000000003</c:v>
                </c:pt>
                <c:pt idx="8959">
                  <c:v>7.3049999999999997</c:v>
                </c:pt>
                <c:pt idx="8960">
                  <c:v>7.306</c:v>
                </c:pt>
                <c:pt idx="8961">
                  <c:v>7.3049999999999997</c:v>
                </c:pt>
                <c:pt idx="8962">
                  <c:v>7.3049999999999997</c:v>
                </c:pt>
                <c:pt idx="8963">
                  <c:v>7.3049999999999997</c:v>
                </c:pt>
                <c:pt idx="8964">
                  <c:v>7.3049999999999997</c:v>
                </c:pt>
                <c:pt idx="8965">
                  <c:v>7.3049999999999997</c:v>
                </c:pt>
                <c:pt idx="8966">
                  <c:v>7.3049999999999997</c:v>
                </c:pt>
                <c:pt idx="8967">
                  <c:v>7.3049999999999997</c:v>
                </c:pt>
                <c:pt idx="8968">
                  <c:v>7.3040000000000003</c:v>
                </c:pt>
                <c:pt idx="8969">
                  <c:v>7.3049999999999997</c:v>
                </c:pt>
                <c:pt idx="8970">
                  <c:v>7.3040000000000003</c:v>
                </c:pt>
                <c:pt idx="8971">
                  <c:v>7.3040000000000003</c:v>
                </c:pt>
                <c:pt idx="8972">
                  <c:v>7.3049999999999997</c:v>
                </c:pt>
                <c:pt idx="8973">
                  <c:v>7.3049999999999997</c:v>
                </c:pt>
                <c:pt idx="8974">
                  <c:v>7.3049999999999997</c:v>
                </c:pt>
                <c:pt idx="8975">
                  <c:v>7.3040000000000003</c:v>
                </c:pt>
                <c:pt idx="8976">
                  <c:v>7.3049999999999997</c:v>
                </c:pt>
                <c:pt idx="8977">
                  <c:v>7.3049999999999997</c:v>
                </c:pt>
                <c:pt idx="8978">
                  <c:v>7.3040000000000003</c:v>
                </c:pt>
                <c:pt idx="8979">
                  <c:v>7.3049999999999997</c:v>
                </c:pt>
                <c:pt idx="8980">
                  <c:v>7.3049999999999997</c:v>
                </c:pt>
                <c:pt idx="8981">
                  <c:v>7.3040000000000003</c:v>
                </c:pt>
                <c:pt idx="8982">
                  <c:v>7.3040000000000003</c:v>
                </c:pt>
                <c:pt idx="8983">
                  <c:v>7.3040000000000003</c:v>
                </c:pt>
                <c:pt idx="8984">
                  <c:v>7.3040000000000003</c:v>
                </c:pt>
                <c:pt idx="8985">
                  <c:v>7.3049999999999997</c:v>
                </c:pt>
                <c:pt idx="8986">
                  <c:v>7.3040000000000003</c:v>
                </c:pt>
                <c:pt idx="8987">
                  <c:v>7.3040000000000003</c:v>
                </c:pt>
                <c:pt idx="8988">
                  <c:v>7.3040000000000003</c:v>
                </c:pt>
                <c:pt idx="8989">
                  <c:v>7.3040000000000003</c:v>
                </c:pt>
                <c:pt idx="8990">
                  <c:v>7.3040000000000003</c:v>
                </c:pt>
                <c:pt idx="8991">
                  <c:v>7.3040000000000003</c:v>
                </c:pt>
                <c:pt idx="8992">
                  <c:v>7.3040000000000003</c:v>
                </c:pt>
                <c:pt idx="8993">
                  <c:v>7.3040000000000003</c:v>
                </c:pt>
                <c:pt idx="8994">
                  <c:v>7.3040000000000003</c:v>
                </c:pt>
                <c:pt idx="8995">
                  <c:v>7.3029999999999999</c:v>
                </c:pt>
                <c:pt idx="8996">
                  <c:v>7.3040000000000003</c:v>
                </c:pt>
                <c:pt idx="8997">
                  <c:v>7.3040000000000003</c:v>
                </c:pt>
                <c:pt idx="8998">
                  <c:v>7.3040000000000003</c:v>
                </c:pt>
                <c:pt idx="8999">
                  <c:v>7.3029999999999999</c:v>
                </c:pt>
                <c:pt idx="9000">
                  <c:v>7.3029999999999999</c:v>
                </c:pt>
                <c:pt idx="9001">
                  <c:v>7.3040000000000003</c:v>
                </c:pt>
                <c:pt idx="9002">
                  <c:v>7.3040000000000003</c:v>
                </c:pt>
                <c:pt idx="9003">
                  <c:v>7.3040000000000003</c:v>
                </c:pt>
                <c:pt idx="9004">
                  <c:v>7.3029999999999999</c:v>
                </c:pt>
                <c:pt idx="9005">
                  <c:v>7.3040000000000003</c:v>
                </c:pt>
                <c:pt idx="9006">
                  <c:v>7.3040000000000003</c:v>
                </c:pt>
                <c:pt idx="9007">
                  <c:v>7.3040000000000003</c:v>
                </c:pt>
                <c:pt idx="9008">
                  <c:v>7.3029999999999999</c:v>
                </c:pt>
                <c:pt idx="9009">
                  <c:v>7.3029999999999999</c:v>
                </c:pt>
                <c:pt idx="9010">
                  <c:v>7.3029999999999999</c:v>
                </c:pt>
                <c:pt idx="9011">
                  <c:v>7.3029999999999999</c:v>
                </c:pt>
                <c:pt idx="9012">
                  <c:v>7.3029999999999999</c:v>
                </c:pt>
                <c:pt idx="9013">
                  <c:v>7.3029999999999999</c:v>
                </c:pt>
                <c:pt idx="9014">
                  <c:v>7.3029999999999999</c:v>
                </c:pt>
                <c:pt idx="9015">
                  <c:v>7.3029999999999999</c:v>
                </c:pt>
                <c:pt idx="9016">
                  <c:v>7.3029999999999999</c:v>
                </c:pt>
                <c:pt idx="9017">
                  <c:v>7.3029999999999999</c:v>
                </c:pt>
                <c:pt idx="9018">
                  <c:v>7.3029999999999999</c:v>
                </c:pt>
                <c:pt idx="9019">
                  <c:v>7.3029999999999999</c:v>
                </c:pt>
                <c:pt idx="9020">
                  <c:v>7.3040000000000003</c:v>
                </c:pt>
                <c:pt idx="9021">
                  <c:v>7.3029999999999999</c:v>
                </c:pt>
                <c:pt idx="9022">
                  <c:v>7.3019999999999996</c:v>
                </c:pt>
                <c:pt idx="9023">
                  <c:v>7.3029999999999999</c:v>
                </c:pt>
                <c:pt idx="9024">
                  <c:v>7.3029999999999999</c:v>
                </c:pt>
                <c:pt idx="9025">
                  <c:v>7.3029999999999999</c:v>
                </c:pt>
                <c:pt idx="9026">
                  <c:v>7.3029999999999999</c:v>
                </c:pt>
                <c:pt idx="9027">
                  <c:v>7.3029999999999999</c:v>
                </c:pt>
                <c:pt idx="9028">
                  <c:v>7.3029999999999999</c:v>
                </c:pt>
                <c:pt idx="9029">
                  <c:v>7.3029999999999999</c:v>
                </c:pt>
                <c:pt idx="9030">
                  <c:v>7.3019999999999996</c:v>
                </c:pt>
                <c:pt idx="9031">
                  <c:v>7.3029999999999999</c:v>
                </c:pt>
                <c:pt idx="9032">
                  <c:v>7.3029999999999999</c:v>
                </c:pt>
                <c:pt idx="9033">
                  <c:v>7.3019999999999996</c:v>
                </c:pt>
                <c:pt idx="9034">
                  <c:v>7.3019999999999996</c:v>
                </c:pt>
                <c:pt idx="9035">
                  <c:v>7.3029999999999999</c:v>
                </c:pt>
                <c:pt idx="9036">
                  <c:v>7.3029999999999999</c:v>
                </c:pt>
                <c:pt idx="9037">
                  <c:v>7.3029999999999999</c:v>
                </c:pt>
                <c:pt idx="9038">
                  <c:v>7.3029999999999999</c:v>
                </c:pt>
                <c:pt idx="9039">
                  <c:v>7.3019999999999996</c:v>
                </c:pt>
                <c:pt idx="9040">
                  <c:v>7.3029999999999999</c:v>
                </c:pt>
                <c:pt idx="9041">
                  <c:v>7.3019999999999996</c:v>
                </c:pt>
                <c:pt idx="9042">
                  <c:v>7.3019999999999996</c:v>
                </c:pt>
                <c:pt idx="9043">
                  <c:v>7.3019999999999996</c:v>
                </c:pt>
                <c:pt idx="9044">
                  <c:v>7.3019999999999996</c:v>
                </c:pt>
                <c:pt idx="9045">
                  <c:v>7.3029999999999999</c:v>
                </c:pt>
                <c:pt idx="9046">
                  <c:v>7.3019999999999996</c:v>
                </c:pt>
                <c:pt idx="9047">
                  <c:v>7.3029999999999999</c:v>
                </c:pt>
                <c:pt idx="9048">
                  <c:v>7.3019999999999996</c:v>
                </c:pt>
                <c:pt idx="9049">
                  <c:v>7.3019999999999996</c:v>
                </c:pt>
                <c:pt idx="9050">
                  <c:v>7.3019999999999996</c:v>
                </c:pt>
                <c:pt idx="9051">
                  <c:v>7.3019999999999996</c:v>
                </c:pt>
                <c:pt idx="9052">
                  <c:v>7.3019999999999996</c:v>
                </c:pt>
                <c:pt idx="9053">
                  <c:v>7.3029999999999999</c:v>
                </c:pt>
                <c:pt idx="9054">
                  <c:v>7.3019999999999996</c:v>
                </c:pt>
                <c:pt idx="9055">
                  <c:v>7.3019999999999996</c:v>
                </c:pt>
                <c:pt idx="9056">
                  <c:v>7.3010000000000002</c:v>
                </c:pt>
                <c:pt idx="9057">
                  <c:v>7.3010000000000002</c:v>
                </c:pt>
                <c:pt idx="9058">
                  <c:v>7.3019999999999996</c:v>
                </c:pt>
                <c:pt idx="9059">
                  <c:v>7.3019999999999996</c:v>
                </c:pt>
                <c:pt idx="9060">
                  <c:v>7.3019999999999996</c:v>
                </c:pt>
                <c:pt idx="9061">
                  <c:v>7.3019999999999996</c:v>
                </c:pt>
                <c:pt idx="9062">
                  <c:v>7.3019999999999996</c:v>
                </c:pt>
                <c:pt idx="9063">
                  <c:v>7.3019999999999996</c:v>
                </c:pt>
                <c:pt idx="9064">
                  <c:v>7.3010000000000002</c:v>
                </c:pt>
                <c:pt idx="9065">
                  <c:v>7.3019999999999996</c:v>
                </c:pt>
                <c:pt idx="9066">
                  <c:v>7.3010000000000002</c:v>
                </c:pt>
                <c:pt idx="9067">
                  <c:v>7.3010000000000002</c:v>
                </c:pt>
                <c:pt idx="9068">
                  <c:v>7.3010000000000002</c:v>
                </c:pt>
                <c:pt idx="9069">
                  <c:v>7.3019999999999996</c:v>
                </c:pt>
                <c:pt idx="9070">
                  <c:v>7.3019999999999996</c:v>
                </c:pt>
                <c:pt idx="9071">
                  <c:v>7.3019999999999996</c:v>
                </c:pt>
                <c:pt idx="9072">
                  <c:v>7.3019999999999996</c:v>
                </c:pt>
                <c:pt idx="9073">
                  <c:v>7.3019999999999996</c:v>
                </c:pt>
                <c:pt idx="9074">
                  <c:v>7.3010000000000002</c:v>
                </c:pt>
                <c:pt idx="9075">
                  <c:v>7.3019999999999996</c:v>
                </c:pt>
                <c:pt idx="9076">
                  <c:v>7.3010000000000002</c:v>
                </c:pt>
                <c:pt idx="9077">
                  <c:v>7.3019999999999996</c:v>
                </c:pt>
                <c:pt idx="9078">
                  <c:v>7.3010000000000002</c:v>
                </c:pt>
                <c:pt idx="9079">
                  <c:v>7.3010000000000002</c:v>
                </c:pt>
                <c:pt idx="9080">
                  <c:v>7.3010000000000002</c:v>
                </c:pt>
                <c:pt idx="9081">
                  <c:v>7.3010000000000002</c:v>
                </c:pt>
                <c:pt idx="9082">
                  <c:v>7.3010000000000002</c:v>
                </c:pt>
                <c:pt idx="9083">
                  <c:v>7.3010000000000002</c:v>
                </c:pt>
                <c:pt idx="9084">
                  <c:v>7.3010000000000002</c:v>
                </c:pt>
                <c:pt idx="9085">
                  <c:v>7.3010000000000002</c:v>
                </c:pt>
                <c:pt idx="9086">
                  <c:v>7.3010000000000002</c:v>
                </c:pt>
                <c:pt idx="9087">
                  <c:v>7.3010000000000002</c:v>
                </c:pt>
                <c:pt idx="9088">
                  <c:v>7.3010000000000002</c:v>
                </c:pt>
                <c:pt idx="9089">
                  <c:v>7.3010000000000002</c:v>
                </c:pt>
                <c:pt idx="9090">
                  <c:v>7.3010000000000002</c:v>
                </c:pt>
                <c:pt idx="9091">
                  <c:v>7.3010000000000002</c:v>
                </c:pt>
                <c:pt idx="9092">
                  <c:v>7.3</c:v>
                </c:pt>
                <c:pt idx="9093">
                  <c:v>7.3010000000000002</c:v>
                </c:pt>
                <c:pt idx="9094">
                  <c:v>7.3010000000000002</c:v>
                </c:pt>
                <c:pt idx="9095">
                  <c:v>7.3010000000000002</c:v>
                </c:pt>
                <c:pt idx="9096">
                  <c:v>7.3010000000000002</c:v>
                </c:pt>
                <c:pt idx="9097">
                  <c:v>7.3010000000000002</c:v>
                </c:pt>
                <c:pt idx="9098">
                  <c:v>7.3010000000000002</c:v>
                </c:pt>
                <c:pt idx="9099">
                  <c:v>7.3010000000000002</c:v>
                </c:pt>
                <c:pt idx="9100">
                  <c:v>7.3010000000000002</c:v>
                </c:pt>
                <c:pt idx="9101">
                  <c:v>7.3010000000000002</c:v>
                </c:pt>
                <c:pt idx="9102">
                  <c:v>7.3010000000000002</c:v>
                </c:pt>
                <c:pt idx="9103">
                  <c:v>7.3010000000000002</c:v>
                </c:pt>
                <c:pt idx="9104">
                  <c:v>7.3010000000000002</c:v>
                </c:pt>
                <c:pt idx="9105">
                  <c:v>7.3</c:v>
                </c:pt>
                <c:pt idx="9106">
                  <c:v>7.3010000000000002</c:v>
                </c:pt>
                <c:pt idx="9107">
                  <c:v>7.3</c:v>
                </c:pt>
                <c:pt idx="9108">
                  <c:v>7.3010000000000002</c:v>
                </c:pt>
                <c:pt idx="9109">
                  <c:v>7.3010000000000002</c:v>
                </c:pt>
                <c:pt idx="9110">
                  <c:v>7.3010000000000002</c:v>
                </c:pt>
                <c:pt idx="9111">
                  <c:v>7.3</c:v>
                </c:pt>
                <c:pt idx="9112">
                  <c:v>7.3</c:v>
                </c:pt>
                <c:pt idx="9113">
                  <c:v>7.3010000000000002</c:v>
                </c:pt>
                <c:pt idx="9114">
                  <c:v>7.3010000000000002</c:v>
                </c:pt>
                <c:pt idx="9115">
                  <c:v>7.3010000000000002</c:v>
                </c:pt>
                <c:pt idx="9116">
                  <c:v>7.3</c:v>
                </c:pt>
                <c:pt idx="9117">
                  <c:v>7.3</c:v>
                </c:pt>
                <c:pt idx="9118">
                  <c:v>7.3</c:v>
                </c:pt>
                <c:pt idx="9119">
                  <c:v>7.3</c:v>
                </c:pt>
                <c:pt idx="9120">
                  <c:v>7.3</c:v>
                </c:pt>
                <c:pt idx="9121">
                  <c:v>7.3010000000000002</c:v>
                </c:pt>
                <c:pt idx="9122">
                  <c:v>7.3</c:v>
                </c:pt>
                <c:pt idx="9123">
                  <c:v>7.3</c:v>
                </c:pt>
                <c:pt idx="9124">
                  <c:v>7.3010000000000002</c:v>
                </c:pt>
                <c:pt idx="9125">
                  <c:v>7.3010000000000002</c:v>
                </c:pt>
                <c:pt idx="9126">
                  <c:v>7.3</c:v>
                </c:pt>
                <c:pt idx="9127">
                  <c:v>7.3</c:v>
                </c:pt>
                <c:pt idx="9128">
                  <c:v>7.3010000000000002</c:v>
                </c:pt>
                <c:pt idx="9129">
                  <c:v>7.3</c:v>
                </c:pt>
                <c:pt idx="9130">
                  <c:v>7.3</c:v>
                </c:pt>
                <c:pt idx="9131">
                  <c:v>7.3</c:v>
                </c:pt>
                <c:pt idx="9132">
                  <c:v>7.3010000000000002</c:v>
                </c:pt>
                <c:pt idx="9133">
                  <c:v>7.3</c:v>
                </c:pt>
                <c:pt idx="9134">
                  <c:v>7.3</c:v>
                </c:pt>
                <c:pt idx="9135">
                  <c:v>7.3</c:v>
                </c:pt>
                <c:pt idx="9136">
                  <c:v>7.3</c:v>
                </c:pt>
                <c:pt idx="9137">
                  <c:v>7.3010000000000002</c:v>
                </c:pt>
                <c:pt idx="9138">
                  <c:v>7.3</c:v>
                </c:pt>
                <c:pt idx="9139">
                  <c:v>7.3</c:v>
                </c:pt>
                <c:pt idx="9140">
                  <c:v>7.3010000000000002</c:v>
                </c:pt>
                <c:pt idx="9141">
                  <c:v>7.3</c:v>
                </c:pt>
                <c:pt idx="9142">
                  <c:v>7.3010000000000002</c:v>
                </c:pt>
                <c:pt idx="9143">
                  <c:v>7.3</c:v>
                </c:pt>
                <c:pt idx="9144">
                  <c:v>7.3010000000000002</c:v>
                </c:pt>
                <c:pt idx="9145">
                  <c:v>7.3010000000000002</c:v>
                </c:pt>
                <c:pt idx="9146">
                  <c:v>7.3</c:v>
                </c:pt>
                <c:pt idx="9147">
                  <c:v>7.3</c:v>
                </c:pt>
                <c:pt idx="9148">
                  <c:v>7.3</c:v>
                </c:pt>
                <c:pt idx="9149">
                  <c:v>7.3</c:v>
                </c:pt>
                <c:pt idx="9150">
                  <c:v>7.3</c:v>
                </c:pt>
                <c:pt idx="9151">
                  <c:v>7.3</c:v>
                </c:pt>
                <c:pt idx="9152">
                  <c:v>7.3010000000000002</c:v>
                </c:pt>
                <c:pt idx="9153">
                  <c:v>7.3</c:v>
                </c:pt>
                <c:pt idx="9154">
                  <c:v>7.3</c:v>
                </c:pt>
                <c:pt idx="9155">
                  <c:v>7.3</c:v>
                </c:pt>
                <c:pt idx="9156">
                  <c:v>7.3</c:v>
                </c:pt>
                <c:pt idx="9157">
                  <c:v>7.3</c:v>
                </c:pt>
                <c:pt idx="9158">
                  <c:v>7.3</c:v>
                </c:pt>
                <c:pt idx="9159">
                  <c:v>7.3</c:v>
                </c:pt>
                <c:pt idx="9160">
                  <c:v>7.3</c:v>
                </c:pt>
                <c:pt idx="9161">
                  <c:v>7.3</c:v>
                </c:pt>
                <c:pt idx="9162">
                  <c:v>7.3</c:v>
                </c:pt>
                <c:pt idx="9163">
                  <c:v>7.3</c:v>
                </c:pt>
                <c:pt idx="9164">
                  <c:v>7.3</c:v>
                </c:pt>
                <c:pt idx="9165">
                  <c:v>7.3</c:v>
                </c:pt>
                <c:pt idx="9166">
                  <c:v>7.3010000000000002</c:v>
                </c:pt>
                <c:pt idx="9167">
                  <c:v>7.3</c:v>
                </c:pt>
                <c:pt idx="9168">
                  <c:v>7.3010000000000002</c:v>
                </c:pt>
                <c:pt idx="9169">
                  <c:v>7.3</c:v>
                </c:pt>
                <c:pt idx="9170">
                  <c:v>7.3010000000000002</c:v>
                </c:pt>
                <c:pt idx="9171">
                  <c:v>7.3010000000000002</c:v>
                </c:pt>
                <c:pt idx="9172">
                  <c:v>7.3010000000000002</c:v>
                </c:pt>
                <c:pt idx="9173">
                  <c:v>7.3</c:v>
                </c:pt>
                <c:pt idx="9174">
                  <c:v>7.3010000000000002</c:v>
                </c:pt>
                <c:pt idx="9175">
                  <c:v>7.3010000000000002</c:v>
                </c:pt>
                <c:pt idx="9176">
                  <c:v>7.3010000000000002</c:v>
                </c:pt>
                <c:pt idx="9177">
                  <c:v>7.3010000000000002</c:v>
                </c:pt>
                <c:pt idx="9178">
                  <c:v>7.3010000000000002</c:v>
                </c:pt>
                <c:pt idx="9179">
                  <c:v>7.3010000000000002</c:v>
                </c:pt>
                <c:pt idx="9180">
                  <c:v>7.3</c:v>
                </c:pt>
                <c:pt idx="9181">
                  <c:v>7.3</c:v>
                </c:pt>
                <c:pt idx="9182">
                  <c:v>7.3010000000000002</c:v>
                </c:pt>
                <c:pt idx="9183">
                  <c:v>7.3010000000000002</c:v>
                </c:pt>
                <c:pt idx="9184">
                  <c:v>7.3010000000000002</c:v>
                </c:pt>
                <c:pt idx="9185">
                  <c:v>7.3010000000000002</c:v>
                </c:pt>
                <c:pt idx="9186">
                  <c:v>7.3010000000000002</c:v>
                </c:pt>
                <c:pt idx="9187">
                  <c:v>7.3010000000000002</c:v>
                </c:pt>
                <c:pt idx="9188">
                  <c:v>7.3010000000000002</c:v>
                </c:pt>
                <c:pt idx="9189">
                  <c:v>7.3019999999999996</c:v>
                </c:pt>
                <c:pt idx="9190">
                  <c:v>7.3010000000000002</c:v>
                </c:pt>
                <c:pt idx="9191">
                  <c:v>7.3010000000000002</c:v>
                </c:pt>
                <c:pt idx="9192">
                  <c:v>7.3010000000000002</c:v>
                </c:pt>
                <c:pt idx="9193">
                  <c:v>7.3010000000000002</c:v>
                </c:pt>
                <c:pt idx="9194">
                  <c:v>7.3010000000000002</c:v>
                </c:pt>
                <c:pt idx="9195">
                  <c:v>7.3010000000000002</c:v>
                </c:pt>
                <c:pt idx="9196">
                  <c:v>7.3019999999999996</c:v>
                </c:pt>
                <c:pt idx="9197">
                  <c:v>7.3010000000000002</c:v>
                </c:pt>
                <c:pt idx="9198">
                  <c:v>7.3010000000000002</c:v>
                </c:pt>
                <c:pt idx="9199">
                  <c:v>7.3010000000000002</c:v>
                </c:pt>
                <c:pt idx="9200">
                  <c:v>7.3019999999999996</c:v>
                </c:pt>
                <c:pt idx="9201">
                  <c:v>7.3010000000000002</c:v>
                </c:pt>
                <c:pt idx="9202">
                  <c:v>7.3010000000000002</c:v>
                </c:pt>
                <c:pt idx="9203">
                  <c:v>7.3019999999999996</c:v>
                </c:pt>
                <c:pt idx="9204">
                  <c:v>7.3010000000000002</c:v>
                </c:pt>
                <c:pt idx="9205">
                  <c:v>7.3010000000000002</c:v>
                </c:pt>
                <c:pt idx="9206">
                  <c:v>7.3010000000000002</c:v>
                </c:pt>
                <c:pt idx="9207">
                  <c:v>7.3010000000000002</c:v>
                </c:pt>
                <c:pt idx="9208">
                  <c:v>7.3010000000000002</c:v>
                </c:pt>
                <c:pt idx="9209">
                  <c:v>7.3010000000000002</c:v>
                </c:pt>
                <c:pt idx="9210">
                  <c:v>7.3010000000000002</c:v>
                </c:pt>
                <c:pt idx="9211">
                  <c:v>7.3010000000000002</c:v>
                </c:pt>
                <c:pt idx="9212">
                  <c:v>7.3010000000000002</c:v>
                </c:pt>
                <c:pt idx="9213">
                  <c:v>7.3010000000000002</c:v>
                </c:pt>
                <c:pt idx="9214">
                  <c:v>7.3010000000000002</c:v>
                </c:pt>
                <c:pt idx="9215">
                  <c:v>7.3010000000000002</c:v>
                </c:pt>
                <c:pt idx="9216">
                  <c:v>7.3010000000000002</c:v>
                </c:pt>
                <c:pt idx="9217">
                  <c:v>7.3019999999999996</c:v>
                </c:pt>
                <c:pt idx="9218">
                  <c:v>7.3010000000000002</c:v>
                </c:pt>
                <c:pt idx="9219">
                  <c:v>7.3010000000000002</c:v>
                </c:pt>
                <c:pt idx="9220">
                  <c:v>7.3010000000000002</c:v>
                </c:pt>
                <c:pt idx="9221">
                  <c:v>7.3010000000000002</c:v>
                </c:pt>
                <c:pt idx="9222">
                  <c:v>7.3010000000000002</c:v>
                </c:pt>
                <c:pt idx="9223">
                  <c:v>7.3010000000000002</c:v>
                </c:pt>
                <c:pt idx="9224">
                  <c:v>7.3010000000000002</c:v>
                </c:pt>
                <c:pt idx="9225">
                  <c:v>7.3010000000000002</c:v>
                </c:pt>
                <c:pt idx="9226">
                  <c:v>7.3</c:v>
                </c:pt>
                <c:pt idx="9227">
                  <c:v>7.3010000000000002</c:v>
                </c:pt>
                <c:pt idx="9228">
                  <c:v>7.3010000000000002</c:v>
                </c:pt>
                <c:pt idx="9229">
                  <c:v>7.3010000000000002</c:v>
                </c:pt>
                <c:pt idx="9230">
                  <c:v>7.3010000000000002</c:v>
                </c:pt>
                <c:pt idx="9231">
                  <c:v>7.3010000000000002</c:v>
                </c:pt>
                <c:pt idx="9232">
                  <c:v>7.3010000000000002</c:v>
                </c:pt>
                <c:pt idx="9233">
                  <c:v>7.3010000000000002</c:v>
                </c:pt>
                <c:pt idx="9234">
                  <c:v>7.3010000000000002</c:v>
                </c:pt>
                <c:pt idx="9235">
                  <c:v>7.3010000000000002</c:v>
                </c:pt>
                <c:pt idx="9236">
                  <c:v>7.3010000000000002</c:v>
                </c:pt>
                <c:pt idx="9237">
                  <c:v>7.3010000000000002</c:v>
                </c:pt>
                <c:pt idx="9238">
                  <c:v>7.3010000000000002</c:v>
                </c:pt>
                <c:pt idx="9239">
                  <c:v>7.3010000000000002</c:v>
                </c:pt>
                <c:pt idx="9240">
                  <c:v>7.3010000000000002</c:v>
                </c:pt>
                <c:pt idx="9241">
                  <c:v>7.3010000000000002</c:v>
                </c:pt>
                <c:pt idx="9242">
                  <c:v>7.3010000000000002</c:v>
                </c:pt>
                <c:pt idx="9243">
                  <c:v>7.3010000000000002</c:v>
                </c:pt>
                <c:pt idx="9244">
                  <c:v>7.3</c:v>
                </c:pt>
                <c:pt idx="9245">
                  <c:v>7.3</c:v>
                </c:pt>
                <c:pt idx="9246">
                  <c:v>7.3010000000000002</c:v>
                </c:pt>
                <c:pt idx="9247">
                  <c:v>7.3</c:v>
                </c:pt>
                <c:pt idx="9248">
                  <c:v>7.3010000000000002</c:v>
                </c:pt>
                <c:pt idx="9249">
                  <c:v>7.3010000000000002</c:v>
                </c:pt>
                <c:pt idx="9250">
                  <c:v>7.3</c:v>
                </c:pt>
                <c:pt idx="9251">
                  <c:v>7.3</c:v>
                </c:pt>
                <c:pt idx="9252">
                  <c:v>7.3</c:v>
                </c:pt>
                <c:pt idx="9253">
                  <c:v>7.3010000000000002</c:v>
                </c:pt>
                <c:pt idx="9254">
                  <c:v>7.3</c:v>
                </c:pt>
                <c:pt idx="9255">
                  <c:v>7.3</c:v>
                </c:pt>
                <c:pt idx="9256">
                  <c:v>7.3010000000000002</c:v>
                </c:pt>
                <c:pt idx="9257">
                  <c:v>7.3010000000000002</c:v>
                </c:pt>
                <c:pt idx="9258">
                  <c:v>7.3010000000000002</c:v>
                </c:pt>
                <c:pt idx="9259">
                  <c:v>7.3</c:v>
                </c:pt>
                <c:pt idx="9260">
                  <c:v>7.3</c:v>
                </c:pt>
                <c:pt idx="9261">
                  <c:v>7.3</c:v>
                </c:pt>
                <c:pt idx="9262">
                  <c:v>7.3</c:v>
                </c:pt>
                <c:pt idx="9263">
                  <c:v>7.3010000000000002</c:v>
                </c:pt>
                <c:pt idx="9264">
                  <c:v>7.3</c:v>
                </c:pt>
                <c:pt idx="9265">
                  <c:v>7.3</c:v>
                </c:pt>
                <c:pt idx="9266">
                  <c:v>7.3</c:v>
                </c:pt>
                <c:pt idx="9267">
                  <c:v>7.3</c:v>
                </c:pt>
                <c:pt idx="9268">
                  <c:v>7.3</c:v>
                </c:pt>
                <c:pt idx="9269">
                  <c:v>7.3</c:v>
                </c:pt>
                <c:pt idx="9270">
                  <c:v>7.3</c:v>
                </c:pt>
                <c:pt idx="9271">
                  <c:v>7.3</c:v>
                </c:pt>
                <c:pt idx="9272">
                  <c:v>7.3</c:v>
                </c:pt>
                <c:pt idx="9273">
                  <c:v>7.3</c:v>
                </c:pt>
                <c:pt idx="9274">
                  <c:v>7.3</c:v>
                </c:pt>
                <c:pt idx="9275">
                  <c:v>7.3</c:v>
                </c:pt>
                <c:pt idx="9276">
                  <c:v>7.3</c:v>
                </c:pt>
                <c:pt idx="9277">
                  <c:v>7.2990000000000004</c:v>
                </c:pt>
                <c:pt idx="9278">
                  <c:v>7.2990000000000004</c:v>
                </c:pt>
                <c:pt idx="9279">
                  <c:v>7.2990000000000004</c:v>
                </c:pt>
                <c:pt idx="9280">
                  <c:v>7.3</c:v>
                </c:pt>
                <c:pt idx="9281">
                  <c:v>7.3</c:v>
                </c:pt>
                <c:pt idx="9282">
                  <c:v>7.3</c:v>
                </c:pt>
                <c:pt idx="9283">
                  <c:v>7.2990000000000004</c:v>
                </c:pt>
                <c:pt idx="9284">
                  <c:v>7.2990000000000004</c:v>
                </c:pt>
                <c:pt idx="9285">
                  <c:v>7.2990000000000004</c:v>
                </c:pt>
                <c:pt idx="9286">
                  <c:v>7.2990000000000004</c:v>
                </c:pt>
                <c:pt idx="9287">
                  <c:v>7.3</c:v>
                </c:pt>
                <c:pt idx="9288">
                  <c:v>7.2990000000000004</c:v>
                </c:pt>
                <c:pt idx="9289">
                  <c:v>7.3</c:v>
                </c:pt>
                <c:pt idx="9290">
                  <c:v>7.2990000000000004</c:v>
                </c:pt>
                <c:pt idx="9291">
                  <c:v>7.2990000000000004</c:v>
                </c:pt>
                <c:pt idx="9292">
                  <c:v>7.2990000000000004</c:v>
                </c:pt>
                <c:pt idx="9293">
                  <c:v>7.2990000000000004</c:v>
                </c:pt>
                <c:pt idx="9294">
                  <c:v>7.2990000000000004</c:v>
                </c:pt>
                <c:pt idx="9295">
                  <c:v>7.2990000000000004</c:v>
                </c:pt>
                <c:pt idx="9296">
                  <c:v>7.2990000000000004</c:v>
                </c:pt>
                <c:pt idx="9297">
                  <c:v>7.298</c:v>
                </c:pt>
                <c:pt idx="9298">
                  <c:v>7.298</c:v>
                </c:pt>
                <c:pt idx="9299">
                  <c:v>7.2990000000000004</c:v>
                </c:pt>
                <c:pt idx="9300">
                  <c:v>7.2990000000000004</c:v>
                </c:pt>
                <c:pt idx="9301">
                  <c:v>7.2990000000000004</c:v>
                </c:pt>
                <c:pt idx="9302">
                  <c:v>7.2990000000000004</c:v>
                </c:pt>
                <c:pt idx="9303">
                  <c:v>7.2990000000000004</c:v>
                </c:pt>
                <c:pt idx="9304">
                  <c:v>7.298</c:v>
                </c:pt>
                <c:pt idx="9305">
                  <c:v>7.298</c:v>
                </c:pt>
                <c:pt idx="9306">
                  <c:v>7.2990000000000004</c:v>
                </c:pt>
                <c:pt idx="9307">
                  <c:v>7.298</c:v>
                </c:pt>
                <c:pt idx="9308">
                  <c:v>7.2990000000000004</c:v>
                </c:pt>
                <c:pt idx="9309">
                  <c:v>7.298</c:v>
                </c:pt>
                <c:pt idx="9310">
                  <c:v>7.298</c:v>
                </c:pt>
                <c:pt idx="9311">
                  <c:v>7.2990000000000004</c:v>
                </c:pt>
                <c:pt idx="9312">
                  <c:v>7.298</c:v>
                </c:pt>
                <c:pt idx="9313">
                  <c:v>7.298</c:v>
                </c:pt>
                <c:pt idx="9314">
                  <c:v>7.298</c:v>
                </c:pt>
                <c:pt idx="9315">
                  <c:v>7.298</c:v>
                </c:pt>
                <c:pt idx="9316">
                  <c:v>7.298</c:v>
                </c:pt>
                <c:pt idx="9317">
                  <c:v>7.2990000000000004</c:v>
                </c:pt>
                <c:pt idx="9318">
                  <c:v>7.2969999999999997</c:v>
                </c:pt>
                <c:pt idx="9319">
                  <c:v>7.298</c:v>
                </c:pt>
                <c:pt idx="9320">
                  <c:v>7.298</c:v>
                </c:pt>
                <c:pt idx="9321">
                  <c:v>7.298</c:v>
                </c:pt>
                <c:pt idx="9322">
                  <c:v>7.298</c:v>
                </c:pt>
                <c:pt idx="9323">
                  <c:v>7.2969999999999997</c:v>
                </c:pt>
                <c:pt idx="9324">
                  <c:v>7.298</c:v>
                </c:pt>
                <c:pt idx="9325">
                  <c:v>7.298</c:v>
                </c:pt>
                <c:pt idx="9326">
                  <c:v>7.2969999999999997</c:v>
                </c:pt>
                <c:pt idx="9327">
                  <c:v>7.2969999999999997</c:v>
                </c:pt>
                <c:pt idx="9328">
                  <c:v>7.298</c:v>
                </c:pt>
                <c:pt idx="9329">
                  <c:v>7.2969999999999997</c:v>
                </c:pt>
                <c:pt idx="9330">
                  <c:v>7.298</c:v>
                </c:pt>
                <c:pt idx="9331">
                  <c:v>7.2969999999999997</c:v>
                </c:pt>
                <c:pt idx="9332">
                  <c:v>7.2969999999999997</c:v>
                </c:pt>
                <c:pt idx="9333">
                  <c:v>7.2969999999999997</c:v>
                </c:pt>
                <c:pt idx="9334">
                  <c:v>7.2969999999999997</c:v>
                </c:pt>
                <c:pt idx="9335">
                  <c:v>7.2969999999999997</c:v>
                </c:pt>
                <c:pt idx="9336">
                  <c:v>7.2969999999999997</c:v>
                </c:pt>
                <c:pt idx="9337">
                  <c:v>7.2969999999999997</c:v>
                </c:pt>
                <c:pt idx="9338">
                  <c:v>7.2969999999999997</c:v>
                </c:pt>
                <c:pt idx="9339">
                  <c:v>7.2969999999999997</c:v>
                </c:pt>
                <c:pt idx="9340">
                  <c:v>7.2969999999999997</c:v>
                </c:pt>
                <c:pt idx="9341">
                  <c:v>7.2969999999999997</c:v>
                </c:pt>
                <c:pt idx="9342">
                  <c:v>7.2969999999999997</c:v>
                </c:pt>
                <c:pt idx="9343">
                  <c:v>7.2969999999999997</c:v>
                </c:pt>
                <c:pt idx="9344">
                  <c:v>7.2969999999999997</c:v>
                </c:pt>
                <c:pt idx="9345">
                  <c:v>7.2960000000000003</c:v>
                </c:pt>
                <c:pt idx="9346">
                  <c:v>7.2960000000000003</c:v>
                </c:pt>
                <c:pt idx="9347">
                  <c:v>7.2960000000000003</c:v>
                </c:pt>
                <c:pt idx="9348">
                  <c:v>7.2969999999999997</c:v>
                </c:pt>
                <c:pt idx="9349">
                  <c:v>7.2969999999999997</c:v>
                </c:pt>
                <c:pt idx="9350">
                  <c:v>7.2960000000000003</c:v>
                </c:pt>
                <c:pt idx="9351">
                  <c:v>7.2960000000000003</c:v>
                </c:pt>
                <c:pt idx="9352">
                  <c:v>7.2969999999999997</c:v>
                </c:pt>
                <c:pt idx="9353">
                  <c:v>7.2969999999999997</c:v>
                </c:pt>
                <c:pt idx="9354">
                  <c:v>7.2960000000000003</c:v>
                </c:pt>
                <c:pt idx="9355">
                  <c:v>7.2960000000000003</c:v>
                </c:pt>
                <c:pt idx="9356">
                  <c:v>7.2969999999999997</c:v>
                </c:pt>
                <c:pt idx="9357">
                  <c:v>7.2960000000000003</c:v>
                </c:pt>
                <c:pt idx="9358">
                  <c:v>7.2969999999999997</c:v>
                </c:pt>
                <c:pt idx="9359">
                  <c:v>7.2960000000000003</c:v>
                </c:pt>
                <c:pt idx="9360">
                  <c:v>7.2960000000000003</c:v>
                </c:pt>
                <c:pt idx="9361">
                  <c:v>7.2969999999999997</c:v>
                </c:pt>
                <c:pt idx="9362">
                  <c:v>7.2960000000000003</c:v>
                </c:pt>
                <c:pt idx="9363">
                  <c:v>7.2960000000000003</c:v>
                </c:pt>
                <c:pt idx="9364">
                  <c:v>7.2960000000000003</c:v>
                </c:pt>
                <c:pt idx="9365">
                  <c:v>7.2960000000000003</c:v>
                </c:pt>
                <c:pt idx="9366">
                  <c:v>7.2960000000000003</c:v>
                </c:pt>
                <c:pt idx="9367">
                  <c:v>7.2960000000000003</c:v>
                </c:pt>
                <c:pt idx="9368">
                  <c:v>7.2960000000000003</c:v>
                </c:pt>
                <c:pt idx="9369">
                  <c:v>7.2960000000000003</c:v>
                </c:pt>
                <c:pt idx="9370">
                  <c:v>7.2960000000000003</c:v>
                </c:pt>
                <c:pt idx="9371">
                  <c:v>7.2949999999999999</c:v>
                </c:pt>
                <c:pt idx="9372">
                  <c:v>7.2960000000000003</c:v>
                </c:pt>
                <c:pt idx="9373">
                  <c:v>7.2949999999999999</c:v>
                </c:pt>
                <c:pt idx="9374">
                  <c:v>7.2960000000000003</c:v>
                </c:pt>
                <c:pt idx="9375">
                  <c:v>7.2960000000000003</c:v>
                </c:pt>
                <c:pt idx="9376">
                  <c:v>7.2960000000000003</c:v>
                </c:pt>
                <c:pt idx="9377">
                  <c:v>7.2949999999999999</c:v>
                </c:pt>
                <c:pt idx="9378">
                  <c:v>7.2949999999999999</c:v>
                </c:pt>
                <c:pt idx="9379">
                  <c:v>7.2949999999999999</c:v>
                </c:pt>
                <c:pt idx="9380">
                  <c:v>7.2949999999999999</c:v>
                </c:pt>
                <c:pt idx="9381">
                  <c:v>7.2949999999999999</c:v>
                </c:pt>
                <c:pt idx="9382">
                  <c:v>7.2949999999999999</c:v>
                </c:pt>
                <c:pt idx="9383">
                  <c:v>7.2949999999999999</c:v>
                </c:pt>
                <c:pt idx="9384">
                  <c:v>7.2949999999999999</c:v>
                </c:pt>
                <c:pt idx="9385">
                  <c:v>7.2949999999999999</c:v>
                </c:pt>
                <c:pt idx="9386">
                  <c:v>7.2949999999999999</c:v>
                </c:pt>
                <c:pt idx="9387">
                  <c:v>7.2949999999999999</c:v>
                </c:pt>
                <c:pt idx="9388">
                  <c:v>7.2960000000000003</c:v>
                </c:pt>
                <c:pt idx="9389">
                  <c:v>7.2949999999999999</c:v>
                </c:pt>
                <c:pt idx="9390">
                  <c:v>7.2949999999999999</c:v>
                </c:pt>
                <c:pt idx="9391">
                  <c:v>7.2949999999999999</c:v>
                </c:pt>
                <c:pt idx="9392">
                  <c:v>7.2949999999999999</c:v>
                </c:pt>
                <c:pt idx="9393">
                  <c:v>7.2949999999999999</c:v>
                </c:pt>
                <c:pt idx="9394">
                  <c:v>7.2939999999999996</c:v>
                </c:pt>
                <c:pt idx="9395">
                  <c:v>7.2949999999999999</c:v>
                </c:pt>
                <c:pt idx="9396">
                  <c:v>7.2949999999999999</c:v>
                </c:pt>
                <c:pt idx="9397">
                  <c:v>7.2939999999999996</c:v>
                </c:pt>
                <c:pt idx="9398">
                  <c:v>7.2949999999999999</c:v>
                </c:pt>
                <c:pt idx="9399">
                  <c:v>7.2949999999999999</c:v>
                </c:pt>
                <c:pt idx="9400">
                  <c:v>7.2939999999999996</c:v>
                </c:pt>
                <c:pt idx="9401">
                  <c:v>7.2939999999999996</c:v>
                </c:pt>
                <c:pt idx="9402">
                  <c:v>7.2949999999999999</c:v>
                </c:pt>
                <c:pt idx="9403">
                  <c:v>7.2939999999999996</c:v>
                </c:pt>
                <c:pt idx="9404">
                  <c:v>7.2949999999999999</c:v>
                </c:pt>
                <c:pt idx="9405">
                  <c:v>7.2949999999999999</c:v>
                </c:pt>
                <c:pt idx="9406">
                  <c:v>7.2949999999999999</c:v>
                </c:pt>
                <c:pt idx="9407">
                  <c:v>7.2939999999999996</c:v>
                </c:pt>
                <c:pt idx="9408">
                  <c:v>7.2939999999999996</c:v>
                </c:pt>
                <c:pt idx="9409">
                  <c:v>7.2949999999999999</c:v>
                </c:pt>
                <c:pt idx="9410">
                  <c:v>7.2939999999999996</c:v>
                </c:pt>
                <c:pt idx="9411">
                  <c:v>7.2939999999999996</c:v>
                </c:pt>
                <c:pt idx="9412">
                  <c:v>7.2939999999999996</c:v>
                </c:pt>
                <c:pt idx="9413">
                  <c:v>7.2930000000000001</c:v>
                </c:pt>
                <c:pt idx="9414">
                  <c:v>7.2939999999999996</c:v>
                </c:pt>
                <c:pt idx="9415">
                  <c:v>7.2939999999999996</c:v>
                </c:pt>
                <c:pt idx="9416">
                  <c:v>7.2939999999999996</c:v>
                </c:pt>
                <c:pt idx="9417">
                  <c:v>7.2930000000000001</c:v>
                </c:pt>
                <c:pt idx="9418">
                  <c:v>7.2939999999999996</c:v>
                </c:pt>
                <c:pt idx="9419">
                  <c:v>7.2939999999999996</c:v>
                </c:pt>
                <c:pt idx="9420">
                  <c:v>7.2939999999999996</c:v>
                </c:pt>
                <c:pt idx="9421">
                  <c:v>7.2930000000000001</c:v>
                </c:pt>
                <c:pt idx="9422">
                  <c:v>7.2930000000000001</c:v>
                </c:pt>
                <c:pt idx="9423">
                  <c:v>7.2939999999999996</c:v>
                </c:pt>
                <c:pt idx="9424">
                  <c:v>7.2939999999999996</c:v>
                </c:pt>
                <c:pt idx="9425">
                  <c:v>7.2930000000000001</c:v>
                </c:pt>
                <c:pt idx="9426">
                  <c:v>7.2939999999999996</c:v>
                </c:pt>
                <c:pt idx="9427">
                  <c:v>7.2939999999999996</c:v>
                </c:pt>
                <c:pt idx="9428">
                  <c:v>7.2930000000000001</c:v>
                </c:pt>
                <c:pt idx="9429">
                  <c:v>7.2939999999999996</c:v>
                </c:pt>
                <c:pt idx="9430">
                  <c:v>7.2930000000000001</c:v>
                </c:pt>
                <c:pt idx="9431">
                  <c:v>7.2939999999999996</c:v>
                </c:pt>
                <c:pt idx="9432">
                  <c:v>7.2930000000000001</c:v>
                </c:pt>
                <c:pt idx="9433">
                  <c:v>7.2930000000000001</c:v>
                </c:pt>
                <c:pt idx="9434">
                  <c:v>7.2939999999999996</c:v>
                </c:pt>
                <c:pt idx="9435">
                  <c:v>7.2930000000000001</c:v>
                </c:pt>
                <c:pt idx="9436">
                  <c:v>7.2930000000000001</c:v>
                </c:pt>
                <c:pt idx="9437">
                  <c:v>7.2930000000000001</c:v>
                </c:pt>
                <c:pt idx="9438">
                  <c:v>7.2930000000000001</c:v>
                </c:pt>
                <c:pt idx="9439">
                  <c:v>7.2919999999999998</c:v>
                </c:pt>
                <c:pt idx="9440">
                  <c:v>7.2930000000000001</c:v>
                </c:pt>
                <c:pt idx="9441">
                  <c:v>7.2930000000000001</c:v>
                </c:pt>
                <c:pt idx="9442">
                  <c:v>7.2930000000000001</c:v>
                </c:pt>
                <c:pt idx="9443">
                  <c:v>7.2930000000000001</c:v>
                </c:pt>
                <c:pt idx="9444">
                  <c:v>7.2930000000000001</c:v>
                </c:pt>
                <c:pt idx="9445">
                  <c:v>7.2930000000000001</c:v>
                </c:pt>
                <c:pt idx="9446">
                  <c:v>7.2930000000000001</c:v>
                </c:pt>
                <c:pt idx="9447">
                  <c:v>7.2930000000000001</c:v>
                </c:pt>
                <c:pt idx="9448">
                  <c:v>7.2919999999999998</c:v>
                </c:pt>
                <c:pt idx="9449">
                  <c:v>7.2919999999999998</c:v>
                </c:pt>
                <c:pt idx="9450">
                  <c:v>7.2930000000000001</c:v>
                </c:pt>
                <c:pt idx="9451">
                  <c:v>7.2930000000000001</c:v>
                </c:pt>
                <c:pt idx="9452">
                  <c:v>7.2930000000000001</c:v>
                </c:pt>
                <c:pt idx="9453">
                  <c:v>7.2930000000000001</c:v>
                </c:pt>
                <c:pt idx="9454">
                  <c:v>7.2930000000000001</c:v>
                </c:pt>
                <c:pt idx="9455">
                  <c:v>7.2930000000000001</c:v>
                </c:pt>
                <c:pt idx="9456">
                  <c:v>7.2930000000000001</c:v>
                </c:pt>
                <c:pt idx="9457">
                  <c:v>7.2919999999999998</c:v>
                </c:pt>
                <c:pt idx="9458">
                  <c:v>7.2919999999999998</c:v>
                </c:pt>
                <c:pt idx="9459">
                  <c:v>7.2930000000000001</c:v>
                </c:pt>
                <c:pt idx="9460">
                  <c:v>7.2930000000000001</c:v>
                </c:pt>
                <c:pt idx="9461">
                  <c:v>7.2919999999999998</c:v>
                </c:pt>
                <c:pt idx="9462">
                  <c:v>7.2919999999999998</c:v>
                </c:pt>
                <c:pt idx="9463">
                  <c:v>7.2919999999999998</c:v>
                </c:pt>
                <c:pt idx="9464">
                  <c:v>7.2919999999999998</c:v>
                </c:pt>
                <c:pt idx="9465">
                  <c:v>7.2919999999999998</c:v>
                </c:pt>
                <c:pt idx="9466">
                  <c:v>7.2919999999999998</c:v>
                </c:pt>
                <c:pt idx="9467">
                  <c:v>7.2919999999999998</c:v>
                </c:pt>
                <c:pt idx="9468">
                  <c:v>7.2919999999999998</c:v>
                </c:pt>
                <c:pt idx="9469">
                  <c:v>7.2919999999999998</c:v>
                </c:pt>
                <c:pt idx="9470">
                  <c:v>7.2919999999999998</c:v>
                </c:pt>
                <c:pt idx="9471">
                  <c:v>7.2919999999999998</c:v>
                </c:pt>
                <c:pt idx="9472">
                  <c:v>7.2919999999999998</c:v>
                </c:pt>
                <c:pt idx="9473">
                  <c:v>7.2919999999999998</c:v>
                </c:pt>
                <c:pt idx="9474">
                  <c:v>7.2919999999999998</c:v>
                </c:pt>
                <c:pt idx="9475">
                  <c:v>7.2919999999999998</c:v>
                </c:pt>
                <c:pt idx="9476">
                  <c:v>7.2919999999999998</c:v>
                </c:pt>
                <c:pt idx="9477">
                  <c:v>7.2919999999999998</c:v>
                </c:pt>
                <c:pt idx="9478">
                  <c:v>7.2919999999999998</c:v>
                </c:pt>
                <c:pt idx="9479">
                  <c:v>7.2910000000000004</c:v>
                </c:pt>
                <c:pt idx="9480">
                  <c:v>7.2910000000000004</c:v>
                </c:pt>
                <c:pt idx="9481">
                  <c:v>7.2919999999999998</c:v>
                </c:pt>
                <c:pt idx="9482">
                  <c:v>7.2910000000000004</c:v>
                </c:pt>
                <c:pt idx="9483">
                  <c:v>7.2919999999999998</c:v>
                </c:pt>
                <c:pt idx="9484">
                  <c:v>7.2910000000000004</c:v>
                </c:pt>
                <c:pt idx="9485">
                  <c:v>7.2910000000000004</c:v>
                </c:pt>
                <c:pt idx="9486">
                  <c:v>7.2910000000000004</c:v>
                </c:pt>
                <c:pt idx="9487">
                  <c:v>7.2910000000000004</c:v>
                </c:pt>
                <c:pt idx="9488">
                  <c:v>7.2919999999999998</c:v>
                </c:pt>
                <c:pt idx="9489">
                  <c:v>7.2910000000000004</c:v>
                </c:pt>
                <c:pt idx="9490">
                  <c:v>7.2910000000000004</c:v>
                </c:pt>
                <c:pt idx="9491">
                  <c:v>7.2910000000000004</c:v>
                </c:pt>
                <c:pt idx="9492">
                  <c:v>7.2910000000000004</c:v>
                </c:pt>
                <c:pt idx="9493">
                  <c:v>7.2910000000000004</c:v>
                </c:pt>
                <c:pt idx="9494">
                  <c:v>7.2910000000000004</c:v>
                </c:pt>
                <c:pt idx="9495">
                  <c:v>7.2919999999999998</c:v>
                </c:pt>
                <c:pt idx="9496">
                  <c:v>7.2910000000000004</c:v>
                </c:pt>
                <c:pt idx="9497">
                  <c:v>7.2910000000000004</c:v>
                </c:pt>
                <c:pt idx="9498">
                  <c:v>7.29</c:v>
                </c:pt>
                <c:pt idx="9499">
                  <c:v>7.2910000000000004</c:v>
                </c:pt>
                <c:pt idx="9500">
                  <c:v>7.2910000000000004</c:v>
                </c:pt>
                <c:pt idx="9501">
                  <c:v>7.2910000000000004</c:v>
                </c:pt>
                <c:pt idx="9502">
                  <c:v>7.29</c:v>
                </c:pt>
                <c:pt idx="9503">
                  <c:v>7.29</c:v>
                </c:pt>
                <c:pt idx="9504">
                  <c:v>7.2910000000000004</c:v>
                </c:pt>
                <c:pt idx="9505">
                  <c:v>7.29</c:v>
                </c:pt>
                <c:pt idx="9506">
                  <c:v>7.2910000000000004</c:v>
                </c:pt>
                <c:pt idx="9507">
                  <c:v>7.29</c:v>
                </c:pt>
                <c:pt idx="9508">
                  <c:v>7.29</c:v>
                </c:pt>
                <c:pt idx="9509">
                  <c:v>7.29</c:v>
                </c:pt>
                <c:pt idx="9510">
                  <c:v>7.29</c:v>
                </c:pt>
                <c:pt idx="9511">
                  <c:v>7.2910000000000004</c:v>
                </c:pt>
                <c:pt idx="9512">
                  <c:v>7.2910000000000004</c:v>
                </c:pt>
                <c:pt idx="9513">
                  <c:v>7.29</c:v>
                </c:pt>
                <c:pt idx="9514">
                  <c:v>7.29</c:v>
                </c:pt>
                <c:pt idx="9515">
                  <c:v>7.2910000000000004</c:v>
                </c:pt>
                <c:pt idx="9516">
                  <c:v>7.29</c:v>
                </c:pt>
                <c:pt idx="9517">
                  <c:v>7.29</c:v>
                </c:pt>
                <c:pt idx="9518">
                  <c:v>7.29</c:v>
                </c:pt>
                <c:pt idx="9519">
                  <c:v>7.29</c:v>
                </c:pt>
                <c:pt idx="9520">
                  <c:v>7.29</c:v>
                </c:pt>
                <c:pt idx="9521">
                  <c:v>7.29</c:v>
                </c:pt>
                <c:pt idx="9522">
                  <c:v>7.29</c:v>
                </c:pt>
                <c:pt idx="9523">
                  <c:v>7.2889999999999997</c:v>
                </c:pt>
                <c:pt idx="9524">
                  <c:v>7.29</c:v>
                </c:pt>
                <c:pt idx="9525">
                  <c:v>7.29</c:v>
                </c:pt>
                <c:pt idx="9526">
                  <c:v>7.29</c:v>
                </c:pt>
                <c:pt idx="9527">
                  <c:v>7.29</c:v>
                </c:pt>
                <c:pt idx="9528">
                  <c:v>7.2889999999999997</c:v>
                </c:pt>
                <c:pt idx="9529">
                  <c:v>7.29</c:v>
                </c:pt>
                <c:pt idx="9530">
                  <c:v>7.29</c:v>
                </c:pt>
                <c:pt idx="9531">
                  <c:v>7.2889999999999997</c:v>
                </c:pt>
                <c:pt idx="9532">
                  <c:v>7.2889999999999997</c:v>
                </c:pt>
                <c:pt idx="9533">
                  <c:v>7.29</c:v>
                </c:pt>
                <c:pt idx="9534">
                  <c:v>7.29</c:v>
                </c:pt>
                <c:pt idx="9535">
                  <c:v>7.2889999999999997</c:v>
                </c:pt>
                <c:pt idx="9536">
                  <c:v>7.2889999999999997</c:v>
                </c:pt>
                <c:pt idx="9537">
                  <c:v>7.2889999999999997</c:v>
                </c:pt>
                <c:pt idx="9538">
                  <c:v>7.2889999999999997</c:v>
                </c:pt>
                <c:pt idx="9539">
                  <c:v>7.29</c:v>
                </c:pt>
                <c:pt idx="9540">
                  <c:v>7.2889999999999997</c:v>
                </c:pt>
                <c:pt idx="9541">
                  <c:v>7.2889999999999997</c:v>
                </c:pt>
                <c:pt idx="9542">
                  <c:v>7.2889999999999997</c:v>
                </c:pt>
                <c:pt idx="9543">
                  <c:v>7.2889999999999997</c:v>
                </c:pt>
                <c:pt idx="9544">
                  <c:v>7.2889999999999997</c:v>
                </c:pt>
                <c:pt idx="9545">
                  <c:v>7.2889999999999997</c:v>
                </c:pt>
                <c:pt idx="9546">
                  <c:v>7.2889999999999997</c:v>
                </c:pt>
                <c:pt idx="9547">
                  <c:v>7.2889999999999997</c:v>
                </c:pt>
                <c:pt idx="9548">
                  <c:v>7.2880000000000003</c:v>
                </c:pt>
                <c:pt idx="9549">
                  <c:v>7.2889999999999997</c:v>
                </c:pt>
                <c:pt idx="9550">
                  <c:v>7.2880000000000003</c:v>
                </c:pt>
                <c:pt idx="9551">
                  <c:v>7.2889999999999997</c:v>
                </c:pt>
                <c:pt idx="9552">
                  <c:v>7.2889999999999997</c:v>
                </c:pt>
                <c:pt idx="9553">
                  <c:v>7.2880000000000003</c:v>
                </c:pt>
                <c:pt idx="9554">
                  <c:v>7.2889999999999997</c:v>
                </c:pt>
                <c:pt idx="9555">
                  <c:v>7.2880000000000003</c:v>
                </c:pt>
                <c:pt idx="9556">
                  <c:v>7.2889999999999997</c:v>
                </c:pt>
                <c:pt idx="9557">
                  <c:v>7.2889999999999997</c:v>
                </c:pt>
                <c:pt idx="9558">
                  <c:v>7.2880000000000003</c:v>
                </c:pt>
                <c:pt idx="9559">
                  <c:v>7.2880000000000003</c:v>
                </c:pt>
                <c:pt idx="9560">
                  <c:v>7.2889999999999997</c:v>
                </c:pt>
                <c:pt idx="9561">
                  <c:v>7.2880000000000003</c:v>
                </c:pt>
                <c:pt idx="9562">
                  <c:v>7.2889999999999997</c:v>
                </c:pt>
                <c:pt idx="9563">
                  <c:v>7.2889999999999997</c:v>
                </c:pt>
                <c:pt idx="9564">
                  <c:v>7.2880000000000003</c:v>
                </c:pt>
                <c:pt idx="9565">
                  <c:v>7.2880000000000003</c:v>
                </c:pt>
                <c:pt idx="9566">
                  <c:v>7.2880000000000003</c:v>
                </c:pt>
                <c:pt idx="9567">
                  <c:v>7.2880000000000003</c:v>
                </c:pt>
                <c:pt idx="9568">
                  <c:v>7.2880000000000003</c:v>
                </c:pt>
                <c:pt idx="9569">
                  <c:v>7.2880000000000003</c:v>
                </c:pt>
                <c:pt idx="9570">
                  <c:v>7.2880000000000003</c:v>
                </c:pt>
                <c:pt idx="9571">
                  <c:v>7.2869999999999999</c:v>
                </c:pt>
                <c:pt idx="9572">
                  <c:v>7.2880000000000003</c:v>
                </c:pt>
                <c:pt idx="9573">
                  <c:v>7.2889999999999997</c:v>
                </c:pt>
                <c:pt idx="9574">
                  <c:v>7.2880000000000003</c:v>
                </c:pt>
                <c:pt idx="9575">
                  <c:v>7.2880000000000003</c:v>
                </c:pt>
                <c:pt idx="9576">
                  <c:v>7.2880000000000003</c:v>
                </c:pt>
                <c:pt idx="9577">
                  <c:v>7.2880000000000003</c:v>
                </c:pt>
                <c:pt idx="9578">
                  <c:v>7.2869999999999999</c:v>
                </c:pt>
                <c:pt idx="9579">
                  <c:v>7.2869999999999999</c:v>
                </c:pt>
                <c:pt idx="9580">
                  <c:v>7.2880000000000003</c:v>
                </c:pt>
                <c:pt idx="9581">
                  <c:v>7.2880000000000003</c:v>
                </c:pt>
                <c:pt idx="9582">
                  <c:v>7.2869999999999999</c:v>
                </c:pt>
                <c:pt idx="9583">
                  <c:v>7.2880000000000003</c:v>
                </c:pt>
                <c:pt idx="9584">
                  <c:v>7.2869999999999999</c:v>
                </c:pt>
                <c:pt idx="9585">
                  <c:v>7.2869999999999999</c:v>
                </c:pt>
                <c:pt idx="9586">
                  <c:v>7.2869999999999999</c:v>
                </c:pt>
                <c:pt idx="9587">
                  <c:v>7.2880000000000003</c:v>
                </c:pt>
                <c:pt idx="9588">
                  <c:v>7.2869999999999999</c:v>
                </c:pt>
                <c:pt idx="9589">
                  <c:v>7.2869999999999999</c:v>
                </c:pt>
                <c:pt idx="9590">
                  <c:v>7.2869999999999999</c:v>
                </c:pt>
                <c:pt idx="9591">
                  <c:v>7.2880000000000003</c:v>
                </c:pt>
                <c:pt idx="9592">
                  <c:v>7.2869999999999999</c:v>
                </c:pt>
                <c:pt idx="9593">
                  <c:v>7.2869999999999999</c:v>
                </c:pt>
                <c:pt idx="9594">
                  <c:v>7.2869999999999999</c:v>
                </c:pt>
                <c:pt idx="9595">
                  <c:v>7.2869999999999999</c:v>
                </c:pt>
                <c:pt idx="9596">
                  <c:v>7.2869999999999999</c:v>
                </c:pt>
                <c:pt idx="9597">
                  <c:v>7.2869999999999999</c:v>
                </c:pt>
                <c:pt idx="9598">
                  <c:v>7.2880000000000003</c:v>
                </c:pt>
                <c:pt idx="9599">
                  <c:v>7.2869999999999999</c:v>
                </c:pt>
                <c:pt idx="9600">
                  <c:v>7.2869999999999999</c:v>
                </c:pt>
                <c:pt idx="9601">
                  <c:v>7.2869999999999999</c:v>
                </c:pt>
                <c:pt idx="9602">
                  <c:v>7.2880000000000003</c:v>
                </c:pt>
                <c:pt idx="9603">
                  <c:v>7.2869999999999999</c:v>
                </c:pt>
                <c:pt idx="9604">
                  <c:v>7.2869999999999999</c:v>
                </c:pt>
                <c:pt idx="9605">
                  <c:v>7.2869999999999999</c:v>
                </c:pt>
                <c:pt idx="9606">
                  <c:v>7.2859999999999996</c:v>
                </c:pt>
                <c:pt idx="9607">
                  <c:v>7.2869999999999999</c:v>
                </c:pt>
                <c:pt idx="9608">
                  <c:v>7.2869999999999999</c:v>
                </c:pt>
                <c:pt idx="9609">
                  <c:v>7.2859999999999996</c:v>
                </c:pt>
                <c:pt idx="9610">
                  <c:v>7.2859999999999996</c:v>
                </c:pt>
                <c:pt idx="9611">
                  <c:v>7.2859999999999996</c:v>
                </c:pt>
                <c:pt idx="9612">
                  <c:v>7.2859999999999996</c:v>
                </c:pt>
                <c:pt idx="9613">
                  <c:v>7.2869999999999999</c:v>
                </c:pt>
                <c:pt idx="9614">
                  <c:v>7.2859999999999996</c:v>
                </c:pt>
                <c:pt idx="9615">
                  <c:v>7.2859999999999996</c:v>
                </c:pt>
                <c:pt idx="9616">
                  <c:v>7.2869999999999999</c:v>
                </c:pt>
                <c:pt idx="9617">
                  <c:v>7.2869999999999999</c:v>
                </c:pt>
                <c:pt idx="9618">
                  <c:v>7.2859999999999996</c:v>
                </c:pt>
                <c:pt idx="9619">
                  <c:v>7.2859999999999996</c:v>
                </c:pt>
                <c:pt idx="9620">
                  <c:v>7.2859999999999996</c:v>
                </c:pt>
                <c:pt idx="9621">
                  <c:v>7.2859999999999996</c:v>
                </c:pt>
                <c:pt idx="9622">
                  <c:v>7.2859999999999996</c:v>
                </c:pt>
                <c:pt idx="9623">
                  <c:v>7.2859999999999996</c:v>
                </c:pt>
                <c:pt idx="9624">
                  <c:v>7.2869999999999999</c:v>
                </c:pt>
                <c:pt idx="9625">
                  <c:v>7.2859999999999996</c:v>
                </c:pt>
                <c:pt idx="9626">
                  <c:v>7.2859999999999996</c:v>
                </c:pt>
                <c:pt idx="9627">
                  <c:v>7.2859999999999996</c:v>
                </c:pt>
                <c:pt idx="9628">
                  <c:v>7.2850000000000001</c:v>
                </c:pt>
                <c:pt idx="9629">
                  <c:v>7.2859999999999996</c:v>
                </c:pt>
                <c:pt idx="9630">
                  <c:v>7.2859999999999996</c:v>
                </c:pt>
                <c:pt idx="9631">
                  <c:v>7.2859999999999996</c:v>
                </c:pt>
                <c:pt idx="9632">
                  <c:v>7.2850000000000001</c:v>
                </c:pt>
                <c:pt idx="9633">
                  <c:v>7.2850000000000001</c:v>
                </c:pt>
                <c:pt idx="9634">
                  <c:v>7.2859999999999996</c:v>
                </c:pt>
                <c:pt idx="9635">
                  <c:v>7.2850000000000001</c:v>
                </c:pt>
                <c:pt idx="9636">
                  <c:v>7.2859999999999996</c:v>
                </c:pt>
                <c:pt idx="9637">
                  <c:v>7.2859999999999996</c:v>
                </c:pt>
                <c:pt idx="9638">
                  <c:v>7.2859999999999996</c:v>
                </c:pt>
                <c:pt idx="9639">
                  <c:v>7.2850000000000001</c:v>
                </c:pt>
                <c:pt idx="9640">
                  <c:v>7.2850000000000001</c:v>
                </c:pt>
                <c:pt idx="9641">
                  <c:v>7.2850000000000001</c:v>
                </c:pt>
                <c:pt idx="9642">
                  <c:v>7.2859999999999996</c:v>
                </c:pt>
                <c:pt idx="9643">
                  <c:v>7.2850000000000001</c:v>
                </c:pt>
                <c:pt idx="9644">
                  <c:v>7.2859999999999996</c:v>
                </c:pt>
                <c:pt idx="9645">
                  <c:v>7.2850000000000001</c:v>
                </c:pt>
                <c:pt idx="9646">
                  <c:v>7.2850000000000001</c:v>
                </c:pt>
                <c:pt idx="9647">
                  <c:v>7.2850000000000001</c:v>
                </c:pt>
                <c:pt idx="9648">
                  <c:v>7.2850000000000001</c:v>
                </c:pt>
                <c:pt idx="9649">
                  <c:v>7.2850000000000001</c:v>
                </c:pt>
                <c:pt idx="9650">
                  <c:v>7.2850000000000001</c:v>
                </c:pt>
                <c:pt idx="9651">
                  <c:v>7.2850000000000001</c:v>
                </c:pt>
                <c:pt idx="9652">
                  <c:v>7.2850000000000001</c:v>
                </c:pt>
                <c:pt idx="9653">
                  <c:v>7.2839999999999998</c:v>
                </c:pt>
                <c:pt idx="9654">
                  <c:v>7.2839999999999998</c:v>
                </c:pt>
                <c:pt idx="9655">
                  <c:v>7.2859999999999996</c:v>
                </c:pt>
                <c:pt idx="9656">
                  <c:v>7.2839999999999998</c:v>
                </c:pt>
                <c:pt idx="9657">
                  <c:v>7.2850000000000001</c:v>
                </c:pt>
                <c:pt idx="9658">
                  <c:v>7.2850000000000001</c:v>
                </c:pt>
                <c:pt idx="9659">
                  <c:v>7.2839999999999998</c:v>
                </c:pt>
                <c:pt idx="9660">
                  <c:v>7.2850000000000001</c:v>
                </c:pt>
                <c:pt idx="9661">
                  <c:v>7.2839999999999998</c:v>
                </c:pt>
                <c:pt idx="9662">
                  <c:v>7.2850000000000001</c:v>
                </c:pt>
                <c:pt idx="9663">
                  <c:v>7.2839999999999998</c:v>
                </c:pt>
                <c:pt idx="9664">
                  <c:v>7.2839999999999998</c:v>
                </c:pt>
                <c:pt idx="9665">
                  <c:v>7.2850000000000001</c:v>
                </c:pt>
                <c:pt idx="9666">
                  <c:v>7.2839999999999998</c:v>
                </c:pt>
                <c:pt idx="9667">
                  <c:v>7.2850000000000001</c:v>
                </c:pt>
                <c:pt idx="9668">
                  <c:v>7.2839999999999998</c:v>
                </c:pt>
                <c:pt idx="9669">
                  <c:v>7.2839999999999998</c:v>
                </c:pt>
                <c:pt idx="9670">
                  <c:v>7.2839999999999998</c:v>
                </c:pt>
                <c:pt idx="9671">
                  <c:v>7.2839999999999998</c:v>
                </c:pt>
                <c:pt idx="9672">
                  <c:v>7.2839999999999998</c:v>
                </c:pt>
                <c:pt idx="9673">
                  <c:v>7.2839999999999998</c:v>
                </c:pt>
                <c:pt idx="9674">
                  <c:v>7.2839999999999998</c:v>
                </c:pt>
                <c:pt idx="9675">
                  <c:v>7.2839999999999998</c:v>
                </c:pt>
                <c:pt idx="9676">
                  <c:v>7.2839999999999998</c:v>
                </c:pt>
                <c:pt idx="9677">
                  <c:v>7.2839999999999998</c:v>
                </c:pt>
                <c:pt idx="9678">
                  <c:v>7.2839999999999998</c:v>
                </c:pt>
                <c:pt idx="9679">
                  <c:v>7.2830000000000004</c:v>
                </c:pt>
                <c:pt idx="9680">
                  <c:v>7.2839999999999998</c:v>
                </c:pt>
                <c:pt idx="9681">
                  <c:v>7.2830000000000004</c:v>
                </c:pt>
                <c:pt idx="9682">
                  <c:v>7.2830000000000004</c:v>
                </c:pt>
                <c:pt idx="9683">
                  <c:v>7.2830000000000004</c:v>
                </c:pt>
                <c:pt idx="9684">
                  <c:v>7.2839999999999998</c:v>
                </c:pt>
                <c:pt idx="9685">
                  <c:v>7.2839999999999998</c:v>
                </c:pt>
                <c:pt idx="9686">
                  <c:v>7.2830000000000004</c:v>
                </c:pt>
                <c:pt idx="9687">
                  <c:v>7.2830000000000004</c:v>
                </c:pt>
                <c:pt idx="9688">
                  <c:v>7.2830000000000004</c:v>
                </c:pt>
                <c:pt idx="9689">
                  <c:v>7.2839999999999998</c:v>
                </c:pt>
                <c:pt idx="9690">
                  <c:v>7.2839999999999998</c:v>
                </c:pt>
                <c:pt idx="9691">
                  <c:v>7.2830000000000004</c:v>
                </c:pt>
                <c:pt idx="9692">
                  <c:v>7.2830000000000004</c:v>
                </c:pt>
                <c:pt idx="9693">
                  <c:v>7.2830000000000004</c:v>
                </c:pt>
                <c:pt idx="9694">
                  <c:v>7.2830000000000004</c:v>
                </c:pt>
                <c:pt idx="9695">
                  <c:v>7.2830000000000004</c:v>
                </c:pt>
                <c:pt idx="9696">
                  <c:v>7.2830000000000004</c:v>
                </c:pt>
                <c:pt idx="9697">
                  <c:v>7.2830000000000004</c:v>
                </c:pt>
                <c:pt idx="9698">
                  <c:v>7.2839999999999998</c:v>
                </c:pt>
                <c:pt idx="9699">
                  <c:v>7.282</c:v>
                </c:pt>
                <c:pt idx="9700">
                  <c:v>7.2830000000000004</c:v>
                </c:pt>
                <c:pt idx="9701">
                  <c:v>7.282</c:v>
                </c:pt>
                <c:pt idx="9702">
                  <c:v>7.2830000000000004</c:v>
                </c:pt>
                <c:pt idx="9703">
                  <c:v>7.2830000000000004</c:v>
                </c:pt>
                <c:pt idx="9704">
                  <c:v>7.2830000000000004</c:v>
                </c:pt>
                <c:pt idx="9705">
                  <c:v>7.282</c:v>
                </c:pt>
                <c:pt idx="9706">
                  <c:v>7.2830000000000004</c:v>
                </c:pt>
                <c:pt idx="9707">
                  <c:v>7.2830000000000004</c:v>
                </c:pt>
                <c:pt idx="9708">
                  <c:v>7.2830000000000004</c:v>
                </c:pt>
                <c:pt idx="9709">
                  <c:v>7.2830000000000004</c:v>
                </c:pt>
                <c:pt idx="9710">
                  <c:v>7.282</c:v>
                </c:pt>
                <c:pt idx="9711">
                  <c:v>7.282</c:v>
                </c:pt>
                <c:pt idx="9712">
                  <c:v>7.282</c:v>
                </c:pt>
                <c:pt idx="9713">
                  <c:v>7.282</c:v>
                </c:pt>
                <c:pt idx="9714">
                  <c:v>7.2830000000000004</c:v>
                </c:pt>
                <c:pt idx="9715">
                  <c:v>7.282</c:v>
                </c:pt>
                <c:pt idx="9716">
                  <c:v>7.2830000000000004</c:v>
                </c:pt>
                <c:pt idx="9717">
                  <c:v>7.282</c:v>
                </c:pt>
                <c:pt idx="9718">
                  <c:v>7.282</c:v>
                </c:pt>
                <c:pt idx="9719">
                  <c:v>7.282</c:v>
                </c:pt>
                <c:pt idx="9720">
                  <c:v>7.282</c:v>
                </c:pt>
                <c:pt idx="9721">
                  <c:v>7.282</c:v>
                </c:pt>
                <c:pt idx="9722">
                  <c:v>7.282</c:v>
                </c:pt>
                <c:pt idx="9723">
                  <c:v>7.282</c:v>
                </c:pt>
                <c:pt idx="9724">
                  <c:v>7.282</c:v>
                </c:pt>
                <c:pt idx="9725">
                  <c:v>7.2809999999999997</c:v>
                </c:pt>
                <c:pt idx="9726">
                  <c:v>7.2809999999999997</c:v>
                </c:pt>
                <c:pt idx="9727">
                  <c:v>7.282</c:v>
                </c:pt>
                <c:pt idx="9728">
                  <c:v>7.282</c:v>
                </c:pt>
                <c:pt idx="9729">
                  <c:v>7.2809999999999997</c:v>
                </c:pt>
                <c:pt idx="9730">
                  <c:v>7.2809999999999997</c:v>
                </c:pt>
                <c:pt idx="9731">
                  <c:v>7.282</c:v>
                </c:pt>
                <c:pt idx="9732">
                  <c:v>7.2809999999999997</c:v>
                </c:pt>
                <c:pt idx="9733">
                  <c:v>7.282</c:v>
                </c:pt>
                <c:pt idx="9734">
                  <c:v>7.282</c:v>
                </c:pt>
                <c:pt idx="9735">
                  <c:v>7.2809999999999997</c:v>
                </c:pt>
                <c:pt idx="9736">
                  <c:v>7.282</c:v>
                </c:pt>
                <c:pt idx="9737">
                  <c:v>7.2809999999999997</c:v>
                </c:pt>
                <c:pt idx="9738">
                  <c:v>7.2809999999999997</c:v>
                </c:pt>
                <c:pt idx="9739">
                  <c:v>7.282</c:v>
                </c:pt>
                <c:pt idx="9740">
                  <c:v>7.2809999999999997</c:v>
                </c:pt>
                <c:pt idx="9741">
                  <c:v>7.2809999999999997</c:v>
                </c:pt>
                <c:pt idx="9742">
                  <c:v>7.2809999999999997</c:v>
                </c:pt>
                <c:pt idx="9743">
                  <c:v>7.28</c:v>
                </c:pt>
                <c:pt idx="9744">
                  <c:v>7.28</c:v>
                </c:pt>
                <c:pt idx="9745">
                  <c:v>7.28</c:v>
                </c:pt>
                <c:pt idx="9746">
                  <c:v>7.2809999999999997</c:v>
                </c:pt>
                <c:pt idx="9747">
                  <c:v>7.2809999999999997</c:v>
                </c:pt>
                <c:pt idx="9748">
                  <c:v>7.28</c:v>
                </c:pt>
                <c:pt idx="9749">
                  <c:v>7.2809999999999997</c:v>
                </c:pt>
                <c:pt idx="9750">
                  <c:v>7.28</c:v>
                </c:pt>
                <c:pt idx="9751">
                  <c:v>7.2809999999999997</c:v>
                </c:pt>
                <c:pt idx="9752">
                  <c:v>7.2809999999999997</c:v>
                </c:pt>
                <c:pt idx="9753">
                  <c:v>7.28</c:v>
                </c:pt>
                <c:pt idx="9754">
                  <c:v>7.28</c:v>
                </c:pt>
                <c:pt idx="9755">
                  <c:v>7.28</c:v>
                </c:pt>
                <c:pt idx="9756">
                  <c:v>7.28</c:v>
                </c:pt>
                <c:pt idx="9757">
                  <c:v>7.2809999999999997</c:v>
                </c:pt>
                <c:pt idx="9758">
                  <c:v>7.28</c:v>
                </c:pt>
                <c:pt idx="9759">
                  <c:v>7.2809999999999997</c:v>
                </c:pt>
                <c:pt idx="9760">
                  <c:v>7.28</c:v>
                </c:pt>
                <c:pt idx="9761">
                  <c:v>7.28</c:v>
                </c:pt>
                <c:pt idx="9762">
                  <c:v>7.28</c:v>
                </c:pt>
                <c:pt idx="9763">
                  <c:v>7.28</c:v>
                </c:pt>
                <c:pt idx="9764">
                  <c:v>7.28</c:v>
                </c:pt>
                <c:pt idx="9765">
                  <c:v>7.28</c:v>
                </c:pt>
                <c:pt idx="9766">
                  <c:v>7.28</c:v>
                </c:pt>
                <c:pt idx="9767">
                  <c:v>7.28</c:v>
                </c:pt>
                <c:pt idx="9768">
                  <c:v>7.2789999999999999</c:v>
                </c:pt>
                <c:pt idx="9769">
                  <c:v>7.28</c:v>
                </c:pt>
                <c:pt idx="9770">
                  <c:v>7.28</c:v>
                </c:pt>
                <c:pt idx="9771">
                  <c:v>7.2789999999999999</c:v>
                </c:pt>
                <c:pt idx="9772">
                  <c:v>7.28</c:v>
                </c:pt>
                <c:pt idx="9773">
                  <c:v>7.2789999999999999</c:v>
                </c:pt>
                <c:pt idx="9774">
                  <c:v>7.28</c:v>
                </c:pt>
                <c:pt idx="9775">
                  <c:v>7.28</c:v>
                </c:pt>
                <c:pt idx="9776">
                  <c:v>7.28</c:v>
                </c:pt>
                <c:pt idx="9777">
                  <c:v>7.2789999999999999</c:v>
                </c:pt>
                <c:pt idx="9778">
                  <c:v>7.2789999999999999</c:v>
                </c:pt>
                <c:pt idx="9779">
                  <c:v>7.2789999999999999</c:v>
                </c:pt>
                <c:pt idx="9780">
                  <c:v>7.2789999999999999</c:v>
                </c:pt>
                <c:pt idx="9781">
                  <c:v>7.2789999999999999</c:v>
                </c:pt>
                <c:pt idx="9782">
                  <c:v>7.2779999999999996</c:v>
                </c:pt>
                <c:pt idx="9783">
                  <c:v>7.2789999999999999</c:v>
                </c:pt>
                <c:pt idx="9784">
                  <c:v>7.2789999999999999</c:v>
                </c:pt>
                <c:pt idx="9785">
                  <c:v>7.2779999999999996</c:v>
                </c:pt>
                <c:pt idx="9786">
                  <c:v>7.2789999999999999</c:v>
                </c:pt>
                <c:pt idx="9787">
                  <c:v>7.2789999999999999</c:v>
                </c:pt>
                <c:pt idx="9788">
                  <c:v>7.2779999999999996</c:v>
                </c:pt>
                <c:pt idx="9789">
                  <c:v>7.2789999999999999</c:v>
                </c:pt>
                <c:pt idx="9790">
                  <c:v>7.2779999999999996</c:v>
                </c:pt>
                <c:pt idx="9791">
                  <c:v>7.2779999999999996</c:v>
                </c:pt>
                <c:pt idx="9792">
                  <c:v>7.2779999999999996</c:v>
                </c:pt>
                <c:pt idx="9793">
                  <c:v>7.2779999999999996</c:v>
                </c:pt>
                <c:pt idx="9794">
                  <c:v>7.2779999999999996</c:v>
                </c:pt>
                <c:pt idx="9795">
                  <c:v>7.2779999999999996</c:v>
                </c:pt>
                <c:pt idx="9796">
                  <c:v>7.2789999999999999</c:v>
                </c:pt>
                <c:pt idx="9797">
                  <c:v>7.2779999999999996</c:v>
                </c:pt>
                <c:pt idx="9798">
                  <c:v>7.2779999999999996</c:v>
                </c:pt>
                <c:pt idx="9799">
                  <c:v>7.2779999999999996</c:v>
                </c:pt>
                <c:pt idx="9800">
                  <c:v>7.2779999999999996</c:v>
                </c:pt>
                <c:pt idx="9801">
                  <c:v>7.2779999999999996</c:v>
                </c:pt>
                <c:pt idx="9802">
                  <c:v>7.2779999999999996</c:v>
                </c:pt>
                <c:pt idx="9803">
                  <c:v>7.2770000000000001</c:v>
                </c:pt>
                <c:pt idx="9804">
                  <c:v>7.2779999999999996</c:v>
                </c:pt>
                <c:pt idx="9805">
                  <c:v>7.2779999999999996</c:v>
                </c:pt>
                <c:pt idx="9806">
                  <c:v>7.2779999999999996</c:v>
                </c:pt>
                <c:pt idx="9807">
                  <c:v>7.2770000000000001</c:v>
                </c:pt>
                <c:pt idx="9808">
                  <c:v>7.2770000000000001</c:v>
                </c:pt>
                <c:pt idx="9809">
                  <c:v>7.2770000000000001</c:v>
                </c:pt>
                <c:pt idx="9810">
                  <c:v>7.2770000000000001</c:v>
                </c:pt>
                <c:pt idx="9811">
                  <c:v>7.2770000000000001</c:v>
                </c:pt>
                <c:pt idx="9812">
                  <c:v>7.2779999999999996</c:v>
                </c:pt>
                <c:pt idx="9813">
                  <c:v>7.2770000000000001</c:v>
                </c:pt>
                <c:pt idx="9814">
                  <c:v>7.2770000000000001</c:v>
                </c:pt>
                <c:pt idx="9815">
                  <c:v>7.2770000000000001</c:v>
                </c:pt>
                <c:pt idx="9816">
                  <c:v>7.2770000000000001</c:v>
                </c:pt>
                <c:pt idx="9817">
                  <c:v>7.2770000000000001</c:v>
                </c:pt>
                <c:pt idx="9818">
                  <c:v>7.2779999999999996</c:v>
                </c:pt>
                <c:pt idx="9819">
                  <c:v>7.2759999999999998</c:v>
                </c:pt>
                <c:pt idx="9820">
                  <c:v>7.2759999999999998</c:v>
                </c:pt>
                <c:pt idx="9821">
                  <c:v>7.2770000000000001</c:v>
                </c:pt>
                <c:pt idx="9822">
                  <c:v>7.2770000000000001</c:v>
                </c:pt>
                <c:pt idx="9823">
                  <c:v>7.2759999999999998</c:v>
                </c:pt>
                <c:pt idx="9824">
                  <c:v>7.2770000000000001</c:v>
                </c:pt>
                <c:pt idx="9825">
                  <c:v>7.2759999999999998</c:v>
                </c:pt>
                <c:pt idx="9826">
                  <c:v>7.2770000000000001</c:v>
                </c:pt>
                <c:pt idx="9827">
                  <c:v>7.2770000000000001</c:v>
                </c:pt>
                <c:pt idx="9828">
                  <c:v>7.2759999999999998</c:v>
                </c:pt>
                <c:pt idx="9829">
                  <c:v>7.2759999999999998</c:v>
                </c:pt>
                <c:pt idx="9830">
                  <c:v>7.2759999999999998</c:v>
                </c:pt>
                <c:pt idx="9831">
                  <c:v>7.2770000000000001</c:v>
                </c:pt>
                <c:pt idx="9832">
                  <c:v>7.2759999999999998</c:v>
                </c:pt>
                <c:pt idx="9833">
                  <c:v>7.2759999999999998</c:v>
                </c:pt>
                <c:pt idx="9834">
                  <c:v>7.2750000000000004</c:v>
                </c:pt>
                <c:pt idx="9835">
                  <c:v>7.2759999999999998</c:v>
                </c:pt>
                <c:pt idx="9836">
                  <c:v>7.2759999999999998</c:v>
                </c:pt>
                <c:pt idx="9837">
                  <c:v>7.2759999999999998</c:v>
                </c:pt>
                <c:pt idx="9838">
                  <c:v>7.2759999999999998</c:v>
                </c:pt>
                <c:pt idx="9839">
                  <c:v>7.2750000000000004</c:v>
                </c:pt>
                <c:pt idx="9840">
                  <c:v>7.2750000000000004</c:v>
                </c:pt>
                <c:pt idx="9841">
                  <c:v>7.2750000000000004</c:v>
                </c:pt>
                <c:pt idx="9842">
                  <c:v>7.2750000000000004</c:v>
                </c:pt>
                <c:pt idx="9843">
                  <c:v>7.2750000000000004</c:v>
                </c:pt>
                <c:pt idx="9844">
                  <c:v>7.2750000000000004</c:v>
                </c:pt>
                <c:pt idx="9845">
                  <c:v>7.2750000000000004</c:v>
                </c:pt>
                <c:pt idx="9846">
                  <c:v>7.2750000000000004</c:v>
                </c:pt>
                <c:pt idx="9847">
                  <c:v>7.274</c:v>
                </c:pt>
                <c:pt idx="9848">
                  <c:v>7.2750000000000004</c:v>
                </c:pt>
                <c:pt idx="9849">
                  <c:v>7.2750000000000004</c:v>
                </c:pt>
                <c:pt idx="9850">
                  <c:v>7.2750000000000004</c:v>
                </c:pt>
                <c:pt idx="9851">
                  <c:v>7.2750000000000004</c:v>
                </c:pt>
                <c:pt idx="9852">
                  <c:v>7.274</c:v>
                </c:pt>
                <c:pt idx="9853">
                  <c:v>7.2750000000000004</c:v>
                </c:pt>
                <c:pt idx="9854">
                  <c:v>7.274</c:v>
                </c:pt>
                <c:pt idx="9855">
                  <c:v>7.274</c:v>
                </c:pt>
                <c:pt idx="9856">
                  <c:v>7.274</c:v>
                </c:pt>
                <c:pt idx="9857">
                  <c:v>7.274</c:v>
                </c:pt>
                <c:pt idx="9858">
                  <c:v>7.274</c:v>
                </c:pt>
                <c:pt idx="9859">
                  <c:v>7.274</c:v>
                </c:pt>
                <c:pt idx="9860">
                  <c:v>7.274</c:v>
                </c:pt>
                <c:pt idx="9861">
                  <c:v>7.2750000000000004</c:v>
                </c:pt>
                <c:pt idx="9862">
                  <c:v>7.274</c:v>
                </c:pt>
                <c:pt idx="9863">
                  <c:v>7.274</c:v>
                </c:pt>
                <c:pt idx="9864">
                  <c:v>7.274</c:v>
                </c:pt>
                <c:pt idx="9865">
                  <c:v>7.2729999999999997</c:v>
                </c:pt>
                <c:pt idx="9866">
                  <c:v>7.2750000000000004</c:v>
                </c:pt>
                <c:pt idx="9867">
                  <c:v>7.274</c:v>
                </c:pt>
                <c:pt idx="9868">
                  <c:v>7.2729999999999997</c:v>
                </c:pt>
                <c:pt idx="9869">
                  <c:v>7.274</c:v>
                </c:pt>
                <c:pt idx="9870">
                  <c:v>7.274</c:v>
                </c:pt>
                <c:pt idx="9871">
                  <c:v>7.274</c:v>
                </c:pt>
                <c:pt idx="9872">
                  <c:v>7.274</c:v>
                </c:pt>
                <c:pt idx="9873">
                  <c:v>7.2729999999999997</c:v>
                </c:pt>
                <c:pt idx="9874">
                  <c:v>7.274</c:v>
                </c:pt>
                <c:pt idx="9875">
                  <c:v>7.2729999999999997</c:v>
                </c:pt>
                <c:pt idx="9876">
                  <c:v>7.2729999999999997</c:v>
                </c:pt>
                <c:pt idx="9877">
                  <c:v>7.274</c:v>
                </c:pt>
                <c:pt idx="9878">
                  <c:v>7.2729999999999997</c:v>
                </c:pt>
                <c:pt idx="9879">
                  <c:v>7.2729999999999997</c:v>
                </c:pt>
                <c:pt idx="9880">
                  <c:v>7.2729999999999997</c:v>
                </c:pt>
                <c:pt idx="9881">
                  <c:v>7.2729999999999997</c:v>
                </c:pt>
                <c:pt idx="9882">
                  <c:v>7.2729999999999997</c:v>
                </c:pt>
                <c:pt idx="9883">
                  <c:v>7.2720000000000002</c:v>
                </c:pt>
                <c:pt idx="9884">
                  <c:v>7.2720000000000002</c:v>
                </c:pt>
                <c:pt idx="9885">
                  <c:v>7.2729999999999997</c:v>
                </c:pt>
                <c:pt idx="9886">
                  <c:v>7.2729999999999997</c:v>
                </c:pt>
                <c:pt idx="9887">
                  <c:v>7.2729999999999997</c:v>
                </c:pt>
                <c:pt idx="9888">
                  <c:v>7.2720000000000002</c:v>
                </c:pt>
                <c:pt idx="9889">
                  <c:v>7.2720000000000002</c:v>
                </c:pt>
                <c:pt idx="9890">
                  <c:v>7.2720000000000002</c:v>
                </c:pt>
                <c:pt idx="9891">
                  <c:v>7.2729999999999997</c:v>
                </c:pt>
                <c:pt idx="9892">
                  <c:v>7.2720000000000002</c:v>
                </c:pt>
                <c:pt idx="9893">
                  <c:v>7.2720000000000002</c:v>
                </c:pt>
                <c:pt idx="9894">
                  <c:v>7.2720000000000002</c:v>
                </c:pt>
                <c:pt idx="9895">
                  <c:v>7.2720000000000002</c:v>
                </c:pt>
                <c:pt idx="9896">
                  <c:v>7.2729999999999997</c:v>
                </c:pt>
                <c:pt idx="9897">
                  <c:v>7.2729999999999997</c:v>
                </c:pt>
                <c:pt idx="9898">
                  <c:v>7.2720000000000002</c:v>
                </c:pt>
                <c:pt idx="9899">
                  <c:v>7.2729999999999997</c:v>
                </c:pt>
                <c:pt idx="9900">
                  <c:v>7.2720000000000002</c:v>
                </c:pt>
                <c:pt idx="9901">
                  <c:v>7.2720000000000002</c:v>
                </c:pt>
                <c:pt idx="9902">
                  <c:v>7.2709999999999999</c:v>
                </c:pt>
                <c:pt idx="9903">
                  <c:v>7.2720000000000002</c:v>
                </c:pt>
                <c:pt idx="9904">
                  <c:v>7.2720000000000002</c:v>
                </c:pt>
                <c:pt idx="9905">
                  <c:v>7.2709999999999999</c:v>
                </c:pt>
                <c:pt idx="9906">
                  <c:v>7.2720000000000002</c:v>
                </c:pt>
                <c:pt idx="9907">
                  <c:v>7.2720000000000002</c:v>
                </c:pt>
                <c:pt idx="9908">
                  <c:v>7.2709999999999999</c:v>
                </c:pt>
                <c:pt idx="9909">
                  <c:v>7.2709999999999999</c:v>
                </c:pt>
                <c:pt idx="9910">
                  <c:v>7.2720000000000002</c:v>
                </c:pt>
                <c:pt idx="9911">
                  <c:v>7.2720000000000002</c:v>
                </c:pt>
                <c:pt idx="9912">
                  <c:v>7.2709999999999999</c:v>
                </c:pt>
                <c:pt idx="9913">
                  <c:v>7.2709999999999999</c:v>
                </c:pt>
                <c:pt idx="9914">
                  <c:v>7.2709999999999999</c:v>
                </c:pt>
                <c:pt idx="9915">
                  <c:v>7.2720000000000002</c:v>
                </c:pt>
                <c:pt idx="9916">
                  <c:v>7.2709999999999999</c:v>
                </c:pt>
                <c:pt idx="9917">
                  <c:v>7.2709999999999999</c:v>
                </c:pt>
                <c:pt idx="9918">
                  <c:v>7.2709999999999999</c:v>
                </c:pt>
                <c:pt idx="9919">
                  <c:v>7.2709999999999999</c:v>
                </c:pt>
                <c:pt idx="9920">
                  <c:v>7.2709999999999999</c:v>
                </c:pt>
                <c:pt idx="9921">
                  <c:v>7.27</c:v>
                </c:pt>
                <c:pt idx="9922">
                  <c:v>7.27</c:v>
                </c:pt>
                <c:pt idx="9923">
                  <c:v>7.27</c:v>
                </c:pt>
                <c:pt idx="9924">
                  <c:v>7.27</c:v>
                </c:pt>
                <c:pt idx="9925">
                  <c:v>7.27</c:v>
                </c:pt>
                <c:pt idx="9926">
                  <c:v>7.27</c:v>
                </c:pt>
                <c:pt idx="9927">
                  <c:v>7.27</c:v>
                </c:pt>
                <c:pt idx="9928">
                  <c:v>7.27</c:v>
                </c:pt>
                <c:pt idx="9929">
                  <c:v>7.2709999999999999</c:v>
                </c:pt>
                <c:pt idx="9930">
                  <c:v>7.27</c:v>
                </c:pt>
                <c:pt idx="9931">
                  <c:v>7.27</c:v>
                </c:pt>
                <c:pt idx="9932">
                  <c:v>7.2690000000000001</c:v>
                </c:pt>
                <c:pt idx="9933">
                  <c:v>7.27</c:v>
                </c:pt>
                <c:pt idx="9934">
                  <c:v>7.2709999999999999</c:v>
                </c:pt>
                <c:pt idx="9935">
                  <c:v>7.2709999999999999</c:v>
                </c:pt>
                <c:pt idx="9936">
                  <c:v>7.2690000000000001</c:v>
                </c:pt>
                <c:pt idx="9937">
                  <c:v>7.27</c:v>
                </c:pt>
                <c:pt idx="9938">
                  <c:v>7.2690000000000001</c:v>
                </c:pt>
                <c:pt idx="9939">
                  <c:v>7.2690000000000001</c:v>
                </c:pt>
                <c:pt idx="9940">
                  <c:v>7.27</c:v>
                </c:pt>
                <c:pt idx="9941">
                  <c:v>7.2690000000000001</c:v>
                </c:pt>
                <c:pt idx="9942">
                  <c:v>7.27</c:v>
                </c:pt>
                <c:pt idx="9943">
                  <c:v>7.27</c:v>
                </c:pt>
                <c:pt idx="9944">
                  <c:v>7.2690000000000001</c:v>
                </c:pt>
                <c:pt idx="9945">
                  <c:v>7.2690000000000001</c:v>
                </c:pt>
                <c:pt idx="9946">
                  <c:v>7.2690000000000001</c:v>
                </c:pt>
                <c:pt idx="9947">
                  <c:v>7.2690000000000001</c:v>
                </c:pt>
                <c:pt idx="9948">
                  <c:v>7.27</c:v>
                </c:pt>
                <c:pt idx="9949">
                  <c:v>7.27</c:v>
                </c:pt>
                <c:pt idx="9950">
                  <c:v>7.2690000000000001</c:v>
                </c:pt>
                <c:pt idx="9951">
                  <c:v>7.2690000000000001</c:v>
                </c:pt>
                <c:pt idx="9952">
                  <c:v>7.2679999999999998</c:v>
                </c:pt>
                <c:pt idx="9953">
                  <c:v>7.2690000000000001</c:v>
                </c:pt>
                <c:pt idx="9954">
                  <c:v>7.2690000000000001</c:v>
                </c:pt>
                <c:pt idx="9955">
                  <c:v>7.2690000000000001</c:v>
                </c:pt>
                <c:pt idx="9956">
                  <c:v>7.2690000000000001</c:v>
                </c:pt>
                <c:pt idx="9957">
                  <c:v>7.2679999999999998</c:v>
                </c:pt>
                <c:pt idx="9958">
                  <c:v>7.2679999999999998</c:v>
                </c:pt>
                <c:pt idx="9959">
                  <c:v>7.2690000000000001</c:v>
                </c:pt>
                <c:pt idx="9960">
                  <c:v>7.2679999999999998</c:v>
                </c:pt>
                <c:pt idx="9961">
                  <c:v>7.2679999999999998</c:v>
                </c:pt>
                <c:pt idx="9962">
                  <c:v>7.2679999999999998</c:v>
                </c:pt>
                <c:pt idx="9963">
                  <c:v>7.2679999999999998</c:v>
                </c:pt>
                <c:pt idx="9964">
                  <c:v>7.2679999999999998</c:v>
                </c:pt>
                <c:pt idx="9965">
                  <c:v>7.2679999999999998</c:v>
                </c:pt>
                <c:pt idx="9966">
                  <c:v>7.2679999999999998</c:v>
                </c:pt>
                <c:pt idx="9967">
                  <c:v>7.2679999999999998</c:v>
                </c:pt>
                <c:pt idx="9968">
                  <c:v>7.2679999999999998</c:v>
                </c:pt>
                <c:pt idx="9969">
                  <c:v>7.2679999999999998</c:v>
                </c:pt>
                <c:pt idx="9970">
                  <c:v>7.2679999999999998</c:v>
                </c:pt>
                <c:pt idx="9971">
                  <c:v>7.2679999999999998</c:v>
                </c:pt>
                <c:pt idx="9972">
                  <c:v>7.2679999999999998</c:v>
                </c:pt>
                <c:pt idx="9973">
                  <c:v>7.2670000000000003</c:v>
                </c:pt>
                <c:pt idx="9974">
                  <c:v>7.2679999999999998</c:v>
                </c:pt>
                <c:pt idx="9975">
                  <c:v>7.2679999999999998</c:v>
                </c:pt>
                <c:pt idx="9976">
                  <c:v>7.2679999999999998</c:v>
                </c:pt>
                <c:pt idx="9977">
                  <c:v>7.2679999999999998</c:v>
                </c:pt>
                <c:pt idx="9978">
                  <c:v>7.2679999999999998</c:v>
                </c:pt>
                <c:pt idx="9979">
                  <c:v>7.2679999999999998</c:v>
                </c:pt>
                <c:pt idx="9980">
                  <c:v>7.2670000000000003</c:v>
                </c:pt>
                <c:pt idx="9981">
                  <c:v>7.2670000000000003</c:v>
                </c:pt>
                <c:pt idx="9982">
                  <c:v>7.2670000000000003</c:v>
                </c:pt>
                <c:pt idx="9983">
                  <c:v>7.2670000000000003</c:v>
                </c:pt>
                <c:pt idx="9984">
                  <c:v>7.2670000000000003</c:v>
                </c:pt>
                <c:pt idx="9985">
                  <c:v>7.266</c:v>
                </c:pt>
                <c:pt idx="9986">
                  <c:v>7.266</c:v>
                </c:pt>
                <c:pt idx="9987">
                  <c:v>7.2679999999999998</c:v>
                </c:pt>
                <c:pt idx="9988">
                  <c:v>7.266</c:v>
                </c:pt>
                <c:pt idx="9989">
                  <c:v>7.266</c:v>
                </c:pt>
                <c:pt idx="9990">
                  <c:v>7.2670000000000003</c:v>
                </c:pt>
                <c:pt idx="9991">
                  <c:v>7.266</c:v>
                </c:pt>
                <c:pt idx="9992">
                  <c:v>7.2670000000000003</c:v>
                </c:pt>
                <c:pt idx="9993">
                  <c:v>7.2670000000000003</c:v>
                </c:pt>
                <c:pt idx="9994">
                  <c:v>7.266</c:v>
                </c:pt>
                <c:pt idx="9995">
                  <c:v>7.2670000000000003</c:v>
                </c:pt>
                <c:pt idx="9996">
                  <c:v>7.2670000000000003</c:v>
                </c:pt>
                <c:pt idx="9997">
                  <c:v>7.2670000000000003</c:v>
                </c:pt>
                <c:pt idx="9998">
                  <c:v>7.266</c:v>
                </c:pt>
                <c:pt idx="9999">
                  <c:v>7.266</c:v>
                </c:pt>
                <c:pt idx="10000">
                  <c:v>7.2649999999999997</c:v>
                </c:pt>
                <c:pt idx="10001">
                  <c:v>7.266</c:v>
                </c:pt>
                <c:pt idx="10002">
                  <c:v>7.2649999999999997</c:v>
                </c:pt>
                <c:pt idx="10003">
                  <c:v>7.266</c:v>
                </c:pt>
                <c:pt idx="10004">
                  <c:v>7.266</c:v>
                </c:pt>
                <c:pt idx="10005">
                  <c:v>7.266</c:v>
                </c:pt>
                <c:pt idx="10006">
                  <c:v>7.2649999999999997</c:v>
                </c:pt>
                <c:pt idx="10007">
                  <c:v>7.2649999999999997</c:v>
                </c:pt>
                <c:pt idx="10008">
                  <c:v>7.266</c:v>
                </c:pt>
                <c:pt idx="10009">
                  <c:v>7.2649999999999997</c:v>
                </c:pt>
                <c:pt idx="10010">
                  <c:v>7.266</c:v>
                </c:pt>
                <c:pt idx="10011">
                  <c:v>7.266</c:v>
                </c:pt>
                <c:pt idx="10012">
                  <c:v>7.266</c:v>
                </c:pt>
                <c:pt idx="10013">
                  <c:v>7.266</c:v>
                </c:pt>
                <c:pt idx="10014">
                  <c:v>7.266</c:v>
                </c:pt>
                <c:pt idx="10015">
                  <c:v>7.266</c:v>
                </c:pt>
                <c:pt idx="10016">
                  <c:v>7.2649999999999997</c:v>
                </c:pt>
                <c:pt idx="10017">
                  <c:v>7.266</c:v>
                </c:pt>
                <c:pt idx="10018">
                  <c:v>7.2640000000000002</c:v>
                </c:pt>
                <c:pt idx="10019">
                  <c:v>7.2649999999999997</c:v>
                </c:pt>
                <c:pt idx="10020">
                  <c:v>7.2649999999999997</c:v>
                </c:pt>
                <c:pt idx="10021">
                  <c:v>7.2649999999999997</c:v>
                </c:pt>
                <c:pt idx="10022">
                  <c:v>7.2649999999999997</c:v>
                </c:pt>
                <c:pt idx="10023">
                  <c:v>7.2640000000000002</c:v>
                </c:pt>
                <c:pt idx="10024">
                  <c:v>7.2649999999999997</c:v>
                </c:pt>
                <c:pt idx="10025">
                  <c:v>7.2640000000000002</c:v>
                </c:pt>
                <c:pt idx="10026">
                  <c:v>7.2649999999999997</c:v>
                </c:pt>
                <c:pt idx="10027">
                  <c:v>7.2649999999999997</c:v>
                </c:pt>
                <c:pt idx="10028">
                  <c:v>7.2649999999999997</c:v>
                </c:pt>
                <c:pt idx="10029">
                  <c:v>7.2649999999999997</c:v>
                </c:pt>
                <c:pt idx="10030">
                  <c:v>7.2640000000000002</c:v>
                </c:pt>
                <c:pt idx="10031">
                  <c:v>7.2640000000000002</c:v>
                </c:pt>
                <c:pt idx="10032">
                  <c:v>7.2640000000000002</c:v>
                </c:pt>
                <c:pt idx="10033">
                  <c:v>7.2629999999999999</c:v>
                </c:pt>
                <c:pt idx="10034">
                  <c:v>7.2640000000000002</c:v>
                </c:pt>
                <c:pt idx="10035">
                  <c:v>7.2640000000000002</c:v>
                </c:pt>
                <c:pt idx="10036">
                  <c:v>7.2640000000000002</c:v>
                </c:pt>
                <c:pt idx="10037">
                  <c:v>7.2640000000000002</c:v>
                </c:pt>
                <c:pt idx="10038">
                  <c:v>7.2640000000000002</c:v>
                </c:pt>
                <c:pt idx="10039">
                  <c:v>7.2640000000000002</c:v>
                </c:pt>
                <c:pt idx="10040">
                  <c:v>7.2640000000000002</c:v>
                </c:pt>
                <c:pt idx="10041">
                  <c:v>7.2640000000000002</c:v>
                </c:pt>
                <c:pt idx="10042">
                  <c:v>7.2629999999999999</c:v>
                </c:pt>
                <c:pt idx="10043">
                  <c:v>7.2640000000000002</c:v>
                </c:pt>
                <c:pt idx="10044">
                  <c:v>7.2640000000000002</c:v>
                </c:pt>
                <c:pt idx="10045">
                  <c:v>7.2629999999999999</c:v>
                </c:pt>
                <c:pt idx="10046">
                  <c:v>7.2640000000000002</c:v>
                </c:pt>
                <c:pt idx="10047">
                  <c:v>7.2629999999999999</c:v>
                </c:pt>
                <c:pt idx="10048">
                  <c:v>7.2629999999999999</c:v>
                </c:pt>
                <c:pt idx="10049">
                  <c:v>7.2629999999999999</c:v>
                </c:pt>
                <c:pt idx="10050">
                  <c:v>7.2640000000000002</c:v>
                </c:pt>
                <c:pt idx="10051">
                  <c:v>7.2629999999999999</c:v>
                </c:pt>
                <c:pt idx="10052">
                  <c:v>7.2629999999999999</c:v>
                </c:pt>
                <c:pt idx="10053">
                  <c:v>7.2640000000000002</c:v>
                </c:pt>
                <c:pt idx="10054">
                  <c:v>7.2640000000000002</c:v>
                </c:pt>
                <c:pt idx="10055">
                  <c:v>7.2629999999999999</c:v>
                </c:pt>
                <c:pt idx="10056">
                  <c:v>7.2629999999999999</c:v>
                </c:pt>
                <c:pt idx="10057">
                  <c:v>7.2640000000000002</c:v>
                </c:pt>
                <c:pt idx="10058">
                  <c:v>7.2640000000000002</c:v>
                </c:pt>
                <c:pt idx="10059">
                  <c:v>7.2629999999999999</c:v>
                </c:pt>
                <c:pt idx="10060">
                  <c:v>7.2619999999999996</c:v>
                </c:pt>
                <c:pt idx="10061">
                  <c:v>7.2640000000000002</c:v>
                </c:pt>
                <c:pt idx="10062">
                  <c:v>7.2629999999999999</c:v>
                </c:pt>
                <c:pt idx="10063">
                  <c:v>7.2629999999999999</c:v>
                </c:pt>
                <c:pt idx="10064">
                  <c:v>7.2629999999999999</c:v>
                </c:pt>
                <c:pt idx="10065">
                  <c:v>7.2640000000000002</c:v>
                </c:pt>
                <c:pt idx="10066">
                  <c:v>7.2619999999999996</c:v>
                </c:pt>
                <c:pt idx="10067">
                  <c:v>7.2640000000000002</c:v>
                </c:pt>
                <c:pt idx="10068">
                  <c:v>7.2629999999999999</c:v>
                </c:pt>
                <c:pt idx="10069">
                  <c:v>7.2619999999999996</c:v>
                </c:pt>
                <c:pt idx="10070">
                  <c:v>7.2629999999999999</c:v>
                </c:pt>
                <c:pt idx="10071">
                  <c:v>7.2629999999999999</c:v>
                </c:pt>
                <c:pt idx="10072">
                  <c:v>7.2629999999999999</c:v>
                </c:pt>
                <c:pt idx="10073">
                  <c:v>7.2629999999999999</c:v>
                </c:pt>
                <c:pt idx="10074">
                  <c:v>7.2629999999999999</c:v>
                </c:pt>
                <c:pt idx="10075">
                  <c:v>7.2619999999999996</c:v>
                </c:pt>
                <c:pt idx="10076">
                  <c:v>7.2619999999999996</c:v>
                </c:pt>
                <c:pt idx="10077">
                  <c:v>7.2619999999999996</c:v>
                </c:pt>
                <c:pt idx="10078">
                  <c:v>7.2629999999999999</c:v>
                </c:pt>
                <c:pt idx="10079">
                  <c:v>7.2619999999999996</c:v>
                </c:pt>
                <c:pt idx="10080">
                  <c:v>7.2619999999999996</c:v>
                </c:pt>
                <c:pt idx="10081">
                  <c:v>7.2619999999999996</c:v>
                </c:pt>
                <c:pt idx="10082">
                  <c:v>7.2619999999999996</c:v>
                </c:pt>
                <c:pt idx="10083">
                  <c:v>7.2619999999999996</c:v>
                </c:pt>
                <c:pt idx="10084">
                  <c:v>7.2629999999999999</c:v>
                </c:pt>
                <c:pt idx="10085">
                  <c:v>7.2619999999999996</c:v>
                </c:pt>
                <c:pt idx="10086">
                  <c:v>7.2619999999999996</c:v>
                </c:pt>
                <c:pt idx="10087">
                  <c:v>7.2619999999999996</c:v>
                </c:pt>
                <c:pt idx="10088">
                  <c:v>7.2619999999999996</c:v>
                </c:pt>
                <c:pt idx="10089">
                  <c:v>7.2619999999999996</c:v>
                </c:pt>
                <c:pt idx="10090">
                  <c:v>7.2629999999999999</c:v>
                </c:pt>
                <c:pt idx="10091">
                  <c:v>7.2619999999999996</c:v>
                </c:pt>
                <c:pt idx="10092">
                  <c:v>7.2619999999999996</c:v>
                </c:pt>
                <c:pt idx="10093">
                  <c:v>7.2619999999999996</c:v>
                </c:pt>
                <c:pt idx="10094">
                  <c:v>7.2619999999999996</c:v>
                </c:pt>
                <c:pt idx="10095">
                  <c:v>7.2619999999999996</c:v>
                </c:pt>
                <c:pt idx="10096">
                  <c:v>7.2619999999999996</c:v>
                </c:pt>
                <c:pt idx="10097">
                  <c:v>7.2610000000000001</c:v>
                </c:pt>
                <c:pt idx="10098">
                  <c:v>7.2619999999999996</c:v>
                </c:pt>
                <c:pt idx="10099">
                  <c:v>7.2619999999999996</c:v>
                </c:pt>
                <c:pt idx="10100">
                  <c:v>7.2619999999999996</c:v>
                </c:pt>
                <c:pt idx="10101">
                  <c:v>7.2619999999999996</c:v>
                </c:pt>
                <c:pt idx="10102">
                  <c:v>7.2619999999999996</c:v>
                </c:pt>
                <c:pt idx="10103">
                  <c:v>7.2619999999999996</c:v>
                </c:pt>
                <c:pt idx="10104">
                  <c:v>7.2610000000000001</c:v>
                </c:pt>
                <c:pt idx="10105">
                  <c:v>7.2619999999999996</c:v>
                </c:pt>
                <c:pt idx="10106">
                  <c:v>7.2619999999999996</c:v>
                </c:pt>
                <c:pt idx="10107">
                  <c:v>7.2619999999999996</c:v>
                </c:pt>
                <c:pt idx="10108">
                  <c:v>7.2610000000000001</c:v>
                </c:pt>
                <c:pt idx="10109">
                  <c:v>7.2610000000000001</c:v>
                </c:pt>
                <c:pt idx="10110">
                  <c:v>7.2619999999999996</c:v>
                </c:pt>
                <c:pt idx="10111">
                  <c:v>7.2619999999999996</c:v>
                </c:pt>
                <c:pt idx="10112">
                  <c:v>7.2610000000000001</c:v>
                </c:pt>
                <c:pt idx="10113">
                  <c:v>7.2610000000000001</c:v>
                </c:pt>
                <c:pt idx="10114">
                  <c:v>7.2619999999999996</c:v>
                </c:pt>
                <c:pt idx="10115">
                  <c:v>7.26</c:v>
                </c:pt>
                <c:pt idx="10116">
                  <c:v>7.2610000000000001</c:v>
                </c:pt>
                <c:pt idx="10117">
                  <c:v>7.2619999999999996</c:v>
                </c:pt>
                <c:pt idx="10118">
                  <c:v>7.2610000000000001</c:v>
                </c:pt>
                <c:pt idx="10119">
                  <c:v>7.2610000000000001</c:v>
                </c:pt>
                <c:pt idx="10120">
                  <c:v>7.2610000000000001</c:v>
                </c:pt>
                <c:pt idx="10121">
                  <c:v>7.2610000000000001</c:v>
                </c:pt>
                <c:pt idx="10122">
                  <c:v>7.2610000000000001</c:v>
                </c:pt>
                <c:pt idx="10123">
                  <c:v>7.2610000000000001</c:v>
                </c:pt>
                <c:pt idx="10124">
                  <c:v>7.2610000000000001</c:v>
                </c:pt>
                <c:pt idx="10125">
                  <c:v>7.2610000000000001</c:v>
                </c:pt>
                <c:pt idx="10126">
                  <c:v>7.2610000000000001</c:v>
                </c:pt>
                <c:pt idx="10127">
                  <c:v>7.2610000000000001</c:v>
                </c:pt>
                <c:pt idx="10128">
                  <c:v>7.2610000000000001</c:v>
                </c:pt>
                <c:pt idx="10129">
                  <c:v>7.2610000000000001</c:v>
                </c:pt>
                <c:pt idx="10130">
                  <c:v>7.2610000000000001</c:v>
                </c:pt>
                <c:pt idx="10131">
                  <c:v>7.2610000000000001</c:v>
                </c:pt>
                <c:pt idx="10132">
                  <c:v>7.26</c:v>
                </c:pt>
                <c:pt idx="10133">
                  <c:v>7.2610000000000001</c:v>
                </c:pt>
                <c:pt idx="10134">
                  <c:v>7.2610000000000001</c:v>
                </c:pt>
                <c:pt idx="10135">
                  <c:v>7.2610000000000001</c:v>
                </c:pt>
                <c:pt idx="10136">
                  <c:v>7.2610000000000001</c:v>
                </c:pt>
                <c:pt idx="10137">
                  <c:v>7.2610000000000001</c:v>
                </c:pt>
                <c:pt idx="10138">
                  <c:v>7.2610000000000001</c:v>
                </c:pt>
                <c:pt idx="10139">
                  <c:v>7.2610000000000001</c:v>
                </c:pt>
                <c:pt idx="10140">
                  <c:v>7.26</c:v>
                </c:pt>
                <c:pt idx="10141">
                  <c:v>7.26</c:v>
                </c:pt>
                <c:pt idx="10142">
                  <c:v>7.26</c:v>
                </c:pt>
                <c:pt idx="10143">
                  <c:v>7.2610000000000001</c:v>
                </c:pt>
                <c:pt idx="10144">
                  <c:v>7.26</c:v>
                </c:pt>
                <c:pt idx="10145">
                  <c:v>7.26</c:v>
                </c:pt>
                <c:pt idx="10146">
                  <c:v>7.2610000000000001</c:v>
                </c:pt>
                <c:pt idx="10147">
                  <c:v>7.2610000000000001</c:v>
                </c:pt>
                <c:pt idx="10148">
                  <c:v>7.2610000000000001</c:v>
                </c:pt>
                <c:pt idx="10149">
                  <c:v>7.2610000000000001</c:v>
                </c:pt>
                <c:pt idx="10150">
                  <c:v>7.26</c:v>
                </c:pt>
                <c:pt idx="10151">
                  <c:v>7.2610000000000001</c:v>
                </c:pt>
                <c:pt idx="10152">
                  <c:v>7.2610000000000001</c:v>
                </c:pt>
                <c:pt idx="10153">
                  <c:v>7.26</c:v>
                </c:pt>
                <c:pt idx="10154">
                  <c:v>7.26</c:v>
                </c:pt>
                <c:pt idx="10155">
                  <c:v>7.26</c:v>
                </c:pt>
                <c:pt idx="10156">
                  <c:v>7.26</c:v>
                </c:pt>
                <c:pt idx="10157">
                  <c:v>7.26</c:v>
                </c:pt>
                <c:pt idx="10158">
                  <c:v>7.26</c:v>
                </c:pt>
                <c:pt idx="10159">
                  <c:v>7.2610000000000001</c:v>
                </c:pt>
                <c:pt idx="10160">
                  <c:v>7.26</c:v>
                </c:pt>
                <c:pt idx="10161">
                  <c:v>7.26</c:v>
                </c:pt>
                <c:pt idx="10162">
                  <c:v>7.26</c:v>
                </c:pt>
                <c:pt idx="10163">
                  <c:v>7.26</c:v>
                </c:pt>
                <c:pt idx="10164">
                  <c:v>7.26</c:v>
                </c:pt>
                <c:pt idx="10165">
                  <c:v>7.2590000000000003</c:v>
                </c:pt>
                <c:pt idx="10166">
                  <c:v>7.26</c:v>
                </c:pt>
                <c:pt idx="10167">
                  <c:v>7.2590000000000003</c:v>
                </c:pt>
                <c:pt idx="10168">
                  <c:v>7.26</c:v>
                </c:pt>
                <c:pt idx="10169">
                  <c:v>7.2590000000000003</c:v>
                </c:pt>
                <c:pt idx="10170">
                  <c:v>7.2590000000000003</c:v>
                </c:pt>
                <c:pt idx="10171">
                  <c:v>7.26</c:v>
                </c:pt>
                <c:pt idx="10172">
                  <c:v>7.26</c:v>
                </c:pt>
                <c:pt idx="10173">
                  <c:v>7.2590000000000003</c:v>
                </c:pt>
                <c:pt idx="10174">
                  <c:v>7.2590000000000003</c:v>
                </c:pt>
                <c:pt idx="10175">
                  <c:v>7.26</c:v>
                </c:pt>
                <c:pt idx="10176">
                  <c:v>7.26</c:v>
                </c:pt>
                <c:pt idx="10177">
                  <c:v>7.26</c:v>
                </c:pt>
                <c:pt idx="10178">
                  <c:v>7.2590000000000003</c:v>
                </c:pt>
                <c:pt idx="10179">
                  <c:v>7.26</c:v>
                </c:pt>
                <c:pt idx="10180">
                  <c:v>7.2590000000000003</c:v>
                </c:pt>
                <c:pt idx="10181">
                  <c:v>7.26</c:v>
                </c:pt>
                <c:pt idx="10182">
                  <c:v>7.2590000000000003</c:v>
                </c:pt>
                <c:pt idx="10183">
                  <c:v>7.26</c:v>
                </c:pt>
                <c:pt idx="10184">
                  <c:v>7.2590000000000003</c:v>
                </c:pt>
                <c:pt idx="10185">
                  <c:v>7.26</c:v>
                </c:pt>
                <c:pt idx="10186">
                  <c:v>7.26</c:v>
                </c:pt>
                <c:pt idx="10187">
                  <c:v>7.2590000000000003</c:v>
                </c:pt>
                <c:pt idx="10188">
                  <c:v>7.2590000000000003</c:v>
                </c:pt>
                <c:pt idx="10189">
                  <c:v>7.26</c:v>
                </c:pt>
                <c:pt idx="10190">
                  <c:v>7.2590000000000003</c:v>
                </c:pt>
                <c:pt idx="10191">
                  <c:v>7.2590000000000003</c:v>
                </c:pt>
                <c:pt idx="10192">
                  <c:v>7.2590000000000003</c:v>
                </c:pt>
                <c:pt idx="10193">
                  <c:v>7.26</c:v>
                </c:pt>
                <c:pt idx="10194">
                  <c:v>7.26</c:v>
                </c:pt>
                <c:pt idx="10195">
                  <c:v>7.2590000000000003</c:v>
                </c:pt>
                <c:pt idx="10196">
                  <c:v>7.2590000000000003</c:v>
                </c:pt>
                <c:pt idx="10197">
                  <c:v>7.2590000000000003</c:v>
                </c:pt>
                <c:pt idx="10198">
                  <c:v>7.2590000000000003</c:v>
                </c:pt>
                <c:pt idx="10199">
                  <c:v>7.2590000000000003</c:v>
                </c:pt>
                <c:pt idx="10200">
                  <c:v>7.2590000000000003</c:v>
                </c:pt>
                <c:pt idx="10201">
                  <c:v>7.2590000000000003</c:v>
                </c:pt>
                <c:pt idx="10202">
                  <c:v>7.258</c:v>
                </c:pt>
                <c:pt idx="10203">
                  <c:v>7.2590000000000003</c:v>
                </c:pt>
                <c:pt idx="10204">
                  <c:v>7.26</c:v>
                </c:pt>
                <c:pt idx="10205">
                  <c:v>7.2590000000000003</c:v>
                </c:pt>
                <c:pt idx="10206">
                  <c:v>7.258</c:v>
                </c:pt>
                <c:pt idx="10207">
                  <c:v>7.2590000000000003</c:v>
                </c:pt>
                <c:pt idx="10208">
                  <c:v>7.258</c:v>
                </c:pt>
                <c:pt idx="10209">
                  <c:v>7.2590000000000003</c:v>
                </c:pt>
                <c:pt idx="10210">
                  <c:v>7.2590000000000003</c:v>
                </c:pt>
                <c:pt idx="10211">
                  <c:v>7.2590000000000003</c:v>
                </c:pt>
                <c:pt idx="10212">
                  <c:v>7.2590000000000003</c:v>
                </c:pt>
                <c:pt idx="10213">
                  <c:v>7.2590000000000003</c:v>
                </c:pt>
                <c:pt idx="10214">
                  <c:v>7.2590000000000003</c:v>
                </c:pt>
                <c:pt idx="10215">
                  <c:v>7.258</c:v>
                </c:pt>
                <c:pt idx="10216">
                  <c:v>7.2590000000000003</c:v>
                </c:pt>
                <c:pt idx="10217">
                  <c:v>7.2590000000000003</c:v>
                </c:pt>
                <c:pt idx="10218">
                  <c:v>7.2590000000000003</c:v>
                </c:pt>
                <c:pt idx="10219">
                  <c:v>7.258</c:v>
                </c:pt>
                <c:pt idx="10220">
                  <c:v>7.258</c:v>
                </c:pt>
                <c:pt idx="10221">
                  <c:v>7.2590000000000003</c:v>
                </c:pt>
                <c:pt idx="10222">
                  <c:v>7.2590000000000003</c:v>
                </c:pt>
                <c:pt idx="10223">
                  <c:v>7.2590000000000003</c:v>
                </c:pt>
                <c:pt idx="10224">
                  <c:v>7.2590000000000003</c:v>
                </c:pt>
                <c:pt idx="10225">
                  <c:v>7.2590000000000003</c:v>
                </c:pt>
                <c:pt idx="10226">
                  <c:v>7.258</c:v>
                </c:pt>
                <c:pt idx="10227">
                  <c:v>7.258</c:v>
                </c:pt>
                <c:pt idx="10228">
                  <c:v>7.258</c:v>
                </c:pt>
                <c:pt idx="10229">
                  <c:v>7.2590000000000003</c:v>
                </c:pt>
                <c:pt idx="10230">
                  <c:v>7.258</c:v>
                </c:pt>
                <c:pt idx="10231">
                  <c:v>7.2590000000000003</c:v>
                </c:pt>
                <c:pt idx="10232">
                  <c:v>7.258</c:v>
                </c:pt>
                <c:pt idx="10233">
                  <c:v>7.2590000000000003</c:v>
                </c:pt>
                <c:pt idx="10234">
                  <c:v>7.2590000000000003</c:v>
                </c:pt>
                <c:pt idx="10235">
                  <c:v>7.2590000000000003</c:v>
                </c:pt>
                <c:pt idx="10236">
                  <c:v>7.258</c:v>
                </c:pt>
                <c:pt idx="10237">
                  <c:v>7.258</c:v>
                </c:pt>
                <c:pt idx="10238">
                  <c:v>7.258</c:v>
                </c:pt>
                <c:pt idx="10239">
                  <c:v>7.258</c:v>
                </c:pt>
                <c:pt idx="10240">
                  <c:v>7.2590000000000003</c:v>
                </c:pt>
                <c:pt idx="10241">
                  <c:v>7.258</c:v>
                </c:pt>
                <c:pt idx="10242">
                  <c:v>7.258</c:v>
                </c:pt>
                <c:pt idx="10243">
                  <c:v>7.258</c:v>
                </c:pt>
                <c:pt idx="10244">
                  <c:v>7.258</c:v>
                </c:pt>
                <c:pt idx="10245">
                  <c:v>7.258</c:v>
                </c:pt>
                <c:pt idx="10246">
                  <c:v>7.258</c:v>
                </c:pt>
                <c:pt idx="10247">
                  <c:v>7.2590000000000003</c:v>
                </c:pt>
                <c:pt idx="10248">
                  <c:v>7.258</c:v>
                </c:pt>
                <c:pt idx="10249">
                  <c:v>7.2590000000000003</c:v>
                </c:pt>
                <c:pt idx="10250">
                  <c:v>7.258</c:v>
                </c:pt>
                <c:pt idx="10251">
                  <c:v>7.258</c:v>
                </c:pt>
                <c:pt idx="10252">
                  <c:v>7.258</c:v>
                </c:pt>
                <c:pt idx="10253">
                  <c:v>7.2590000000000003</c:v>
                </c:pt>
                <c:pt idx="10254">
                  <c:v>7.258</c:v>
                </c:pt>
                <c:pt idx="10255">
                  <c:v>7.2569999999999997</c:v>
                </c:pt>
                <c:pt idx="10256">
                  <c:v>7.258</c:v>
                </c:pt>
                <c:pt idx="10257">
                  <c:v>7.258</c:v>
                </c:pt>
                <c:pt idx="10258">
                  <c:v>7.2569999999999997</c:v>
                </c:pt>
                <c:pt idx="10259">
                  <c:v>7.258</c:v>
                </c:pt>
                <c:pt idx="10260">
                  <c:v>7.258</c:v>
                </c:pt>
                <c:pt idx="10261">
                  <c:v>7.258</c:v>
                </c:pt>
                <c:pt idx="10262">
                  <c:v>7.258</c:v>
                </c:pt>
                <c:pt idx="10263">
                  <c:v>7.258</c:v>
                </c:pt>
                <c:pt idx="10264">
                  <c:v>7.258</c:v>
                </c:pt>
                <c:pt idx="10265">
                  <c:v>7.258</c:v>
                </c:pt>
                <c:pt idx="10266">
                  <c:v>7.258</c:v>
                </c:pt>
                <c:pt idx="10267">
                  <c:v>7.258</c:v>
                </c:pt>
                <c:pt idx="10268">
                  <c:v>7.258</c:v>
                </c:pt>
                <c:pt idx="10269">
                  <c:v>7.258</c:v>
                </c:pt>
                <c:pt idx="10270">
                  <c:v>7.258</c:v>
                </c:pt>
                <c:pt idx="10271">
                  <c:v>7.258</c:v>
                </c:pt>
                <c:pt idx="10272">
                  <c:v>7.258</c:v>
                </c:pt>
                <c:pt idx="10273">
                  <c:v>7.2569999999999997</c:v>
                </c:pt>
                <c:pt idx="10274">
                  <c:v>7.258</c:v>
                </c:pt>
                <c:pt idx="10275">
                  <c:v>7.2569999999999997</c:v>
                </c:pt>
                <c:pt idx="10276">
                  <c:v>7.2569999999999997</c:v>
                </c:pt>
                <c:pt idx="10277">
                  <c:v>7.258</c:v>
                </c:pt>
                <c:pt idx="10278">
                  <c:v>7.2569999999999997</c:v>
                </c:pt>
                <c:pt idx="10279">
                  <c:v>7.258</c:v>
                </c:pt>
                <c:pt idx="10280">
                  <c:v>7.2569999999999997</c:v>
                </c:pt>
                <c:pt idx="10281">
                  <c:v>7.258</c:v>
                </c:pt>
                <c:pt idx="10282">
                  <c:v>7.2569999999999997</c:v>
                </c:pt>
                <c:pt idx="10283">
                  <c:v>7.2569999999999997</c:v>
                </c:pt>
                <c:pt idx="10284">
                  <c:v>7.2569999999999997</c:v>
                </c:pt>
                <c:pt idx="10285">
                  <c:v>7.2569999999999997</c:v>
                </c:pt>
                <c:pt idx="10286">
                  <c:v>7.258</c:v>
                </c:pt>
                <c:pt idx="10287">
                  <c:v>7.2569999999999997</c:v>
                </c:pt>
                <c:pt idx="10288">
                  <c:v>7.2569999999999997</c:v>
                </c:pt>
                <c:pt idx="10289">
                  <c:v>7.258</c:v>
                </c:pt>
                <c:pt idx="10290">
                  <c:v>7.2569999999999997</c:v>
                </c:pt>
                <c:pt idx="10291">
                  <c:v>7.258</c:v>
                </c:pt>
                <c:pt idx="10292">
                  <c:v>7.2569999999999997</c:v>
                </c:pt>
                <c:pt idx="10293">
                  <c:v>7.2569999999999997</c:v>
                </c:pt>
                <c:pt idx="10294">
                  <c:v>7.258</c:v>
                </c:pt>
                <c:pt idx="10295">
                  <c:v>7.2569999999999997</c:v>
                </c:pt>
                <c:pt idx="10296">
                  <c:v>7.2560000000000002</c:v>
                </c:pt>
                <c:pt idx="10297">
                  <c:v>7.2569999999999997</c:v>
                </c:pt>
                <c:pt idx="10298">
                  <c:v>7.2569999999999997</c:v>
                </c:pt>
                <c:pt idx="10299">
                  <c:v>7.258</c:v>
                </c:pt>
                <c:pt idx="10300">
                  <c:v>7.2569999999999997</c:v>
                </c:pt>
                <c:pt idx="10301">
                  <c:v>7.2569999999999997</c:v>
                </c:pt>
                <c:pt idx="10302">
                  <c:v>7.2569999999999997</c:v>
                </c:pt>
                <c:pt idx="10303">
                  <c:v>7.2569999999999997</c:v>
                </c:pt>
                <c:pt idx="10304">
                  <c:v>7.2569999999999997</c:v>
                </c:pt>
                <c:pt idx="10305">
                  <c:v>7.258</c:v>
                </c:pt>
                <c:pt idx="10306">
                  <c:v>7.2569999999999997</c:v>
                </c:pt>
                <c:pt idx="10307">
                  <c:v>7.2569999999999997</c:v>
                </c:pt>
                <c:pt idx="10308">
                  <c:v>7.2569999999999997</c:v>
                </c:pt>
                <c:pt idx="10309">
                  <c:v>7.2569999999999997</c:v>
                </c:pt>
                <c:pt idx="10310">
                  <c:v>7.2569999999999997</c:v>
                </c:pt>
                <c:pt idx="10311">
                  <c:v>7.2569999999999997</c:v>
                </c:pt>
                <c:pt idx="10312">
                  <c:v>7.2569999999999997</c:v>
                </c:pt>
                <c:pt idx="10313">
                  <c:v>7.2569999999999997</c:v>
                </c:pt>
                <c:pt idx="10314">
                  <c:v>7.2569999999999997</c:v>
                </c:pt>
                <c:pt idx="10315">
                  <c:v>7.2569999999999997</c:v>
                </c:pt>
                <c:pt idx="10316">
                  <c:v>7.2569999999999997</c:v>
                </c:pt>
                <c:pt idx="10317">
                  <c:v>7.2569999999999997</c:v>
                </c:pt>
                <c:pt idx="10318">
                  <c:v>7.2569999999999997</c:v>
                </c:pt>
                <c:pt idx="10319">
                  <c:v>7.2569999999999997</c:v>
                </c:pt>
                <c:pt idx="10320">
                  <c:v>7.258</c:v>
                </c:pt>
                <c:pt idx="10321">
                  <c:v>7.2569999999999997</c:v>
                </c:pt>
                <c:pt idx="10322">
                  <c:v>7.2569999999999997</c:v>
                </c:pt>
                <c:pt idx="10323">
                  <c:v>7.2569999999999997</c:v>
                </c:pt>
                <c:pt idx="10324">
                  <c:v>7.2569999999999997</c:v>
                </c:pt>
                <c:pt idx="10325">
                  <c:v>7.2560000000000002</c:v>
                </c:pt>
                <c:pt idx="10326">
                  <c:v>7.2569999999999997</c:v>
                </c:pt>
                <c:pt idx="10327">
                  <c:v>7.2569999999999997</c:v>
                </c:pt>
                <c:pt idx="10328">
                  <c:v>7.2569999999999997</c:v>
                </c:pt>
                <c:pt idx="10329">
                  <c:v>7.2569999999999997</c:v>
                </c:pt>
                <c:pt idx="10330">
                  <c:v>7.2569999999999997</c:v>
                </c:pt>
                <c:pt idx="10331">
                  <c:v>7.2569999999999997</c:v>
                </c:pt>
                <c:pt idx="10332">
                  <c:v>7.2569999999999997</c:v>
                </c:pt>
                <c:pt idx="10333">
                  <c:v>7.2569999999999997</c:v>
                </c:pt>
                <c:pt idx="10334">
                  <c:v>7.2569999999999997</c:v>
                </c:pt>
                <c:pt idx="10335">
                  <c:v>7.2560000000000002</c:v>
                </c:pt>
                <c:pt idx="10336">
                  <c:v>7.2569999999999997</c:v>
                </c:pt>
                <c:pt idx="10337">
                  <c:v>7.2569999999999997</c:v>
                </c:pt>
                <c:pt idx="10338">
                  <c:v>7.2560000000000002</c:v>
                </c:pt>
                <c:pt idx="10339">
                  <c:v>7.2569999999999997</c:v>
                </c:pt>
                <c:pt idx="10340">
                  <c:v>7.2569999999999997</c:v>
                </c:pt>
                <c:pt idx="10341">
                  <c:v>7.2569999999999997</c:v>
                </c:pt>
                <c:pt idx="10342">
                  <c:v>7.2569999999999997</c:v>
                </c:pt>
                <c:pt idx="10343">
                  <c:v>7.2560000000000002</c:v>
                </c:pt>
                <c:pt idx="10344">
                  <c:v>7.2560000000000002</c:v>
                </c:pt>
                <c:pt idx="10345">
                  <c:v>7.2569999999999997</c:v>
                </c:pt>
                <c:pt idx="10346">
                  <c:v>7.2569999999999997</c:v>
                </c:pt>
                <c:pt idx="10347">
                  <c:v>7.2569999999999997</c:v>
                </c:pt>
                <c:pt idx="10348">
                  <c:v>7.2560000000000002</c:v>
                </c:pt>
                <c:pt idx="10349">
                  <c:v>7.2569999999999997</c:v>
                </c:pt>
                <c:pt idx="10350">
                  <c:v>7.2560000000000002</c:v>
                </c:pt>
                <c:pt idx="10351">
                  <c:v>7.2560000000000002</c:v>
                </c:pt>
                <c:pt idx="10352">
                  <c:v>7.2560000000000002</c:v>
                </c:pt>
                <c:pt idx="10353">
                  <c:v>7.2560000000000002</c:v>
                </c:pt>
                <c:pt idx="10354">
                  <c:v>7.2560000000000002</c:v>
                </c:pt>
                <c:pt idx="10355">
                  <c:v>7.2569999999999997</c:v>
                </c:pt>
                <c:pt idx="10356">
                  <c:v>7.2569999999999997</c:v>
                </c:pt>
                <c:pt idx="10357">
                  <c:v>7.2569999999999997</c:v>
                </c:pt>
                <c:pt idx="10358">
                  <c:v>7.2560000000000002</c:v>
                </c:pt>
                <c:pt idx="10359">
                  <c:v>7.2569999999999997</c:v>
                </c:pt>
                <c:pt idx="10360">
                  <c:v>7.2560000000000002</c:v>
                </c:pt>
                <c:pt idx="10361">
                  <c:v>7.2560000000000002</c:v>
                </c:pt>
                <c:pt idx="10362">
                  <c:v>7.2569999999999997</c:v>
                </c:pt>
                <c:pt idx="10363">
                  <c:v>7.258</c:v>
                </c:pt>
                <c:pt idx="10364">
                  <c:v>7.258</c:v>
                </c:pt>
                <c:pt idx="10365">
                  <c:v>7.258</c:v>
                </c:pt>
                <c:pt idx="10366">
                  <c:v>7.258</c:v>
                </c:pt>
                <c:pt idx="10367">
                  <c:v>7.258</c:v>
                </c:pt>
                <c:pt idx="10368">
                  <c:v>7.2569999999999997</c:v>
                </c:pt>
                <c:pt idx="10369">
                  <c:v>7.2569999999999997</c:v>
                </c:pt>
                <c:pt idx="10370">
                  <c:v>7.2569999999999997</c:v>
                </c:pt>
                <c:pt idx="10371">
                  <c:v>7.2560000000000002</c:v>
                </c:pt>
                <c:pt idx="10372">
                  <c:v>7.2549999999999999</c:v>
                </c:pt>
                <c:pt idx="10373">
                  <c:v>7.2560000000000002</c:v>
                </c:pt>
                <c:pt idx="10374">
                  <c:v>7.2569999999999997</c:v>
                </c:pt>
                <c:pt idx="10375">
                  <c:v>7.2560000000000002</c:v>
                </c:pt>
                <c:pt idx="10376">
                  <c:v>7.2560000000000002</c:v>
                </c:pt>
                <c:pt idx="10377">
                  <c:v>7.2569999999999997</c:v>
                </c:pt>
                <c:pt idx="10378">
                  <c:v>7.2560000000000002</c:v>
                </c:pt>
                <c:pt idx="10379">
                  <c:v>7.2560000000000002</c:v>
                </c:pt>
                <c:pt idx="10380">
                  <c:v>7.2569999999999997</c:v>
                </c:pt>
                <c:pt idx="10381">
                  <c:v>7.2560000000000002</c:v>
                </c:pt>
                <c:pt idx="10382">
                  <c:v>7.2560000000000002</c:v>
                </c:pt>
                <c:pt idx="10383">
                  <c:v>7.2560000000000002</c:v>
                </c:pt>
                <c:pt idx="10384">
                  <c:v>7.2560000000000002</c:v>
                </c:pt>
                <c:pt idx="10385">
                  <c:v>7.2560000000000002</c:v>
                </c:pt>
                <c:pt idx="10386">
                  <c:v>7.2569999999999997</c:v>
                </c:pt>
                <c:pt idx="10387">
                  <c:v>7.2560000000000002</c:v>
                </c:pt>
                <c:pt idx="10388">
                  <c:v>7.2569999999999997</c:v>
                </c:pt>
                <c:pt idx="10389">
                  <c:v>7.2560000000000002</c:v>
                </c:pt>
                <c:pt idx="10390">
                  <c:v>7.2560000000000002</c:v>
                </c:pt>
                <c:pt idx="10391">
                  <c:v>7.2560000000000002</c:v>
                </c:pt>
                <c:pt idx="10392">
                  <c:v>7.2560000000000002</c:v>
                </c:pt>
                <c:pt idx="10393">
                  <c:v>7.2560000000000002</c:v>
                </c:pt>
                <c:pt idx="10394">
                  <c:v>7.2560000000000002</c:v>
                </c:pt>
                <c:pt idx="10395">
                  <c:v>7.2560000000000002</c:v>
                </c:pt>
                <c:pt idx="10396">
                  <c:v>7.2560000000000002</c:v>
                </c:pt>
                <c:pt idx="10397">
                  <c:v>7.2560000000000002</c:v>
                </c:pt>
                <c:pt idx="10398">
                  <c:v>7.2560000000000002</c:v>
                </c:pt>
                <c:pt idx="10399">
                  <c:v>7.2560000000000002</c:v>
                </c:pt>
                <c:pt idx="10400">
                  <c:v>7.2560000000000002</c:v>
                </c:pt>
                <c:pt idx="10401">
                  <c:v>7.2560000000000002</c:v>
                </c:pt>
                <c:pt idx="10402">
                  <c:v>7.2560000000000002</c:v>
                </c:pt>
                <c:pt idx="10403">
                  <c:v>7.2560000000000002</c:v>
                </c:pt>
                <c:pt idx="10404">
                  <c:v>7.2560000000000002</c:v>
                </c:pt>
                <c:pt idx="10405">
                  <c:v>7.2560000000000002</c:v>
                </c:pt>
                <c:pt idx="10406">
                  <c:v>7.2560000000000002</c:v>
                </c:pt>
                <c:pt idx="10407">
                  <c:v>7.2560000000000002</c:v>
                </c:pt>
                <c:pt idx="10408">
                  <c:v>7.2560000000000002</c:v>
                </c:pt>
                <c:pt idx="10409">
                  <c:v>7.2560000000000002</c:v>
                </c:pt>
                <c:pt idx="10410">
                  <c:v>7.2560000000000002</c:v>
                </c:pt>
                <c:pt idx="10411">
                  <c:v>7.2560000000000002</c:v>
                </c:pt>
                <c:pt idx="10412">
                  <c:v>7.2560000000000002</c:v>
                </c:pt>
                <c:pt idx="10413">
                  <c:v>7.2549999999999999</c:v>
                </c:pt>
                <c:pt idx="10414">
                  <c:v>7.2549999999999999</c:v>
                </c:pt>
                <c:pt idx="10415">
                  <c:v>7.2560000000000002</c:v>
                </c:pt>
                <c:pt idx="10416">
                  <c:v>7.2560000000000002</c:v>
                </c:pt>
                <c:pt idx="10417">
                  <c:v>7.2560000000000002</c:v>
                </c:pt>
                <c:pt idx="10418">
                  <c:v>7.2549999999999999</c:v>
                </c:pt>
                <c:pt idx="10419">
                  <c:v>7.2549999999999999</c:v>
                </c:pt>
                <c:pt idx="10420">
                  <c:v>7.2560000000000002</c:v>
                </c:pt>
                <c:pt idx="10421">
                  <c:v>7.2549999999999999</c:v>
                </c:pt>
                <c:pt idx="10422">
                  <c:v>7.2560000000000002</c:v>
                </c:pt>
                <c:pt idx="10423">
                  <c:v>7.2549999999999999</c:v>
                </c:pt>
                <c:pt idx="10424">
                  <c:v>7.2560000000000002</c:v>
                </c:pt>
                <c:pt idx="10425">
                  <c:v>7.2560000000000002</c:v>
                </c:pt>
                <c:pt idx="10426">
                  <c:v>7.2560000000000002</c:v>
                </c:pt>
                <c:pt idx="10427">
                  <c:v>7.2560000000000002</c:v>
                </c:pt>
                <c:pt idx="10428">
                  <c:v>7.2560000000000002</c:v>
                </c:pt>
                <c:pt idx="10429">
                  <c:v>7.2549999999999999</c:v>
                </c:pt>
                <c:pt idx="10430">
                  <c:v>7.2549999999999999</c:v>
                </c:pt>
                <c:pt idx="10431">
                  <c:v>7.2560000000000002</c:v>
                </c:pt>
                <c:pt idx="10432">
                  <c:v>7.2560000000000002</c:v>
                </c:pt>
                <c:pt idx="10433">
                  <c:v>7.2549999999999999</c:v>
                </c:pt>
                <c:pt idx="10434">
                  <c:v>7.2549999999999999</c:v>
                </c:pt>
                <c:pt idx="10435">
                  <c:v>7.2560000000000002</c:v>
                </c:pt>
                <c:pt idx="10436">
                  <c:v>7.2560000000000002</c:v>
                </c:pt>
                <c:pt idx="10437">
                  <c:v>7.2549999999999999</c:v>
                </c:pt>
                <c:pt idx="10438">
                  <c:v>7.2549999999999999</c:v>
                </c:pt>
                <c:pt idx="10439">
                  <c:v>7.2560000000000002</c:v>
                </c:pt>
                <c:pt idx="10440">
                  <c:v>7.2560000000000002</c:v>
                </c:pt>
                <c:pt idx="10441">
                  <c:v>7.2560000000000002</c:v>
                </c:pt>
                <c:pt idx="10442">
                  <c:v>7.2560000000000002</c:v>
                </c:pt>
                <c:pt idx="10443">
                  <c:v>7.2549999999999999</c:v>
                </c:pt>
                <c:pt idx="10444">
                  <c:v>7.2560000000000002</c:v>
                </c:pt>
                <c:pt idx="10445">
                  <c:v>7.2549999999999999</c:v>
                </c:pt>
                <c:pt idx="10446">
                  <c:v>7.2549999999999999</c:v>
                </c:pt>
                <c:pt idx="10447">
                  <c:v>7.2549999999999999</c:v>
                </c:pt>
                <c:pt idx="10448">
                  <c:v>7.2539999999999996</c:v>
                </c:pt>
                <c:pt idx="10449">
                  <c:v>7.2549999999999999</c:v>
                </c:pt>
                <c:pt idx="10450">
                  <c:v>7.2549999999999999</c:v>
                </c:pt>
                <c:pt idx="10451">
                  <c:v>7.2549999999999999</c:v>
                </c:pt>
                <c:pt idx="10452">
                  <c:v>7.2549999999999999</c:v>
                </c:pt>
                <c:pt idx="10453">
                  <c:v>7.2560000000000002</c:v>
                </c:pt>
                <c:pt idx="10454">
                  <c:v>7.2549999999999999</c:v>
                </c:pt>
                <c:pt idx="10455">
                  <c:v>7.2549999999999999</c:v>
                </c:pt>
                <c:pt idx="10456">
                  <c:v>7.2549999999999999</c:v>
                </c:pt>
                <c:pt idx="10457">
                  <c:v>7.2549999999999999</c:v>
                </c:pt>
                <c:pt idx="10458">
                  <c:v>7.2549999999999999</c:v>
                </c:pt>
                <c:pt idx="10459">
                  <c:v>7.2549999999999999</c:v>
                </c:pt>
                <c:pt idx="10460">
                  <c:v>7.2549999999999999</c:v>
                </c:pt>
                <c:pt idx="10461">
                  <c:v>7.2549999999999999</c:v>
                </c:pt>
                <c:pt idx="10462">
                  <c:v>7.2549999999999999</c:v>
                </c:pt>
                <c:pt idx="10463">
                  <c:v>7.2549999999999999</c:v>
                </c:pt>
                <c:pt idx="10464">
                  <c:v>7.2549999999999999</c:v>
                </c:pt>
                <c:pt idx="10465">
                  <c:v>7.2549999999999999</c:v>
                </c:pt>
                <c:pt idx="10466">
                  <c:v>7.2549999999999999</c:v>
                </c:pt>
                <c:pt idx="10467">
                  <c:v>7.2539999999999996</c:v>
                </c:pt>
                <c:pt idx="10468">
                  <c:v>7.2539999999999996</c:v>
                </c:pt>
                <c:pt idx="10469">
                  <c:v>7.2560000000000002</c:v>
                </c:pt>
                <c:pt idx="10470">
                  <c:v>7.2549999999999999</c:v>
                </c:pt>
                <c:pt idx="10471">
                  <c:v>7.2549999999999999</c:v>
                </c:pt>
                <c:pt idx="10472">
                  <c:v>7.2549999999999999</c:v>
                </c:pt>
                <c:pt idx="10473">
                  <c:v>7.2549999999999999</c:v>
                </c:pt>
                <c:pt idx="10474">
                  <c:v>7.2539999999999996</c:v>
                </c:pt>
                <c:pt idx="10475">
                  <c:v>7.2539999999999996</c:v>
                </c:pt>
                <c:pt idx="10476">
                  <c:v>7.2549999999999999</c:v>
                </c:pt>
                <c:pt idx="10477">
                  <c:v>7.2549999999999999</c:v>
                </c:pt>
                <c:pt idx="10478">
                  <c:v>7.2549999999999999</c:v>
                </c:pt>
                <c:pt idx="10479">
                  <c:v>7.2549999999999999</c:v>
                </c:pt>
                <c:pt idx="10480">
                  <c:v>7.2549999999999999</c:v>
                </c:pt>
                <c:pt idx="10481">
                  <c:v>7.2549999999999999</c:v>
                </c:pt>
                <c:pt idx="10482">
                  <c:v>7.2549999999999999</c:v>
                </c:pt>
                <c:pt idx="10483">
                  <c:v>7.2539999999999996</c:v>
                </c:pt>
                <c:pt idx="10484">
                  <c:v>7.2539999999999996</c:v>
                </c:pt>
                <c:pt idx="10485">
                  <c:v>7.2549999999999999</c:v>
                </c:pt>
                <c:pt idx="10486">
                  <c:v>7.2549999999999999</c:v>
                </c:pt>
                <c:pt idx="10487">
                  <c:v>7.2539999999999996</c:v>
                </c:pt>
                <c:pt idx="10488">
                  <c:v>7.2539999999999996</c:v>
                </c:pt>
                <c:pt idx="10489">
                  <c:v>7.2549999999999999</c:v>
                </c:pt>
                <c:pt idx="10490">
                  <c:v>7.2549999999999999</c:v>
                </c:pt>
                <c:pt idx="10491">
                  <c:v>7.2539999999999996</c:v>
                </c:pt>
                <c:pt idx="10492">
                  <c:v>7.2549999999999999</c:v>
                </c:pt>
                <c:pt idx="10493">
                  <c:v>7.2539999999999996</c:v>
                </c:pt>
                <c:pt idx="10494">
                  <c:v>7.2539999999999996</c:v>
                </c:pt>
                <c:pt idx="10495">
                  <c:v>7.2549999999999999</c:v>
                </c:pt>
                <c:pt idx="10496">
                  <c:v>7.2549999999999999</c:v>
                </c:pt>
                <c:pt idx="10497">
                  <c:v>7.2549999999999999</c:v>
                </c:pt>
                <c:pt idx="10498">
                  <c:v>7.2539999999999996</c:v>
                </c:pt>
                <c:pt idx="10499">
                  <c:v>7.2539999999999996</c:v>
                </c:pt>
                <c:pt idx="10500">
                  <c:v>7.2539999999999996</c:v>
                </c:pt>
                <c:pt idx="10501">
                  <c:v>7.2549999999999999</c:v>
                </c:pt>
                <c:pt idx="10502">
                  <c:v>7.2539999999999996</c:v>
                </c:pt>
                <c:pt idx="10503">
                  <c:v>7.2539999999999996</c:v>
                </c:pt>
                <c:pt idx="10504">
                  <c:v>7.2549999999999999</c:v>
                </c:pt>
                <c:pt idx="10505">
                  <c:v>7.2539999999999996</c:v>
                </c:pt>
                <c:pt idx="10506">
                  <c:v>7.2539999999999996</c:v>
                </c:pt>
                <c:pt idx="10507">
                  <c:v>7.2530000000000001</c:v>
                </c:pt>
                <c:pt idx="10508">
                  <c:v>7.2539999999999996</c:v>
                </c:pt>
                <c:pt idx="10509">
                  <c:v>7.2539999999999996</c:v>
                </c:pt>
                <c:pt idx="10510">
                  <c:v>7.2539999999999996</c:v>
                </c:pt>
                <c:pt idx="10511">
                  <c:v>7.2539999999999996</c:v>
                </c:pt>
                <c:pt idx="10512">
                  <c:v>7.2539999999999996</c:v>
                </c:pt>
                <c:pt idx="10513">
                  <c:v>7.2539999999999996</c:v>
                </c:pt>
                <c:pt idx="10514">
                  <c:v>7.2530000000000001</c:v>
                </c:pt>
                <c:pt idx="10515">
                  <c:v>7.2530000000000001</c:v>
                </c:pt>
                <c:pt idx="10516">
                  <c:v>7.2539999999999996</c:v>
                </c:pt>
                <c:pt idx="10517">
                  <c:v>7.2539999999999996</c:v>
                </c:pt>
                <c:pt idx="10518">
                  <c:v>7.2539999999999996</c:v>
                </c:pt>
                <c:pt idx="10519">
                  <c:v>7.2539999999999996</c:v>
                </c:pt>
                <c:pt idx="10520">
                  <c:v>7.2539999999999996</c:v>
                </c:pt>
                <c:pt idx="10521">
                  <c:v>7.2539999999999996</c:v>
                </c:pt>
                <c:pt idx="10522">
                  <c:v>7.2539999999999996</c:v>
                </c:pt>
                <c:pt idx="10523">
                  <c:v>7.2539999999999996</c:v>
                </c:pt>
                <c:pt idx="10524">
                  <c:v>7.2530000000000001</c:v>
                </c:pt>
                <c:pt idx="10525">
                  <c:v>7.2530000000000001</c:v>
                </c:pt>
                <c:pt idx="10526">
                  <c:v>7.2530000000000001</c:v>
                </c:pt>
                <c:pt idx="10527">
                  <c:v>7.2530000000000001</c:v>
                </c:pt>
                <c:pt idx="10528">
                  <c:v>7.2530000000000001</c:v>
                </c:pt>
                <c:pt idx="10529">
                  <c:v>7.2539999999999996</c:v>
                </c:pt>
                <c:pt idx="10530">
                  <c:v>7.2530000000000001</c:v>
                </c:pt>
                <c:pt idx="10531">
                  <c:v>7.2530000000000001</c:v>
                </c:pt>
                <c:pt idx="10532">
                  <c:v>7.2530000000000001</c:v>
                </c:pt>
                <c:pt idx="10533">
                  <c:v>7.2539999999999996</c:v>
                </c:pt>
                <c:pt idx="10534">
                  <c:v>7.2530000000000001</c:v>
                </c:pt>
                <c:pt idx="10535">
                  <c:v>7.2530000000000001</c:v>
                </c:pt>
                <c:pt idx="10536">
                  <c:v>7.2530000000000001</c:v>
                </c:pt>
                <c:pt idx="10537">
                  <c:v>7.2539999999999996</c:v>
                </c:pt>
                <c:pt idx="10538">
                  <c:v>7.2530000000000001</c:v>
                </c:pt>
                <c:pt idx="10539">
                  <c:v>7.2530000000000001</c:v>
                </c:pt>
                <c:pt idx="10540">
                  <c:v>7.2539999999999996</c:v>
                </c:pt>
                <c:pt idx="10541">
                  <c:v>7.2530000000000001</c:v>
                </c:pt>
                <c:pt idx="10542">
                  <c:v>7.2539999999999996</c:v>
                </c:pt>
                <c:pt idx="10543">
                  <c:v>7.2530000000000001</c:v>
                </c:pt>
                <c:pt idx="10544">
                  <c:v>7.2539999999999996</c:v>
                </c:pt>
                <c:pt idx="10545">
                  <c:v>7.2539999999999996</c:v>
                </c:pt>
                <c:pt idx="10546">
                  <c:v>7.2530000000000001</c:v>
                </c:pt>
                <c:pt idx="10547">
                  <c:v>7.2530000000000001</c:v>
                </c:pt>
                <c:pt idx="10548">
                  <c:v>7.2530000000000001</c:v>
                </c:pt>
                <c:pt idx="10549">
                  <c:v>7.2530000000000001</c:v>
                </c:pt>
                <c:pt idx="10550">
                  <c:v>7.2530000000000001</c:v>
                </c:pt>
                <c:pt idx="10551">
                  <c:v>7.2530000000000001</c:v>
                </c:pt>
                <c:pt idx="10552">
                  <c:v>7.2539999999999996</c:v>
                </c:pt>
                <c:pt idx="10553">
                  <c:v>7.2530000000000001</c:v>
                </c:pt>
                <c:pt idx="10554">
                  <c:v>7.2530000000000001</c:v>
                </c:pt>
                <c:pt idx="10555">
                  <c:v>7.2530000000000001</c:v>
                </c:pt>
                <c:pt idx="10556">
                  <c:v>7.2519999999999998</c:v>
                </c:pt>
                <c:pt idx="10557">
                  <c:v>7.2530000000000001</c:v>
                </c:pt>
                <c:pt idx="10558">
                  <c:v>7.2530000000000001</c:v>
                </c:pt>
                <c:pt idx="10559">
                  <c:v>7.2530000000000001</c:v>
                </c:pt>
                <c:pt idx="10560">
                  <c:v>7.2530000000000001</c:v>
                </c:pt>
                <c:pt idx="10561">
                  <c:v>7.2530000000000001</c:v>
                </c:pt>
                <c:pt idx="10562">
                  <c:v>7.2530000000000001</c:v>
                </c:pt>
                <c:pt idx="10563">
                  <c:v>7.2530000000000001</c:v>
                </c:pt>
                <c:pt idx="10564">
                  <c:v>7.2530000000000001</c:v>
                </c:pt>
                <c:pt idx="10565">
                  <c:v>7.2519999999999998</c:v>
                </c:pt>
                <c:pt idx="10566">
                  <c:v>7.2530000000000001</c:v>
                </c:pt>
                <c:pt idx="10567">
                  <c:v>7.2530000000000001</c:v>
                </c:pt>
                <c:pt idx="10568">
                  <c:v>7.2519999999999998</c:v>
                </c:pt>
                <c:pt idx="10569">
                  <c:v>7.2530000000000001</c:v>
                </c:pt>
                <c:pt idx="10570">
                  <c:v>7.2530000000000001</c:v>
                </c:pt>
                <c:pt idx="10571">
                  <c:v>7.2519999999999998</c:v>
                </c:pt>
                <c:pt idx="10572">
                  <c:v>7.2530000000000001</c:v>
                </c:pt>
                <c:pt idx="10573">
                  <c:v>7.2519999999999998</c:v>
                </c:pt>
                <c:pt idx="10574">
                  <c:v>7.2530000000000001</c:v>
                </c:pt>
                <c:pt idx="10575">
                  <c:v>7.2530000000000001</c:v>
                </c:pt>
                <c:pt idx="10576">
                  <c:v>7.2530000000000001</c:v>
                </c:pt>
                <c:pt idx="10577">
                  <c:v>7.2530000000000001</c:v>
                </c:pt>
                <c:pt idx="10578">
                  <c:v>7.2530000000000001</c:v>
                </c:pt>
                <c:pt idx="10579">
                  <c:v>7.2530000000000001</c:v>
                </c:pt>
                <c:pt idx="10580">
                  <c:v>7.2519999999999998</c:v>
                </c:pt>
                <c:pt idx="10581">
                  <c:v>7.2530000000000001</c:v>
                </c:pt>
                <c:pt idx="10582">
                  <c:v>7.2519999999999998</c:v>
                </c:pt>
                <c:pt idx="10583">
                  <c:v>7.2519999999999998</c:v>
                </c:pt>
                <c:pt idx="10584">
                  <c:v>7.2519999999999998</c:v>
                </c:pt>
                <c:pt idx="10585">
                  <c:v>7.2519999999999998</c:v>
                </c:pt>
                <c:pt idx="10586">
                  <c:v>7.2519999999999998</c:v>
                </c:pt>
                <c:pt idx="10587">
                  <c:v>7.2519999999999998</c:v>
                </c:pt>
                <c:pt idx="10588">
                  <c:v>7.2519999999999998</c:v>
                </c:pt>
                <c:pt idx="10589">
                  <c:v>7.2519999999999998</c:v>
                </c:pt>
                <c:pt idx="10590">
                  <c:v>7.2519999999999998</c:v>
                </c:pt>
                <c:pt idx="10591">
                  <c:v>7.2519999999999998</c:v>
                </c:pt>
                <c:pt idx="10592">
                  <c:v>7.2519999999999998</c:v>
                </c:pt>
                <c:pt idx="10593">
                  <c:v>7.2510000000000003</c:v>
                </c:pt>
                <c:pt idx="10594">
                  <c:v>7.2519999999999998</c:v>
                </c:pt>
                <c:pt idx="10595">
                  <c:v>7.2519999999999998</c:v>
                </c:pt>
                <c:pt idx="10596">
                  <c:v>7.2519999999999998</c:v>
                </c:pt>
                <c:pt idx="10597">
                  <c:v>7.2519999999999998</c:v>
                </c:pt>
                <c:pt idx="10598">
                  <c:v>7.2519999999999998</c:v>
                </c:pt>
                <c:pt idx="10599">
                  <c:v>7.2519999999999998</c:v>
                </c:pt>
                <c:pt idx="10600">
                  <c:v>7.2519999999999998</c:v>
                </c:pt>
                <c:pt idx="10601">
                  <c:v>7.2519999999999998</c:v>
                </c:pt>
                <c:pt idx="10602">
                  <c:v>7.2519999999999998</c:v>
                </c:pt>
                <c:pt idx="10603">
                  <c:v>7.2519999999999998</c:v>
                </c:pt>
                <c:pt idx="10604">
                  <c:v>7.2519999999999998</c:v>
                </c:pt>
                <c:pt idx="10605">
                  <c:v>7.2519999999999998</c:v>
                </c:pt>
                <c:pt idx="10606">
                  <c:v>7.2510000000000003</c:v>
                </c:pt>
                <c:pt idx="10607">
                  <c:v>7.2519999999999998</c:v>
                </c:pt>
                <c:pt idx="10608">
                  <c:v>7.2519999999999998</c:v>
                </c:pt>
                <c:pt idx="10609">
                  <c:v>7.2510000000000003</c:v>
                </c:pt>
                <c:pt idx="10610">
                  <c:v>7.2519999999999998</c:v>
                </c:pt>
                <c:pt idx="10611">
                  <c:v>7.2519999999999998</c:v>
                </c:pt>
                <c:pt idx="10612">
                  <c:v>7.2519999999999998</c:v>
                </c:pt>
                <c:pt idx="10613">
                  <c:v>7.2510000000000003</c:v>
                </c:pt>
                <c:pt idx="10614">
                  <c:v>7.2510000000000003</c:v>
                </c:pt>
                <c:pt idx="10615">
                  <c:v>7.2519999999999998</c:v>
                </c:pt>
                <c:pt idx="10616">
                  <c:v>7.2510000000000003</c:v>
                </c:pt>
                <c:pt idx="10617">
                  <c:v>7.2510000000000003</c:v>
                </c:pt>
                <c:pt idx="10618">
                  <c:v>7.2530000000000001</c:v>
                </c:pt>
                <c:pt idx="10619">
                  <c:v>7.2510000000000003</c:v>
                </c:pt>
                <c:pt idx="10620">
                  <c:v>7.2510000000000003</c:v>
                </c:pt>
                <c:pt idx="10621">
                  <c:v>7.2519999999999998</c:v>
                </c:pt>
                <c:pt idx="10622">
                  <c:v>7.2510000000000003</c:v>
                </c:pt>
                <c:pt idx="10623">
                  <c:v>7.2510000000000003</c:v>
                </c:pt>
                <c:pt idx="10624">
                  <c:v>7.2519999999999998</c:v>
                </c:pt>
                <c:pt idx="10625">
                  <c:v>7.2510000000000003</c:v>
                </c:pt>
                <c:pt idx="10626">
                  <c:v>7.2510000000000003</c:v>
                </c:pt>
                <c:pt idx="10627">
                  <c:v>7.2519999999999998</c:v>
                </c:pt>
                <c:pt idx="10628">
                  <c:v>7.2510000000000003</c:v>
                </c:pt>
                <c:pt idx="10629">
                  <c:v>7.2510000000000003</c:v>
                </c:pt>
                <c:pt idx="10630">
                  <c:v>7.2519999999999998</c:v>
                </c:pt>
                <c:pt idx="10631">
                  <c:v>7.2519999999999998</c:v>
                </c:pt>
                <c:pt idx="10632">
                  <c:v>7.2510000000000003</c:v>
                </c:pt>
                <c:pt idx="10633">
                  <c:v>7.2510000000000003</c:v>
                </c:pt>
                <c:pt idx="10634">
                  <c:v>7.2510000000000003</c:v>
                </c:pt>
                <c:pt idx="10635">
                  <c:v>7.2519999999999998</c:v>
                </c:pt>
                <c:pt idx="10636">
                  <c:v>7.2510000000000003</c:v>
                </c:pt>
                <c:pt idx="10637">
                  <c:v>7.2510000000000003</c:v>
                </c:pt>
                <c:pt idx="10638">
                  <c:v>7.2510000000000003</c:v>
                </c:pt>
                <c:pt idx="10639">
                  <c:v>7.2519999999999998</c:v>
                </c:pt>
                <c:pt idx="10640">
                  <c:v>7.2519999999999998</c:v>
                </c:pt>
                <c:pt idx="10641">
                  <c:v>7.2510000000000003</c:v>
                </c:pt>
                <c:pt idx="10642">
                  <c:v>7.2510000000000003</c:v>
                </c:pt>
                <c:pt idx="10643">
                  <c:v>7.2510000000000003</c:v>
                </c:pt>
                <c:pt idx="10644">
                  <c:v>7.2510000000000003</c:v>
                </c:pt>
                <c:pt idx="10645">
                  <c:v>7.2510000000000003</c:v>
                </c:pt>
                <c:pt idx="10646">
                  <c:v>7.2519999999999998</c:v>
                </c:pt>
                <c:pt idx="10647">
                  <c:v>7.2519999999999998</c:v>
                </c:pt>
                <c:pt idx="10648">
                  <c:v>7.2510000000000003</c:v>
                </c:pt>
                <c:pt idx="10649">
                  <c:v>7.2519999999999998</c:v>
                </c:pt>
                <c:pt idx="10650">
                  <c:v>7.2510000000000003</c:v>
                </c:pt>
                <c:pt idx="10651">
                  <c:v>7.2519999999999998</c:v>
                </c:pt>
                <c:pt idx="10652">
                  <c:v>7.2510000000000003</c:v>
                </c:pt>
                <c:pt idx="10653">
                  <c:v>7.2510000000000003</c:v>
                </c:pt>
                <c:pt idx="10654">
                  <c:v>7.2510000000000003</c:v>
                </c:pt>
                <c:pt idx="10655">
                  <c:v>7.2510000000000003</c:v>
                </c:pt>
                <c:pt idx="10656">
                  <c:v>7.2510000000000003</c:v>
                </c:pt>
                <c:pt idx="10657">
                  <c:v>7.2510000000000003</c:v>
                </c:pt>
                <c:pt idx="10658">
                  <c:v>7.2510000000000003</c:v>
                </c:pt>
                <c:pt idx="10659">
                  <c:v>7.2510000000000003</c:v>
                </c:pt>
                <c:pt idx="10660">
                  <c:v>7.2510000000000003</c:v>
                </c:pt>
                <c:pt idx="10661">
                  <c:v>7.2519999999999998</c:v>
                </c:pt>
                <c:pt idx="10662">
                  <c:v>7.2510000000000003</c:v>
                </c:pt>
                <c:pt idx="10663">
                  <c:v>7.25</c:v>
                </c:pt>
                <c:pt idx="10664">
                  <c:v>7.2510000000000003</c:v>
                </c:pt>
                <c:pt idx="10665">
                  <c:v>7.2510000000000003</c:v>
                </c:pt>
                <c:pt idx="10666">
                  <c:v>7.2510000000000003</c:v>
                </c:pt>
                <c:pt idx="10667">
                  <c:v>7.2510000000000003</c:v>
                </c:pt>
                <c:pt idx="10668">
                  <c:v>7.2519999999999998</c:v>
                </c:pt>
                <c:pt idx="10669">
                  <c:v>7.2510000000000003</c:v>
                </c:pt>
                <c:pt idx="10670">
                  <c:v>7.2510000000000003</c:v>
                </c:pt>
                <c:pt idx="10671">
                  <c:v>7.2510000000000003</c:v>
                </c:pt>
                <c:pt idx="10672">
                  <c:v>7.2510000000000003</c:v>
                </c:pt>
                <c:pt idx="10673">
                  <c:v>7.2519999999999998</c:v>
                </c:pt>
                <c:pt idx="10674">
                  <c:v>7.2510000000000003</c:v>
                </c:pt>
                <c:pt idx="10675">
                  <c:v>7.2510000000000003</c:v>
                </c:pt>
                <c:pt idx="10676">
                  <c:v>7.2519999999999998</c:v>
                </c:pt>
                <c:pt idx="10677">
                  <c:v>7.2510000000000003</c:v>
                </c:pt>
                <c:pt idx="10678">
                  <c:v>7.2519999999999998</c:v>
                </c:pt>
                <c:pt idx="10679">
                  <c:v>7.2510000000000003</c:v>
                </c:pt>
                <c:pt idx="10680">
                  <c:v>7.2510000000000003</c:v>
                </c:pt>
                <c:pt idx="10681">
                  <c:v>7.2519999999999998</c:v>
                </c:pt>
                <c:pt idx="10682">
                  <c:v>7.2510000000000003</c:v>
                </c:pt>
                <c:pt idx="10683">
                  <c:v>7.2510000000000003</c:v>
                </c:pt>
                <c:pt idx="10684">
                  <c:v>7.2510000000000003</c:v>
                </c:pt>
                <c:pt idx="10685">
                  <c:v>7.2510000000000003</c:v>
                </c:pt>
                <c:pt idx="10686">
                  <c:v>7.2510000000000003</c:v>
                </c:pt>
                <c:pt idx="10687">
                  <c:v>7.2510000000000003</c:v>
                </c:pt>
                <c:pt idx="10688">
                  <c:v>7.2510000000000003</c:v>
                </c:pt>
                <c:pt idx="10689">
                  <c:v>7.2510000000000003</c:v>
                </c:pt>
                <c:pt idx="10690">
                  <c:v>7.2510000000000003</c:v>
                </c:pt>
                <c:pt idx="10691">
                  <c:v>7.2510000000000003</c:v>
                </c:pt>
                <c:pt idx="10692">
                  <c:v>7.2510000000000003</c:v>
                </c:pt>
                <c:pt idx="10693">
                  <c:v>7.2519999999999998</c:v>
                </c:pt>
                <c:pt idx="10694">
                  <c:v>7.2510000000000003</c:v>
                </c:pt>
                <c:pt idx="10695">
                  <c:v>7.2510000000000003</c:v>
                </c:pt>
                <c:pt idx="10696">
                  <c:v>7.2519999999999998</c:v>
                </c:pt>
                <c:pt idx="10697">
                  <c:v>7.2519999999999998</c:v>
                </c:pt>
                <c:pt idx="10698">
                  <c:v>7.25</c:v>
                </c:pt>
                <c:pt idx="10699">
                  <c:v>7.2519999999999998</c:v>
                </c:pt>
                <c:pt idx="10700">
                  <c:v>7.2510000000000003</c:v>
                </c:pt>
                <c:pt idx="10701">
                  <c:v>7.2510000000000003</c:v>
                </c:pt>
                <c:pt idx="10702">
                  <c:v>7.2510000000000003</c:v>
                </c:pt>
                <c:pt idx="10703">
                  <c:v>7.2510000000000003</c:v>
                </c:pt>
                <c:pt idx="10704">
                  <c:v>7.2510000000000003</c:v>
                </c:pt>
                <c:pt idx="10705">
                  <c:v>7.2519999999999998</c:v>
                </c:pt>
                <c:pt idx="10706">
                  <c:v>7.2510000000000003</c:v>
                </c:pt>
                <c:pt idx="10707">
                  <c:v>7.2510000000000003</c:v>
                </c:pt>
                <c:pt idx="10708">
                  <c:v>7.2519999999999998</c:v>
                </c:pt>
                <c:pt idx="10709">
                  <c:v>7.2510000000000003</c:v>
                </c:pt>
                <c:pt idx="10710">
                  <c:v>7.2510000000000003</c:v>
                </c:pt>
                <c:pt idx="10711">
                  <c:v>7.2510000000000003</c:v>
                </c:pt>
                <c:pt idx="10712">
                  <c:v>7.2510000000000003</c:v>
                </c:pt>
                <c:pt idx="10713">
                  <c:v>7.2510000000000003</c:v>
                </c:pt>
                <c:pt idx="10714">
                  <c:v>7.2510000000000003</c:v>
                </c:pt>
                <c:pt idx="10715">
                  <c:v>7.2510000000000003</c:v>
                </c:pt>
                <c:pt idx="10716">
                  <c:v>7.2510000000000003</c:v>
                </c:pt>
                <c:pt idx="10717">
                  <c:v>7.2510000000000003</c:v>
                </c:pt>
                <c:pt idx="10718">
                  <c:v>7.2510000000000003</c:v>
                </c:pt>
                <c:pt idx="10719">
                  <c:v>7.2510000000000003</c:v>
                </c:pt>
                <c:pt idx="10720">
                  <c:v>7.2510000000000003</c:v>
                </c:pt>
                <c:pt idx="10721">
                  <c:v>7.2510000000000003</c:v>
                </c:pt>
                <c:pt idx="10722">
                  <c:v>7.2510000000000003</c:v>
                </c:pt>
                <c:pt idx="10723">
                  <c:v>7.2510000000000003</c:v>
                </c:pt>
                <c:pt idx="10724">
                  <c:v>7.25</c:v>
                </c:pt>
                <c:pt idx="10725">
                  <c:v>7.2510000000000003</c:v>
                </c:pt>
                <c:pt idx="10726">
                  <c:v>7.2510000000000003</c:v>
                </c:pt>
                <c:pt idx="10727">
                  <c:v>7.25</c:v>
                </c:pt>
                <c:pt idx="10728">
                  <c:v>7.2510000000000003</c:v>
                </c:pt>
                <c:pt idx="10729">
                  <c:v>7.25</c:v>
                </c:pt>
                <c:pt idx="10730">
                  <c:v>7.25</c:v>
                </c:pt>
                <c:pt idx="10731">
                  <c:v>7.2510000000000003</c:v>
                </c:pt>
                <c:pt idx="10732">
                  <c:v>7.25</c:v>
                </c:pt>
                <c:pt idx="10733">
                  <c:v>7.25</c:v>
                </c:pt>
                <c:pt idx="10734">
                  <c:v>7.25</c:v>
                </c:pt>
                <c:pt idx="10735">
                  <c:v>7.2510000000000003</c:v>
                </c:pt>
                <c:pt idx="10736">
                  <c:v>7.25</c:v>
                </c:pt>
                <c:pt idx="10737">
                  <c:v>7.25</c:v>
                </c:pt>
                <c:pt idx="10738">
                  <c:v>7.25</c:v>
                </c:pt>
                <c:pt idx="10739">
                  <c:v>7.25</c:v>
                </c:pt>
                <c:pt idx="10740">
                  <c:v>7.25</c:v>
                </c:pt>
                <c:pt idx="10741">
                  <c:v>7.25</c:v>
                </c:pt>
                <c:pt idx="10742">
                  <c:v>7.25</c:v>
                </c:pt>
                <c:pt idx="10743">
                  <c:v>7.2510000000000003</c:v>
                </c:pt>
                <c:pt idx="10744">
                  <c:v>7.25</c:v>
                </c:pt>
                <c:pt idx="10745">
                  <c:v>7.2489999999999997</c:v>
                </c:pt>
                <c:pt idx="10746">
                  <c:v>7.25</c:v>
                </c:pt>
                <c:pt idx="10747">
                  <c:v>7.25</c:v>
                </c:pt>
                <c:pt idx="10748">
                  <c:v>7.25</c:v>
                </c:pt>
                <c:pt idx="10749">
                  <c:v>7.25</c:v>
                </c:pt>
                <c:pt idx="10750">
                  <c:v>7.25</c:v>
                </c:pt>
                <c:pt idx="10751">
                  <c:v>7.2489999999999997</c:v>
                </c:pt>
                <c:pt idx="10752">
                  <c:v>7.25</c:v>
                </c:pt>
                <c:pt idx="10753">
                  <c:v>7.25</c:v>
                </c:pt>
                <c:pt idx="10754">
                  <c:v>7.2489999999999997</c:v>
                </c:pt>
                <c:pt idx="10755">
                  <c:v>7.25</c:v>
                </c:pt>
                <c:pt idx="10756">
                  <c:v>7.25</c:v>
                </c:pt>
                <c:pt idx="10757">
                  <c:v>7.25</c:v>
                </c:pt>
                <c:pt idx="10758">
                  <c:v>7.2489999999999997</c:v>
                </c:pt>
                <c:pt idx="10759">
                  <c:v>7.25</c:v>
                </c:pt>
                <c:pt idx="10760">
                  <c:v>7.25</c:v>
                </c:pt>
                <c:pt idx="10761">
                  <c:v>7.2489999999999997</c:v>
                </c:pt>
                <c:pt idx="10762">
                  <c:v>7.25</c:v>
                </c:pt>
                <c:pt idx="10763">
                  <c:v>7.2489999999999997</c:v>
                </c:pt>
                <c:pt idx="10764">
                  <c:v>7.25</c:v>
                </c:pt>
                <c:pt idx="10765">
                  <c:v>7.2489999999999997</c:v>
                </c:pt>
                <c:pt idx="10766">
                  <c:v>7.2489999999999997</c:v>
                </c:pt>
                <c:pt idx="10767">
                  <c:v>7.2489999999999997</c:v>
                </c:pt>
                <c:pt idx="10768">
                  <c:v>7.25</c:v>
                </c:pt>
                <c:pt idx="10769">
                  <c:v>7.2489999999999997</c:v>
                </c:pt>
                <c:pt idx="10770">
                  <c:v>7.2489999999999997</c:v>
                </c:pt>
                <c:pt idx="10771">
                  <c:v>7.2489999999999997</c:v>
                </c:pt>
                <c:pt idx="10772">
                  <c:v>7.2480000000000002</c:v>
                </c:pt>
                <c:pt idx="10773">
                  <c:v>7.2480000000000002</c:v>
                </c:pt>
                <c:pt idx="10774">
                  <c:v>7.2489999999999997</c:v>
                </c:pt>
                <c:pt idx="10775">
                  <c:v>7.2489999999999997</c:v>
                </c:pt>
                <c:pt idx="10776">
                  <c:v>7.2489999999999997</c:v>
                </c:pt>
                <c:pt idx="10777">
                  <c:v>7.2489999999999997</c:v>
                </c:pt>
                <c:pt idx="10778">
                  <c:v>7.2489999999999997</c:v>
                </c:pt>
                <c:pt idx="10779">
                  <c:v>7.2489999999999997</c:v>
                </c:pt>
                <c:pt idx="10780">
                  <c:v>7.25</c:v>
                </c:pt>
                <c:pt idx="10781">
                  <c:v>7.2489999999999997</c:v>
                </c:pt>
                <c:pt idx="10782">
                  <c:v>7.2489999999999997</c:v>
                </c:pt>
                <c:pt idx="10783">
                  <c:v>7.2480000000000002</c:v>
                </c:pt>
                <c:pt idx="10784">
                  <c:v>7.2489999999999997</c:v>
                </c:pt>
                <c:pt idx="10785">
                  <c:v>7.2480000000000002</c:v>
                </c:pt>
                <c:pt idx="10786">
                  <c:v>7.2489999999999997</c:v>
                </c:pt>
                <c:pt idx="10787">
                  <c:v>7.2489999999999997</c:v>
                </c:pt>
                <c:pt idx="10788">
                  <c:v>7.2489999999999997</c:v>
                </c:pt>
                <c:pt idx="10789">
                  <c:v>7.2489999999999997</c:v>
                </c:pt>
                <c:pt idx="10790">
                  <c:v>7.2489999999999997</c:v>
                </c:pt>
                <c:pt idx="10791">
                  <c:v>7.2489999999999997</c:v>
                </c:pt>
                <c:pt idx="10792">
                  <c:v>7.2489999999999997</c:v>
                </c:pt>
                <c:pt idx="10793">
                  <c:v>7.2489999999999997</c:v>
                </c:pt>
                <c:pt idx="10794">
                  <c:v>7.2480000000000002</c:v>
                </c:pt>
                <c:pt idx="10795">
                  <c:v>7.2480000000000002</c:v>
                </c:pt>
                <c:pt idx="10796">
                  <c:v>7.2489999999999997</c:v>
                </c:pt>
                <c:pt idx="10797">
                  <c:v>7.2480000000000002</c:v>
                </c:pt>
                <c:pt idx="10798">
                  <c:v>7.2489999999999997</c:v>
                </c:pt>
                <c:pt idx="10799">
                  <c:v>7.2480000000000002</c:v>
                </c:pt>
                <c:pt idx="10800">
                  <c:v>7.2480000000000002</c:v>
                </c:pt>
                <c:pt idx="10801">
                  <c:v>7.2480000000000002</c:v>
                </c:pt>
                <c:pt idx="10802">
                  <c:v>7.2489999999999997</c:v>
                </c:pt>
                <c:pt idx="10803">
                  <c:v>7.2480000000000002</c:v>
                </c:pt>
                <c:pt idx="10804">
                  <c:v>7.2480000000000002</c:v>
                </c:pt>
                <c:pt idx="10805">
                  <c:v>7.2489999999999997</c:v>
                </c:pt>
                <c:pt idx="10806">
                  <c:v>7.2480000000000002</c:v>
                </c:pt>
                <c:pt idx="10807">
                  <c:v>7.2480000000000002</c:v>
                </c:pt>
                <c:pt idx="10808">
                  <c:v>7.2480000000000002</c:v>
                </c:pt>
                <c:pt idx="10809">
                  <c:v>7.2480000000000002</c:v>
                </c:pt>
                <c:pt idx="10810">
                  <c:v>7.2480000000000002</c:v>
                </c:pt>
                <c:pt idx="10811">
                  <c:v>7.2480000000000002</c:v>
                </c:pt>
                <c:pt idx="10812">
                  <c:v>7.2480000000000002</c:v>
                </c:pt>
                <c:pt idx="10813">
                  <c:v>7.2480000000000002</c:v>
                </c:pt>
                <c:pt idx="10814">
                  <c:v>7.2480000000000002</c:v>
                </c:pt>
                <c:pt idx="10815">
                  <c:v>7.2480000000000002</c:v>
                </c:pt>
                <c:pt idx="10816">
                  <c:v>7.2480000000000002</c:v>
                </c:pt>
                <c:pt idx="10817">
                  <c:v>7.2480000000000002</c:v>
                </c:pt>
                <c:pt idx="10818">
                  <c:v>7.2469999999999999</c:v>
                </c:pt>
                <c:pt idx="10819">
                  <c:v>7.2469999999999999</c:v>
                </c:pt>
                <c:pt idx="10820">
                  <c:v>7.2480000000000002</c:v>
                </c:pt>
                <c:pt idx="10821">
                  <c:v>7.2480000000000002</c:v>
                </c:pt>
                <c:pt idx="10822">
                  <c:v>7.2480000000000002</c:v>
                </c:pt>
                <c:pt idx="10823">
                  <c:v>7.2480000000000002</c:v>
                </c:pt>
                <c:pt idx="10824">
                  <c:v>7.2480000000000002</c:v>
                </c:pt>
                <c:pt idx="10825">
                  <c:v>7.2469999999999999</c:v>
                </c:pt>
                <c:pt idx="10826">
                  <c:v>7.2469999999999999</c:v>
                </c:pt>
                <c:pt idx="10827">
                  <c:v>7.2469999999999999</c:v>
                </c:pt>
                <c:pt idx="10828">
                  <c:v>7.2469999999999999</c:v>
                </c:pt>
                <c:pt idx="10829">
                  <c:v>7.2469999999999999</c:v>
                </c:pt>
                <c:pt idx="10830">
                  <c:v>7.2469999999999999</c:v>
                </c:pt>
                <c:pt idx="10831">
                  <c:v>7.2480000000000002</c:v>
                </c:pt>
                <c:pt idx="10832">
                  <c:v>7.2480000000000002</c:v>
                </c:pt>
                <c:pt idx="10833">
                  <c:v>7.2469999999999999</c:v>
                </c:pt>
                <c:pt idx="10834">
                  <c:v>7.2469999999999999</c:v>
                </c:pt>
                <c:pt idx="10835">
                  <c:v>7.2469999999999999</c:v>
                </c:pt>
                <c:pt idx="10836">
                  <c:v>7.2469999999999999</c:v>
                </c:pt>
                <c:pt idx="10837">
                  <c:v>7.2469999999999999</c:v>
                </c:pt>
                <c:pt idx="10838">
                  <c:v>7.2480000000000002</c:v>
                </c:pt>
                <c:pt idx="10839">
                  <c:v>7.2469999999999999</c:v>
                </c:pt>
                <c:pt idx="10840">
                  <c:v>7.2469999999999999</c:v>
                </c:pt>
                <c:pt idx="10841">
                  <c:v>7.2469999999999999</c:v>
                </c:pt>
                <c:pt idx="10842">
                  <c:v>7.2469999999999999</c:v>
                </c:pt>
                <c:pt idx="10843">
                  <c:v>7.2460000000000004</c:v>
                </c:pt>
                <c:pt idx="10844">
                  <c:v>7.2469999999999999</c:v>
                </c:pt>
                <c:pt idx="10845">
                  <c:v>7.2469999999999999</c:v>
                </c:pt>
                <c:pt idx="10846">
                  <c:v>7.2469999999999999</c:v>
                </c:pt>
                <c:pt idx="10847">
                  <c:v>7.2469999999999999</c:v>
                </c:pt>
                <c:pt idx="10848">
                  <c:v>7.2469999999999999</c:v>
                </c:pt>
                <c:pt idx="10849">
                  <c:v>7.2469999999999999</c:v>
                </c:pt>
                <c:pt idx="10850">
                  <c:v>7.2460000000000004</c:v>
                </c:pt>
                <c:pt idx="10851">
                  <c:v>7.2469999999999999</c:v>
                </c:pt>
                <c:pt idx="10852">
                  <c:v>7.2469999999999999</c:v>
                </c:pt>
                <c:pt idx="10853">
                  <c:v>7.2469999999999999</c:v>
                </c:pt>
                <c:pt idx="10854">
                  <c:v>7.2460000000000004</c:v>
                </c:pt>
                <c:pt idx="10855">
                  <c:v>7.2469999999999999</c:v>
                </c:pt>
                <c:pt idx="10856">
                  <c:v>7.2469999999999999</c:v>
                </c:pt>
                <c:pt idx="10857">
                  <c:v>7.2469999999999999</c:v>
                </c:pt>
                <c:pt idx="10858">
                  <c:v>7.2460000000000004</c:v>
                </c:pt>
                <c:pt idx="10859">
                  <c:v>7.2469999999999999</c:v>
                </c:pt>
                <c:pt idx="10860">
                  <c:v>7.2469999999999999</c:v>
                </c:pt>
                <c:pt idx="10861">
                  <c:v>7.2460000000000004</c:v>
                </c:pt>
                <c:pt idx="10862">
                  <c:v>7.2460000000000004</c:v>
                </c:pt>
                <c:pt idx="10863">
                  <c:v>7.2460000000000004</c:v>
                </c:pt>
                <c:pt idx="10864">
                  <c:v>7.2469999999999999</c:v>
                </c:pt>
                <c:pt idx="10865">
                  <c:v>7.2469999999999999</c:v>
                </c:pt>
                <c:pt idx="10866">
                  <c:v>7.2460000000000004</c:v>
                </c:pt>
                <c:pt idx="10867">
                  <c:v>7.2460000000000004</c:v>
                </c:pt>
                <c:pt idx="10868">
                  <c:v>7.2460000000000004</c:v>
                </c:pt>
                <c:pt idx="10869">
                  <c:v>7.2460000000000004</c:v>
                </c:pt>
                <c:pt idx="10870">
                  <c:v>7.2460000000000004</c:v>
                </c:pt>
                <c:pt idx="10871">
                  <c:v>7.2460000000000004</c:v>
                </c:pt>
                <c:pt idx="10872">
                  <c:v>7.2460000000000004</c:v>
                </c:pt>
                <c:pt idx="10873">
                  <c:v>7.2460000000000004</c:v>
                </c:pt>
                <c:pt idx="10874">
                  <c:v>7.2460000000000004</c:v>
                </c:pt>
                <c:pt idx="10875">
                  <c:v>7.2469999999999999</c:v>
                </c:pt>
                <c:pt idx="10876">
                  <c:v>7.2460000000000004</c:v>
                </c:pt>
                <c:pt idx="10877">
                  <c:v>7.2460000000000004</c:v>
                </c:pt>
                <c:pt idx="10878">
                  <c:v>7.2460000000000004</c:v>
                </c:pt>
                <c:pt idx="10879">
                  <c:v>7.2460000000000004</c:v>
                </c:pt>
                <c:pt idx="10880">
                  <c:v>7.2460000000000004</c:v>
                </c:pt>
                <c:pt idx="10881">
                  <c:v>7.2460000000000004</c:v>
                </c:pt>
                <c:pt idx="10882">
                  <c:v>7.2460000000000004</c:v>
                </c:pt>
                <c:pt idx="10883">
                  <c:v>7.2460000000000004</c:v>
                </c:pt>
                <c:pt idx="10884">
                  <c:v>7.2450000000000001</c:v>
                </c:pt>
                <c:pt idx="10885">
                  <c:v>7.2460000000000004</c:v>
                </c:pt>
                <c:pt idx="10886">
                  <c:v>7.2460000000000004</c:v>
                </c:pt>
                <c:pt idx="10887">
                  <c:v>7.2460000000000004</c:v>
                </c:pt>
                <c:pt idx="10888">
                  <c:v>7.2450000000000001</c:v>
                </c:pt>
                <c:pt idx="10889">
                  <c:v>7.2450000000000001</c:v>
                </c:pt>
                <c:pt idx="10890">
                  <c:v>7.2450000000000001</c:v>
                </c:pt>
                <c:pt idx="10891">
                  <c:v>7.2460000000000004</c:v>
                </c:pt>
                <c:pt idx="10892">
                  <c:v>7.2450000000000001</c:v>
                </c:pt>
                <c:pt idx="10893">
                  <c:v>7.2460000000000004</c:v>
                </c:pt>
                <c:pt idx="10894">
                  <c:v>7.2450000000000001</c:v>
                </c:pt>
                <c:pt idx="10895">
                  <c:v>7.2450000000000001</c:v>
                </c:pt>
                <c:pt idx="10896">
                  <c:v>7.2450000000000001</c:v>
                </c:pt>
                <c:pt idx="10897">
                  <c:v>7.2460000000000004</c:v>
                </c:pt>
                <c:pt idx="10898">
                  <c:v>7.2450000000000001</c:v>
                </c:pt>
                <c:pt idx="10899">
                  <c:v>7.2460000000000004</c:v>
                </c:pt>
                <c:pt idx="10900">
                  <c:v>7.2450000000000001</c:v>
                </c:pt>
                <c:pt idx="10901">
                  <c:v>7.2450000000000001</c:v>
                </c:pt>
                <c:pt idx="10902">
                  <c:v>7.2450000000000001</c:v>
                </c:pt>
                <c:pt idx="10903">
                  <c:v>7.2450000000000001</c:v>
                </c:pt>
                <c:pt idx="10904">
                  <c:v>7.2450000000000001</c:v>
                </c:pt>
                <c:pt idx="10905">
                  <c:v>7.2460000000000004</c:v>
                </c:pt>
                <c:pt idx="10906">
                  <c:v>7.2450000000000001</c:v>
                </c:pt>
                <c:pt idx="10907">
                  <c:v>7.2460000000000004</c:v>
                </c:pt>
                <c:pt idx="10908">
                  <c:v>7.2450000000000001</c:v>
                </c:pt>
                <c:pt idx="10909">
                  <c:v>7.2450000000000001</c:v>
                </c:pt>
                <c:pt idx="10910">
                  <c:v>7.2450000000000001</c:v>
                </c:pt>
                <c:pt idx="10911">
                  <c:v>7.2450000000000001</c:v>
                </c:pt>
                <c:pt idx="10912">
                  <c:v>7.2450000000000001</c:v>
                </c:pt>
                <c:pt idx="10913">
                  <c:v>7.2450000000000001</c:v>
                </c:pt>
                <c:pt idx="10914">
                  <c:v>7.2450000000000001</c:v>
                </c:pt>
                <c:pt idx="10915">
                  <c:v>7.2450000000000001</c:v>
                </c:pt>
                <c:pt idx="10916">
                  <c:v>7.2450000000000001</c:v>
                </c:pt>
                <c:pt idx="10917">
                  <c:v>7.2450000000000001</c:v>
                </c:pt>
                <c:pt idx="10918">
                  <c:v>7.2460000000000004</c:v>
                </c:pt>
                <c:pt idx="10919">
                  <c:v>7.2450000000000001</c:v>
                </c:pt>
                <c:pt idx="10920">
                  <c:v>7.2450000000000001</c:v>
                </c:pt>
                <c:pt idx="10921">
                  <c:v>7.2450000000000001</c:v>
                </c:pt>
                <c:pt idx="10922">
                  <c:v>7.2450000000000001</c:v>
                </c:pt>
                <c:pt idx="10923">
                  <c:v>7.2450000000000001</c:v>
                </c:pt>
                <c:pt idx="10924">
                  <c:v>7.2450000000000001</c:v>
                </c:pt>
                <c:pt idx="10925">
                  <c:v>7.2439999999999998</c:v>
                </c:pt>
                <c:pt idx="10926">
                  <c:v>7.2450000000000001</c:v>
                </c:pt>
                <c:pt idx="10927">
                  <c:v>7.2439999999999998</c:v>
                </c:pt>
                <c:pt idx="10928">
                  <c:v>7.2450000000000001</c:v>
                </c:pt>
                <c:pt idx="10929">
                  <c:v>7.2439999999999998</c:v>
                </c:pt>
                <c:pt idx="10930">
                  <c:v>7.2439999999999998</c:v>
                </c:pt>
                <c:pt idx="10931">
                  <c:v>7.2450000000000001</c:v>
                </c:pt>
                <c:pt idx="10932">
                  <c:v>7.2450000000000001</c:v>
                </c:pt>
                <c:pt idx="10933">
                  <c:v>7.2450000000000001</c:v>
                </c:pt>
                <c:pt idx="10934">
                  <c:v>7.2439999999999998</c:v>
                </c:pt>
                <c:pt idx="10935">
                  <c:v>7.2450000000000001</c:v>
                </c:pt>
                <c:pt idx="10936">
                  <c:v>7.2450000000000001</c:v>
                </c:pt>
                <c:pt idx="10937">
                  <c:v>7.2450000000000001</c:v>
                </c:pt>
                <c:pt idx="10938">
                  <c:v>7.2439999999999998</c:v>
                </c:pt>
                <c:pt idx="10939">
                  <c:v>7.2450000000000001</c:v>
                </c:pt>
                <c:pt idx="10940">
                  <c:v>7.2439999999999998</c:v>
                </c:pt>
                <c:pt idx="10941">
                  <c:v>7.2439999999999998</c:v>
                </c:pt>
                <c:pt idx="10942">
                  <c:v>7.2450000000000001</c:v>
                </c:pt>
                <c:pt idx="10943">
                  <c:v>7.2450000000000001</c:v>
                </c:pt>
                <c:pt idx="10944">
                  <c:v>7.2450000000000001</c:v>
                </c:pt>
                <c:pt idx="10945">
                  <c:v>7.2439999999999998</c:v>
                </c:pt>
                <c:pt idx="10946">
                  <c:v>7.2439999999999998</c:v>
                </c:pt>
                <c:pt idx="10947">
                  <c:v>7.2439999999999998</c:v>
                </c:pt>
                <c:pt idx="10948">
                  <c:v>7.2439999999999998</c:v>
                </c:pt>
                <c:pt idx="10949">
                  <c:v>7.2439999999999998</c:v>
                </c:pt>
                <c:pt idx="10950">
                  <c:v>7.2439999999999998</c:v>
                </c:pt>
                <c:pt idx="10951">
                  <c:v>7.2430000000000003</c:v>
                </c:pt>
                <c:pt idx="10952">
                  <c:v>7.2439999999999998</c:v>
                </c:pt>
                <c:pt idx="10953">
                  <c:v>7.2439999999999998</c:v>
                </c:pt>
                <c:pt idx="10954">
                  <c:v>7.2439999999999998</c:v>
                </c:pt>
                <c:pt idx="10955">
                  <c:v>7.2439999999999998</c:v>
                </c:pt>
                <c:pt idx="10956">
                  <c:v>7.2430000000000003</c:v>
                </c:pt>
                <c:pt idx="10957">
                  <c:v>7.2439999999999998</c:v>
                </c:pt>
                <c:pt idx="10958">
                  <c:v>7.2439999999999998</c:v>
                </c:pt>
                <c:pt idx="10959">
                  <c:v>7.2439999999999998</c:v>
                </c:pt>
                <c:pt idx="10960">
                  <c:v>7.2439999999999998</c:v>
                </c:pt>
                <c:pt idx="10961">
                  <c:v>7.2439999999999998</c:v>
                </c:pt>
                <c:pt idx="10962">
                  <c:v>7.2430000000000003</c:v>
                </c:pt>
                <c:pt idx="10963">
                  <c:v>7.2439999999999998</c:v>
                </c:pt>
                <c:pt idx="10964">
                  <c:v>7.2439999999999998</c:v>
                </c:pt>
                <c:pt idx="10965">
                  <c:v>7.2439999999999998</c:v>
                </c:pt>
                <c:pt idx="10966">
                  <c:v>7.2439999999999998</c:v>
                </c:pt>
                <c:pt idx="10967">
                  <c:v>7.2430000000000003</c:v>
                </c:pt>
                <c:pt idx="10968">
                  <c:v>7.2430000000000003</c:v>
                </c:pt>
                <c:pt idx="10969">
                  <c:v>7.2439999999999998</c:v>
                </c:pt>
                <c:pt idx="10970">
                  <c:v>7.2430000000000003</c:v>
                </c:pt>
                <c:pt idx="10971">
                  <c:v>7.2430000000000003</c:v>
                </c:pt>
                <c:pt idx="10972">
                  <c:v>7.2430000000000003</c:v>
                </c:pt>
                <c:pt idx="10973">
                  <c:v>7.2430000000000003</c:v>
                </c:pt>
                <c:pt idx="10974">
                  <c:v>7.2439999999999998</c:v>
                </c:pt>
                <c:pt idx="10975">
                  <c:v>7.2430000000000003</c:v>
                </c:pt>
                <c:pt idx="10976">
                  <c:v>7.2430000000000003</c:v>
                </c:pt>
                <c:pt idx="10977">
                  <c:v>7.2439999999999998</c:v>
                </c:pt>
                <c:pt idx="10978">
                  <c:v>7.2430000000000003</c:v>
                </c:pt>
                <c:pt idx="10979">
                  <c:v>7.2430000000000003</c:v>
                </c:pt>
                <c:pt idx="10980">
                  <c:v>7.2439999999999998</c:v>
                </c:pt>
                <c:pt idx="10981">
                  <c:v>7.2439999999999998</c:v>
                </c:pt>
                <c:pt idx="10982">
                  <c:v>7.2430000000000003</c:v>
                </c:pt>
                <c:pt idx="10983">
                  <c:v>7.2430000000000003</c:v>
                </c:pt>
                <c:pt idx="10984">
                  <c:v>7.2439999999999998</c:v>
                </c:pt>
                <c:pt idx="10985">
                  <c:v>7.2430000000000003</c:v>
                </c:pt>
                <c:pt idx="10986">
                  <c:v>7.2439999999999998</c:v>
                </c:pt>
                <c:pt idx="10987">
                  <c:v>7.2430000000000003</c:v>
                </c:pt>
                <c:pt idx="10988">
                  <c:v>7.2430000000000003</c:v>
                </c:pt>
                <c:pt idx="10989">
                  <c:v>7.2430000000000003</c:v>
                </c:pt>
                <c:pt idx="10990">
                  <c:v>7.2439999999999998</c:v>
                </c:pt>
                <c:pt idx="10991">
                  <c:v>7.2430000000000003</c:v>
                </c:pt>
                <c:pt idx="10992">
                  <c:v>7.2430000000000003</c:v>
                </c:pt>
                <c:pt idx="10993">
                  <c:v>7.2430000000000003</c:v>
                </c:pt>
                <c:pt idx="10994">
                  <c:v>7.2430000000000003</c:v>
                </c:pt>
                <c:pt idx="10995">
                  <c:v>7.2430000000000003</c:v>
                </c:pt>
                <c:pt idx="10996">
                  <c:v>7.2430000000000003</c:v>
                </c:pt>
                <c:pt idx="10997">
                  <c:v>7.2430000000000003</c:v>
                </c:pt>
                <c:pt idx="10998">
                  <c:v>7.2430000000000003</c:v>
                </c:pt>
                <c:pt idx="10999">
                  <c:v>7.2430000000000003</c:v>
                </c:pt>
                <c:pt idx="11000">
                  <c:v>7.2430000000000003</c:v>
                </c:pt>
                <c:pt idx="11001">
                  <c:v>7.2430000000000003</c:v>
                </c:pt>
                <c:pt idx="11002">
                  <c:v>7.2430000000000003</c:v>
                </c:pt>
                <c:pt idx="11003">
                  <c:v>7.242</c:v>
                </c:pt>
                <c:pt idx="11004">
                  <c:v>7.2430000000000003</c:v>
                </c:pt>
                <c:pt idx="11005">
                  <c:v>7.2430000000000003</c:v>
                </c:pt>
                <c:pt idx="11006">
                  <c:v>7.242</c:v>
                </c:pt>
                <c:pt idx="11007">
                  <c:v>7.2430000000000003</c:v>
                </c:pt>
                <c:pt idx="11008">
                  <c:v>7.2430000000000003</c:v>
                </c:pt>
                <c:pt idx="11009">
                  <c:v>7.2430000000000003</c:v>
                </c:pt>
                <c:pt idx="11010">
                  <c:v>7.2430000000000003</c:v>
                </c:pt>
                <c:pt idx="11011">
                  <c:v>7.2430000000000003</c:v>
                </c:pt>
                <c:pt idx="11012">
                  <c:v>7.2430000000000003</c:v>
                </c:pt>
                <c:pt idx="11013">
                  <c:v>7.2430000000000003</c:v>
                </c:pt>
                <c:pt idx="11014">
                  <c:v>7.2430000000000003</c:v>
                </c:pt>
                <c:pt idx="11015">
                  <c:v>7.2430000000000003</c:v>
                </c:pt>
                <c:pt idx="11016">
                  <c:v>7.2430000000000003</c:v>
                </c:pt>
                <c:pt idx="11017">
                  <c:v>7.2430000000000003</c:v>
                </c:pt>
                <c:pt idx="11018">
                  <c:v>7.2430000000000003</c:v>
                </c:pt>
                <c:pt idx="11019">
                  <c:v>7.2430000000000003</c:v>
                </c:pt>
                <c:pt idx="11020">
                  <c:v>7.242</c:v>
                </c:pt>
                <c:pt idx="11021">
                  <c:v>7.2430000000000003</c:v>
                </c:pt>
                <c:pt idx="11022">
                  <c:v>7.2430000000000003</c:v>
                </c:pt>
                <c:pt idx="11023">
                  <c:v>7.242</c:v>
                </c:pt>
                <c:pt idx="11024">
                  <c:v>7.242</c:v>
                </c:pt>
                <c:pt idx="11025">
                  <c:v>7.2430000000000003</c:v>
                </c:pt>
                <c:pt idx="11026">
                  <c:v>7.2430000000000003</c:v>
                </c:pt>
                <c:pt idx="11027">
                  <c:v>7.2430000000000003</c:v>
                </c:pt>
                <c:pt idx="11028">
                  <c:v>7.2430000000000003</c:v>
                </c:pt>
                <c:pt idx="11029">
                  <c:v>7.2430000000000003</c:v>
                </c:pt>
                <c:pt idx="11030">
                  <c:v>7.2430000000000003</c:v>
                </c:pt>
                <c:pt idx="11031">
                  <c:v>7.2430000000000003</c:v>
                </c:pt>
                <c:pt idx="11032">
                  <c:v>7.2430000000000003</c:v>
                </c:pt>
                <c:pt idx="11033">
                  <c:v>7.242</c:v>
                </c:pt>
                <c:pt idx="11034">
                  <c:v>7.242</c:v>
                </c:pt>
                <c:pt idx="11035">
                  <c:v>7.2430000000000003</c:v>
                </c:pt>
                <c:pt idx="11036">
                  <c:v>7.2430000000000003</c:v>
                </c:pt>
                <c:pt idx="11037">
                  <c:v>7.242</c:v>
                </c:pt>
                <c:pt idx="11038">
                  <c:v>7.242</c:v>
                </c:pt>
                <c:pt idx="11039">
                  <c:v>7.2430000000000003</c:v>
                </c:pt>
                <c:pt idx="11040">
                  <c:v>7.2430000000000003</c:v>
                </c:pt>
                <c:pt idx="11041">
                  <c:v>7.242</c:v>
                </c:pt>
                <c:pt idx="11042">
                  <c:v>7.2430000000000003</c:v>
                </c:pt>
                <c:pt idx="11043">
                  <c:v>7.2430000000000003</c:v>
                </c:pt>
                <c:pt idx="11044">
                  <c:v>7.242</c:v>
                </c:pt>
                <c:pt idx="11045">
                  <c:v>7.2430000000000003</c:v>
                </c:pt>
                <c:pt idx="11046">
                  <c:v>7.2430000000000003</c:v>
                </c:pt>
                <c:pt idx="11047">
                  <c:v>7.2430000000000003</c:v>
                </c:pt>
                <c:pt idx="11048">
                  <c:v>7.242</c:v>
                </c:pt>
                <c:pt idx="11049">
                  <c:v>7.242</c:v>
                </c:pt>
                <c:pt idx="11050">
                  <c:v>7.242</c:v>
                </c:pt>
                <c:pt idx="11051">
                  <c:v>7.2430000000000003</c:v>
                </c:pt>
                <c:pt idx="11052">
                  <c:v>7.2430000000000003</c:v>
                </c:pt>
                <c:pt idx="11053">
                  <c:v>7.242</c:v>
                </c:pt>
                <c:pt idx="11054">
                  <c:v>7.2430000000000003</c:v>
                </c:pt>
                <c:pt idx="11055">
                  <c:v>7.242</c:v>
                </c:pt>
                <c:pt idx="11056">
                  <c:v>7.2430000000000003</c:v>
                </c:pt>
                <c:pt idx="11057">
                  <c:v>7.2430000000000003</c:v>
                </c:pt>
                <c:pt idx="11058">
                  <c:v>7.2430000000000003</c:v>
                </c:pt>
                <c:pt idx="11059">
                  <c:v>7.2430000000000003</c:v>
                </c:pt>
                <c:pt idx="11060">
                  <c:v>7.2430000000000003</c:v>
                </c:pt>
                <c:pt idx="11061">
                  <c:v>7.2430000000000003</c:v>
                </c:pt>
                <c:pt idx="11062">
                  <c:v>7.2430000000000003</c:v>
                </c:pt>
                <c:pt idx="11063">
                  <c:v>7.242</c:v>
                </c:pt>
                <c:pt idx="11064">
                  <c:v>7.242</c:v>
                </c:pt>
                <c:pt idx="11065">
                  <c:v>7.2430000000000003</c:v>
                </c:pt>
                <c:pt idx="11066">
                  <c:v>7.2430000000000003</c:v>
                </c:pt>
                <c:pt idx="11067">
                  <c:v>7.242</c:v>
                </c:pt>
                <c:pt idx="11068">
                  <c:v>7.242</c:v>
                </c:pt>
                <c:pt idx="11069">
                  <c:v>7.242</c:v>
                </c:pt>
                <c:pt idx="11070">
                  <c:v>7.242</c:v>
                </c:pt>
                <c:pt idx="11071">
                  <c:v>7.242</c:v>
                </c:pt>
                <c:pt idx="11072">
                  <c:v>7.242</c:v>
                </c:pt>
                <c:pt idx="11073">
                  <c:v>7.242</c:v>
                </c:pt>
                <c:pt idx="11074">
                  <c:v>7.242</c:v>
                </c:pt>
                <c:pt idx="11075">
                  <c:v>7.242</c:v>
                </c:pt>
                <c:pt idx="11076">
                  <c:v>7.242</c:v>
                </c:pt>
                <c:pt idx="11077">
                  <c:v>7.242</c:v>
                </c:pt>
                <c:pt idx="11078">
                  <c:v>7.242</c:v>
                </c:pt>
                <c:pt idx="11079">
                  <c:v>7.2430000000000003</c:v>
                </c:pt>
                <c:pt idx="11080">
                  <c:v>7.2430000000000003</c:v>
                </c:pt>
                <c:pt idx="11081">
                  <c:v>7.242</c:v>
                </c:pt>
                <c:pt idx="11082">
                  <c:v>7.242</c:v>
                </c:pt>
                <c:pt idx="11083">
                  <c:v>7.242</c:v>
                </c:pt>
                <c:pt idx="11084">
                  <c:v>7.242</c:v>
                </c:pt>
                <c:pt idx="11085">
                  <c:v>7.242</c:v>
                </c:pt>
                <c:pt idx="11086">
                  <c:v>7.242</c:v>
                </c:pt>
                <c:pt idx="11087">
                  <c:v>7.242</c:v>
                </c:pt>
                <c:pt idx="11088">
                  <c:v>7.242</c:v>
                </c:pt>
                <c:pt idx="11089">
                  <c:v>7.242</c:v>
                </c:pt>
                <c:pt idx="11090">
                  <c:v>7.242</c:v>
                </c:pt>
                <c:pt idx="11091">
                  <c:v>7.242</c:v>
                </c:pt>
                <c:pt idx="11092">
                  <c:v>7.242</c:v>
                </c:pt>
                <c:pt idx="11093">
                  <c:v>7.242</c:v>
                </c:pt>
                <c:pt idx="11094">
                  <c:v>7.242</c:v>
                </c:pt>
                <c:pt idx="11095">
                  <c:v>7.242</c:v>
                </c:pt>
                <c:pt idx="11096">
                  <c:v>7.242</c:v>
                </c:pt>
                <c:pt idx="11097">
                  <c:v>7.2409999999999997</c:v>
                </c:pt>
                <c:pt idx="11098">
                  <c:v>7.242</c:v>
                </c:pt>
                <c:pt idx="11099">
                  <c:v>7.242</c:v>
                </c:pt>
                <c:pt idx="11100">
                  <c:v>7.242</c:v>
                </c:pt>
                <c:pt idx="11101">
                  <c:v>7.242</c:v>
                </c:pt>
                <c:pt idx="11102">
                  <c:v>7.242</c:v>
                </c:pt>
                <c:pt idx="11103">
                  <c:v>7.242</c:v>
                </c:pt>
                <c:pt idx="11104">
                  <c:v>7.242</c:v>
                </c:pt>
                <c:pt idx="11105">
                  <c:v>7.242</c:v>
                </c:pt>
                <c:pt idx="11106">
                  <c:v>7.242</c:v>
                </c:pt>
                <c:pt idx="11107">
                  <c:v>7.242</c:v>
                </c:pt>
                <c:pt idx="11108">
                  <c:v>7.242</c:v>
                </c:pt>
                <c:pt idx="11109">
                  <c:v>7.242</c:v>
                </c:pt>
                <c:pt idx="11110">
                  <c:v>7.242</c:v>
                </c:pt>
                <c:pt idx="11111">
                  <c:v>7.242</c:v>
                </c:pt>
                <c:pt idx="11112">
                  <c:v>7.2409999999999997</c:v>
                </c:pt>
                <c:pt idx="11113">
                  <c:v>7.2409999999999997</c:v>
                </c:pt>
                <c:pt idx="11114">
                  <c:v>7.2409999999999997</c:v>
                </c:pt>
                <c:pt idx="11115">
                  <c:v>7.242</c:v>
                </c:pt>
                <c:pt idx="11116">
                  <c:v>7.2409999999999997</c:v>
                </c:pt>
                <c:pt idx="11117">
                  <c:v>7.242</c:v>
                </c:pt>
                <c:pt idx="11118">
                  <c:v>7.242</c:v>
                </c:pt>
                <c:pt idx="11119">
                  <c:v>7.2409999999999997</c:v>
                </c:pt>
                <c:pt idx="11120">
                  <c:v>7.2409999999999997</c:v>
                </c:pt>
                <c:pt idx="11121">
                  <c:v>7.2409999999999997</c:v>
                </c:pt>
                <c:pt idx="11122">
                  <c:v>7.242</c:v>
                </c:pt>
                <c:pt idx="11123">
                  <c:v>7.2409999999999997</c:v>
                </c:pt>
                <c:pt idx="11124">
                  <c:v>7.242</c:v>
                </c:pt>
                <c:pt idx="11125">
                  <c:v>7.242</c:v>
                </c:pt>
                <c:pt idx="11126">
                  <c:v>7.2409999999999997</c:v>
                </c:pt>
                <c:pt idx="11127">
                  <c:v>7.2409999999999997</c:v>
                </c:pt>
                <c:pt idx="11128">
                  <c:v>7.242</c:v>
                </c:pt>
                <c:pt idx="11129">
                  <c:v>7.2409999999999997</c:v>
                </c:pt>
                <c:pt idx="11130">
                  <c:v>7.2409999999999997</c:v>
                </c:pt>
                <c:pt idx="11131">
                  <c:v>7.242</c:v>
                </c:pt>
                <c:pt idx="11132">
                  <c:v>7.2409999999999997</c:v>
                </c:pt>
                <c:pt idx="11133">
                  <c:v>7.2409999999999997</c:v>
                </c:pt>
                <c:pt idx="11134">
                  <c:v>7.2409999999999997</c:v>
                </c:pt>
                <c:pt idx="11135">
                  <c:v>7.242</c:v>
                </c:pt>
                <c:pt idx="11136">
                  <c:v>7.242</c:v>
                </c:pt>
                <c:pt idx="11137">
                  <c:v>7.2409999999999997</c:v>
                </c:pt>
                <c:pt idx="11138">
                  <c:v>7.2409999999999997</c:v>
                </c:pt>
                <c:pt idx="11139">
                  <c:v>7.242</c:v>
                </c:pt>
                <c:pt idx="11140">
                  <c:v>7.2409999999999997</c:v>
                </c:pt>
                <c:pt idx="11141">
                  <c:v>7.2409999999999997</c:v>
                </c:pt>
                <c:pt idx="11142">
                  <c:v>7.2409999999999997</c:v>
                </c:pt>
                <c:pt idx="11143">
                  <c:v>7.242</c:v>
                </c:pt>
                <c:pt idx="11144">
                  <c:v>7.2409999999999997</c:v>
                </c:pt>
                <c:pt idx="11145">
                  <c:v>7.2409999999999997</c:v>
                </c:pt>
                <c:pt idx="11146">
                  <c:v>7.2409999999999997</c:v>
                </c:pt>
                <c:pt idx="11147">
                  <c:v>7.242</c:v>
                </c:pt>
                <c:pt idx="11148">
                  <c:v>7.242</c:v>
                </c:pt>
                <c:pt idx="11149">
                  <c:v>7.242</c:v>
                </c:pt>
                <c:pt idx="11150">
                  <c:v>7.2409999999999997</c:v>
                </c:pt>
                <c:pt idx="11151">
                  <c:v>7.2409999999999997</c:v>
                </c:pt>
                <c:pt idx="11152">
                  <c:v>7.2409999999999997</c:v>
                </c:pt>
                <c:pt idx="11153">
                  <c:v>7.242</c:v>
                </c:pt>
                <c:pt idx="11154">
                  <c:v>7.2409999999999997</c:v>
                </c:pt>
                <c:pt idx="11155">
                  <c:v>7.2409999999999997</c:v>
                </c:pt>
                <c:pt idx="11156">
                  <c:v>7.242</c:v>
                </c:pt>
                <c:pt idx="11157">
                  <c:v>7.242</c:v>
                </c:pt>
                <c:pt idx="11158">
                  <c:v>7.2409999999999997</c:v>
                </c:pt>
                <c:pt idx="11159">
                  <c:v>7.2409999999999997</c:v>
                </c:pt>
                <c:pt idx="11160">
                  <c:v>7.2409999999999997</c:v>
                </c:pt>
                <c:pt idx="11161">
                  <c:v>7.2409999999999997</c:v>
                </c:pt>
                <c:pt idx="11162">
                  <c:v>7.2409999999999997</c:v>
                </c:pt>
                <c:pt idx="11163">
                  <c:v>7.2409999999999997</c:v>
                </c:pt>
                <c:pt idx="11164">
                  <c:v>7.2409999999999997</c:v>
                </c:pt>
                <c:pt idx="11165">
                  <c:v>7.2409999999999997</c:v>
                </c:pt>
                <c:pt idx="11166">
                  <c:v>7.2409999999999997</c:v>
                </c:pt>
                <c:pt idx="11167">
                  <c:v>7.242</c:v>
                </c:pt>
                <c:pt idx="11168">
                  <c:v>7.2409999999999997</c:v>
                </c:pt>
                <c:pt idx="11169">
                  <c:v>7.2409999999999997</c:v>
                </c:pt>
                <c:pt idx="11170">
                  <c:v>7.24</c:v>
                </c:pt>
                <c:pt idx="11171">
                  <c:v>7.2409999999999997</c:v>
                </c:pt>
                <c:pt idx="11172">
                  <c:v>7.2409999999999997</c:v>
                </c:pt>
                <c:pt idx="11173">
                  <c:v>7.2409999999999997</c:v>
                </c:pt>
                <c:pt idx="11174">
                  <c:v>7.2409999999999997</c:v>
                </c:pt>
                <c:pt idx="11175">
                  <c:v>7.2409999999999997</c:v>
                </c:pt>
                <c:pt idx="11176">
                  <c:v>7.24</c:v>
                </c:pt>
                <c:pt idx="11177">
                  <c:v>7.2409999999999997</c:v>
                </c:pt>
                <c:pt idx="11178">
                  <c:v>7.2409999999999997</c:v>
                </c:pt>
                <c:pt idx="11179">
                  <c:v>7.2409999999999997</c:v>
                </c:pt>
                <c:pt idx="11180">
                  <c:v>7.24</c:v>
                </c:pt>
                <c:pt idx="11181">
                  <c:v>7.2409999999999997</c:v>
                </c:pt>
                <c:pt idx="11182">
                  <c:v>7.2409999999999997</c:v>
                </c:pt>
                <c:pt idx="11183">
                  <c:v>7.2409999999999997</c:v>
                </c:pt>
                <c:pt idx="11184">
                  <c:v>7.2409999999999997</c:v>
                </c:pt>
                <c:pt idx="11185">
                  <c:v>7.2409999999999997</c:v>
                </c:pt>
                <c:pt idx="11186">
                  <c:v>7.24</c:v>
                </c:pt>
                <c:pt idx="11187">
                  <c:v>7.2409999999999997</c:v>
                </c:pt>
                <c:pt idx="11188">
                  <c:v>7.2409999999999997</c:v>
                </c:pt>
                <c:pt idx="11189">
                  <c:v>7.24</c:v>
                </c:pt>
                <c:pt idx="11190">
                  <c:v>7.24</c:v>
                </c:pt>
                <c:pt idx="11191">
                  <c:v>7.2409999999999997</c:v>
                </c:pt>
                <c:pt idx="11192">
                  <c:v>7.2409999999999997</c:v>
                </c:pt>
                <c:pt idx="11193">
                  <c:v>7.2409999999999997</c:v>
                </c:pt>
                <c:pt idx="11194">
                  <c:v>7.2409999999999997</c:v>
                </c:pt>
                <c:pt idx="11195">
                  <c:v>7.24</c:v>
                </c:pt>
                <c:pt idx="11196">
                  <c:v>7.2409999999999997</c:v>
                </c:pt>
                <c:pt idx="11197">
                  <c:v>7.2409999999999997</c:v>
                </c:pt>
                <c:pt idx="11198">
                  <c:v>7.24</c:v>
                </c:pt>
                <c:pt idx="11199">
                  <c:v>7.2409999999999997</c:v>
                </c:pt>
                <c:pt idx="11200">
                  <c:v>7.24</c:v>
                </c:pt>
                <c:pt idx="11201">
                  <c:v>7.24</c:v>
                </c:pt>
                <c:pt idx="11202">
                  <c:v>7.24</c:v>
                </c:pt>
                <c:pt idx="11203">
                  <c:v>7.2409999999999997</c:v>
                </c:pt>
                <c:pt idx="11204">
                  <c:v>7.2409999999999997</c:v>
                </c:pt>
                <c:pt idx="11205">
                  <c:v>7.24</c:v>
                </c:pt>
                <c:pt idx="11206">
                  <c:v>7.24</c:v>
                </c:pt>
                <c:pt idx="11207">
                  <c:v>7.24</c:v>
                </c:pt>
                <c:pt idx="11208">
                  <c:v>7.24</c:v>
                </c:pt>
                <c:pt idx="11209">
                  <c:v>7.2409999999999997</c:v>
                </c:pt>
                <c:pt idx="11210">
                  <c:v>7.2409999999999997</c:v>
                </c:pt>
                <c:pt idx="11211">
                  <c:v>7.24</c:v>
                </c:pt>
                <c:pt idx="11212">
                  <c:v>7.24</c:v>
                </c:pt>
                <c:pt idx="11213">
                  <c:v>7.2409999999999997</c:v>
                </c:pt>
                <c:pt idx="11214">
                  <c:v>7.2409999999999997</c:v>
                </c:pt>
                <c:pt idx="11215">
                  <c:v>7.2409999999999997</c:v>
                </c:pt>
                <c:pt idx="11216">
                  <c:v>7.24</c:v>
                </c:pt>
                <c:pt idx="11217">
                  <c:v>7.24</c:v>
                </c:pt>
                <c:pt idx="11218">
                  <c:v>7.2409999999999997</c:v>
                </c:pt>
                <c:pt idx="11219">
                  <c:v>7.2389999999999999</c:v>
                </c:pt>
                <c:pt idx="11220">
                  <c:v>7.24</c:v>
                </c:pt>
                <c:pt idx="11221">
                  <c:v>7.24</c:v>
                </c:pt>
                <c:pt idx="11222">
                  <c:v>7.24</c:v>
                </c:pt>
                <c:pt idx="11223">
                  <c:v>7.24</c:v>
                </c:pt>
                <c:pt idx="11224">
                  <c:v>7.24</c:v>
                </c:pt>
                <c:pt idx="11225">
                  <c:v>7.24</c:v>
                </c:pt>
                <c:pt idx="11226">
                  <c:v>7.24</c:v>
                </c:pt>
                <c:pt idx="11227">
                  <c:v>7.24</c:v>
                </c:pt>
                <c:pt idx="11228">
                  <c:v>7.2409999999999997</c:v>
                </c:pt>
                <c:pt idx="11229">
                  <c:v>7.2389999999999999</c:v>
                </c:pt>
                <c:pt idx="11230">
                  <c:v>7.24</c:v>
                </c:pt>
                <c:pt idx="11231">
                  <c:v>7.24</c:v>
                </c:pt>
                <c:pt idx="11232">
                  <c:v>7.24</c:v>
                </c:pt>
                <c:pt idx="11233">
                  <c:v>7.24</c:v>
                </c:pt>
                <c:pt idx="11234">
                  <c:v>7.24</c:v>
                </c:pt>
                <c:pt idx="11235">
                  <c:v>7.24</c:v>
                </c:pt>
                <c:pt idx="11236">
                  <c:v>7.24</c:v>
                </c:pt>
                <c:pt idx="11237">
                  <c:v>7.24</c:v>
                </c:pt>
                <c:pt idx="11238">
                  <c:v>7.24</c:v>
                </c:pt>
                <c:pt idx="11239">
                  <c:v>7.24</c:v>
                </c:pt>
                <c:pt idx="11240">
                  <c:v>7.24</c:v>
                </c:pt>
                <c:pt idx="11241">
                  <c:v>7.24</c:v>
                </c:pt>
                <c:pt idx="11242">
                  <c:v>7.24</c:v>
                </c:pt>
                <c:pt idx="11243">
                  <c:v>7.24</c:v>
                </c:pt>
                <c:pt idx="11244">
                  <c:v>7.24</c:v>
                </c:pt>
                <c:pt idx="11245">
                  <c:v>7.24</c:v>
                </c:pt>
                <c:pt idx="11246">
                  <c:v>7.24</c:v>
                </c:pt>
                <c:pt idx="11247">
                  <c:v>7.24</c:v>
                </c:pt>
                <c:pt idx="11248">
                  <c:v>7.2409999999999997</c:v>
                </c:pt>
                <c:pt idx="11249">
                  <c:v>7.24</c:v>
                </c:pt>
                <c:pt idx="11250">
                  <c:v>7.24</c:v>
                </c:pt>
                <c:pt idx="11251">
                  <c:v>7.24</c:v>
                </c:pt>
                <c:pt idx="11252">
                  <c:v>7.24</c:v>
                </c:pt>
                <c:pt idx="11253">
                  <c:v>7.24</c:v>
                </c:pt>
                <c:pt idx="11254">
                  <c:v>7.24</c:v>
                </c:pt>
                <c:pt idx="11255">
                  <c:v>7.2389999999999999</c:v>
                </c:pt>
                <c:pt idx="11256">
                  <c:v>7.24</c:v>
                </c:pt>
                <c:pt idx="11257">
                  <c:v>7.24</c:v>
                </c:pt>
                <c:pt idx="11258">
                  <c:v>7.2389999999999999</c:v>
                </c:pt>
                <c:pt idx="11259">
                  <c:v>7.24</c:v>
                </c:pt>
                <c:pt idx="11260">
                  <c:v>7.24</c:v>
                </c:pt>
                <c:pt idx="11261">
                  <c:v>7.24</c:v>
                </c:pt>
                <c:pt idx="11262">
                  <c:v>7.24</c:v>
                </c:pt>
                <c:pt idx="11263">
                  <c:v>7.24</c:v>
                </c:pt>
                <c:pt idx="11264">
                  <c:v>7.24</c:v>
                </c:pt>
                <c:pt idx="11265">
                  <c:v>7.24</c:v>
                </c:pt>
                <c:pt idx="11266">
                  <c:v>7.24</c:v>
                </c:pt>
                <c:pt idx="11267">
                  <c:v>7.24</c:v>
                </c:pt>
                <c:pt idx="11268">
                  <c:v>7.24</c:v>
                </c:pt>
                <c:pt idx="11269">
                  <c:v>7.24</c:v>
                </c:pt>
                <c:pt idx="11270">
                  <c:v>7.24</c:v>
                </c:pt>
                <c:pt idx="11271">
                  <c:v>7.2409999999999997</c:v>
                </c:pt>
                <c:pt idx="11272">
                  <c:v>7.24</c:v>
                </c:pt>
                <c:pt idx="11273">
                  <c:v>7.24</c:v>
                </c:pt>
                <c:pt idx="11274">
                  <c:v>7.24</c:v>
                </c:pt>
                <c:pt idx="11275">
                  <c:v>7.2389999999999999</c:v>
                </c:pt>
                <c:pt idx="11276">
                  <c:v>7.24</c:v>
                </c:pt>
                <c:pt idx="11277">
                  <c:v>7.2389999999999999</c:v>
                </c:pt>
                <c:pt idx="11278">
                  <c:v>7.24</c:v>
                </c:pt>
                <c:pt idx="11279">
                  <c:v>7.24</c:v>
                </c:pt>
                <c:pt idx="11280">
                  <c:v>7.24</c:v>
                </c:pt>
                <c:pt idx="11281">
                  <c:v>7.24</c:v>
                </c:pt>
                <c:pt idx="11282">
                  <c:v>7.24</c:v>
                </c:pt>
                <c:pt idx="11283">
                  <c:v>7.24</c:v>
                </c:pt>
                <c:pt idx="11284">
                  <c:v>7.24</c:v>
                </c:pt>
                <c:pt idx="11285">
                  <c:v>7.24</c:v>
                </c:pt>
                <c:pt idx="11286">
                  <c:v>7.2389999999999999</c:v>
                </c:pt>
                <c:pt idx="11287">
                  <c:v>7.24</c:v>
                </c:pt>
                <c:pt idx="11288">
                  <c:v>7.24</c:v>
                </c:pt>
                <c:pt idx="11289">
                  <c:v>7.24</c:v>
                </c:pt>
                <c:pt idx="11290">
                  <c:v>7.24</c:v>
                </c:pt>
                <c:pt idx="11291">
                  <c:v>7.2389999999999999</c:v>
                </c:pt>
                <c:pt idx="11292">
                  <c:v>7.24</c:v>
                </c:pt>
                <c:pt idx="11293">
                  <c:v>7.24</c:v>
                </c:pt>
                <c:pt idx="11294">
                  <c:v>7.24</c:v>
                </c:pt>
                <c:pt idx="11295">
                  <c:v>7.2389999999999999</c:v>
                </c:pt>
                <c:pt idx="11296">
                  <c:v>7.24</c:v>
                </c:pt>
                <c:pt idx="11297">
                  <c:v>7.24</c:v>
                </c:pt>
                <c:pt idx="11298">
                  <c:v>7.24</c:v>
                </c:pt>
                <c:pt idx="11299">
                  <c:v>7.24</c:v>
                </c:pt>
                <c:pt idx="11300">
                  <c:v>7.24</c:v>
                </c:pt>
                <c:pt idx="11301">
                  <c:v>7.24</c:v>
                </c:pt>
                <c:pt idx="11302">
                  <c:v>7.2389999999999999</c:v>
                </c:pt>
                <c:pt idx="11303">
                  <c:v>7.24</c:v>
                </c:pt>
                <c:pt idx="11304">
                  <c:v>7.2389999999999999</c:v>
                </c:pt>
                <c:pt idx="11305">
                  <c:v>7.2389999999999999</c:v>
                </c:pt>
                <c:pt idx="11306">
                  <c:v>7.2389999999999999</c:v>
                </c:pt>
                <c:pt idx="11307">
                  <c:v>7.24</c:v>
                </c:pt>
                <c:pt idx="11308">
                  <c:v>7.24</c:v>
                </c:pt>
                <c:pt idx="11309">
                  <c:v>7.24</c:v>
                </c:pt>
                <c:pt idx="11310">
                  <c:v>7.2389999999999999</c:v>
                </c:pt>
                <c:pt idx="11311">
                  <c:v>7.24</c:v>
                </c:pt>
                <c:pt idx="11312">
                  <c:v>7.2389999999999999</c:v>
                </c:pt>
                <c:pt idx="11313">
                  <c:v>7.2389999999999999</c:v>
                </c:pt>
                <c:pt idx="11314">
                  <c:v>7.2389999999999999</c:v>
                </c:pt>
                <c:pt idx="11315">
                  <c:v>7.2389999999999999</c:v>
                </c:pt>
                <c:pt idx="11316">
                  <c:v>7.24</c:v>
                </c:pt>
                <c:pt idx="11317">
                  <c:v>7.2389999999999999</c:v>
                </c:pt>
                <c:pt idx="11318">
                  <c:v>7.24</c:v>
                </c:pt>
                <c:pt idx="11319">
                  <c:v>7.24</c:v>
                </c:pt>
                <c:pt idx="11320">
                  <c:v>7.24</c:v>
                </c:pt>
                <c:pt idx="11321">
                  <c:v>7.24</c:v>
                </c:pt>
                <c:pt idx="11322">
                  <c:v>7.2389999999999999</c:v>
                </c:pt>
                <c:pt idx="11323">
                  <c:v>7.2389999999999999</c:v>
                </c:pt>
                <c:pt idx="11324">
                  <c:v>7.2389999999999999</c:v>
                </c:pt>
                <c:pt idx="11325">
                  <c:v>7.2389999999999999</c:v>
                </c:pt>
                <c:pt idx="11326">
                  <c:v>7.24</c:v>
                </c:pt>
                <c:pt idx="11327">
                  <c:v>7.24</c:v>
                </c:pt>
                <c:pt idx="11328">
                  <c:v>7.2389999999999999</c:v>
                </c:pt>
                <c:pt idx="11329">
                  <c:v>7.2389999999999999</c:v>
                </c:pt>
                <c:pt idx="11330">
                  <c:v>7.2389999999999999</c:v>
                </c:pt>
                <c:pt idx="11331">
                  <c:v>7.2389999999999999</c:v>
                </c:pt>
                <c:pt idx="11332">
                  <c:v>7.24</c:v>
                </c:pt>
                <c:pt idx="11333">
                  <c:v>7.2389999999999999</c:v>
                </c:pt>
                <c:pt idx="11334">
                  <c:v>7.24</c:v>
                </c:pt>
                <c:pt idx="11335">
                  <c:v>7.24</c:v>
                </c:pt>
                <c:pt idx="11336">
                  <c:v>7.2389999999999999</c:v>
                </c:pt>
                <c:pt idx="11337">
                  <c:v>7.2389999999999999</c:v>
                </c:pt>
                <c:pt idx="11338">
                  <c:v>7.2389999999999999</c:v>
                </c:pt>
                <c:pt idx="11339">
                  <c:v>7.2389999999999999</c:v>
                </c:pt>
                <c:pt idx="11340">
                  <c:v>7.2389999999999999</c:v>
                </c:pt>
                <c:pt idx="11341">
                  <c:v>7.2389999999999999</c:v>
                </c:pt>
                <c:pt idx="11342">
                  <c:v>7.2389999999999999</c:v>
                </c:pt>
                <c:pt idx="11343">
                  <c:v>7.2389999999999999</c:v>
                </c:pt>
                <c:pt idx="11344">
                  <c:v>7.2389999999999999</c:v>
                </c:pt>
                <c:pt idx="11345">
                  <c:v>7.2389999999999999</c:v>
                </c:pt>
                <c:pt idx="11346">
                  <c:v>7.2389999999999999</c:v>
                </c:pt>
                <c:pt idx="11347">
                  <c:v>7.2389999999999999</c:v>
                </c:pt>
                <c:pt idx="11348">
                  <c:v>7.2389999999999999</c:v>
                </c:pt>
                <c:pt idx="11349">
                  <c:v>7.2389999999999999</c:v>
                </c:pt>
                <c:pt idx="11350">
                  <c:v>7.2389999999999999</c:v>
                </c:pt>
                <c:pt idx="11351">
                  <c:v>7.24</c:v>
                </c:pt>
                <c:pt idx="11352">
                  <c:v>7.2389999999999999</c:v>
                </c:pt>
                <c:pt idx="11353">
                  <c:v>7.24</c:v>
                </c:pt>
                <c:pt idx="11354">
                  <c:v>7.2389999999999999</c:v>
                </c:pt>
                <c:pt idx="11355">
                  <c:v>7.2389999999999999</c:v>
                </c:pt>
                <c:pt idx="11356">
                  <c:v>7.2380000000000004</c:v>
                </c:pt>
                <c:pt idx="11357">
                  <c:v>7.2389999999999999</c:v>
                </c:pt>
                <c:pt idx="11358">
                  <c:v>7.2389999999999999</c:v>
                </c:pt>
                <c:pt idx="11359">
                  <c:v>7.2389999999999999</c:v>
                </c:pt>
                <c:pt idx="11360">
                  <c:v>7.2389999999999999</c:v>
                </c:pt>
                <c:pt idx="11361">
                  <c:v>7.24</c:v>
                </c:pt>
                <c:pt idx="11362">
                  <c:v>7.24</c:v>
                </c:pt>
                <c:pt idx="11363">
                  <c:v>7.2389999999999999</c:v>
                </c:pt>
                <c:pt idx="11364">
                  <c:v>7.2389999999999999</c:v>
                </c:pt>
                <c:pt idx="11365">
                  <c:v>7.2389999999999999</c:v>
                </c:pt>
                <c:pt idx="11366">
                  <c:v>7.2389999999999999</c:v>
                </c:pt>
                <c:pt idx="11367">
                  <c:v>7.2389999999999999</c:v>
                </c:pt>
                <c:pt idx="11368">
                  <c:v>7.2389999999999999</c:v>
                </c:pt>
                <c:pt idx="11369">
                  <c:v>7.2389999999999999</c:v>
                </c:pt>
                <c:pt idx="11370">
                  <c:v>7.2389999999999999</c:v>
                </c:pt>
                <c:pt idx="11371">
                  <c:v>7.2380000000000004</c:v>
                </c:pt>
                <c:pt idx="11372">
                  <c:v>7.2389999999999999</c:v>
                </c:pt>
                <c:pt idx="11373">
                  <c:v>7.2389999999999999</c:v>
                </c:pt>
                <c:pt idx="11374">
                  <c:v>7.2389999999999999</c:v>
                </c:pt>
                <c:pt idx="11375">
                  <c:v>7.2389999999999999</c:v>
                </c:pt>
                <c:pt idx="11376">
                  <c:v>7.2389999999999999</c:v>
                </c:pt>
                <c:pt idx="11377">
                  <c:v>7.2389999999999999</c:v>
                </c:pt>
                <c:pt idx="11378">
                  <c:v>7.2389999999999999</c:v>
                </c:pt>
                <c:pt idx="11379">
                  <c:v>7.2389999999999999</c:v>
                </c:pt>
                <c:pt idx="11380">
                  <c:v>7.2389999999999999</c:v>
                </c:pt>
                <c:pt idx="11381">
                  <c:v>7.2389999999999999</c:v>
                </c:pt>
                <c:pt idx="11382">
                  <c:v>7.2389999999999999</c:v>
                </c:pt>
                <c:pt idx="11383">
                  <c:v>7.2389999999999999</c:v>
                </c:pt>
                <c:pt idx="11384">
                  <c:v>7.2389999999999999</c:v>
                </c:pt>
                <c:pt idx="11385">
                  <c:v>7.2389999999999999</c:v>
                </c:pt>
                <c:pt idx="11386">
                  <c:v>7.2389999999999999</c:v>
                </c:pt>
                <c:pt idx="11387">
                  <c:v>7.2389999999999999</c:v>
                </c:pt>
                <c:pt idx="11388">
                  <c:v>7.2389999999999999</c:v>
                </c:pt>
                <c:pt idx="11389">
                  <c:v>7.2389999999999999</c:v>
                </c:pt>
                <c:pt idx="11390">
                  <c:v>7.2389999999999999</c:v>
                </c:pt>
                <c:pt idx="11391">
                  <c:v>7.2380000000000004</c:v>
                </c:pt>
                <c:pt idx="11392">
                  <c:v>7.2380000000000004</c:v>
                </c:pt>
                <c:pt idx="11393">
                  <c:v>7.2389999999999999</c:v>
                </c:pt>
                <c:pt idx="11394">
                  <c:v>7.2380000000000004</c:v>
                </c:pt>
                <c:pt idx="11395">
                  <c:v>7.2380000000000004</c:v>
                </c:pt>
                <c:pt idx="11396">
                  <c:v>7.2380000000000004</c:v>
                </c:pt>
                <c:pt idx="11397">
                  <c:v>7.2389999999999999</c:v>
                </c:pt>
                <c:pt idx="11398">
                  <c:v>7.2389999999999999</c:v>
                </c:pt>
                <c:pt idx="11399">
                  <c:v>7.2389999999999999</c:v>
                </c:pt>
                <c:pt idx="11400">
                  <c:v>7.2380000000000004</c:v>
                </c:pt>
                <c:pt idx="11401">
                  <c:v>7.2380000000000004</c:v>
                </c:pt>
                <c:pt idx="11402">
                  <c:v>7.2389999999999999</c:v>
                </c:pt>
                <c:pt idx="11403">
                  <c:v>7.2389999999999999</c:v>
                </c:pt>
                <c:pt idx="11404">
                  <c:v>7.2380000000000004</c:v>
                </c:pt>
                <c:pt idx="11405">
                  <c:v>7.2380000000000004</c:v>
                </c:pt>
                <c:pt idx="11406">
                  <c:v>7.2380000000000004</c:v>
                </c:pt>
                <c:pt idx="11407">
                  <c:v>7.2380000000000004</c:v>
                </c:pt>
                <c:pt idx="11408">
                  <c:v>7.2380000000000004</c:v>
                </c:pt>
                <c:pt idx="11409">
                  <c:v>7.2389999999999999</c:v>
                </c:pt>
                <c:pt idx="11410">
                  <c:v>7.2380000000000004</c:v>
                </c:pt>
                <c:pt idx="11411">
                  <c:v>7.2389999999999999</c:v>
                </c:pt>
                <c:pt idx="11412">
                  <c:v>7.2389999999999999</c:v>
                </c:pt>
                <c:pt idx="11413">
                  <c:v>7.2380000000000004</c:v>
                </c:pt>
                <c:pt idx="11414">
                  <c:v>7.2380000000000004</c:v>
                </c:pt>
                <c:pt idx="11415">
                  <c:v>7.2380000000000004</c:v>
                </c:pt>
                <c:pt idx="11416">
                  <c:v>7.2380000000000004</c:v>
                </c:pt>
                <c:pt idx="11417">
                  <c:v>7.2380000000000004</c:v>
                </c:pt>
                <c:pt idx="11418">
                  <c:v>7.2380000000000004</c:v>
                </c:pt>
                <c:pt idx="11419">
                  <c:v>7.2380000000000004</c:v>
                </c:pt>
                <c:pt idx="11420">
                  <c:v>7.2380000000000004</c:v>
                </c:pt>
                <c:pt idx="11421">
                  <c:v>7.2380000000000004</c:v>
                </c:pt>
                <c:pt idx="11422">
                  <c:v>7.2380000000000004</c:v>
                </c:pt>
                <c:pt idx="11423">
                  <c:v>7.2380000000000004</c:v>
                </c:pt>
                <c:pt idx="11424">
                  <c:v>7.2380000000000004</c:v>
                </c:pt>
                <c:pt idx="11425">
                  <c:v>7.2380000000000004</c:v>
                </c:pt>
                <c:pt idx="11426">
                  <c:v>7.2380000000000004</c:v>
                </c:pt>
                <c:pt idx="11427">
                  <c:v>7.2380000000000004</c:v>
                </c:pt>
                <c:pt idx="11428">
                  <c:v>7.2380000000000004</c:v>
                </c:pt>
                <c:pt idx="11429">
                  <c:v>7.2380000000000004</c:v>
                </c:pt>
                <c:pt idx="11430">
                  <c:v>7.2389999999999999</c:v>
                </c:pt>
                <c:pt idx="11431">
                  <c:v>7.2380000000000004</c:v>
                </c:pt>
                <c:pt idx="11432">
                  <c:v>7.2380000000000004</c:v>
                </c:pt>
                <c:pt idx="11433">
                  <c:v>7.2380000000000004</c:v>
                </c:pt>
                <c:pt idx="11434">
                  <c:v>7.2380000000000004</c:v>
                </c:pt>
                <c:pt idx="11435">
                  <c:v>7.2380000000000004</c:v>
                </c:pt>
                <c:pt idx="11436">
                  <c:v>7.2380000000000004</c:v>
                </c:pt>
                <c:pt idx="11437">
                  <c:v>7.2370000000000001</c:v>
                </c:pt>
                <c:pt idx="11438">
                  <c:v>7.2380000000000004</c:v>
                </c:pt>
                <c:pt idx="11439">
                  <c:v>7.2380000000000004</c:v>
                </c:pt>
                <c:pt idx="11440">
                  <c:v>7.2380000000000004</c:v>
                </c:pt>
                <c:pt idx="11441">
                  <c:v>7.2380000000000004</c:v>
                </c:pt>
                <c:pt idx="11442">
                  <c:v>7.2370000000000001</c:v>
                </c:pt>
                <c:pt idx="11443">
                  <c:v>7.2380000000000004</c:v>
                </c:pt>
                <c:pt idx="11444">
                  <c:v>7.2370000000000001</c:v>
                </c:pt>
                <c:pt idx="11445">
                  <c:v>7.2370000000000001</c:v>
                </c:pt>
                <c:pt idx="11446">
                  <c:v>7.2380000000000004</c:v>
                </c:pt>
                <c:pt idx="11447">
                  <c:v>7.2380000000000004</c:v>
                </c:pt>
                <c:pt idx="11448">
                  <c:v>7.2370000000000001</c:v>
                </c:pt>
                <c:pt idx="11449">
                  <c:v>7.2380000000000004</c:v>
                </c:pt>
                <c:pt idx="11450">
                  <c:v>7.2370000000000001</c:v>
                </c:pt>
                <c:pt idx="11451">
                  <c:v>7.2380000000000004</c:v>
                </c:pt>
                <c:pt idx="11452">
                  <c:v>7.2380000000000004</c:v>
                </c:pt>
                <c:pt idx="11453">
                  <c:v>7.2380000000000004</c:v>
                </c:pt>
                <c:pt idx="11454">
                  <c:v>7.2370000000000001</c:v>
                </c:pt>
                <c:pt idx="11455">
                  <c:v>7.2370000000000001</c:v>
                </c:pt>
                <c:pt idx="11456">
                  <c:v>7.2380000000000004</c:v>
                </c:pt>
                <c:pt idx="11457">
                  <c:v>7.2380000000000004</c:v>
                </c:pt>
                <c:pt idx="11458">
                  <c:v>7.2370000000000001</c:v>
                </c:pt>
                <c:pt idx="11459">
                  <c:v>7.2380000000000004</c:v>
                </c:pt>
                <c:pt idx="11460">
                  <c:v>7.2380000000000004</c:v>
                </c:pt>
                <c:pt idx="11461">
                  <c:v>7.2370000000000001</c:v>
                </c:pt>
                <c:pt idx="11462">
                  <c:v>7.2370000000000001</c:v>
                </c:pt>
                <c:pt idx="11463">
                  <c:v>7.2380000000000004</c:v>
                </c:pt>
                <c:pt idx="11464">
                  <c:v>7.2370000000000001</c:v>
                </c:pt>
                <c:pt idx="11465">
                  <c:v>7.2370000000000001</c:v>
                </c:pt>
                <c:pt idx="11466">
                  <c:v>7.2370000000000001</c:v>
                </c:pt>
                <c:pt idx="11467">
                  <c:v>7.2370000000000001</c:v>
                </c:pt>
                <c:pt idx="11468">
                  <c:v>7.2380000000000004</c:v>
                </c:pt>
                <c:pt idx="11469">
                  <c:v>7.2370000000000001</c:v>
                </c:pt>
                <c:pt idx="11470">
                  <c:v>7.2380000000000004</c:v>
                </c:pt>
                <c:pt idx="11471">
                  <c:v>7.2370000000000001</c:v>
                </c:pt>
                <c:pt idx="11472">
                  <c:v>7.2380000000000004</c:v>
                </c:pt>
                <c:pt idx="11473">
                  <c:v>7.2370000000000001</c:v>
                </c:pt>
                <c:pt idx="11474">
                  <c:v>7.2370000000000001</c:v>
                </c:pt>
                <c:pt idx="11475">
                  <c:v>7.2370000000000001</c:v>
                </c:pt>
                <c:pt idx="11476">
                  <c:v>7.2370000000000001</c:v>
                </c:pt>
                <c:pt idx="11477">
                  <c:v>7.2370000000000001</c:v>
                </c:pt>
                <c:pt idx="11478">
                  <c:v>7.2370000000000001</c:v>
                </c:pt>
                <c:pt idx="11479">
                  <c:v>7.2370000000000001</c:v>
                </c:pt>
                <c:pt idx="11480">
                  <c:v>7.2370000000000001</c:v>
                </c:pt>
                <c:pt idx="11481">
                  <c:v>7.2370000000000001</c:v>
                </c:pt>
                <c:pt idx="11482">
                  <c:v>7.2370000000000001</c:v>
                </c:pt>
                <c:pt idx="11483">
                  <c:v>7.2370000000000001</c:v>
                </c:pt>
                <c:pt idx="11484">
                  <c:v>7.2370000000000001</c:v>
                </c:pt>
                <c:pt idx="11485">
                  <c:v>7.2370000000000001</c:v>
                </c:pt>
                <c:pt idx="11486">
                  <c:v>7.2370000000000001</c:v>
                </c:pt>
                <c:pt idx="11487">
                  <c:v>7.2370000000000001</c:v>
                </c:pt>
                <c:pt idx="11488">
                  <c:v>7.2370000000000001</c:v>
                </c:pt>
                <c:pt idx="11489">
                  <c:v>7.2370000000000001</c:v>
                </c:pt>
                <c:pt idx="11490">
                  <c:v>7.2359999999999998</c:v>
                </c:pt>
                <c:pt idx="11491">
                  <c:v>7.2370000000000001</c:v>
                </c:pt>
                <c:pt idx="11492">
                  <c:v>7.2370000000000001</c:v>
                </c:pt>
                <c:pt idx="11493">
                  <c:v>7.2370000000000001</c:v>
                </c:pt>
                <c:pt idx="11494">
                  <c:v>7.2370000000000001</c:v>
                </c:pt>
                <c:pt idx="11495">
                  <c:v>7.2370000000000001</c:v>
                </c:pt>
                <c:pt idx="11496">
                  <c:v>7.2359999999999998</c:v>
                </c:pt>
                <c:pt idx="11497">
                  <c:v>7.2370000000000001</c:v>
                </c:pt>
                <c:pt idx="11498">
                  <c:v>7.2359999999999998</c:v>
                </c:pt>
                <c:pt idx="11499">
                  <c:v>7.2359999999999998</c:v>
                </c:pt>
                <c:pt idx="11500">
                  <c:v>7.2370000000000001</c:v>
                </c:pt>
                <c:pt idx="11501">
                  <c:v>7.2359999999999998</c:v>
                </c:pt>
                <c:pt idx="11502">
                  <c:v>7.2359999999999998</c:v>
                </c:pt>
                <c:pt idx="11503">
                  <c:v>7.2359999999999998</c:v>
                </c:pt>
                <c:pt idx="11504">
                  <c:v>7.2370000000000001</c:v>
                </c:pt>
                <c:pt idx="11505">
                  <c:v>7.2370000000000001</c:v>
                </c:pt>
                <c:pt idx="11506">
                  <c:v>7.2370000000000001</c:v>
                </c:pt>
                <c:pt idx="11507">
                  <c:v>7.2370000000000001</c:v>
                </c:pt>
                <c:pt idx="11508">
                  <c:v>7.2370000000000001</c:v>
                </c:pt>
                <c:pt idx="11509">
                  <c:v>7.2370000000000001</c:v>
                </c:pt>
                <c:pt idx="11510">
                  <c:v>7.2370000000000001</c:v>
                </c:pt>
                <c:pt idx="11511">
                  <c:v>7.2359999999999998</c:v>
                </c:pt>
                <c:pt idx="11512">
                  <c:v>7.2359999999999998</c:v>
                </c:pt>
                <c:pt idx="11513">
                  <c:v>7.2359999999999998</c:v>
                </c:pt>
                <c:pt idx="11514">
                  <c:v>7.2359999999999998</c:v>
                </c:pt>
                <c:pt idx="11515">
                  <c:v>7.2359999999999998</c:v>
                </c:pt>
                <c:pt idx="11516">
                  <c:v>7.2370000000000001</c:v>
                </c:pt>
                <c:pt idx="11517">
                  <c:v>7.2370000000000001</c:v>
                </c:pt>
                <c:pt idx="11518">
                  <c:v>7.2359999999999998</c:v>
                </c:pt>
                <c:pt idx="11519">
                  <c:v>7.2370000000000001</c:v>
                </c:pt>
                <c:pt idx="11520">
                  <c:v>7.2370000000000001</c:v>
                </c:pt>
                <c:pt idx="11521">
                  <c:v>7.2359999999999998</c:v>
                </c:pt>
                <c:pt idx="11522">
                  <c:v>7.2370000000000001</c:v>
                </c:pt>
                <c:pt idx="11523">
                  <c:v>7.2359999999999998</c:v>
                </c:pt>
                <c:pt idx="11524">
                  <c:v>7.2359999999999998</c:v>
                </c:pt>
                <c:pt idx="11525">
                  <c:v>7.2359999999999998</c:v>
                </c:pt>
                <c:pt idx="11526">
                  <c:v>7.2359999999999998</c:v>
                </c:pt>
                <c:pt idx="11527">
                  <c:v>7.2359999999999998</c:v>
                </c:pt>
                <c:pt idx="11528">
                  <c:v>7.2359999999999998</c:v>
                </c:pt>
                <c:pt idx="11529">
                  <c:v>7.2359999999999998</c:v>
                </c:pt>
                <c:pt idx="11530">
                  <c:v>7.2370000000000001</c:v>
                </c:pt>
                <c:pt idx="11531">
                  <c:v>7.2359999999999998</c:v>
                </c:pt>
                <c:pt idx="11532">
                  <c:v>7.2359999999999998</c:v>
                </c:pt>
                <c:pt idx="11533">
                  <c:v>7.2370000000000001</c:v>
                </c:pt>
                <c:pt idx="11534">
                  <c:v>7.2359999999999998</c:v>
                </c:pt>
                <c:pt idx="11535">
                  <c:v>7.2359999999999998</c:v>
                </c:pt>
                <c:pt idx="11536">
                  <c:v>7.2359999999999998</c:v>
                </c:pt>
                <c:pt idx="11537">
                  <c:v>7.2359999999999998</c:v>
                </c:pt>
                <c:pt idx="11538">
                  <c:v>7.2359999999999998</c:v>
                </c:pt>
                <c:pt idx="11539">
                  <c:v>7.2359999999999998</c:v>
                </c:pt>
                <c:pt idx="11540">
                  <c:v>7.2359999999999998</c:v>
                </c:pt>
                <c:pt idx="11541">
                  <c:v>7.2359999999999998</c:v>
                </c:pt>
                <c:pt idx="11542">
                  <c:v>7.2359999999999998</c:v>
                </c:pt>
                <c:pt idx="11543">
                  <c:v>7.2359999999999998</c:v>
                </c:pt>
                <c:pt idx="11544">
                  <c:v>7.2359999999999998</c:v>
                </c:pt>
                <c:pt idx="11545">
                  <c:v>7.2359999999999998</c:v>
                </c:pt>
                <c:pt idx="11546">
                  <c:v>7.2359999999999998</c:v>
                </c:pt>
                <c:pt idx="11547">
                  <c:v>7.2359999999999998</c:v>
                </c:pt>
                <c:pt idx="11548">
                  <c:v>7.2359999999999998</c:v>
                </c:pt>
                <c:pt idx="11549">
                  <c:v>7.2359999999999998</c:v>
                </c:pt>
                <c:pt idx="11550">
                  <c:v>7.2359999999999998</c:v>
                </c:pt>
                <c:pt idx="11551">
                  <c:v>7.2359999999999998</c:v>
                </c:pt>
                <c:pt idx="11552">
                  <c:v>7.2359999999999998</c:v>
                </c:pt>
                <c:pt idx="11553">
                  <c:v>7.2350000000000003</c:v>
                </c:pt>
                <c:pt idx="11554">
                  <c:v>7.2359999999999998</c:v>
                </c:pt>
                <c:pt idx="11555">
                  <c:v>7.2359999999999998</c:v>
                </c:pt>
                <c:pt idx="11556">
                  <c:v>7.2359999999999998</c:v>
                </c:pt>
                <c:pt idx="11557">
                  <c:v>7.2350000000000003</c:v>
                </c:pt>
                <c:pt idx="11558">
                  <c:v>7.2350000000000003</c:v>
                </c:pt>
                <c:pt idx="11559">
                  <c:v>7.2359999999999998</c:v>
                </c:pt>
                <c:pt idx="11560">
                  <c:v>7.2359999999999998</c:v>
                </c:pt>
                <c:pt idx="11561">
                  <c:v>7.2359999999999998</c:v>
                </c:pt>
                <c:pt idx="11562">
                  <c:v>7.2359999999999998</c:v>
                </c:pt>
                <c:pt idx="11563">
                  <c:v>7.2359999999999998</c:v>
                </c:pt>
                <c:pt idx="11564">
                  <c:v>7.2350000000000003</c:v>
                </c:pt>
                <c:pt idx="11565">
                  <c:v>7.2359999999999998</c:v>
                </c:pt>
                <c:pt idx="11566">
                  <c:v>7.2359999999999998</c:v>
                </c:pt>
                <c:pt idx="11567">
                  <c:v>7.2350000000000003</c:v>
                </c:pt>
                <c:pt idx="11568">
                  <c:v>7.2350000000000003</c:v>
                </c:pt>
                <c:pt idx="11569">
                  <c:v>7.2350000000000003</c:v>
                </c:pt>
                <c:pt idx="11570">
                  <c:v>7.2350000000000003</c:v>
                </c:pt>
                <c:pt idx="11571">
                  <c:v>7.2350000000000003</c:v>
                </c:pt>
                <c:pt idx="11572">
                  <c:v>7.2359999999999998</c:v>
                </c:pt>
                <c:pt idx="11573">
                  <c:v>7.2350000000000003</c:v>
                </c:pt>
                <c:pt idx="11574">
                  <c:v>7.2350000000000003</c:v>
                </c:pt>
                <c:pt idx="11575">
                  <c:v>7.2350000000000003</c:v>
                </c:pt>
                <c:pt idx="11576">
                  <c:v>7.2350000000000003</c:v>
                </c:pt>
                <c:pt idx="11577">
                  <c:v>7.2350000000000003</c:v>
                </c:pt>
                <c:pt idx="11578">
                  <c:v>7.2350000000000003</c:v>
                </c:pt>
                <c:pt idx="11579">
                  <c:v>7.2350000000000003</c:v>
                </c:pt>
                <c:pt idx="11580">
                  <c:v>7.2350000000000003</c:v>
                </c:pt>
                <c:pt idx="11581">
                  <c:v>7.2350000000000003</c:v>
                </c:pt>
                <c:pt idx="11582">
                  <c:v>7.2350000000000003</c:v>
                </c:pt>
                <c:pt idx="11583">
                  <c:v>7.2350000000000003</c:v>
                </c:pt>
                <c:pt idx="11584">
                  <c:v>7.2350000000000003</c:v>
                </c:pt>
                <c:pt idx="11585">
                  <c:v>7.2350000000000003</c:v>
                </c:pt>
                <c:pt idx="11586">
                  <c:v>7.2350000000000003</c:v>
                </c:pt>
                <c:pt idx="11587">
                  <c:v>7.2350000000000003</c:v>
                </c:pt>
                <c:pt idx="11588">
                  <c:v>7.2350000000000003</c:v>
                </c:pt>
                <c:pt idx="11589">
                  <c:v>7.2350000000000003</c:v>
                </c:pt>
                <c:pt idx="11590">
                  <c:v>7.2350000000000003</c:v>
                </c:pt>
                <c:pt idx="11591">
                  <c:v>7.2350000000000003</c:v>
                </c:pt>
                <c:pt idx="11592">
                  <c:v>7.2350000000000003</c:v>
                </c:pt>
                <c:pt idx="11593">
                  <c:v>7.2350000000000003</c:v>
                </c:pt>
                <c:pt idx="11594">
                  <c:v>7.2350000000000003</c:v>
                </c:pt>
                <c:pt idx="11595">
                  <c:v>7.2350000000000003</c:v>
                </c:pt>
                <c:pt idx="11596">
                  <c:v>7.2350000000000003</c:v>
                </c:pt>
                <c:pt idx="11597">
                  <c:v>7.2350000000000003</c:v>
                </c:pt>
                <c:pt idx="11598">
                  <c:v>7.2350000000000003</c:v>
                </c:pt>
                <c:pt idx="11599">
                  <c:v>7.2350000000000003</c:v>
                </c:pt>
                <c:pt idx="11600">
                  <c:v>7.2350000000000003</c:v>
                </c:pt>
                <c:pt idx="11601">
                  <c:v>7.234</c:v>
                </c:pt>
                <c:pt idx="11602">
                  <c:v>7.2350000000000003</c:v>
                </c:pt>
                <c:pt idx="11603">
                  <c:v>7.2350000000000003</c:v>
                </c:pt>
                <c:pt idx="11604">
                  <c:v>7.2350000000000003</c:v>
                </c:pt>
                <c:pt idx="11605">
                  <c:v>7.234</c:v>
                </c:pt>
                <c:pt idx="11606">
                  <c:v>7.234</c:v>
                </c:pt>
                <c:pt idx="11607">
                  <c:v>7.2350000000000003</c:v>
                </c:pt>
                <c:pt idx="11608">
                  <c:v>7.234</c:v>
                </c:pt>
                <c:pt idx="11609">
                  <c:v>7.234</c:v>
                </c:pt>
                <c:pt idx="11610">
                  <c:v>7.2350000000000003</c:v>
                </c:pt>
                <c:pt idx="11611">
                  <c:v>7.234</c:v>
                </c:pt>
                <c:pt idx="11612">
                  <c:v>7.234</c:v>
                </c:pt>
                <c:pt idx="11613">
                  <c:v>7.234</c:v>
                </c:pt>
                <c:pt idx="11614">
                  <c:v>7.234</c:v>
                </c:pt>
                <c:pt idx="11615">
                  <c:v>7.2350000000000003</c:v>
                </c:pt>
                <c:pt idx="11616">
                  <c:v>7.234</c:v>
                </c:pt>
                <c:pt idx="11617">
                  <c:v>7.234</c:v>
                </c:pt>
                <c:pt idx="11618">
                  <c:v>7.234</c:v>
                </c:pt>
                <c:pt idx="11619">
                  <c:v>7.2350000000000003</c:v>
                </c:pt>
                <c:pt idx="11620">
                  <c:v>7.234</c:v>
                </c:pt>
                <c:pt idx="11621">
                  <c:v>7.234</c:v>
                </c:pt>
                <c:pt idx="11622">
                  <c:v>7.234</c:v>
                </c:pt>
                <c:pt idx="11623">
                  <c:v>7.234</c:v>
                </c:pt>
                <c:pt idx="11624">
                  <c:v>7.234</c:v>
                </c:pt>
                <c:pt idx="11625">
                  <c:v>7.234</c:v>
                </c:pt>
                <c:pt idx="11626">
                  <c:v>7.234</c:v>
                </c:pt>
                <c:pt idx="11627">
                  <c:v>7.234</c:v>
                </c:pt>
                <c:pt idx="11628">
                  <c:v>7.2350000000000003</c:v>
                </c:pt>
                <c:pt idx="11629">
                  <c:v>7.234</c:v>
                </c:pt>
                <c:pt idx="11630">
                  <c:v>7.234</c:v>
                </c:pt>
                <c:pt idx="11631">
                  <c:v>7.234</c:v>
                </c:pt>
                <c:pt idx="11632">
                  <c:v>7.234</c:v>
                </c:pt>
                <c:pt idx="11633">
                  <c:v>7.234</c:v>
                </c:pt>
                <c:pt idx="11634">
                  <c:v>7.234</c:v>
                </c:pt>
                <c:pt idx="11635">
                  <c:v>7.234</c:v>
                </c:pt>
                <c:pt idx="11636">
                  <c:v>7.234</c:v>
                </c:pt>
                <c:pt idx="11637">
                  <c:v>7.234</c:v>
                </c:pt>
                <c:pt idx="11638">
                  <c:v>7.2329999999999997</c:v>
                </c:pt>
                <c:pt idx="11639">
                  <c:v>7.234</c:v>
                </c:pt>
                <c:pt idx="11640">
                  <c:v>7.234</c:v>
                </c:pt>
                <c:pt idx="11641">
                  <c:v>7.2329999999999997</c:v>
                </c:pt>
                <c:pt idx="11642">
                  <c:v>7.234</c:v>
                </c:pt>
                <c:pt idx="11643">
                  <c:v>7.234</c:v>
                </c:pt>
                <c:pt idx="11644">
                  <c:v>7.2329999999999997</c:v>
                </c:pt>
                <c:pt idx="11645">
                  <c:v>7.234</c:v>
                </c:pt>
                <c:pt idx="11646">
                  <c:v>7.234</c:v>
                </c:pt>
                <c:pt idx="11647">
                  <c:v>7.234</c:v>
                </c:pt>
                <c:pt idx="11648">
                  <c:v>7.2329999999999997</c:v>
                </c:pt>
                <c:pt idx="11649">
                  <c:v>7.2329999999999997</c:v>
                </c:pt>
                <c:pt idx="11650">
                  <c:v>7.234</c:v>
                </c:pt>
                <c:pt idx="11651">
                  <c:v>7.234</c:v>
                </c:pt>
                <c:pt idx="11652">
                  <c:v>7.234</c:v>
                </c:pt>
                <c:pt idx="11653">
                  <c:v>7.234</c:v>
                </c:pt>
                <c:pt idx="11654">
                  <c:v>7.2329999999999997</c:v>
                </c:pt>
                <c:pt idx="11655">
                  <c:v>7.234</c:v>
                </c:pt>
                <c:pt idx="11656">
                  <c:v>7.2329999999999997</c:v>
                </c:pt>
                <c:pt idx="11657">
                  <c:v>7.234</c:v>
                </c:pt>
                <c:pt idx="11658">
                  <c:v>7.2329999999999997</c:v>
                </c:pt>
                <c:pt idx="11659">
                  <c:v>7.2329999999999997</c:v>
                </c:pt>
                <c:pt idx="11660">
                  <c:v>7.234</c:v>
                </c:pt>
                <c:pt idx="11661">
                  <c:v>7.2329999999999997</c:v>
                </c:pt>
                <c:pt idx="11662">
                  <c:v>7.234</c:v>
                </c:pt>
                <c:pt idx="11663">
                  <c:v>7.234</c:v>
                </c:pt>
                <c:pt idx="11664">
                  <c:v>7.2329999999999997</c:v>
                </c:pt>
                <c:pt idx="11665">
                  <c:v>7.2329999999999997</c:v>
                </c:pt>
                <c:pt idx="11666">
                  <c:v>7.234</c:v>
                </c:pt>
                <c:pt idx="11667">
                  <c:v>7.2329999999999997</c:v>
                </c:pt>
                <c:pt idx="11668">
                  <c:v>7.2329999999999997</c:v>
                </c:pt>
                <c:pt idx="11669">
                  <c:v>7.2329999999999997</c:v>
                </c:pt>
                <c:pt idx="11670">
                  <c:v>7.2329999999999997</c:v>
                </c:pt>
                <c:pt idx="11671">
                  <c:v>7.2329999999999997</c:v>
                </c:pt>
                <c:pt idx="11672">
                  <c:v>7.2329999999999997</c:v>
                </c:pt>
                <c:pt idx="11673">
                  <c:v>7.2329999999999997</c:v>
                </c:pt>
                <c:pt idx="11674">
                  <c:v>7.2329999999999997</c:v>
                </c:pt>
                <c:pt idx="11675">
                  <c:v>7.2329999999999997</c:v>
                </c:pt>
                <c:pt idx="11676">
                  <c:v>7.2329999999999997</c:v>
                </c:pt>
                <c:pt idx="11677">
                  <c:v>7.2329999999999997</c:v>
                </c:pt>
                <c:pt idx="11678">
                  <c:v>7.2329999999999997</c:v>
                </c:pt>
                <c:pt idx="11679">
                  <c:v>7.2329999999999997</c:v>
                </c:pt>
                <c:pt idx="11680">
                  <c:v>7.2329999999999997</c:v>
                </c:pt>
                <c:pt idx="11681">
                  <c:v>7.2329999999999997</c:v>
                </c:pt>
                <c:pt idx="11682">
                  <c:v>7.2320000000000002</c:v>
                </c:pt>
                <c:pt idx="11683">
                  <c:v>7.2329999999999997</c:v>
                </c:pt>
                <c:pt idx="11684">
                  <c:v>7.2329999999999997</c:v>
                </c:pt>
                <c:pt idx="11685">
                  <c:v>7.2329999999999997</c:v>
                </c:pt>
                <c:pt idx="11686">
                  <c:v>7.2329999999999997</c:v>
                </c:pt>
                <c:pt idx="11687">
                  <c:v>7.2320000000000002</c:v>
                </c:pt>
                <c:pt idx="11688">
                  <c:v>7.2329999999999997</c:v>
                </c:pt>
                <c:pt idx="11689">
                  <c:v>7.2329999999999997</c:v>
                </c:pt>
                <c:pt idx="11690">
                  <c:v>7.2329999999999997</c:v>
                </c:pt>
                <c:pt idx="11691">
                  <c:v>7.2329999999999997</c:v>
                </c:pt>
                <c:pt idx="11692">
                  <c:v>7.2329999999999997</c:v>
                </c:pt>
                <c:pt idx="11693">
                  <c:v>7.2329999999999997</c:v>
                </c:pt>
                <c:pt idx="11694">
                  <c:v>7.2320000000000002</c:v>
                </c:pt>
                <c:pt idx="11695">
                  <c:v>7.2329999999999997</c:v>
                </c:pt>
                <c:pt idx="11696">
                  <c:v>7.2320000000000002</c:v>
                </c:pt>
                <c:pt idx="11697">
                  <c:v>7.2329999999999997</c:v>
                </c:pt>
                <c:pt idx="11698">
                  <c:v>7.2320000000000002</c:v>
                </c:pt>
                <c:pt idx="11699">
                  <c:v>7.2329999999999997</c:v>
                </c:pt>
                <c:pt idx="11700">
                  <c:v>7.2320000000000002</c:v>
                </c:pt>
                <c:pt idx="11701">
                  <c:v>7.2320000000000002</c:v>
                </c:pt>
                <c:pt idx="11702">
                  <c:v>7.2329999999999997</c:v>
                </c:pt>
                <c:pt idx="11703">
                  <c:v>7.2329999999999997</c:v>
                </c:pt>
                <c:pt idx="11704">
                  <c:v>7.2320000000000002</c:v>
                </c:pt>
                <c:pt idx="11705">
                  <c:v>7.2320000000000002</c:v>
                </c:pt>
                <c:pt idx="11706">
                  <c:v>7.2320000000000002</c:v>
                </c:pt>
                <c:pt idx="11707">
                  <c:v>7.2329999999999997</c:v>
                </c:pt>
                <c:pt idx="11708">
                  <c:v>7.2320000000000002</c:v>
                </c:pt>
                <c:pt idx="11709">
                  <c:v>7.2320000000000002</c:v>
                </c:pt>
                <c:pt idx="11710">
                  <c:v>7.2320000000000002</c:v>
                </c:pt>
                <c:pt idx="11711">
                  <c:v>7.2329999999999997</c:v>
                </c:pt>
                <c:pt idx="11712">
                  <c:v>7.2320000000000002</c:v>
                </c:pt>
                <c:pt idx="11713">
                  <c:v>7.2320000000000002</c:v>
                </c:pt>
                <c:pt idx="11714">
                  <c:v>7.2320000000000002</c:v>
                </c:pt>
                <c:pt idx="11715">
                  <c:v>7.2309999999999999</c:v>
                </c:pt>
                <c:pt idx="11716">
                  <c:v>7.2320000000000002</c:v>
                </c:pt>
                <c:pt idx="11717">
                  <c:v>7.2309999999999999</c:v>
                </c:pt>
                <c:pt idx="11718">
                  <c:v>7.2320000000000002</c:v>
                </c:pt>
                <c:pt idx="11719">
                  <c:v>7.2320000000000002</c:v>
                </c:pt>
                <c:pt idx="11720">
                  <c:v>7.2320000000000002</c:v>
                </c:pt>
                <c:pt idx="11721">
                  <c:v>7.2320000000000002</c:v>
                </c:pt>
                <c:pt idx="11722">
                  <c:v>7.2320000000000002</c:v>
                </c:pt>
                <c:pt idx="11723">
                  <c:v>7.2320000000000002</c:v>
                </c:pt>
                <c:pt idx="11724">
                  <c:v>7.2320000000000002</c:v>
                </c:pt>
                <c:pt idx="11725">
                  <c:v>7.2320000000000002</c:v>
                </c:pt>
                <c:pt idx="11726">
                  <c:v>7.2309999999999999</c:v>
                </c:pt>
                <c:pt idx="11727">
                  <c:v>7.2320000000000002</c:v>
                </c:pt>
                <c:pt idx="11728">
                  <c:v>7.2309999999999999</c:v>
                </c:pt>
                <c:pt idx="11729">
                  <c:v>7.2309999999999999</c:v>
                </c:pt>
                <c:pt idx="11730">
                  <c:v>7.2309999999999999</c:v>
                </c:pt>
                <c:pt idx="11731">
                  <c:v>7.2320000000000002</c:v>
                </c:pt>
                <c:pt idx="11732">
                  <c:v>7.2320000000000002</c:v>
                </c:pt>
                <c:pt idx="11733">
                  <c:v>7.2320000000000002</c:v>
                </c:pt>
                <c:pt idx="11734">
                  <c:v>7.2309999999999999</c:v>
                </c:pt>
                <c:pt idx="11735">
                  <c:v>7.2309999999999999</c:v>
                </c:pt>
                <c:pt idx="11736">
                  <c:v>7.2309999999999999</c:v>
                </c:pt>
                <c:pt idx="11737">
                  <c:v>7.2309999999999999</c:v>
                </c:pt>
                <c:pt idx="11738">
                  <c:v>7.2309999999999999</c:v>
                </c:pt>
                <c:pt idx="11739">
                  <c:v>7.2309999999999999</c:v>
                </c:pt>
                <c:pt idx="11740">
                  <c:v>7.2320000000000002</c:v>
                </c:pt>
                <c:pt idx="11741">
                  <c:v>7.2309999999999999</c:v>
                </c:pt>
                <c:pt idx="11742">
                  <c:v>7.23</c:v>
                </c:pt>
                <c:pt idx="11743">
                  <c:v>7.2309999999999999</c:v>
                </c:pt>
                <c:pt idx="11744">
                  <c:v>7.2309999999999999</c:v>
                </c:pt>
                <c:pt idx="11745">
                  <c:v>7.2309999999999999</c:v>
                </c:pt>
                <c:pt idx="11746">
                  <c:v>7.2309999999999999</c:v>
                </c:pt>
                <c:pt idx="11747">
                  <c:v>7.2309999999999999</c:v>
                </c:pt>
                <c:pt idx="11748">
                  <c:v>7.2309999999999999</c:v>
                </c:pt>
                <c:pt idx="11749">
                  <c:v>7.2309999999999999</c:v>
                </c:pt>
                <c:pt idx="11750">
                  <c:v>7.2309999999999999</c:v>
                </c:pt>
                <c:pt idx="11751">
                  <c:v>7.23</c:v>
                </c:pt>
                <c:pt idx="11752">
                  <c:v>7.2309999999999999</c:v>
                </c:pt>
                <c:pt idx="11753">
                  <c:v>7.2309999999999999</c:v>
                </c:pt>
                <c:pt idx="11754">
                  <c:v>7.2309999999999999</c:v>
                </c:pt>
                <c:pt idx="11755">
                  <c:v>7.2309999999999999</c:v>
                </c:pt>
                <c:pt idx="11756">
                  <c:v>7.2309999999999999</c:v>
                </c:pt>
                <c:pt idx="11757">
                  <c:v>7.2309999999999999</c:v>
                </c:pt>
                <c:pt idx="11758">
                  <c:v>7.2309999999999999</c:v>
                </c:pt>
                <c:pt idx="11759">
                  <c:v>7.23</c:v>
                </c:pt>
                <c:pt idx="11760">
                  <c:v>7.23</c:v>
                </c:pt>
                <c:pt idx="11761">
                  <c:v>7.23</c:v>
                </c:pt>
                <c:pt idx="11762">
                  <c:v>7.23</c:v>
                </c:pt>
                <c:pt idx="11763">
                  <c:v>7.23</c:v>
                </c:pt>
                <c:pt idx="11764">
                  <c:v>7.2309999999999999</c:v>
                </c:pt>
                <c:pt idx="11765">
                  <c:v>7.23</c:v>
                </c:pt>
                <c:pt idx="11766">
                  <c:v>7.23</c:v>
                </c:pt>
                <c:pt idx="11767">
                  <c:v>7.23</c:v>
                </c:pt>
                <c:pt idx="11768">
                  <c:v>7.2309999999999999</c:v>
                </c:pt>
                <c:pt idx="11769">
                  <c:v>7.23</c:v>
                </c:pt>
                <c:pt idx="11770">
                  <c:v>7.23</c:v>
                </c:pt>
                <c:pt idx="11771">
                  <c:v>7.2309999999999999</c:v>
                </c:pt>
                <c:pt idx="11772">
                  <c:v>7.2309999999999999</c:v>
                </c:pt>
                <c:pt idx="11773">
                  <c:v>7.2309999999999999</c:v>
                </c:pt>
                <c:pt idx="11774">
                  <c:v>7.23</c:v>
                </c:pt>
                <c:pt idx="11775">
                  <c:v>7.2309999999999999</c:v>
                </c:pt>
                <c:pt idx="11776">
                  <c:v>7.23</c:v>
                </c:pt>
                <c:pt idx="11777">
                  <c:v>7.23</c:v>
                </c:pt>
                <c:pt idx="11778">
                  <c:v>7.23</c:v>
                </c:pt>
                <c:pt idx="11779">
                  <c:v>7.23</c:v>
                </c:pt>
                <c:pt idx="11780">
                  <c:v>7.23</c:v>
                </c:pt>
                <c:pt idx="11781">
                  <c:v>7.23</c:v>
                </c:pt>
                <c:pt idx="11782">
                  <c:v>7.23</c:v>
                </c:pt>
                <c:pt idx="11783">
                  <c:v>7.23</c:v>
                </c:pt>
                <c:pt idx="11784">
                  <c:v>7.23</c:v>
                </c:pt>
                <c:pt idx="11785">
                  <c:v>7.23</c:v>
                </c:pt>
                <c:pt idx="11786">
                  <c:v>7.23</c:v>
                </c:pt>
                <c:pt idx="11787">
                  <c:v>7.23</c:v>
                </c:pt>
                <c:pt idx="11788">
                  <c:v>7.23</c:v>
                </c:pt>
                <c:pt idx="11789">
                  <c:v>7.2290000000000001</c:v>
                </c:pt>
                <c:pt idx="11790">
                  <c:v>7.23</c:v>
                </c:pt>
                <c:pt idx="11791">
                  <c:v>7.23</c:v>
                </c:pt>
                <c:pt idx="11792">
                  <c:v>7.23</c:v>
                </c:pt>
                <c:pt idx="11793">
                  <c:v>7.23</c:v>
                </c:pt>
                <c:pt idx="11794">
                  <c:v>7.2309999999999999</c:v>
                </c:pt>
                <c:pt idx="11795">
                  <c:v>7.2290000000000001</c:v>
                </c:pt>
                <c:pt idx="11796">
                  <c:v>7.23</c:v>
                </c:pt>
                <c:pt idx="11797">
                  <c:v>7.23</c:v>
                </c:pt>
                <c:pt idx="11798">
                  <c:v>7.23</c:v>
                </c:pt>
                <c:pt idx="11799">
                  <c:v>7.23</c:v>
                </c:pt>
                <c:pt idx="11800">
                  <c:v>7.23</c:v>
                </c:pt>
                <c:pt idx="11801">
                  <c:v>7.23</c:v>
                </c:pt>
                <c:pt idx="11802">
                  <c:v>7.23</c:v>
                </c:pt>
                <c:pt idx="11803">
                  <c:v>7.23</c:v>
                </c:pt>
                <c:pt idx="11804">
                  <c:v>7.23</c:v>
                </c:pt>
                <c:pt idx="11805">
                  <c:v>7.23</c:v>
                </c:pt>
                <c:pt idx="11806">
                  <c:v>7.23</c:v>
                </c:pt>
                <c:pt idx="11807">
                  <c:v>7.23</c:v>
                </c:pt>
                <c:pt idx="11808">
                  <c:v>7.23</c:v>
                </c:pt>
                <c:pt idx="11809">
                  <c:v>7.2290000000000001</c:v>
                </c:pt>
                <c:pt idx="11810">
                  <c:v>7.23</c:v>
                </c:pt>
                <c:pt idx="11811">
                  <c:v>7.23</c:v>
                </c:pt>
                <c:pt idx="11812">
                  <c:v>7.23</c:v>
                </c:pt>
                <c:pt idx="11813">
                  <c:v>7.2290000000000001</c:v>
                </c:pt>
                <c:pt idx="11814">
                  <c:v>7.23</c:v>
                </c:pt>
                <c:pt idx="11815">
                  <c:v>7.23</c:v>
                </c:pt>
                <c:pt idx="11816">
                  <c:v>7.2290000000000001</c:v>
                </c:pt>
                <c:pt idx="11817">
                  <c:v>7.2290000000000001</c:v>
                </c:pt>
                <c:pt idx="11818">
                  <c:v>7.2290000000000001</c:v>
                </c:pt>
                <c:pt idx="11819">
                  <c:v>7.2290000000000001</c:v>
                </c:pt>
                <c:pt idx="11820">
                  <c:v>7.2290000000000001</c:v>
                </c:pt>
                <c:pt idx="11821">
                  <c:v>7.23</c:v>
                </c:pt>
                <c:pt idx="11822">
                  <c:v>7.2290000000000001</c:v>
                </c:pt>
                <c:pt idx="11823">
                  <c:v>7.2290000000000001</c:v>
                </c:pt>
                <c:pt idx="11824">
                  <c:v>7.2290000000000001</c:v>
                </c:pt>
                <c:pt idx="11825">
                  <c:v>7.2290000000000001</c:v>
                </c:pt>
                <c:pt idx="11826">
                  <c:v>7.2290000000000001</c:v>
                </c:pt>
                <c:pt idx="11827">
                  <c:v>7.23</c:v>
                </c:pt>
                <c:pt idx="11828">
                  <c:v>7.2290000000000001</c:v>
                </c:pt>
                <c:pt idx="11829">
                  <c:v>7.2290000000000001</c:v>
                </c:pt>
                <c:pt idx="11830">
                  <c:v>7.2290000000000001</c:v>
                </c:pt>
                <c:pt idx="11831">
                  <c:v>7.2290000000000001</c:v>
                </c:pt>
                <c:pt idx="11832">
                  <c:v>7.2290000000000001</c:v>
                </c:pt>
                <c:pt idx="11833">
                  <c:v>7.2290000000000001</c:v>
                </c:pt>
                <c:pt idx="11834">
                  <c:v>7.2290000000000001</c:v>
                </c:pt>
                <c:pt idx="11835">
                  <c:v>7.2290000000000001</c:v>
                </c:pt>
                <c:pt idx="11836">
                  <c:v>7.2290000000000001</c:v>
                </c:pt>
                <c:pt idx="11837">
                  <c:v>7.2290000000000001</c:v>
                </c:pt>
                <c:pt idx="11838">
                  <c:v>7.2290000000000001</c:v>
                </c:pt>
                <c:pt idx="11839">
                  <c:v>7.2290000000000001</c:v>
                </c:pt>
                <c:pt idx="11840">
                  <c:v>7.2290000000000001</c:v>
                </c:pt>
                <c:pt idx="11841">
                  <c:v>7.2290000000000001</c:v>
                </c:pt>
                <c:pt idx="11842">
                  <c:v>7.2290000000000001</c:v>
                </c:pt>
                <c:pt idx="11843">
                  <c:v>7.2290000000000001</c:v>
                </c:pt>
                <c:pt idx="11844">
                  <c:v>7.2290000000000001</c:v>
                </c:pt>
                <c:pt idx="11845">
                  <c:v>7.2279999999999998</c:v>
                </c:pt>
                <c:pt idx="11846">
                  <c:v>7.2290000000000001</c:v>
                </c:pt>
                <c:pt idx="11847">
                  <c:v>7.2290000000000001</c:v>
                </c:pt>
                <c:pt idx="11848">
                  <c:v>7.2279999999999998</c:v>
                </c:pt>
                <c:pt idx="11849">
                  <c:v>7.2290000000000001</c:v>
                </c:pt>
                <c:pt idx="11850">
                  <c:v>7.2290000000000001</c:v>
                </c:pt>
                <c:pt idx="11851">
                  <c:v>7.2290000000000001</c:v>
                </c:pt>
                <c:pt idx="11852">
                  <c:v>7.2290000000000001</c:v>
                </c:pt>
                <c:pt idx="11853">
                  <c:v>7.2279999999999998</c:v>
                </c:pt>
                <c:pt idx="11854">
                  <c:v>7.2290000000000001</c:v>
                </c:pt>
                <c:pt idx="11855">
                  <c:v>7.2279999999999998</c:v>
                </c:pt>
                <c:pt idx="11856">
                  <c:v>7.2290000000000001</c:v>
                </c:pt>
                <c:pt idx="11857">
                  <c:v>7.2290000000000001</c:v>
                </c:pt>
                <c:pt idx="11858">
                  <c:v>7.2290000000000001</c:v>
                </c:pt>
                <c:pt idx="11859">
                  <c:v>7.2279999999999998</c:v>
                </c:pt>
                <c:pt idx="11860">
                  <c:v>7.2290000000000001</c:v>
                </c:pt>
                <c:pt idx="11861">
                  <c:v>7.2290000000000001</c:v>
                </c:pt>
                <c:pt idx="11862">
                  <c:v>7.2290000000000001</c:v>
                </c:pt>
                <c:pt idx="11863">
                  <c:v>7.2290000000000001</c:v>
                </c:pt>
                <c:pt idx="11864">
                  <c:v>7.2290000000000001</c:v>
                </c:pt>
                <c:pt idx="11865">
                  <c:v>7.2290000000000001</c:v>
                </c:pt>
                <c:pt idx="11866">
                  <c:v>7.2290000000000001</c:v>
                </c:pt>
                <c:pt idx="11867">
                  <c:v>7.2279999999999998</c:v>
                </c:pt>
                <c:pt idx="11868">
                  <c:v>7.2279999999999998</c:v>
                </c:pt>
                <c:pt idx="11869">
                  <c:v>7.2290000000000001</c:v>
                </c:pt>
                <c:pt idx="11870">
                  <c:v>7.2279999999999998</c:v>
                </c:pt>
                <c:pt idx="11871">
                  <c:v>7.2290000000000001</c:v>
                </c:pt>
                <c:pt idx="11872">
                  <c:v>7.2290000000000001</c:v>
                </c:pt>
                <c:pt idx="11873">
                  <c:v>7.2279999999999998</c:v>
                </c:pt>
                <c:pt idx="11874">
                  <c:v>7.2279999999999998</c:v>
                </c:pt>
                <c:pt idx="11875">
                  <c:v>7.2290000000000001</c:v>
                </c:pt>
                <c:pt idx="11876">
                  <c:v>7.2279999999999998</c:v>
                </c:pt>
                <c:pt idx="11877">
                  <c:v>7.2279999999999998</c:v>
                </c:pt>
                <c:pt idx="11878">
                  <c:v>7.2290000000000001</c:v>
                </c:pt>
                <c:pt idx="11879">
                  <c:v>7.2279999999999998</c:v>
                </c:pt>
                <c:pt idx="11880">
                  <c:v>7.2279999999999998</c:v>
                </c:pt>
                <c:pt idx="11881">
                  <c:v>7.2279999999999998</c:v>
                </c:pt>
                <c:pt idx="11882">
                  <c:v>7.2279999999999998</c:v>
                </c:pt>
                <c:pt idx="11883">
                  <c:v>7.2279999999999998</c:v>
                </c:pt>
                <c:pt idx="11884">
                  <c:v>7.2279999999999998</c:v>
                </c:pt>
                <c:pt idx="11885">
                  <c:v>7.2279999999999998</c:v>
                </c:pt>
                <c:pt idx="11886">
                  <c:v>7.2270000000000003</c:v>
                </c:pt>
                <c:pt idx="11887">
                  <c:v>7.2279999999999998</c:v>
                </c:pt>
                <c:pt idx="11888">
                  <c:v>7.2279999999999998</c:v>
                </c:pt>
                <c:pt idx="11889">
                  <c:v>7.2290000000000001</c:v>
                </c:pt>
                <c:pt idx="11890">
                  <c:v>7.2279999999999998</c:v>
                </c:pt>
                <c:pt idx="11891">
                  <c:v>7.2279999999999998</c:v>
                </c:pt>
                <c:pt idx="11892">
                  <c:v>7.2279999999999998</c:v>
                </c:pt>
                <c:pt idx="11893">
                  <c:v>7.2279999999999998</c:v>
                </c:pt>
                <c:pt idx="11894">
                  <c:v>7.2279999999999998</c:v>
                </c:pt>
                <c:pt idx="11895">
                  <c:v>7.2279999999999998</c:v>
                </c:pt>
                <c:pt idx="11896">
                  <c:v>7.2279999999999998</c:v>
                </c:pt>
                <c:pt idx="11897">
                  <c:v>7.2279999999999998</c:v>
                </c:pt>
                <c:pt idx="11898">
                  <c:v>7.2279999999999998</c:v>
                </c:pt>
                <c:pt idx="11899">
                  <c:v>7.2279999999999998</c:v>
                </c:pt>
                <c:pt idx="11900">
                  <c:v>7.2279999999999998</c:v>
                </c:pt>
                <c:pt idx="11901">
                  <c:v>7.2279999999999998</c:v>
                </c:pt>
                <c:pt idx="11902">
                  <c:v>7.2270000000000003</c:v>
                </c:pt>
                <c:pt idx="11903">
                  <c:v>7.2279999999999998</c:v>
                </c:pt>
                <c:pt idx="11904">
                  <c:v>7.2279999999999998</c:v>
                </c:pt>
                <c:pt idx="11905">
                  <c:v>7.2279999999999998</c:v>
                </c:pt>
                <c:pt idx="11906">
                  <c:v>7.2279999999999998</c:v>
                </c:pt>
                <c:pt idx="11907">
                  <c:v>7.2279999999999998</c:v>
                </c:pt>
                <c:pt idx="11908">
                  <c:v>7.2279999999999998</c:v>
                </c:pt>
                <c:pt idx="11909">
                  <c:v>7.2270000000000003</c:v>
                </c:pt>
                <c:pt idx="11910">
                  <c:v>7.2279999999999998</c:v>
                </c:pt>
                <c:pt idx="11911">
                  <c:v>7.2279999999999998</c:v>
                </c:pt>
                <c:pt idx="11912">
                  <c:v>7.2279999999999998</c:v>
                </c:pt>
                <c:pt idx="11913">
                  <c:v>7.2279999999999998</c:v>
                </c:pt>
                <c:pt idx="11914">
                  <c:v>7.2279999999999998</c:v>
                </c:pt>
                <c:pt idx="11915">
                  <c:v>7.2279999999999998</c:v>
                </c:pt>
                <c:pt idx="11916">
                  <c:v>7.2270000000000003</c:v>
                </c:pt>
                <c:pt idx="11917">
                  <c:v>7.2270000000000003</c:v>
                </c:pt>
                <c:pt idx="11918">
                  <c:v>7.2279999999999998</c:v>
                </c:pt>
                <c:pt idx="11919">
                  <c:v>7.2270000000000003</c:v>
                </c:pt>
                <c:pt idx="11920">
                  <c:v>7.2279999999999998</c:v>
                </c:pt>
                <c:pt idx="11921">
                  <c:v>7.2270000000000003</c:v>
                </c:pt>
                <c:pt idx="11922">
                  <c:v>7.2279999999999998</c:v>
                </c:pt>
                <c:pt idx="11923">
                  <c:v>7.2279999999999998</c:v>
                </c:pt>
                <c:pt idx="11924">
                  <c:v>7.2270000000000003</c:v>
                </c:pt>
                <c:pt idx="11925">
                  <c:v>7.2270000000000003</c:v>
                </c:pt>
                <c:pt idx="11926">
                  <c:v>7.2270000000000003</c:v>
                </c:pt>
                <c:pt idx="11927">
                  <c:v>7.2270000000000003</c:v>
                </c:pt>
                <c:pt idx="11928">
                  <c:v>7.2270000000000003</c:v>
                </c:pt>
                <c:pt idx="11929">
                  <c:v>7.2270000000000003</c:v>
                </c:pt>
                <c:pt idx="11930">
                  <c:v>7.2270000000000003</c:v>
                </c:pt>
                <c:pt idx="11931">
                  <c:v>7.2270000000000003</c:v>
                </c:pt>
                <c:pt idx="11932">
                  <c:v>7.2270000000000003</c:v>
                </c:pt>
                <c:pt idx="11933">
                  <c:v>7.2270000000000003</c:v>
                </c:pt>
                <c:pt idx="11934">
                  <c:v>7.2270000000000003</c:v>
                </c:pt>
                <c:pt idx="11935">
                  <c:v>7.2270000000000003</c:v>
                </c:pt>
                <c:pt idx="11936">
                  <c:v>7.2270000000000003</c:v>
                </c:pt>
                <c:pt idx="11937">
                  <c:v>7.2270000000000003</c:v>
                </c:pt>
                <c:pt idx="11938">
                  <c:v>7.2270000000000003</c:v>
                </c:pt>
                <c:pt idx="11939">
                  <c:v>7.2270000000000003</c:v>
                </c:pt>
                <c:pt idx="11940">
                  <c:v>7.2270000000000003</c:v>
                </c:pt>
                <c:pt idx="11941">
                  <c:v>7.2270000000000003</c:v>
                </c:pt>
                <c:pt idx="11942">
                  <c:v>7.2270000000000003</c:v>
                </c:pt>
                <c:pt idx="11943">
                  <c:v>7.2270000000000003</c:v>
                </c:pt>
                <c:pt idx="11944">
                  <c:v>7.2270000000000003</c:v>
                </c:pt>
                <c:pt idx="11945">
                  <c:v>7.2270000000000003</c:v>
                </c:pt>
                <c:pt idx="11946">
                  <c:v>7.226</c:v>
                </c:pt>
                <c:pt idx="11947">
                  <c:v>7.2270000000000003</c:v>
                </c:pt>
                <c:pt idx="11948">
                  <c:v>7.2270000000000003</c:v>
                </c:pt>
                <c:pt idx="11949">
                  <c:v>7.226</c:v>
                </c:pt>
                <c:pt idx="11950">
                  <c:v>7.2270000000000003</c:v>
                </c:pt>
                <c:pt idx="11951">
                  <c:v>7.2270000000000003</c:v>
                </c:pt>
                <c:pt idx="11952">
                  <c:v>7.2270000000000003</c:v>
                </c:pt>
                <c:pt idx="11953">
                  <c:v>7.2270000000000003</c:v>
                </c:pt>
                <c:pt idx="11954">
                  <c:v>7.226</c:v>
                </c:pt>
                <c:pt idx="11955">
                  <c:v>7.226</c:v>
                </c:pt>
                <c:pt idx="11956">
                  <c:v>7.2270000000000003</c:v>
                </c:pt>
                <c:pt idx="11957">
                  <c:v>7.2270000000000003</c:v>
                </c:pt>
                <c:pt idx="11958">
                  <c:v>7.2270000000000003</c:v>
                </c:pt>
                <c:pt idx="11959">
                  <c:v>7.2270000000000003</c:v>
                </c:pt>
                <c:pt idx="11960">
                  <c:v>7.2270000000000003</c:v>
                </c:pt>
                <c:pt idx="11961">
                  <c:v>7.226</c:v>
                </c:pt>
                <c:pt idx="11962">
                  <c:v>7.2270000000000003</c:v>
                </c:pt>
                <c:pt idx="11963">
                  <c:v>7.226</c:v>
                </c:pt>
                <c:pt idx="11964">
                  <c:v>7.2270000000000003</c:v>
                </c:pt>
                <c:pt idx="11965">
                  <c:v>7.226</c:v>
                </c:pt>
                <c:pt idx="11966">
                  <c:v>7.2270000000000003</c:v>
                </c:pt>
                <c:pt idx="11967">
                  <c:v>7.2270000000000003</c:v>
                </c:pt>
                <c:pt idx="11968">
                  <c:v>7.2270000000000003</c:v>
                </c:pt>
                <c:pt idx="11969">
                  <c:v>7.226</c:v>
                </c:pt>
                <c:pt idx="11970">
                  <c:v>7.226</c:v>
                </c:pt>
                <c:pt idx="11971">
                  <c:v>7.226</c:v>
                </c:pt>
                <c:pt idx="11972">
                  <c:v>7.226</c:v>
                </c:pt>
                <c:pt idx="11973">
                  <c:v>7.226</c:v>
                </c:pt>
                <c:pt idx="11974">
                  <c:v>7.226</c:v>
                </c:pt>
                <c:pt idx="11975">
                  <c:v>7.226</c:v>
                </c:pt>
                <c:pt idx="11976">
                  <c:v>7.226</c:v>
                </c:pt>
                <c:pt idx="11977">
                  <c:v>7.226</c:v>
                </c:pt>
                <c:pt idx="11978">
                  <c:v>7.226</c:v>
                </c:pt>
                <c:pt idx="11979">
                  <c:v>7.226</c:v>
                </c:pt>
                <c:pt idx="11980">
                  <c:v>7.226</c:v>
                </c:pt>
                <c:pt idx="11981">
                  <c:v>7.226</c:v>
                </c:pt>
                <c:pt idx="11982">
                  <c:v>7.226</c:v>
                </c:pt>
                <c:pt idx="11983">
                  <c:v>7.226</c:v>
                </c:pt>
                <c:pt idx="11984">
                  <c:v>7.226</c:v>
                </c:pt>
                <c:pt idx="11985">
                  <c:v>7.226</c:v>
                </c:pt>
                <c:pt idx="11986">
                  <c:v>7.226</c:v>
                </c:pt>
                <c:pt idx="11987">
                  <c:v>7.226</c:v>
                </c:pt>
                <c:pt idx="11988">
                  <c:v>7.226</c:v>
                </c:pt>
                <c:pt idx="11989">
                  <c:v>7.226</c:v>
                </c:pt>
                <c:pt idx="11990">
                  <c:v>7.226</c:v>
                </c:pt>
                <c:pt idx="11991">
                  <c:v>7.226</c:v>
                </c:pt>
                <c:pt idx="11992">
                  <c:v>7.2249999999999996</c:v>
                </c:pt>
                <c:pt idx="11993">
                  <c:v>7.226</c:v>
                </c:pt>
                <c:pt idx="11994">
                  <c:v>7.226</c:v>
                </c:pt>
                <c:pt idx="11995">
                  <c:v>7.226</c:v>
                </c:pt>
                <c:pt idx="11996">
                  <c:v>7.2249999999999996</c:v>
                </c:pt>
                <c:pt idx="11997">
                  <c:v>7.226</c:v>
                </c:pt>
                <c:pt idx="11998">
                  <c:v>7.226</c:v>
                </c:pt>
                <c:pt idx="11999">
                  <c:v>7.226</c:v>
                </c:pt>
                <c:pt idx="12000">
                  <c:v>7.2249999999999996</c:v>
                </c:pt>
                <c:pt idx="12001">
                  <c:v>7.2249999999999996</c:v>
                </c:pt>
                <c:pt idx="12002">
                  <c:v>7.2249999999999996</c:v>
                </c:pt>
                <c:pt idx="12003">
                  <c:v>7.226</c:v>
                </c:pt>
                <c:pt idx="12004">
                  <c:v>7.2249999999999996</c:v>
                </c:pt>
                <c:pt idx="12005">
                  <c:v>7.226</c:v>
                </c:pt>
                <c:pt idx="12006">
                  <c:v>7.226</c:v>
                </c:pt>
                <c:pt idx="12007">
                  <c:v>7.226</c:v>
                </c:pt>
                <c:pt idx="12008">
                  <c:v>7.2249999999999996</c:v>
                </c:pt>
                <c:pt idx="12009">
                  <c:v>7.2249999999999996</c:v>
                </c:pt>
                <c:pt idx="12010">
                  <c:v>7.226</c:v>
                </c:pt>
                <c:pt idx="12011">
                  <c:v>7.226</c:v>
                </c:pt>
                <c:pt idx="12012">
                  <c:v>7.2249999999999996</c:v>
                </c:pt>
                <c:pt idx="12013">
                  <c:v>7.2249999999999996</c:v>
                </c:pt>
                <c:pt idx="12014">
                  <c:v>7.2249999999999996</c:v>
                </c:pt>
                <c:pt idx="12015">
                  <c:v>7.226</c:v>
                </c:pt>
                <c:pt idx="12016">
                  <c:v>7.2249999999999996</c:v>
                </c:pt>
                <c:pt idx="12017">
                  <c:v>7.2249999999999996</c:v>
                </c:pt>
                <c:pt idx="12018">
                  <c:v>7.226</c:v>
                </c:pt>
                <c:pt idx="12019">
                  <c:v>7.2249999999999996</c:v>
                </c:pt>
                <c:pt idx="12020">
                  <c:v>7.2249999999999996</c:v>
                </c:pt>
                <c:pt idx="12021">
                  <c:v>7.226</c:v>
                </c:pt>
                <c:pt idx="12022">
                  <c:v>7.226</c:v>
                </c:pt>
                <c:pt idx="12023">
                  <c:v>7.2249999999999996</c:v>
                </c:pt>
                <c:pt idx="12024">
                  <c:v>7.2249999999999996</c:v>
                </c:pt>
                <c:pt idx="12025">
                  <c:v>7.2249999999999996</c:v>
                </c:pt>
                <c:pt idx="12026">
                  <c:v>7.2249999999999996</c:v>
                </c:pt>
                <c:pt idx="12027">
                  <c:v>7.2249999999999996</c:v>
                </c:pt>
                <c:pt idx="12028">
                  <c:v>7.2249999999999996</c:v>
                </c:pt>
                <c:pt idx="12029">
                  <c:v>7.2249999999999996</c:v>
                </c:pt>
                <c:pt idx="12030">
                  <c:v>7.2249999999999996</c:v>
                </c:pt>
                <c:pt idx="12031">
                  <c:v>7.2249999999999996</c:v>
                </c:pt>
                <c:pt idx="12032">
                  <c:v>7.2249999999999996</c:v>
                </c:pt>
                <c:pt idx="12033">
                  <c:v>7.2249999999999996</c:v>
                </c:pt>
                <c:pt idx="12034">
                  <c:v>7.2249999999999996</c:v>
                </c:pt>
                <c:pt idx="12035">
                  <c:v>7.2249999999999996</c:v>
                </c:pt>
                <c:pt idx="12036">
                  <c:v>7.2249999999999996</c:v>
                </c:pt>
                <c:pt idx="12037">
                  <c:v>7.2249999999999996</c:v>
                </c:pt>
                <c:pt idx="12038">
                  <c:v>7.2249999999999996</c:v>
                </c:pt>
                <c:pt idx="12039">
                  <c:v>7.2249999999999996</c:v>
                </c:pt>
                <c:pt idx="12040">
                  <c:v>7.2249999999999996</c:v>
                </c:pt>
                <c:pt idx="12041">
                  <c:v>7.2249999999999996</c:v>
                </c:pt>
                <c:pt idx="12042">
                  <c:v>7.2249999999999996</c:v>
                </c:pt>
                <c:pt idx="12043">
                  <c:v>7.2249999999999996</c:v>
                </c:pt>
                <c:pt idx="12044">
                  <c:v>7.2249999999999996</c:v>
                </c:pt>
                <c:pt idx="12045">
                  <c:v>7.2249999999999996</c:v>
                </c:pt>
                <c:pt idx="12046">
                  <c:v>7.2249999999999996</c:v>
                </c:pt>
                <c:pt idx="12047">
                  <c:v>7.2249999999999996</c:v>
                </c:pt>
                <c:pt idx="12048">
                  <c:v>7.2249999999999996</c:v>
                </c:pt>
                <c:pt idx="12049">
                  <c:v>7.2240000000000002</c:v>
                </c:pt>
                <c:pt idx="12050">
                  <c:v>7.2249999999999996</c:v>
                </c:pt>
                <c:pt idx="12051">
                  <c:v>7.2249999999999996</c:v>
                </c:pt>
                <c:pt idx="12052">
                  <c:v>7.2249999999999996</c:v>
                </c:pt>
                <c:pt idx="12053">
                  <c:v>7.2249999999999996</c:v>
                </c:pt>
                <c:pt idx="12054">
                  <c:v>7.2249999999999996</c:v>
                </c:pt>
                <c:pt idx="12055">
                  <c:v>7.2249999999999996</c:v>
                </c:pt>
                <c:pt idx="12056">
                  <c:v>7.2249999999999996</c:v>
                </c:pt>
                <c:pt idx="12057">
                  <c:v>7.2249999999999996</c:v>
                </c:pt>
                <c:pt idx="12058">
                  <c:v>7.2249999999999996</c:v>
                </c:pt>
                <c:pt idx="12059">
                  <c:v>7.2249999999999996</c:v>
                </c:pt>
                <c:pt idx="12060">
                  <c:v>7.2249999999999996</c:v>
                </c:pt>
                <c:pt idx="12061">
                  <c:v>7.2249999999999996</c:v>
                </c:pt>
                <c:pt idx="12062">
                  <c:v>7.2249999999999996</c:v>
                </c:pt>
                <c:pt idx="12063">
                  <c:v>7.2249999999999996</c:v>
                </c:pt>
                <c:pt idx="12064">
                  <c:v>7.2240000000000002</c:v>
                </c:pt>
                <c:pt idx="12065">
                  <c:v>7.2249999999999996</c:v>
                </c:pt>
                <c:pt idx="12066">
                  <c:v>7.2249999999999996</c:v>
                </c:pt>
                <c:pt idx="12067">
                  <c:v>7.2240000000000002</c:v>
                </c:pt>
                <c:pt idx="12068">
                  <c:v>7.2240000000000002</c:v>
                </c:pt>
                <c:pt idx="12069">
                  <c:v>7.2240000000000002</c:v>
                </c:pt>
                <c:pt idx="12070">
                  <c:v>7.2249999999999996</c:v>
                </c:pt>
                <c:pt idx="12071">
                  <c:v>7.2240000000000002</c:v>
                </c:pt>
                <c:pt idx="12072">
                  <c:v>7.2240000000000002</c:v>
                </c:pt>
                <c:pt idx="12073">
                  <c:v>7.2249999999999996</c:v>
                </c:pt>
                <c:pt idx="12074">
                  <c:v>7.2249999999999996</c:v>
                </c:pt>
                <c:pt idx="12075">
                  <c:v>7.2249999999999996</c:v>
                </c:pt>
                <c:pt idx="12076">
                  <c:v>7.2240000000000002</c:v>
                </c:pt>
                <c:pt idx="12077">
                  <c:v>7.2240000000000002</c:v>
                </c:pt>
                <c:pt idx="12078">
                  <c:v>7.2249999999999996</c:v>
                </c:pt>
                <c:pt idx="12079">
                  <c:v>7.2240000000000002</c:v>
                </c:pt>
                <c:pt idx="12080">
                  <c:v>7.2240000000000002</c:v>
                </c:pt>
                <c:pt idx="12081">
                  <c:v>7.2240000000000002</c:v>
                </c:pt>
                <c:pt idx="12082">
                  <c:v>7.2249999999999996</c:v>
                </c:pt>
                <c:pt idx="12083">
                  <c:v>7.2240000000000002</c:v>
                </c:pt>
                <c:pt idx="12084">
                  <c:v>7.2249999999999996</c:v>
                </c:pt>
                <c:pt idx="12085">
                  <c:v>7.2240000000000002</c:v>
                </c:pt>
                <c:pt idx="12086">
                  <c:v>7.2240000000000002</c:v>
                </c:pt>
                <c:pt idx="12087">
                  <c:v>7.2240000000000002</c:v>
                </c:pt>
                <c:pt idx="12088">
                  <c:v>7.2240000000000002</c:v>
                </c:pt>
                <c:pt idx="12089">
                  <c:v>7.2240000000000002</c:v>
                </c:pt>
                <c:pt idx="12090">
                  <c:v>7.2249999999999996</c:v>
                </c:pt>
                <c:pt idx="12091">
                  <c:v>7.2240000000000002</c:v>
                </c:pt>
                <c:pt idx="12092">
                  <c:v>7.2240000000000002</c:v>
                </c:pt>
                <c:pt idx="12093">
                  <c:v>7.2240000000000002</c:v>
                </c:pt>
                <c:pt idx="12094">
                  <c:v>7.2240000000000002</c:v>
                </c:pt>
                <c:pt idx="12095">
                  <c:v>7.2229999999999999</c:v>
                </c:pt>
                <c:pt idx="12096">
                  <c:v>7.2240000000000002</c:v>
                </c:pt>
                <c:pt idx="12097">
                  <c:v>7.2240000000000002</c:v>
                </c:pt>
                <c:pt idx="12098">
                  <c:v>7.2240000000000002</c:v>
                </c:pt>
                <c:pt idx="12099">
                  <c:v>7.2240000000000002</c:v>
                </c:pt>
                <c:pt idx="12100">
                  <c:v>7.2240000000000002</c:v>
                </c:pt>
                <c:pt idx="12101">
                  <c:v>7.2240000000000002</c:v>
                </c:pt>
                <c:pt idx="12102">
                  <c:v>7.2240000000000002</c:v>
                </c:pt>
                <c:pt idx="12103">
                  <c:v>7.2240000000000002</c:v>
                </c:pt>
                <c:pt idx="12104">
                  <c:v>7.2240000000000002</c:v>
                </c:pt>
                <c:pt idx="12105">
                  <c:v>7.2240000000000002</c:v>
                </c:pt>
                <c:pt idx="12106">
                  <c:v>7.2240000000000002</c:v>
                </c:pt>
                <c:pt idx="12107">
                  <c:v>7.2240000000000002</c:v>
                </c:pt>
                <c:pt idx="12108">
                  <c:v>7.2240000000000002</c:v>
                </c:pt>
                <c:pt idx="12109">
                  <c:v>7.2240000000000002</c:v>
                </c:pt>
                <c:pt idx="12110">
                  <c:v>7.2240000000000002</c:v>
                </c:pt>
                <c:pt idx="12111">
                  <c:v>7.2240000000000002</c:v>
                </c:pt>
                <c:pt idx="12112">
                  <c:v>7.2240000000000002</c:v>
                </c:pt>
                <c:pt idx="12113">
                  <c:v>7.2240000000000002</c:v>
                </c:pt>
                <c:pt idx="12114">
                  <c:v>7.2240000000000002</c:v>
                </c:pt>
                <c:pt idx="12115">
                  <c:v>7.2240000000000002</c:v>
                </c:pt>
                <c:pt idx="12116">
                  <c:v>7.2229999999999999</c:v>
                </c:pt>
                <c:pt idx="12117">
                  <c:v>7.2240000000000002</c:v>
                </c:pt>
                <c:pt idx="12118">
                  <c:v>7.2229999999999999</c:v>
                </c:pt>
                <c:pt idx="12119">
                  <c:v>7.2229999999999999</c:v>
                </c:pt>
                <c:pt idx="12120">
                  <c:v>7.2240000000000002</c:v>
                </c:pt>
                <c:pt idx="12121">
                  <c:v>7.2229999999999999</c:v>
                </c:pt>
                <c:pt idx="12122">
                  <c:v>7.2229999999999999</c:v>
                </c:pt>
                <c:pt idx="12123">
                  <c:v>7.2229999999999999</c:v>
                </c:pt>
                <c:pt idx="12124">
                  <c:v>7.2240000000000002</c:v>
                </c:pt>
                <c:pt idx="12125">
                  <c:v>7.2229999999999999</c:v>
                </c:pt>
                <c:pt idx="12126">
                  <c:v>7.2240000000000002</c:v>
                </c:pt>
                <c:pt idx="12127">
                  <c:v>7.2240000000000002</c:v>
                </c:pt>
                <c:pt idx="12128">
                  <c:v>7.2229999999999999</c:v>
                </c:pt>
                <c:pt idx="12129">
                  <c:v>7.2240000000000002</c:v>
                </c:pt>
                <c:pt idx="12130">
                  <c:v>7.2240000000000002</c:v>
                </c:pt>
                <c:pt idx="12131">
                  <c:v>7.2229999999999999</c:v>
                </c:pt>
                <c:pt idx="12132">
                  <c:v>7.2229999999999999</c:v>
                </c:pt>
                <c:pt idx="12133">
                  <c:v>7.2229999999999999</c:v>
                </c:pt>
                <c:pt idx="12134">
                  <c:v>7.2229999999999999</c:v>
                </c:pt>
                <c:pt idx="12135">
                  <c:v>7.2240000000000002</c:v>
                </c:pt>
                <c:pt idx="12136">
                  <c:v>7.2240000000000002</c:v>
                </c:pt>
                <c:pt idx="12137">
                  <c:v>7.2229999999999999</c:v>
                </c:pt>
                <c:pt idx="12138">
                  <c:v>7.2240000000000002</c:v>
                </c:pt>
                <c:pt idx="12139">
                  <c:v>7.2229999999999999</c:v>
                </c:pt>
                <c:pt idx="12140">
                  <c:v>7.2229999999999999</c:v>
                </c:pt>
                <c:pt idx="12141">
                  <c:v>7.2229999999999999</c:v>
                </c:pt>
                <c:pt idx="12142">
                  <c:v>7.2229999999999999</c:v>
                </c:pt>
                <c:pt idx="12143">
                  <c:v>7.2229999999999999</c:v>
                </c:pt>
                <c:pt idx="12144">
                  <c:v>7.2229999999999999</c:v>
                </c:pt>
                <c:pt idx="12145">
                  <c:v>7.2229999999999999</c:v>
                </c:pt>
                <c:pt idx="12146">
                  <c:v>7.2229999999999999</c:v>
                </c:pt>
                <c:pt idx="12147">
                  <c:v>7.2229999999999999</c:v>
                </c:pt>
                <c:pt idx="12148">
                  <c:v>7.2229999999999999</c:v>
                </c:pt>
                <c:pt idx="12149">
                  <c:v>7.2229999999999999</c:v>
                </c:pt>
                <c:pt idx="12150">
                  <c:v>7.2229999999999999</c:v>
                </c:pt>
                <c:pt idx="12151">
                  <c:v>7.2229999999999999</c:v>
                </c:pt>
                <c:pt idx="12152">
                  <c:v>7.2229999999999999</c:v>
                </c:pt>
                <c:pt idx="12153">
                  <c:v>7.2229999999999999</c:v>
                </c:pt>
                <c:pt idx="12154">
                  <c:v>7.2220000000000004</c:v>
                </c:pt>
                <c:pt idx="12155">
                  <c:v>7.2229999999999999</c:v>
                </c:pt>
                <c:pt idx="12156">
                  <c:v>7.2220000000000004</c:v>
                </c:pt>
                <c:pt idx="12157">
                  <c:v>7.2229999999999999</c:v>
                </c:pt>
                <c:pt idx="12158">
                  <c:v>7.2229999999999999</c:v>
                </c:pt>
                <c:pt idx="12159">
                  <c:v>7.2229999999999999</c:v>
                </c:pt>
                <c:pt idx="12160">
                  <c:v>7.2229999999999999</c:v>
                </c:pt>
                <c:pt idx="12161">
                  <c:v>7.2229999999999999</c:v>
                </c:pt>
                <c:pt idx="12162">
                  <c:v>7.2220000000000004</c:v>
                </c:pt>
                <c:pt idx="12163">
                  <c:v>7.2229999999999999</c:v>
                </c:pt>
                <c:pt idx="12164">
                  <c:v>7.2229999999999999</c:v>
                </c:pt>
                <c:pt idx="12165">
                  <c:v>7.2229999999999999</c:v>
                </c:pt>
                <c:pt idx="12166">
                  <c:v>7.2229999999999999</c:v>
                </c:pt>
                <c:pt idx="12167">
                  <c:v>7.2220000000000004</c:v>
                </c:pt>
                <c:pt idx="12168">
                  <c:v>7.2229999999999999</c:v>
                </c:pt>
                <c:pt idx="12169">
                  <c:v>7.2220000000000004</c:v>
                </c:pt>
                <c:pt idx="12170">
                  <c:v>7.2229999999999999</c:v>
                </c:pt>
                <c:pt idx="12171">
                  <c:v>7.2220000000000004</c:v>
                </c:pt>
                <c:pt idx="12172">
                  <c:v>7.2229999999999999</c:v>
                </c:pt>
                <c:pt idx="12173">
                  <c:v>7.2229999999999999</c:v>
                </c:pt>
                <c:pt idx="12174">
                  <c:v>7.2229999999999999</c:v>
                </c:pt>
                <c:pt idx="12175">
                  <c:v>7.2229999999999999</c:v>
                </c:pt>
                <c:pt idx="12176">
                  <c:v>7.2220000000000004</c:v>
                </c:pt>
                <c:pt idx="12177">
                  <c:v>7.2220000000000004</c:v>
                </c:pt>
                <c:pt idx="12178">
                  <c:v>7.2220000000000004</c:v>
                </c:pt>
                <c:pt idx="12179">
                  <c:v>7.2229999999999999</c:v>
                </c:pt>
                <c:pt idx="12180">
                  <c:v>7.2229999999999999</c:v>
                </c:pt>
                <c:pt idx="12181">
                  <c:v>7.2220000000000004</c:v>
                </c:pt>
                <c:pt idx="12182">
                  <c:v>7.2220000000000004</c:v>
                </c:pt>
                <c:pt idx="12183">
                  <c:v>7.2229999999999999</c:v>
                </c:pt>
                <c:pt idx="12184">
                  <c:v>7.2220000000000004</c:v>
                </c:pt>
                <c:pt idx="12185">
                  <c:v>7.2229999999999999</c:v>
                </c:pt>
                <c:pt idx="12186">
                  <c:v>7.2229999999999999</c:v>
                </c:pt>
                <c:pt idx="12187">
                  <c:v>7.2229999999999999</c:v>
                </c:pt>
                <c:pt idx="12188">
                  <c:v>7.2229999999999999</c:v>
                </c:pt>
                <c:pt idx="12189">
                  <c:v>7.2220000000000004</c:v>
                </c:pt>
                <c:pt idx="12190">
                  <c:v>7.2220000000000004</c:v>
                </c:pt>
                <c:pt idx="12191">
                  <c:v>7.2220000000000004</c:v>
                </c:pt>
                <c:pt idx="12192">
                  <c:v>7.2220000000000004</c:v>
                </c:pt>
                <c:pt idx="12193">
                  <c:v>7.2220000000000004</c:v>
                </c:pt>
                <c:pt idx="12194">
                  <c:v>7.2220000000000004</c:v>
                </c:pt>
                <c:pt idx="12195">
                  <c:v>7.2229999999999999</c:v>
                </c:pt>
                <c:pt idx="12196">
                  <c:v>7.2220000000000004</c:v>
                </c:pt>
                <c:pt idx="12197">
                  <c:v>7.2220000000000004</c:v>
                </c:pt>
                <c:pt idx="12198">
                  <c:v>7.2220000000000004</c:v>
                </c:pt>
                <c:pt idx="12199">
                  <c:v>7.2220000000000004</c:v>
                </c:pt>
                <c:pt idx="12200">
                  <c:v>7.2220000000000004</c:v>
                </c:pt>
                <c:pt idx="12201">
                  <c:v>7.2220000000000004</c:v>
                </c:pt>
                <c:pt idx="12202">
                  <c:v>7.2220000000000004</c:v>
                </c:pt>
                <c:pt idx="12203">
                  <c:v>7.2210000000000001</c:v>
                </c:pt>
                <c:pt idx="12204">
                  <c:v>7.2220000000000004</c:v>
                </c:pt>
                <c:pt idx="12205">
                  <c:v>7.2229999999999999</c:v>
                </c:pt>
                <c:pt idx="12206">
                  <c:v>7.2220000000000004</c:v>
                </c:pt>
                <c:pt idx="12207">
                  <c:v>7.2220000000000004</c:v>
                </c:pt>
                <c:pt idx="12208">
                  <c:v>7.2220000000000004</c:v>
                </c:pt>
                <c:pt idx="12209">
                  <c:v>7.2220000000000004</c:v>
                </c:pt>
                <c:pt idx="12210">
                  <c:v>7.2220000000000004</c:v>
                </c:pt>
                <c:pt idx="12211">
                  <c:v>7.2220000000000004</c:v>
                </c:pt>
                <c:pt idx="12212">
                  <c:v>7.2220000000000004</c:v>
                </c:pt>
                <c:pt idx="12213">
                  <c:v>7.2220000000000004</c:v>
                </c:pt>
                <c:pt idx="12214">
                  <c:v>7.2220000000000004</c:v>
                </c:pt>
                <c:pt idx="12215">
                  <c:v>7.2220000000000004</c:v>
                </c:pt>
                <c:pt idx="12216">
                  <c:v>7.2220000000000004</c:v>
                </c:pt>
                <c:pt idx="12217">
                  <c:v>7.2210000000000001</c:v>
                </c:pt>
                <c:pt idx="12218">
                  <c:v>7.2220000000000004</c:v>
                </c:pt>
                <c:pt idx="12219">
                  <c:v>7.2220000000000004</c:v>
                </c:pt>
                <c:pt idx="12220">
                  <c:v>7.2220000000000004</c:v>
                </c:pt>
                <c:pt idx="12221">
                  <c:v>7.2220000000000004</c:v>
                </c:pt>
                <c:pt idx="12222">
                  <c:v>7.2220000000000004</c:v>
                </c:pt>
                <c:pt idx="12223">
                  <c:v>7.2210000000000001</c:v>
                </c:pt>
                <c:pt idx="12224">
                  <c:v>7.2210000000000001</c:v>
                </c:pt>
                <c:pt idx="12225">
                  <c:v>7.2210000000000001</c:v>
                </c:pt>
                <c:pt idx="12226">
                  <c:v>7.2220000000000004</c:v>
                </c:pt>
                <c:pt idx="12227">
                  <c:v>7.2220000000000004</c:v>
                </c:pt>
                <c:pt idx="12228">
                  <c:v>7.2220000000000004</c:v>
                </c:pt>
                <c:pt idx="12229">
                  <c:v>7.2220000000000004</c:v>
                </c:pt>
                <c:pt idx="12230">
                  <c:v>7.2220000000000004</c:v>
                </c:pt>
                <c:pt idx="12231">
                  <c:v>7.2210000000000001</c:v>
                </c:pt>
                <c:pt idx="12232">
                  <c:v>7.2210000000000001</c:v>
                </c:pt>
                <c:pt idx="12233">
                  <c:v>7.2210000000000001</c:v>
                </c:pt>
                <c:pt idx="12234">
                  <c:v>7.2220000000000004</c:v>
                </c:pt>
                <c:pt idx="12235">
                  <c:v>7.2210000000000001</c:v>
                </c:pt>
                <c:pt idx="12236">
                  <c:v>7.2210000000000001</c:v>
                </c:pt>
                <c:pt idx="12237">
                  <c:v>7.2210000000000001</c:v>
                </c:pt>
                <c:pt idx="12238">
                  <c:v>7.2210000000000001</c:v>
                </c:pt>
                <c:pt idx="12239">
                  <c:v>7.2210000000000001</c:v>
                </c:pt>
                <c:pt idx="12240">
                  <c:v>7.2210000000000001</c:v>
                </c:pt>
                <c:pt idx="12241">
                  <c:v>7.2210000000000001</c:v>
                </c:pt>
                <c:pt idx="12242">
                  <c:v>7.2210000000000001</c:v>
                </c:pt>
                <c:pt idx="12243">
                  <c:v>7.2210000000000001</c:v>
                </c:pt>
                <c:pt idx="12244">
                  <c:v>7.2210000000000001</c:v>
                </c:pt>
                <c:pt idx="12245">
                  <c:v>7.2210000000000001</c:v>
                </c:pt>
                <c:pt idx="12246">
                  <c:v>7.2210000000000001</c:v>
                </c:pt>
                <c:pt idx="12247">
                  <c:v>7.2210000000000001</c:v>
                </c:pt>
                <c:pt idx="12248">
                  <c:v>7.2210000000000001</c:v>
                </c:pt>
                <c:pt idx="12249">
                  <c:v>7.2210000000000001</c:v>
                </c:pt>
                <c:pt idx="12250">
                  <c:v>7.22</c:v>
                </c:pt>
                <c:pt idx="12251">
                  <c:v>7.2210000000000001</c:v>
                </c:pt>
                <c:pt idx="12252">
                  <c:v>7.2210000000000001</c:v>
                </c:pt>
                <c:pt idx="12253">
                  <c:v>7.2210000000000001</c:v>
                </c:pt>
                <c:pt idx="12254">
                  <c:v>7.2210000000000001</c:v>
                </c:pt>
                <c:pt idx="12255">
                  <c:v>7.2210000000000001</c:v>
                </c:pt>
                <c:pt idx="12256">
                  <c:v>7.2210000000000001</c:v>
                </c:pt>
                <c:pt idx="12257">
                  <c:v>7.2210000000000001</c:v>
                </c:pt>
                <c:pt idx="12258">
                  <c:v>7.2210000000000001</c:v>
                </c:pt>
                <c:pt idx="12259">
                  <c:v>7.2210000000000001</c:v>
                </c:pt>
                <c:pt idx="12260">
                  <c:v>7.2210000000000001</c:v>
                </c:pt>
                <c:pt idx="12261">
                  <c:v>7.2210000000000001</c:v>
                </c:pt>
                <c:pt idx="12262">
                  <c:v>7.2210000000000001</c:v>
                </c:pt>
                <c:pt idx="12263">
                  <c:v>7.2210000000000001</c:v>
                </c:pt>
                <c:pt idx="12264">
                  <c:v>7.2210000000000001</c:v>
                </c:pt>
                <c:pt idx="12265">
                  <c:v>7.2210000000000001</c:v>
                </c:pt>
                <c:pt idx="12266">
                  <c:v>7.2210000000000001</c:v>
                </c:pt>
                <c:pt idx="12267">
                  <c:v>7.2210000000000001</c:v>
                </c:pt>
                <c:pt idx="12268">
                  <c:v>7.2210000000000001</c:v>
                </c:pt>
                <c:pt idx="12269">
                  <c:v>7.2210000000000001</c:v>
                </c:pt>
                <c:pt idx="12270">
                  <c:v>7.22</c:v>
                </c:pt>
                <c:pt idx="12271">
                  <c:v>7.2210000000000001</c:v>
                </c:pt>
                <c:pt idx="12272">
                  <c:v>7.2210000000000001</c:v>
                </c:pt>
                <c:pt idx="12273">
                  <c:v>7.22</c:v>
                </c:pt>
                <c:pt idx="12274">
                  <c:v>7.2210000000000001</c:v>
                </c:pt>
                <c:pt idx="12275">
                  <c:v>7.2210000000000001</c:v>
                </c:pt>
                <c:pt idx="12276">
                  <c:v>7.2210000000000001</c:v>
                </c:pt>
                <c:pt idx="12277">
                  <c:v>7.22</c:v>
                </c:pt>
                <c:pt idx="12278">
                  <c:v>7.22</c:v>
                </c:pt>
                <c:pt idx="12279">
                  <c:v>7.2210000000000001</c:v>
                </c:pt>
                <c:pt idx="12280">
                  <c:v>7.22</c:v>
                </c:pt>
                <c:pt idx="12281">
                  <c:v>7.22</c:v>
                </c:pt>
                <c:pt idx="12282">
                  <c:v>7.2210000000000001</c:v>
                </c:pt>
                <c:pt idx="12283">
                  <c:v>7.2210000000000001</c:v>
                </c:pt>
                <c:pt idx="12284">
                  <c:v>7.22</c:v>
                </c:pt>
                <c:pt idx="12285">
                  <c:v>7.22</c:v>
                </c:pt>
                <c:pt idx="12286">
                  <c:v>7.2210000000000001</c:v>
                </c:pt>
                <c:pt idx="12287">
                  <c:v>7.2210000000000001</c:v>
                </c:pt>
                <c:pt idx="12288">
                  <c:v>7.22</c:v>
                </c:pt>
                <c:pt idx="12289">
                  <c:v>7.22</c:v>
                </c:pt>
                <c:pt idx="12290">
                  <c:v>7.22</c:v>
                </c:pt>
                <c:pt idx="12291">
                  <c:v>7.22</c:v>
                </c:pt>
                <c:pt idx="12292">
                  <c:v>7.22</c:v>
                </c:pt>
                <c:pt idx="12293">
                  <c:v>7.22</c:v>
                </c:pt>
                <c:pt idx="12294">
                  <c:v>7.22</c:v>
                </c:pt>
                <c:pt idx="12295">
                  <c:v>7.22</c:v>
                </c:pt>
                <c:pt idx="12296">
                  <c:v>7.22</c:v>
                </c:pt>
                <c:pt idx="12297">
                  <c:v>7.2190000000000003</c:v>
                </c:pt>
                <c:pt idx="12298">
                  <c:v>7.22</c:v>
                </c:pt>
                <c:pt idx="12299">
                  <c:v>7.22</c:v>
                </c:pt>
                <c:pt idx="12300">
                  <c:v>7.22</c:v>
                </c:pt>
                <c:pt idx="12301">
                  <c:v>7.22</c:v>
                </c:pt>
                <c:pt idx="12302">
                  <c:v>7.22</c:v>
                </c:pt>
                <c:pt idx="12303">
                  <c:v>7.2210000000000001</c:v>
                </c:pt>
                <c:pt idx="12304">
                  <c:v>7.22</c:v>
                </c:pt>
                <c:pt idx="12305">
                  <c:v>7.22</c:v>
                </c:pt>
                <c:pt idx="12306">
                  <c:v>7.22</c:v>
                </c:pt>
                <c:pt idx="12307">
                  <c:v>7.22</c:v>
                </c:pt>
                <c:pt idx="12308">
                  <c:v>7.22</c:v>
                </c:pt>
                <c:pt idx="12309">
                  <c:v>7.22</c:v>
                </c:pt>
                <c:pt idx="12310">
                  <c:v>7.2190000000000003</c:v>
                </c:pt>
                <c:pt idx="12311">
                  <c:v>7.22</c:v>
                </c:pt>
                <c:pt idx="12312">
                  <c:v>7.2190000000000003</c:v>
                </c:pt>
                <c:pt idx="12313">
                  <c:v>7.22</c:v>
                </c:pt>
                <c:pt idx="12314">
                  <c:v>7.22</c:v>
                </c:pt>
                <c:pt idx="12315">
                  <c:v>7.22</c:v>
                </c:pt>
                <c:pt idx="12316">
                  <c:v>7.22</c:v>
                </c:pt>
                <c:pt idx="12317">
                  <c:v>7.22</c:v>
                </c:pt>
                <c:pt idx="12318">
                  <c:v>7.2190000000000003</c:v>
                </c:pt>
                <c:pt idx="12319">
                  <c:v>7.2190000000000003</c:v>
                </c:pt>
                <c:pt idx="12320">
                  <c:v>7.22</c:v>
                </c:pt>
                <c:pt idx="12321">
                  <c:v>7.22</c:v>
                </c:pt>
                <c:pt idx="12322">
                  <c:v>7.2190000000000003</c:v>
                </c:pt>
                <c:pt idx="12323">
                  <c:v>7.22</c:v>
                </c:pt>
                <c:pt idx="12324">
                  <c:v>7.2190000000000003</c:v>
                </c:pt>
                <c:pt idx="12325">
                  <c:v>7.2190000000000003</c:v>
                </c:pt>
                <c:pt idx="12326">
                  <c:v>7.2190000000000003</c:v>
                </c:pt>
                <c:pt idx="12327">
                  <c:v>7.2190000000000003</c:v>
                </c:pt>
                <c:pt idx="12328">
                  <c:v>7.2190000000000003</c:v>
                </c:pt>
                <c:pt idx="12329">
                  <c:v>7.2190000000000003</c:v>
                </c:pt>
                <c:pt idx="12330">
                  <c:v>7.2190000000000003</c:v>
                </c:pt>
                <c:pt idx="12331">
                  <c:v>7.2190000000000003</c:v>
                </c:pt>
                <c:pt idx="12332">
                  <c:v>7.2190000000000003</c:v>
                </c:pt>
                <c:pt idx="12333">
                  <c:v>7.2190000000000003</c:v>
                </c:pt>
                <c:pt idx="12334">
                  <c:v>7.2190000000000003</c:v>
                </c:pt>
                <c:pt idx="12335">
                  <c:v>7.2190000000000003</c:v>
                </c:pt>
                <c:pt idx="12336">
                  <c:v>7.2190000000000003</c:v>
                </c:pt>
                <c:pt idx="12337">
                  <c:v>7.2190000000000003</c:v>
                </c:pt>
                <c:pt idx="12338">
                  <c:v>7.2190000000000003</c:v>
                </c:pt>
                <c:pt idx="12339">
                  <c:v>7.2190000000000003</c:v>
                </c:pt>
                <c:pt idx="12340">
                  <c:v>7.2190000000000003</c:v>
                </c:pt>
                <c:pt idx="12341">
                  <c:v>7.2190000000000003</c:v>
                </c:pt>
                <c:pt idx="12342">
                  <c:v>7.2190000000000003</c:v>
                </c:pt>
                <c:pt idx="12343">
                  <c:v>7.2190000000000003</c:v>
                </c:pt>
                <c:pt idx="12344">
                  <c:v>7.2190000000000003</c:v>
                </c:pt>
                <c:pt idx="12345">
                  <c:v>7.2190000000000003</c:v>
                </c:pt>
                <c:pt idx="12346">
                  <c:v>7.2190000000000003</c:v>
                </c:pt>
                <c:pt idx="12347">
                  <c:v>7.2190000000000003</c:v>
                </c:pt>
                <c:pt idx="12348">
                  <c:v>7.2190000000000003</c:v>
                </c:pt>
                <c:pt idx="12349">
                  <c:v>7.2190000000000003</c:v>
                </c:pt>
                <c:pt idx="12350">
                  <c:v>7.2190000000000003</c:v>
                </c:pt>
                <c:pt idx="12351">
                  <c:v>7.2190000000000003</c:v>
                </c:pt>
                <c:pt idx="12352">
                  <c:v>7.218</c:v>
                </c:pt>
                <c:pt idx="12353">
                  <c:v>7.218</c:v>
                </c:pt>
                <c:pt idx="12354">
                  <c:v>7.2190000000000003</c:v>
                </c:pt>
                <c:pt idx="12355">
                  <c:v>7.2190000000000003</c:v>
                </c:pt>
                <c:pt idx="12356">
                  <c:v>7.2190000000000003</c:v>
                </c:pt>
                <c:pt idx="12357">
                  <c:v>7.2190000000000003</c:v>
                </c:pt>
                <c:pt idx="12358">
                  <c:v>7.2190000000000003</c:v>
                </c:pt>
                <c:pt idx="12359">
                  <c:v>7.2190000000000003</c:v>
                </c:pt>
                <c:pt idx="12360">
                  <c:v>7.2190000000000003</c:v>
                </c:pt>
                <c:pt idx="12361">
                  <c:v>7.218</c:v>
                </c:pt>
                <c:pt idx="12362">
                  <c:v>7.2190000000000003</c:v>
                </c:pt>
                <c:pt idx="12363">
                  <c:v>7.2190000000000003</c:v>
                </c:pt>
                <c:pt idx="12364">
                  <c:v>7.2190000000000003</c:v>
                </c:pt>
                <c:pt idx="12365">
                  <c:v>7.2190000000000003</c:v>
                </c:pt>
                <c:pt idx="12366">
                  <c:v>7.218</c:v>
                </c:pt>
                <c:pt idx="12367">
                  <c:v>7.2190000000000003</c:v>
                </c:pt>
                <c:pt idx="12368">
                  <c:v>7.218</c:v>
                </c:pt>
                <c:pt idx="12369">
                  <c:v>7.218</c:v>
                </c:pt>
                <c:pt idx="12370">
                  <c:v>7.2190000000000003</c:v>
                </c:pt>
                <c:pt idx="12371">
                  <c:v>7.2190000000000003</c:v>
                </c:pt>
                <c:pt idx="12372">
                  <c:v>7.218</c:v>
                </c:pt>
                <c:pt idx="12373">
                  <c:v>7.218</c:v>
                </c:pt>
                <c:pt idx="12374">
                  <c:v>7.218</c:v>
                </c:pt>
                <c:pt idx="12375">
                  <c:v>7.218</c:v>
                </c:pt>
                <c:pt idx="12376">
                  <c:v>7.2169999999999996</c:v>
                </c:pt>
                <c:pt idx="12377">
                  <c:v>7.2190000000000003</c:v>
                </c:pt>
                <c:pt idx="12378">
                  <c:v>7.218</c:v>
                </c:pt>
                <c:pt idx="12379">
                  <c:v>7.218</c:v>
                </c:pt>
                <c:pt idx="12380">
                  <c:v>7.218</c:v>
                </c:pt>
                <c:pt idx="12381">
                  <c:v>7.218</c:v>
                </c:pt>
                <c:pt idx="12382">
                  <c:v>7.218</c:v>
                </c:pt>
                <c:pt idx="12383">
                  <c:v>7.218</c:v>
                </c:pt>
                <c:pt idx="12384">
                  <c:v>7.218</c:v>
                </c:pt>
                <c:pt idx="12385">
                  <c:v>7.218</c:v>
                </c:pt>
                <c:pt idx="12386">
                  <c:v>7.218</c:v>
                </c:pt>
                <c:pt idx="12387">
                  <c:v>7.218</c:v>
                </c:pt>
                <c:pt idx="12388">
                  <c:v>7.218</c:v>
                </c:pt>
                <c:pt idx="12389">
                  <c:v>7.218</c:v>
                </c:pt>
                <c:pt idx="12390">
                  <c:v>7.218</c:v>
                </c:pt>
                <c:pt idx="12391">
                  <c:v>7.2169999999999996</c:v>
                </c:pt>
                <c:pt idx="12392">
                  <c:v>7.218</c:v>
                </c:pt>
                <c:pt idx="12393">
                  <c:v>7.218</c:v>
                </c:pt>
                <c:pt idx="12394">
                  <c:v>7.218</c:v>
                </c:pt>
                <c:pt idx="12395">
                  <c:v>7.218</c:v>
                </c:pt>
                <c:pt idx="12396">
                  <c:v>7.218</c:v>
                </c:pt>
                <c:pt idx="12397">
                  <c:v>7.2169999999999996</c:v>
                </c:pt>
                <c:pt idx="12398">
                  <c:v>7.218</c:v>
                </c:pt>
                <c:pt idx="12399">
                  <c:v>7.218</c:v>
                </c:pt>
                <c:pt idx="12400">
                  <c:v>7.218</c:v>
                </c:pt>
                <c:pt idx="12401">
                  <c:v>7.218</c:v>
                </c:pt>
                <c:pt idx="12402">
                  <c:v>7.218</c:v>
                </c:pt>
                <c:pt idx="12403">
                  <c:v>7.218</c:v>
                </c:pt>
                <c:pt idx="12404">
                  <c:v>7.2169999999999996</c:v>
                </c:pt>
                <c:pt idx="12405">
                  <c:v>7.2169999999999996</c:v>
                </c:pt>
                <c:pt idx="12406">
                  <c:v>7.2169999999999996</c:v>
                </c:pt>
                <c:pt idx="12407">
                  <c:v>7.218</c:v>
                </c:pt>
                <c:pt idx="12408">
                  <c:v>7.2169999999999996</c:v>
                </c:pt>
                <c:pt idx="12409">
                  <c:v>7.218</c:v>
                </c:pt>
                <c:pt idx="12410">
                  <c:v>7.2169999999999996</c:v>
                </c:pt>
                <c:pt idx="12411">
                  <c:v>7.218</c:v>
                </c:pt>
                <c:pt idx="12412">
                  <c:v>7.2169999999999996</c:v>
                </c:pt>
                <c:pt idx="12413">
                  <c:v>7.2169999999999996</c:v>
                </c:pt>
                <c:pt idx="12414">
                  <c:v>7.2169999999999996</c:v>
                </c:pt>
                <c:pt idx="12415">
                  <c:v>7.2169999999999996</c:v>
                </c:pt>
                <c:pt idx="12416">
                  <c:v>7.2169999999999996</c:v>
                </c:pt>
                <c:pt idx="12417">
                  <c:v>7.2169999999999996</c:v>
                </c:pt>
                <c:pt idx="12418">
                  <c:v>7.2169999999999996</c:v>
                </c:pt>
                <c:pt idx="12419">
                  <c:v>7.2169999999999996</c:v>
                </c:pt>
                <c:pt idx="12420">
                  <c:v>7.2169999999999996</c:v>
                </c:pt>
                <c:pt idx="12421">
                  <c:v>7.218</c:v>
                </c:pt>
                <c:pt idx="12422">
                  <c:v>7.2169999999999996</c:v>
                </c:pt>
                <c:pt idx="12423">
                  <c:v>7.2169999999999996</c:v>
                </c:pt>
                <c:pt idx="12424">
                  <c:v>7.2169999999999996</c:v>
                </c:pt>
                <c:pt idx="12425">
                  <c:v>7.2169999999999996</c:v>
                </c:pt>
                <c:pt idx="12426">
                  <c:v>7.218</c:v>
                </c:pt>
                <c:pt idx="12427">
                  <c:v>7.2169999999999996</c:v>
                </c:pt>
                <c:pt idx="12428">
                  <c:v>7.2169999999999996</c:v>
                </c:pt>
                <c:pt idx="12429">
                  <c:v>7.2169999999999996</c:v>
                </c:pt>
                <c:pt idx="12430">
                  <c:v>7.218</c:v>
                </c:pt>
                <c:pt idx="12431">
                  <c:v>7.2169999999999996</c:v>
                </c:pt>
                <c:pt idx="12432">
                  <c:v>7.2169999999999996</c:v>
                </c:pt>
                <c:pt idx="12433">
                  <c:v>7.2169999999999996</c:v>
                </c:pt>
                <c:pt idx="12434">
                  <c:v>7.2169999999999996</c:v>
                </c:pt>
                <c:pt idx="12435">
                  <c:v>7.2169999999999996</c:v>
                </c:pt>
                <c:pt idx="12436">
                  <c:v>7.2169999999999996</c:v>
                </c:pt>
                <c:pt idx="12437">
                  <c:v>7.2169999999999996</c:v>
                </c:pt>
                <c:pt idx="12438">
                  <c:v>7.2169999999999996</c:v>
                </c:pt>
                <c:pt idx="12439">
                  <c:v>7.2169999999999996</c:v>
                </c:pt>
                <c:pt idx="12440">
                  <c:v>7.2169999999999996</c:v>
                </c:pt>
                <c:pt idx="12441">
                  <c:v>7.2169999999999996</c:v>
                </c:pt>
                <c:pt idx="12442">
                  <c:v>7.2169999999999996</c:v>
                </c:pt>
                <c:pt idx="12443">
                  <c:v>7.2169999999999996</c:v>
                </c:pt>
                <c:pt idx="12444">
                  <c:v>7.2169999999999996</c:v>
                </c:pt>
                <c:pt idx="12445">
                  <c:v>7.2160000000000002</c:v>
                </c:pt>
                <c:pt idx="12446">
                  <c:v>7.2169999999999996</c:v>
                </c:pt>
                <c:pt idx="12447">
                  <c:v>7.2169999999999996</c:v>
                </c:pt>
                <c:pt idx="12448">
                  <c:v>7.2169999999999996</c:v>
                </c:pt>
                <c:pt idx="12449">
                  <c:v>7.2169999999999996</c:v>
                </c:pt>
                <c:pt idx="12450">
                  <c:v>7.2169999999999996</c:v>
                </c:pt>
                <c:pt idx="12451">
                  <c:v>7.2169999999999996</c:v>
                </c:pt>
                <c:pt idx="12452">
                  <c:v>7.2160000000000002</c:v>
                </c:pt>
                <c:pt idx="12453">
                  <c:v>7.2160000000000002</c:v>
                </c:pt>
                <c:pt idx="12454">
                  <c:v>7.2160000000000002</c:v>
                </c:pt>
                <c:pt idx="12455">
                  <c:v>7.2169999999999996</c:v>
                </c:pt>
                <c:pt idx="12456">
                  <c:v>7.2169999999999996</c:v>
                </c:pt>
                <c:pt idx="12457">
                  <c:v>7.2160000000000002</c:v>
                </c:pt>
                <c:pt idx="12458">
                  <c:v>7.2169999999999996</c:v>
                </c:pt>
                <c:pt idx="12459">
                  <c:v>7.2160000000000002</c:v>
                </c:pt>
                <c:pt idx="12460">
                  <c:v>7.2160000000000002</c:v>
                </c:pt>
                <c:pt idx="12461">
                  <c:v>7.2169999999999996</c:v>
                </c:pt>
                <c:pt idx="12462">
                  <c:v>7.2160000000000002</c:v>
                </c:pt>
                <c:pt idx="12463">
                  <c:v>7.2160000000000002</c:v>
                </c:pt>
                <c:pt idx="12464">
                  <c:v>7.2160000000000002</c:v>
                </c:pt>
                <c:pt idx="12465">
                  <c:v>7.2160000000000002</c:v>
                </c:pt>
                <c:pt idx="12466">
                  <c:v>7.2160000000000002</c:v>
                </c:pt>
                <c:pt idx="12467">
                  <c:v>7.2160000000000002</c:v>
                </c:pt>
                <c:pt idx="12468">
                  <c:v>7.2169999999999996</c:v>
                </c:pt>
                <c:pt idx="12469">
                  <c:v>7.2169999999999996</c:v>
                </c:pt>
                <c:pt idx="12470">
                  <c:v>7.2160000000000002</c:v>
                </c:pt>
                <c:pt idx="12471">
                  <c:v>7.2160000000000002</c:v>
                </c:pt>
                <c:pt idx="12472">
                  <c:v>7.2160000000000002</c:v>
                </c:pt>
                <c:pt idx="12473">
                  <c:v>7.2160000000000002</c:v>
                </c:pt>
                <c:pt idx="12474">
                  <c:v>7.2160000000000002</c:v>
                </c:pt>
                <c:pt idx="12475">
                  <c:v>7.2160000000000002</c:v>
                </c:pt>
                <c:pt idx="12476">
                  <c:v>7.2160000000000002</c:v>
                </c:pt>
                <c:pt idx="12477">
                  <c:v>7.2160000000000002</c:v>
                </c:pt>
                <c:pt idx="12478">
                  <c:v>7.2160000000000002</c:v>
                </c:pt>
                <c:pt idx="12479">
                  <c:v>7.2169999999999996</c:v>
                </c:pt>
                <c:pt idx="12480">
                  <c:v>7.2160000000000002</c:v>
                </c:pt>
                <c:pt idx="12481">
                  <c:v>7.2160000000000002</c:v>
                </c:pt>
                <c:pt idx="12482">
                  <c:v>7.2160000000000002</c:v>
                </c:pt>
                <c:pt idx="12483">
                  <c:v>7.2169999999999996</c:v>
                </c:pt>
                <c:pt idx="12484">
                  <c:v>7.2160000000000002</c:v>
                </c:pt>
                <c:pt idx="12485">
                  <c:v>7.2160000000000002</c:v>
                </c:pt>
                <c:pt idx="12486">
                  <c:v>7.2160000000000002</c:v>
                </c:pt>
                <c:pt idx="12487">
                  <c:v>7.2160000000000002</c:v>
                </c:pt>
                <c:pt idx="12488">
                  <c:v>7.2160000000000002</c:v>
                </c:pt>
                <c:pt idx="12489">
                  <c:v>7.2160000000000002</c:v>
                </c:pt>
                <c:pt idx="12490">
                  <c:v>7.2160000000000002</c:v>
                </c:pt>
                <c:pt idx="12491">
                  <c:v>7.2160000000000002</c:v>
                </c:pt>
                <c:pt idx="12492">
                  <c:v>7.2160000000000002</c:v>
                </c:pt>
                <c:pt idx="12493">
                  <c:v>7.2160000000000002</c:v>
                </c:pt>
                <c:pt idx="12494">
                  <c:v>7.2160000000000002</c:v>
                </c:pt>
                <c:pt idx="12495">
                  <c:v>7.2160000000000002</c:v>
                </c:pt>
                <c:pt idx="12496">
                  <c:v>7.2149999999999999</c:v>
                </c:pt>
                <c:pt idx="12497">
                  <c:v>7.2149999999999999</c:v>
                </c:pt>
                <c:pt idx="12498">
                  <c:v>7.2160000000000002</c:v>
                </c:pt>
                <c:pt idx="12499">
                  <c:v>7.2160000000000002</c:v>
                </c:pt>
                <c:pt idx="12500">
                  <c:v>7.2160000000000002</c:v>
                </c:pt>
                <c:pt idx="12501">
                  <c:v>7.2160000000000002</c:v>
                </c:pt>
                <c:pt idx="12502">
                  <c:v>7.2160000000000002</c:v>
                </c:pt>
                <c:pt idx="12503">
                  <c:v>7.2160000000000002</c:v>
                </c:pt>
                <c:pt idx="12504">
                  <c:v>7.2160000000000002</c:v>
                </c:pt>
                <c:pt idx="12505">
                  <c:v>7.2160000000000002</c:v>
                </c:pt>
                <c:pt idx="12506">
                  <c:v>7.2160000000000002</c:v>
                </c:pt>
                <c:pt idx="12507">
                  <c:v>7.2149999999999999</c:v>
                </c:pt>
                <c:pt idx="12508">
                  <c:v>7.2160000000000002</c:v>
                </c:pt>
                <c:pt idx="12509">
                  <c:v>7.2149999999999999</c:v>
                </c:pt>
                <c:pt idx="12510">
                  <c:v>7.2160000000000002</c:v>
                </c:pt>
                <c:pt idx="12511">
                  <c:v>7.2160000000000002</c:v>
                </c:pt>
                <c:pt idx="12512">
                  <c:v>7.2160000000000002</c:v>
                </c:pt>
                <c:pt idx="12513">
                  <c:v>7.2160000000000002</c:v>
                </c:pt>
                <c:pt idx="12514">
                  <c:v>7.2160000000000002</c:v>
                </c:pt>
                <c:pt idx="12515">
                  <c:v>7.2149999999999999</c:v>
                </c:pt>
                <c:pt idx="12516">
                  <c:v>7.2160000000000002</c:v>
                </c:pt>
                <c:pt idx="12517">
                  <c:v>7.2160000000000002</c:v>
                </c:pt>
                <c:pt idx="12518">
                  <c:v>7.2160000000000002</c:v>
                </c:pt>
                <c:pt idx="12519">
                  <c:v>7.2149999999999999</c:v>
                </c:pt>
                <c:pt idx="12520">
                  <c:v>7.2149999999999999</c:v>
                </c:pt>
                <c:pt idx="12521">
                  <c:v>7.2149999999999999</c:v>
                </c:pt>
                <c:pt idx="12522">
                  <c:v>7.2160000000000002</c:v>
                </c:pt>
                <c:pt idx="12523">
                  <c:v>7.2160000000000002</c:v>
                </c:pt>
                <c:pt idx="12524">
                  <c:v>7.2160000000000002</c:v>
                </c:pt>
                <c:pt idx="12525">
                  <c:v>7.2160000000000002</c:v>
                </c:pt>
                <c:pt idx="12526">
                  <c:v>7.2149999999999999</c:v>
                </c:pt>
                <c:pt idx="12527">
                  <c:v>7.2149999999999999</c:v>
                </c:pt>
                <c:pt idx="12528">
                  <c:v>7.2160000000000002</c:v>
                </c:pt>
                <c:pt idx="12529">
                  <c:v>7.2149999999999999</c:v>
                </c:pt>
                <c:pt idx="12530">
                  <c:v>7.2149999999999999</c:v>
                </c:pt>
                <c:pt idx="12531">
                  <c:v>7.2149999999999999</c:v>
                </c:pt>
                <c:pt idx="12532">
                  <c:v>7.2149999999999999</c:v>
                </c:pt>
                <c:pt idx="12533">
                  <c:v>7.2149999999999999</c:v>
                </c:pt>
                <c:pt idx="12534">
                  <c:v>7.2149999999999999</c:v>
                </c:pt>
                <c:pt idx="12535">
                  <c:v>7.2149999999999999</c:v>
                </c:pt>
                <c:pt idx="12536">
                  <c:v>7.2140000000000004</c:v>
                </c:pt>
                <c:pt idx="12537">
                  <c:v>7.2149999999999999</c:v>
                </c:pt>
                <c:pt idx="12538">
                  <c:v>7.2149999999999999</c:v>
                </c:pt>
                <c:pt idx="12539">
                  <c:v>7.2149999999999999</c:v>
                </c:pt>
                <c:pt idx="12540">
                  <c:v>7.2160000000000002</c:v>
                </c:pt>
                <c:pt idx="12541">
                  <c:v>7.2149999999999999</c:v>
                </c:pt>
                <c:pt idx="12542">
                  <c:v>7.2149999999999999</c:v>
                </c:pt>
                <c:pt idx="12543">
                  <c:v>7.2149999999999999</c:v>
                </c:pt>
                <c:pt idx="12544">
                  <c:v>7.2149999999999999</c:v>
                </c:pt>
                <c:pt idx="12545">
                  <c:v>7.2149999999999999</c:v>
                </c:pt>
                <c:pt idx="12546">
                  <c:v>7.2149999999999999</c:v>
                </c:pt>
                <c:pt idx="12547">
                  <c:v>7.2160000000000002</c:v>
                </c:pt>
                <c:pt idx="12548">
                  <c:v>7.2149999999999999</c:v>
                </c:pt>
                <c:pt idx="12549">
                  <c:v>7.2149999999999999</c:v>
                </c:pt>
                <c:pt idx="12550">
                  <c:v>7.2149999999999999</c:v>
                </c:pt>
                <c:pt idx="12551">
                  <c:v>7.2149999999999999</c:v>
                </c:pt>
                <c:pt idx="12552">
                  <c:v>7.2149999999999999</c:v>
                </c:pt>
                <c:pt idx="12553">
                  <c:v>7.2149999999999999</c:v>
                </c:pt>
                <c:pt idx="12554">
                  <c:v>7.2149999999999999</c:v>
                </c:pt>
                <c:pt idx="12555">
                  <c:v>7.2149999999999999</c:v>
                </c:pt>
                <c:pt idx="12556">
                  <c:v>7.2149999999999999</c:v>
                </c:pt>
                <c:pt idx="12557">
                  <c:v>7.2149999999999999</c:v>
                </c:pt>
                <c:pt idx="12558">
                  <c:v>7.2149999999999999</c:v>
                </c:pt>
                <c:pt idx="12559">
                  <c:v>7.2149999999999999</c:v>
                </c:pt>
                <c:pt idx="12560">
                  <c:v>7.2149999999999999</c:v>
                </c:pt>
                <c:pt idx="12561">
                  <c:v>7.2149999999999999</c:v>
                </c:pt>
                <c:pt idx="12562">
                  <c:v>7.2140000000000004</c:v>
                </c:pt>
                <c:pt idx="12563">
                  <c:v>7.2149999999999999</c:v>
                </c:pt>
                <c:pt idx="12564">
                  <c:v>7.2149999999999999</c:v>
                </c:pt>
                <c:pt idx="12565">
                  <c:v>7.2149999999999999</c:v>
                </c:pt>
                <c:pt idx="12566">
                  <c:v>7.2149999999999999</c:v>
                </c:pt>
                <c:pt idx="12567">
                  <c:v>7.2149999999999999</c:v>
                </c:pt>
                <c:pt idx="12568">
                  <c:v>7.2140000000000004</c:v>
                </c:pt>
                <c:pt idx="12569">
                  <c:v>7.2140000000000004</c:v>
                </c:pt>
                <c:pt idx="12570">
                  <c:v>7.2149999999999999</c:v>
                </c:pt>
                <c:pt idx="12571">
                  <c:v>7.2140000000000004</c:v>
                </c:pt>
                <c:pt idx="12572">
                  <c:v>7.2140000000000004</c:v>
                </c:pt>
                <c:pt idx="12573">
                  <c:v>7.2149999999999999</c:v>
                </c:pt>
                <c:pt idx="12574">
                  <c:v>7.2149999999999999</c:v>
                </c:pt>
                <c:pt idx="12575">
                  <c:v>7.2140000000000004</c:v>
                </c:pt>
                <c:pt idx="12576">
                  <c:v>7.2140000000000004</c:v>
                </c:pt>
                <c:pt idx="12577">
                  <c:v>7.2149999999999999</c:v>
                </c:pt>
                <c:pt idx="12578">
                  <c:v>7.2149999999999999</c:v>
                </c:pt>
                <c:pt idx="12579">
                  <c:v>7.2140000000000004</c:v>
                </c:pt>
                <c:pt idx="12580">
                  <c:v>7.2149999999999999</c:v>
                </c:pt>
                <c:pt idx="12581">
                  <c:v>7.2149999999999999</c:v>
                </c:pt>
                <c:pt idx="12582">
                  <c:v>7.2140000000000004</c:v>
                </c:pt>
                <c:pt idx="12583">
                  <c:v>7.2149999999999999</c:v>
                </c:pt>
                <c:pt idx="12584">
                  <c:v>7.2140000000000004</c:v>
                </c:pt>
                <c:pt idx="12585">
                  <c:v>7.2140000000000004</c:v>
                </c:pt>
                <c:pt idx="12586">
                  <c:v>7.2140000000000004</c:v>
                </c:pt>
                <c:pt idx="12587">
                  <c:v>7.2149999999999999</c:v>
                </c:pt>
                <c:pt idx="12588">
                  <c:v>7.2140000000000004</c:v>
                </c:pt>
                <c:pt idx="12589">
                  <c:v>7.2149999999999999</c:v>
                </c:pt>
                <c:pt idx="12590">
                  <c:v>7.2140000000000004</c:v>
                </c:pt>
                <c:pt idx="12591">
                  <c:v>7.2140000000000004</c:v>
                </c:pt>
                <c:pt idx="12592">
                  <c:v>7.2140000000000004</c:v>
                </c:pt>
                <c:pt idx="12593">
                  <c:v>7.2140000000000004</c:v>
                </c:pt>
                <c:pt idx="12594">
                  <c:v>7.2140000000000004</c:v>
                </c:pt>
                <c:pt idx="12595">
                  <c:v>7.2140000000000004</c:v>
                </c:pt>
                <c:pt idx="12596">
                  <c:v>7.2140000000000004</c:v>
                </c:pt>
                <c:pt idx="12597">
                  <c:v>7.2140000000000004</c:v>
                </c:pt>
                <c:pt idx="12598">
                  <c:v>7.2149999999999999</c:v>
                </c:pt>
                <c:pt idx="12599">
                  <c:v>7.2140000000000004</c:v>
                </c:pt>
                <c:pt idx="12600">
                  <c:v>7.2149999999999999</c:v>
                </c:pt>
                <c:pt idx="12601">
                  <c:v>7.2140000000000004</c:v>
                </c:pt>
                <c:pt idx="12602">
                  <c:v>7.2140000000000004</c:v>
                </c:pt>
                <c:pt idx="12603">
                  <c:v>7.2140000000000004</c:v>
                </c:pt>
                <c:pt idx="12604">
                  <c:v>7.2140000000000004</c:v>
                </c:pt>
                <c:pt idx="12605">
                  <c:v>7.2140000000000004</c:v>
                </c:pt>
                <c:pt idx="12606">
                  <c:v>7.2140000000000004</c:v>
                </c:pt>
                <c:pt idx="12607">
                  <c:v>7.2140000000000004</c:v>
                </c:pt>
                <c:pt idx="12608">
                  <c:v>7.2140000000000004</c:v>
                </c:pt>
                <c:pt idx="12609">
                  <c:v>7.2140000000000004</c:v>
                </c:pt>
                <c:pt idx="12610">
                  <c:v>7.2149999999999999</c:v>
                </c:pt>
                <c:pt idx="12611">
                  <c:v>7.2140000000000004</c:v>
                </c:pt>
                <c:pt idx="12612">
                  <c:v>7.2140000000000004</c:v>
                </c:pt>
                <c:pt idx="12613">
                  <c:v>7.2140000000000004</c:v>
                </c:pt>
                <c:pt idx="12614">
                  <c:v>7.2140000000000004</c:v>
                </c:pt>
                <c:pt idx="12615">
                  <c:v>7.2140000000000004</c:v>
                </c:pt>
                <c:pt idx="12616">
                  <c:v>7.2140000000000004</c:v>
                </c:pt>
                <c:pt idx="12617">
                  <c:v>7.2140000000000004</c:v>
                </c:pt>
                <c:pt idx="12618">
                  <c:v>7.2140000000000004</c:v>
                </c:pt>
                <c:pt idx="12619">
                  <c:v>7.2140000000000004</c:v>
                </c:pt>
                <c:pt idx="12620">
                  <c:v>7.2140000000000004</c:v>
                </c:pt>
                <c:pt idx="12621">
                  <c:v>7.2149999999999999</c:v>
                </c:pt>
                <c:pt idx="12622">
                  <c:v>7.2140000000000004</c:v>
                </c:pt>
                <c:pt idx="12623">
                  <c:v>7.2140000000000004</c:v>
                </c:pt>
                <c:pt idx="12624">
                  <c:v>7.2140000000000004</c:v>
                </c:pt>
                <c:pt idx="12625">
                  <c:v>7.2140000000000004</c:v>
                </c:pt>
                <c:pt idx="12626">
                  <c:v>7.2140000000000004</c:v>
                </c:pt>
                <c:pt idx="12627">
                  <c:v>7.2140000000000004</c:v>
                </c:pt>
                <c:pt idx="12628">
                  <c:v>7.2140000000000004</c:v>
                </c:pt>
                <c:pt idx="12629">
                  <c:v>7.2140000000000004</c:v>
                </c:pt>
                <c:pt idx="12630">
                  <c:v>7.2140000000000004</c:v>
                </c:pt>
                <c:pt idx="12631">
                  <c:v>7.2140000000000004</c:v>
                </c:pt>
                <c:pt idx="12632">
                  <c:v>7.2140000000000004</c:v>
                </c:pt>
                <c:pt idx="12633">
                  <c:v>7.2140000000000004</c:v>
                </c:pt>
                <c:pt idx="12634">
                  <c:v>7.2149999999999999</c:v>
                </c:pt>
                <c:pt idx="12635">
                  <c:v>7.2140000000000004</c:v>
                </c:pt>
                <c:pt idx="12636">
                  <c:v>7.2140000000000004</c:v>
                </c:pt>
                <c:pt idx="12637">
                  <c:v>7.2140000000000004</c:v>
                </c:pt>
                <c:pt idx="12638">
                  <c:v>7.2140000000000004</c:v>
                </c:pt>
                <c:pt idx="12639">
                  <c:v>7.2130000000000001</c:v>
                </c:pt>
                <c:pt idx="12640">
                  <c:v>7.2140000000000004</c:v>
                </c:pt>
                <c:pt idx="12641">
                  <c:v>7.2130000000000001</c:v>
                </c:pt>
                <c:pt idx="12642">
                  <c:v>7.2140000000000004</c:v>
                </c:pt>
                <c:pt idx="12643">
                  <c:v>7.2140000000000004</c:v>
                </c:pt>
                <c:pt idx="12644">
                  <c:v>7.2140000000000004</c:v>
                </c:pt>
                <c:pt idx="12645">
                  <c:v>7.2140000000000004</c:v>
                </c:pt>
                <c:pt idx="12646">
                  <c:v>7.2140000000000004</c:v>
                </c:pt>
                <c:pt idx="12647">
                  <c:v>7.2140000000000004</c:v>
                </c:pt>
                <c:pt idx="12648">
                  <c:v>7.2140000000000004</c:v>
                </c:pt>
                <c:pt idx="12649">
                  <c:v>7.2140000000000004</c:v>
                </c:pt>
                <c:pt idx="12650">
                  <c:v>7.2130000000000001</c:v>
                </c:pt>
                <c:pt idx="12651">
                  <c:v>7.2140000000000004</c:v>
                </c:pt>
                <c:pt idx="12652">
                  <c:v>7.2140000000000004</c:v>
                </c:pt>
                <c:pt idx="12653">
                  <c:v>7.2140000000000004</c:v>
                </c:pt>
                <c:pt idx="12654">
                  <c:v>7.2140000000000004</c:v>
                </c:pt>
                <c:pt idx="12655">
                  <c:v>7.2130000000000001</c:v>
                </c:pt>
                <c:pt idx="12656">
                  <c:v>7.2130000000000001</c:v>
                </c:pt>
                <c:pt idx="12657">
                  <c:v>7.2130000000000001</c:v>
                </c:pt>
                <c:pt idx="12658">
                  <c:v>7.2140000000000004</c:v>
                </c:pt>
                <c:pt idx="12659">
                  <c:v>7.2140000000000004</c:v>
                </c:pt>
                <c:pt idx="12660">
                  <c:v>7.2130000000000001</c:v>
                </c:pt>
                <c:pt idx="12661">
                  <c:v>7.2130000000000001</c:v>
                </c:pt>
                <c:pt idx="12662">
                  <c:v>7.2130000000000001</c:v>
                </c:pt>
                <c:pt idx="12663">
                  <c:v>7.2130000000000001</c:v>
                </c:pt>
                <c:pt idx="12664">
                  <c:v>7.2130000000000001</c:v>
                </c:pt>
                <c:pt idx="12665">
                  <c:v>7.2130000000000001</c:v>
                </c:pt>
                <c:pt idx="12666">
                  <c:v>7.2130000000000001</c:v>
                </c:pt>
                <c:pt idx="12667">
                  <c:v>7.2130000000000001</c:v>
                </c:pt>
                <c:pt idx="12668">
                  <c:v>7.2140000000000004</c:v>
                </c:pt>
                <c:pt idx="12669">
                  <c:v>7.2130000000000001</c:v>
                </c:pt>
                <c:pt idx="12670">
                  <c:v>7.2130000000000001</c:v>
                </c:pt>
                <c:pt idx="12671">
                  <c:v>7.2140000000000004</c:v>
                </c:pt>
                <c:pt idx="12672">
                  <c:v>7.2130000000000001</c:v>
                </c:pt>
                <c:pt idx="12673">
                  <c:v>7.2130000000000001</c:v>
                </c:pt>
                <c:pt idx="12674">
                  <c:v>7.2130000000000001</c:v>
                </c:pt>
                <c:pt idx="12675">
                  <c:v>7.2130000000000001</c:v>
                </c:pt>
                <c:pt idx="12676">
                  <c:v>7.2130000000000001</c:v>
                </c:pt>
                <c:pt idx="12677">
                  <c:v>7.2130000000000001</c:v>
                </c:pt>
                <c:pt idx="12678">
                  <c:v>7.2130000000000001</c:v>
                </c:pt>
                <c:pt idx="12679">
                  <c:v>7.2130000000000001</c:v>
                </c:pt>
                <c:pt idx="12680">
                  <c:v>7.2130000000000001</c:v>
                </c:pt>
                <c:pt idx="12681">
                  <c:v>7.2130000000000001</c:v>
                </c:pt>
                <c:pt idx="12682">
                  <c:v>7.2130000000000001</c:v>
                </c:pt>
                <c:pt idx="12683">
                  <c:v>7.2130000000000001</c:v>
                </c:pt>
                <c:pt idx="12684">
                  <c:v>7.2130000000000001</c:v>
                </c:pt>
                <c:pt idx="12685">
                  <c:v>7.2130000000000001</c:v>
                </c:pt>
                <c:pt idx="12686">
                  <c:v>7.2130000000000001</c:v>
                </c:pt>
                <c:pt idx="12687">
                  <c:v>7.2130000000000001</c:v>
                </c:pt>
                <c:pt idx="12688">
                  <c:v>7.2130000000000001</c:v>
                </c:pt>
                <c:pt idx="12689">
                  <c:v>7.2130000000000001</c:v>
                </c:pt>
                <c:pt idx="12690">
                  <c:v>7.2130000000000001</c:v>
                </c:pt>
                <c:pt idx="12691">
                  <c:v>7.2119999999999997</c:v>
                </c:pt>
                <c:pt idx="12692">
                  <c:v>7.2130000000000001</c:v>
                </c:pt>
                <c:pt idx="12693">
                  <c:v>7.2130000000000001</c:v>
                </c:pt>
                <c:pt idx="12694">
                  <c:v>7.2130000000000001</c:v>
                </c:pt>
                <c:pt idx="12695">
                  <c:v>7.2130000000000001</c:v>
                </c:pt>
                <c:pt idx="12696">
                  <c:v>7.2130000000000001</c:v>
                </c:pt>
                <c:pt idx="12697">
                  <c:v>7.2119999999999997</c:v>
                </c:pt>
                <c:pt idx="12698">
                  <c:v>7.2130000000000001</c:v>
                </c:pt>
                <c:pt idx="12699">
                  <c:v>7.2130000000000001</c:v>
                </c:pt>
                <c:pt idx="12700">
                  <c:v>7.2130000000000001</c:v>
                </c:pt>
                <c:pt idx="12701">
                  <c:v>7.2119999999999997</c:v>
                </c:pt>
                <c:pt idx="12702">
                  <c:v>7.2130000000000001</c:v>
                </c:pt>
                <c:pt idx="12703">
                  <c:v>7.2130000000000001</c:v>
                </c:pt>
                <c:pt idx="12704">
                  <c:v>7.2130000000000001</c:v>
                </c:pt>
                <c:pt idx="12705">
                  <c:v>7.2130000000000001</c:v>
                </c:pt>
                <c:pt idx="12706">
                  <c:v>7.2119999999999997</c:v>
                </c:pt>
                <c:pt idx="12707">
                  <c:v>7.2130000000000001</c:v>
                </c:pt>
                <c:pt idx="12708">
                  <c:v>7.2119999999999997</c:v>
                </c:pt>
                <c:pt idx="12709">
                  <c:v>7.2130000000000001</c:v>
                </c:pt>
                <c:pt idx="12710">
                  <c:v>7.2130000000000001</c:v>
                </c:pt>
                <c:pt idx="12711">
                  <c:v>7.2119999999999997</c:v>
                </c:pt>
                <c:pt idx="12712">
                  <c:v>7.2119999999999997</c:v>
                </c:pt>
                <c:pt idx="12713">
                  <c:v>7.2119999999999997</c:v>
                </c:pt>
                <c:pt idx="12714">
                  <c:v>7.2119999999999997</c:v>
                </c:pt>
                <c:pt idx="12715">
                  <c:v>7.2130000000000001</c:v>
                </c:pt>
                <c:pt idx="12716">
                  <c:v>7.2119999999999997</c:v>
                </c:pt>
                <c:pt idx="12717">
                  <c:v>7.2119999999999997</c:v>
                </c:pt>
                <c:pt idx="12718">
                  <c:v>7.2130000000000001</c:v>
                </c:pt>
                <c:pt idx="12719">
                  <c:v>7.2119999999999997</c:v>
                </c:pt>
                <c:pt idx="12720">
                  <c:v>7.2119999999999997</c:v>
                </c:pt>
                <c:pt idx="12721">
                  <c:v>7.2119999999999997</c:v>
                </c:pt>
                <c:pt idx="12722">
                  <c:v>7.2130000000000001</c:v>
                </c:pt>
                <c:pt idx="12723">
                  <c:v>7.2130000000000001</c:v>
                </c:pt>
                <c:pt idx="12724">
                  <c:v>7.2119999999999997</c:v>
                </c:pt>
                <c:pt idx="12725">
                  <c:v>7.2119999999999997</c:v>
                </c:pt>
                <c:pt idx="12726">
                  <c:v>7.2119999999999997</c:v>
                </c:pt>
                <c:pt idx="12727">
                  <c:v>7.2119999999999997</c:v>
                </c:pt>
                <c:pt idx="12728">
                  <c:v>7.2119999999999997</c:v>
                </c:pt>
                <c:pt idx="12729">
                  <c:v>7.2119999999999997</c:v>
                </c:pt>
                <c:pt idx="12730">
                  <c:v>7.2119999999999997</c:v>
                </c:pt>
                <c:pt idx="12731">
                  <c:v>7.2119999999999997</c:v>
                </c:pt>
                <c:pt idx="12732">
                  <c:v>7.2119999999999997</c:v>
                </c:pt>
                <c:pt idx="12733">
                  <c:v>7.2119999999999997</c:v>
                </c:pt>
                <c:pt idx="12734">
                  <c:v>7.2119999999999997</c:v>
                </c:pt>
                <c:pt idx="12735">
                  <c:v>7.2119999999999997</c:v>
                </c:pt>
                <c:pt idx="12736">
                  <c:v>7.2119999999999997</c:v>
                </c:pt>
                <c:pt idx="12737">
                  <c:v>7.2130000000000001</c:v>
                </c:pt>
                <c:pt idx="12738">
                  <c:v>7.2119999999999997</c:v>
                </c:pt>
                <c:pt idx="12739">
                  <c:v>7.2130000000000001</c:v>
                </c:pt>
                <c:pt idx="12740">
                  <c:v>7.2119999999999997</c:v>
                </c:pt>
                <c:pt idx="12741">
                  <c:v>7.2119999999999997</c:v>
                </c:pt>
                <c:pt idx="12742">
                  <c:v>7.2119999999999997</c:v>
                </c:pt>
                <c:pt idx="12743">
                  <c:v>7.2119999999999997</c:v>
                </c:pt>
                <c:pt idx="12744">
                  <c:v>7.2119999999999997</c:v>
                </c:pt>
                <c:pt idx="12745">
                  <c:v>7.2119999999999997</c:v>
                </c:pt>
                <c:pt idx="12746">
                  <c:v>7.2119999999999997</c:v>
                </c:pt>
                <c:pt idx="12747">
                  <c:v>7.2119999999999997</c:v>
                </c:pt>
                <c:pt idx="12748">
                  <c:v>7.2119999999999997</c:v>
                </c:pt>
                <c:pt idx="12749">
                  <c:v>7.2119999999999997</c:v>
                </c:pt>
                <c:pt idx="12750">
                  <c:v>7.2119999999999997</c:v>
                </c:pt>
                <c:pt idx="12751">
                  <c:v>7.2119999999999997</c:v>
                </c:pt>
                <c:pt idx="12752">
                  <c:v>7.2119999999999997</c:v>
                </c:pt>
                <c:pt idx="12753">
                  <c:v>7.2119999999999997</c:v>
                </c:pt>
                <c:pt idx="12754">
                  <c:v>7.2119999999999997</c:v>
                </c:pt>
                <c:pt idx="12755">
                  <c:v>7.2110000000000003</c:v>
                </c:pt>
                <c:pt idx="12756">
                  <c:v>7.2119999999999997</c:v>
                </c:pt>
                <c:pt idx="12757">
                  <c:v>7.2119999999999997</c:v>
                </c:pt>
                <c:pt idx="12758">
                  <c:v>7.2110000000000003</c:v>
                </c:pt>
                <c:pt idx="12759">
                  <c:v>7.2110000000000003</c:v>
                </c:pt>
                <c:pt idx="12760">
                  <c:v>7.2119999999999997</c:v>
                </c:pt>
                <c:pt idx="12761">
                  <c:v>7.2110000000000003</c:v>
                </c:pt>
                <c:pt idx="12762">
                  <c:v>7.2119999999999997</c:v>
                </c:pt>
                <c:pt idx="12763">
                  <c:v>7.2110000000000003</c:v>
                </c:pt>
                <c:pt idx="12764">
                  <c:v>7.2119999999999997</c:v>
                </c:pt>
                <c:pt idx="12765">
                  <c:v>7.2119999999999997</c:v>
                </c:pt>
                <c:pt idx="12766">
                  <c:v>7.2110000000000003</c:v>
                </c:pt>
                <c:pt idx="12767">
                  <c:v>7.2119999999999997</c:v>
                </c:pt>
                <c:pt idx="12768">
                  <c:v>7.2119999999999997</c:v>
                </c:pt>
                <c:pt idx="12769">
                  <c:v>7.2119999999999997</c:v>
                </c:pt>
                <c:pt idx="12770">
                  <c:v>7.2110000000000003</c:v>
                </c:pt>
                <c:pt idx="12771">
                  <c:v>7.2119999999999997</c:v>
                </c:pt>
                <c:pt idx="12772">
                  <c:v>7.2110000000000003</c:v>
                </c:pt>
                <c:pt idx="12773">
                  <c:v>7.2110000000000003</c:v>
                </c:pt>
                <c:pt idx="12774">
                  <c:v>7.2119999999999997</c:v>
                </c:pt>
                <c:pt idx="12775">
                  <c:v>7.2119999999999997</c:v>
                </c:pt>
                <c:pt idx="12776">
                  <c:v>7.2110000000000003</c:v>
                </c:pt>
                <c:pt idx="12777">
                  <c:v>7.2119999999999997</c:v>
                </c:pt>
                <c:pt idx="12778">
                  <c:v>7.2110000000000003</c:v>
                </c:pt>
                <c:pt idx="12779">
                  <c:v>7.2119999999999997</c:v>
                </c:pt>
                <c:pt idx="12780">
                  <c:v>7.2110000000000003</c:v>
                </c:pt>
                <c:pt idx="12781">
                  <c:v>7.2110000000000003</c:v>
                </c:pt>
                <c:pt idx="12782">
                  <c:v>7.2110000000000003</c:v>
                </c:pt>
                <c:pt idx="12783">
                  <c:v>7.2110000000000003</c:v>
                </c:pt>
                <c:pt idx="12784">
                  <c:v>7.2110000000000003</c:v>
                </c:pt>
                <c:pt idx="12785">
                  <c:v>7.2110000000000003</c:v>
                </c:pt>
                <c:pt idx="12786">
                  <c:v>7.2110000000000003</c:v>
                </c:pt>
                <c:pt idx="12787">
                  <c:v>7.2110000000000003</c:v>
                </c:pt>
                <c:pt idx="12788">
                  <c:v>7.2110000000000003</c:v>
                </c:pt>
                <c:pt idx="12789">
                  <c:v>7.2110000000000003</c:v>
                </c:pt>
                <c:pt idx="12790">
                  <c:v>7.2110000000000003</c:v>
                </c:pt>
                <c:pt idx="12791">
                  <c:v>7.2110000000000003</c:v>
                </c:pt>
                <c:pt idx="12792">
                  <c:v>7.2110000000000003</c:v>
                </c:pt>
                <c:pt idx="12793">
                  <c:v>7.2110000000000003</c:v>
                </c:pt>
                <c:pt idx="12794">
                  <c:v>7.2110000000000003</c:v>
                </c:pt>
                <c:pt idx="12795">
                  <c:v>7.2110000000000003</c:v>
                </c:pt>
                <c:pt idx="12796">
                  <c:v>7.2110000000000003</c:v>
                </c:pt>
                <c:pt idx="12797">
                  <c:v>7.2110000000000003</c:v>
                </c:pt>
                <c:pt idx="12798">
                  <c:v>7.2110000000000003</c:v>
                </c:pt>
                <c:pt idx="12799">
                  <c:v>7.2110000000000003</c:v>
                </c:pt>
                <c:pt idx="12800">
                  <c:v>7.2110000000000003</c:v>
                </c:pt>
                <c:pt idx="12801">
                  <c:v>7.2110000000000003</c:v>
                </c:pt>
                <c:pt idx="12802">
                  <c:v>7.21</c:v>
                </c:pt>
                <c:pt idx="12803">
                  <c:v>7.21</c:v>
                </c:pt>
                <c:pt idx="12804">
                  <c:v>7.21</c:v>
                </c:pt>
                <c:pt idx="12805">
                  <c:v>7.21</c:v>
                </c:pt>
                <c:pt idx="12806">
                  <c:v>7.2110000000000003</c:v>
                </c:pt>
                <c:pt idx="12807">
                  <c:v>7.2110000000000003</c:v>
                </c:pt>
                <c:pt idx="12808">
                  <c:v>7.21</c:v>
                </c:pt>
                <c:pt idx="12809">
                  <c:v>7.2110000000000003</c:v>
                </c:pt>
                <c:pt idx="12810">
                  <c:v>7.21</c:v>
                </c:pt>
                <c:pt idx="12811">
                  <c:v>7.2110000000000003</c:v>
                </c:pt>
                <c:pt idx="12812">
                  <c:v>7.2110000000000003</c:v>
                </c:pt>
                <c:pt idx="12813">
                  <c:v>7.2110000000000003</c:v>
                </c:pt>
                <c:pt idx="12814">
                  <c:v>7.21</c:v>
                </c:pt>
                <c:pt idx="12815">
                  <c:v>7.21</c:v>
                </c:pt>
                <c:pt idx="12816">
                  <c:v>7.21</c:v>
                </c:pt>
                <c:pt idx="12817">
                  <c:v>7.21</c:v>
                </c:pt>
                <c:pt idx="12818">
                  <c:v>7.21</c:v>
                </c:pt>
                <c:pt idx="12819">
                  <c:v>7.21</c:v>
                </c:pt>
                <c:pt idx="12820">
                  <c:v>7.21</c:v>
                </c:pt>
                <c:pt idx="12821">
                  <c:v>7.2110000000000003</c:v>
                </c:pt>
                <c:pt idx="12822">
                  <c:v>7.21</c:v>
                </c:pt>
                <c:pt idx="12823">
                  <c:v>7.2110000000000003</c:v>
                </c:pt>
                <c:pt idx="12824">
                  <c:v>7.21</c:v>
                </c:pt>
                <c:pt idx="12825">
                  <c:v>7.21</c:v>
                </c:pt>
                <c:pt idx="12826">
                  <c:v>7.2110000000000003</c:v>
                </c:pt>
                <c:pt idx="12827">
                  <c:v>7.21</c:v>
                </c:pt>
                <c:pt idx="12828">
                  <c:v>7.2110000000000003</c:v>
                </c:pt>
                <c:pt idx="12829">
                  <c:v>7.2089999999999996</c:v>
                </c:pt>
                <c:pt idx="12830">
                  <c:v>7.21</c:v>
                </c:pt>
                <c:pt idx="12831">
                  <c:v>7.2110000000000003</c:v>
                </c:pt>
                <c:pt idx="12832">
                  <c:v>7.21</c:v>
                </c:pt>
                <c:pt idx="12833">
                  <c:v>7.21</c:v>
                </c:pt>
                <c:pt idx="12834">
                  <c:v>7.21</c:v>
                </c:pt>
                <c:pt idx="12835">
                  <c:v>7.21</c:v>
                </c:pt>
                <c:pt idx="12836">
                  <c:v>7.2110000000000003</c:v>
                </c:pt>
                <c:pt idx="12837">
                  <c:v>7.21</c:v>
                </c:pt>
                <c:pt idx="12838">
                  <c:v>7.21</c:v>
                </c:pt>
                <c:pt idx="12839">
                  <c:v>7.21</c:v>
                </c:pt>
                <c:pt idx="12840">
                  <c:v>7.21</c:v>
                </c:pt>
                <c:pt idx="12841">
                  <c:v>7.21</c:v>
                </c:pt>
                <c:pt idx="12842">
                  <c:v>7.21</c:v>
                </c:pt>
                <c:pt idx="12843">
                  <c:v>7.21</c:v>
                </c:pt>
                <c:pt idx="12844">
                  <c:v>7.21</c:v>
                </c:pt>
                <c:pt idx="12845">
                  <c:v>7.21</c:v>
                </c:pt>
                <c:pt idx="12846">
                  <c:v>7.2110000000000003</c:v>
                </c:pt>
                <c:pt idx="12847">
                  <c:v>7.21</c:v>
                </c:pt>
                <c:pt idx="12848">
                  <c:v>7.21</c:v>
                </c:pt>
                <c:pt idx="12849">
                  <c:v>7.2089999999999996</c:v>
                </c:pt>
                <c:pt idx="12850">
                  <c:v>7.21</c:v>
                </c:pt>
                <c:pt idx="12851">
                  <c:v>7.21</c:v>
                </c:pt>
                <c:pt idx="12852">
                  <c:v>7.21</c:v>
                </c:pt>
                <c:pt idx="12853">
                  <c:v>7.21</c:v>
                </c:pt>
                <c:pt idx="12854">
                  <c:v>7.21</c:v>
                </c:pt>
                <c:pt idx="12855">
                  <c:v>7.21</c:v>
                </c:pt>
                <c:pt idx="12856">
                  <c:v>7.21</c:v>
                </c:pt>
                <c:pt idx="12857">
                  <c:v>7.21</c:v>
                </c:pt>
                <c:pt idx="12858">
                  <c:v>7.21</c:v>
                </c:pt>
                <c:pt idx="12859">
                  <c:v>7.21</c:v>
                </c:pt>
                <c:pt idx="12860">
                  <c:v>7.21</c:v>
                </c:pt>
                <c:pt idx="12861">
                  <c:v>7.21</c:v>
                </c:pt>
                <c:pt idx="12862">
                  <c:v>7.21</c:v>
                </c:pt>
                <c:pt idx="12863">
                  <c:v>7.2089999999999996</c:v>
                </c:pt>
                <c:pt idx="12864">
                  <c:v>7.2089999999999996</c:v>
                </c:pt>
                <c:pt idx="12865">
                  <c:v>7.2089999999999996</c:v>
                </c:pt>
                <c:pt idx="12866">
                  <c:v>7.21</c:v>
                </c:pt>
                <c:pt idx="12867">
                  <c:v>7.2089999999999996</c:v>
                </c:pt>
                <c:pt idx="12868">
                  <c:v>7.21</c:v>
                </c:pt>
                <c:pt idx="12869">
                  <c:v>7.21</c:v>
                </c:pt>
                <c:pt idx="12870">
                  <c:v>7.2089999999999996</c:v>
                </c:pt>
                <c:pt idx="12871">
                  <c:v>7.2089999999999996</c:v>
                </c:pt>
                <c:pt idx="12872">
                  <c:v>7.2089999999999996</c:v>
                </c:pt>
                <c:pt idx="12873">
                  <c:v>7.21</c:v>
                </c:pt>
                <c:pt idx="12874">
                  <c:v>7.21</c:v>
                </c:pt>
                <c:pt idx="12875">
                  <c:v>7.2089999999999996</c:v>
                </c:pt>
                <c:pt idx="12876">
                  <c:v>7.2089999999999996</c:v>
                </c:pt>
                <c:pt idx="12877">
                  <c:v>7.2089999999999996</c:v>
                </c:pt>
                <c:pt idx="12878">
                  <c:v>7.2089999999999996</c:v>
                </c:pt>
                <c:pt idx="12879">
                  <c:v>7.2089999999999996</c:v>
                </c:pt>
                <c:pt idx="12880">
                  <c:v>7.2089999999999996</c:v>
                </c:pt>
                <c:pt idx="12881">
                  <c:v>7.2089999999999996</c:v>
                </c:pt>
                <c:pt idx="12882">
                  <c:v>7.2089999999999996</c:v>
                </c:pt>
                <c:pt idx="12883">
                  <c:v>7.2089999999999996</c:v>
                </c:pt>
                <c:pt idx="12884">
                  <c:v>7.2089999999999996</c:v>
                </c:pt>
                <c:pt idx="12885">
                  <c:v>7.2089999999999996</c:v>
                </c:pt>
                <c:pt idx="12886">
                  <c:v>7.2089999999999996</c:v>
                </c:pt>
                <c:pt idx="12887">
                  <c:v>7.2089999999999996</c:v>
                </c:pt>
                <c:pt idx="12888">
                  <c:v>7.2089999999999996</c:v>
                </c:pt>
                <c:pt idx="12889">
                  <c:v>7.2089999999999996</c:v>
                </c:pt>
                <c:pt idx="12890">
                  <c:v>7.2089999999999996</c:v>
                </c:pt>
                <c:pt idx="12891">
                  <c:v>7.2089999999999996</c:v>
                </c:pt>
                <c:pt idx="12892">
                  <c:v>7.2089999999999996</c:v>
                </c:pt>
                <c:pt idx="12893">
                  <c:v>7.2089999999999996</c:v>
                </c:pt>
                <c:pt idx="12894">
                  <c:v>7.2089999999999996</c:v>
                </c:pt>
                <c:pt idx="12895">
                  <c:v>7.2089999999999996</c:v>
                </c:pt>
                <c:pt idx="12896">
                  <c:v>7.2089999999999996</c:v>
                </c:pt>
                <c:pt idx="12897">
                  <c:v>7.2089999999999996</c:v>
                </c:pt>
                <c:pt idx="12898">
                  <c:v>7.2089999999999996</c:v>
                </c:pt>
                <c:pt idx="12899">
                  <c:v>7.21</c:v>
                </c:pt>
                <c:pt idx="12900">
                  <c:v>7.2089999999999996</c:v>
                </c:pt>
                <c:pt idx="12901">
                  <c:v>7.2089999999999996</c:v>
                </c:pt>
                <c:pt idx="12902">
                  <c:v>7.2089999999999996</c:v>
                </c:pt>
                <c:pt idx="12903">
                  <c:v>7.2089999999999996</c:v>
                </c:pt>
                <c:pt idx="12904">
                  <c:v>7.2080000000000002</c:v>
                </c:pt>
                <c:pt idx="12905">
                  <c:v>7.2089999999999996</c:v>
                </c:pt>
                <c:pt idx="12906">
                  <c:v>7.2080000000000002</c:v>
                </c:pt>
                <c:pt idx="12907">
                  <c:v>7.2089999999999996</c:v>
                </c:pt>
                <c:pt idx="12908">
                  <c:v>7.2089999999999996</c:v>
                </c:pt>
                <c:pt idx="12909">
                  <c:v>7.2089999999999996</c:v>
                </c:pt>
                <c:pt idx="12910">
                  <c:v>7.2080000000000002</c:v>
                </c:pt>
                <c:pt idx="12911">
                  <c:v>7.2089999999999996</c:v>
                </c:pt>
                <c:pt idx="12912">
                  <c:v>7.2089999999999996</c:v>
                </c:pt>
                <c:pt idx="12913">
                  <c:v>7.2080000000000002</c:v>
                </c:pt>
                <c:pt idx="12914">
                  <c:v>7.2089999999999996</c:v>
                </c:pt>
                <c:pt idx="12915">
                  <c:v>7.2080000000000002</c:v>
                </c:pt>
                <c:pt idx="12916">
                  <c:v>7.2080000000000002</c:v>
                </c:pt>
                <c:pt idx="12917">
                  <c:v>7.2080000000000002</c:v>
                </c:pt>
                <c:pt idx="12918">
                  <c:v>7.2080000000000002</c:v>
                </c:pt>
                <c:pt idx="12919">
                  <c:v>7.2080000000000002</c:v>
                </c:pt>
                <c:pt idx="12920">
                  <c:v>7.2080000000000002</c:v>
                </c:pt>
                <c:pt idx="12921">
                  <c:v>7.2089999999999996</c:v>
                </c:pt>
                <c:pt idx="12922">
                  <c:v>7.2080000000000002</c:v>
                </c:pt>
                <c:pt idx="12923">
                  <c:v>7.2080000000000002</c:v>
                </c:pt>
                <c:pt idx="12924">
                  <c:v>7.2080000000000002</c:v>
                </c:pt>
                <c:pt idx="12925">
                  <c:v>7.2089999999999996</c:v>
                </c:pt>
                <c:pt idx="12926">
                  <c:v>7.2080000000000002</c:v>
                </c:pt>
                <c:pt idx="12927">
                  <c:v>7.2080000000000002</c:v>
                </c:pt>
                <c:pt idx="12928">
                  <c:v>7.2080000000000002</c:v>
                </c:pt>
                <c:pt idx="12929">
                  <c:v>7.2069999999999999</c:v>
                </c:pt>
                <c:pt idx="12930">
                  <c:v>7.2080000000000002</c:v>
                </c:pt>
                <c:pt idx="12931">
                  <c:v>7.2080000000000002</c:v>
                </c:pt>
                <c:pt idx="12932">
                  <c:v>7.2080000000000002</c:v>
                </c:pt>
                <c:pt idx="12933">
                  <c:v>7.2080000000000002</c:v>
                </c:pt>
                <c:pt idx="12934">
                  <c:v>7.2080000000000002</c:v>
                </c:pt>
                <c:pt idx="12935">
                  <c:v>7.2080000000000002</c:v>
                </c:pt>
                <c:pt idx="12936">
                  <c:v>7.2080000000000002</c:v>
                </c:pt>
                <c:pt idx="12937">
                  <c:v>7.2080000000000002</c:v>
                </c:pt>
                <c:pt idx="12938">
                  <c:v>7.2080000000000002</c:v>
                </c:pt>
                <c:pt idx="12939">
                  <c:v>7.2080000000000002</c:v>
                </c:pt>
                <c:pt idx="12940">
                  <c:v>7.2080000000000002</c:v>
                </c:pt>
                <c:pt idx="12941">
                  <c:v>7.2080000000000002</c:v>
                </c:pt>
                <c:pt idx="12942">
                  <c:v>7.2080000000000002</c:v>
                </c:pt>
                <c:pt idx="12943">
                  <c:v>7.2080000000000002</c:v>
                </c:pt>
                <c:pt idx="12944">
                  <c:v>7.2080000000000002</c:v>
                </c:pt>
                <c:pt idx="12945">
                  <c:v>7.2080000000000002</c:v>
                </c:pt>
                <c:pt idx="12946">
                  <c:v>7.2080000000000002</c:v>
                </c:pt>
                <c:pt idx="12947">
                  <c:v>7.2080000000000002</c:v>
                </c:pt>
                <c:pt idx="12948">
                  <c:v>7.2080000000000002</c:v>
                </c:pt>
                <c:pt idx="12949">
                  <c:v>7.2080000000000002</c:v>
                </c:pt>
                <c:pt idx="12950">
                  <c:v>7.2080000000000002</c:v>
                </c:pt>
                <c:pt idx="12951">
                  <c:v>7.2069999999999999</c:v>
                </c:pt>
                <c:pt idx="12952">
                  <c:v>7.2069999999999999</c:v>
                </c:pt>
                <c:pt idx="12953">
                  <c:v>7.2080000000000002</c:v>
                </c:pt>
                <c:pt idx="12954">
                  <c:v>7.2080000000000002</c:v>
                </c:pt>
                <c:pt idx="12955">
                  <c:v>7.2069999999999999</c:v>
                </c:pt>
                <c:pt idx="12956">
                  <c:v>7.2069999999999999</c:v>
                </c:pt>
                <c:pt idx="12957">
                  <c:v>7.2069999999999999</c:v>
                </c:pt>
                <c:pt idx="12958">
                  <c:v>7.2069999999999999</c:v>
                </c:pt>
                <c:pt idx="12959">
                  <c:v>7.2069999999999999</c:v>
                </c:pt>
                <c:pt idx="12960">
                  <c:v>7.2080000000000002</c:v>
                </c:pt>
                <c:pt idx="12961">
                  <c:v>7.2080000000000002</c:v>
                </c:pt>
                <c:pt idx="12962">
                  <c:v>7.2080000000000002</c:v>
                </c:pt>
                <c:pt idx="12963">
                  <c:v>7.2080000000000002</c:v>
                </c:pt>
                <c:pt idx="12964">
                  <c:v>7.2069999999999999</c:v>
                </c:pt>
                <c:pt idx="12965">
                  <c:v>7.2080000000000002</c:v>
                </c:pt>
                <c:pt idx="12966">
                  <c:v>7.2069999999999999</c:v>
                </c:pt>
                <c:pt idx="12967">
                  <c:v>7.2069999999999999</c:v>
                </c:pt>
                <c:pt idx="12968">
                  <c:v>7.2069999999999999</c:v>
                </c:pt>
                <c:pt idx="12969">
                  <c:v>7.2069999999999999</c:v>
                </c:pt>
                <c:pt idx="12970">
                  <c:v>7.2069999999999999</c:v>
                </c:pt>
                <c:pt idx="12971">
                  <c:v>7.2069999999999999</c:v>
                </c:pt>
                <c:pt idx="12972">
                  <c:v>7.2069999999999999</c:v>
                </c:pt>
                <c:pt idx="12973">
                  <c:v>7.2069999999999999</c:v>
                </c:pt>
                <c:pt idx="12974">
                  <c:v>7.2069999999999999</c:v>
                </c:pt>
                <c:pt idx="12975">
                  <c:v>7.2069999999999999</c:v>
                </c:pt>
                <c:pt idx="12976">
                  <c:v>7.2069999999999999</c:v>
                </c:pt>
                <c:pt idx="12977">
                  <c:v>7.2069999999999999</c:v>
                </c:pt>
                <c:pt idx="12978">
                  <c:v>7.2069999999999999</c:v>
                </c:pt>
                <c:pt idx="12979">
                  <c:v>7.2069999999999999</c:v>
                </c:pt>
                <c:pt idx="12980">
                  <c:v>7.2069999999999999</c:v>
                </c:pt>
                <c:pt idx="12981">
                  <c:v>7.2069999999999999</c:v>
                </c:pt>
                <c:pt idx="12982">
                  <c:v>7.2069999999999999</c:v>
                </c:pt>
                <c:pt idx="12983">
                  <c:v>7.2069999999999999</c:v>
                </c:pt>
                <c:pt idx="12984">
                  <c:v>7.2069999999999999</c:v>
                </c:pt>
                <c:pt idx="12985">
                  <c:v>7.2069999999999999</c:v>
                </c:pt>
                <c:pt idx="12986">
                  <c:v>7.2060000000000004</c:v>
                </c:pt>
                <c:pt idx="12987">
                  <c:v>7.2060000000000004</c:v>
                </c:pt>
                <c:pt idx="12988">
                  <c:v>7.2069999999999999</c:v>
                </c:pt>
                <c:pt idx="12989">
                  <c:v>7.2069999999999999</c:v>
                </c:pt>
                <c:pt idx="12990">
                  <c:v>7.2060000000000004</c:v>
                </c:pt>
                <c:pt idx="12991">
                  <c:v>7.2069999999999999</c:v>
                </c:pt>
                <c:pt idx="12992">
                  <c:v>7.2069999999999999</c:v>
                </c:pt>
                <c:pt idx="12993">
                  <c:v>7.2069999999999999</c:v>
                </c:pt>
                <c:pt idx="12994">
                  <c:v>7.2060000000000004</c:v>
                </c:pt>
                <c:pt idx="12995">
                  <c:v>7.2060000000000004</c:v>
                </c:pt>
                <c:pt idx="12996">
                  <c:v>7.2060000000000004</c:v>
                </c:pt>
                <c:pt idx="12997">
                  <c:v>7.2060000000000004</c:v>
                </c:pt>
                <c:pt idx="12998">
                  <c:v>7.2060000000000004</c:v>
                </c:pt>
                <c:pt idx="12999">
                  <c:v>7.2069999999999999</c:v>
                </c:pt>
                <c:pt idx="13000">
                  <c:v>7.2060000000000004</c:v>
                </c:pt>
                <c:pt idx="13001">
                  <c:v>7.2060000000000004</c:v>
                </c:pt>
                <c:pt idx="13002">
                  <c:v>7.2069999999999999</c:v>
                </c:pt>
                <c:pt idx="13003">
                  <c:v>7.2060000000000004</c:v>
                </c:pt>
                <c:pt idx="13004">
                  <c:v>7.2060000000000004</c:v>
                </c:pt>
                <c:pt idx="13005">
                  <c:v>7.2060000000000004</c:v>
                </c:pt>
                <c:pt idx="13006">
                  <c:v>7.2060000000000004</c:v>
                </c:pt>
                <c:pt idx="13007">
                  <c:v>7.2060000000000004</c:v>
                </c:pt>
                <c:pt idx="13008">
                  <c:v>7.2069999999999999</c:v>
                </c:pt>
                <c:pt idx="13009">
                  <c:v>7.2060000000000004</c:v>
                </c:pt>
                <c:pt idx="13010">
                  <c:v>7.2060000000000004</c:v>
                </c:pt>
                <c:pt idx="13011">
                  <c:v>7.2060000000000004</c:v>
                </c:pt>
                <c:pt idx="13012">
                  <c:v>7.2060000000000004</c:v>
                </c:pt>
                <c:pt idx="13013">
                  <c:v>7.2060000000000004</c:v>
                </c:pt>
                <c:pt idx="13014">
                  <c:v>7.2060000000000004</c:v>
                </c:pt>
                <c:pt idx="13015">
                  <c:v>7.2060000000000004</c:v>
                </c:pt>
                <c:pt idx="13016">
                  <c:v>7.2060000000000004</c:v>
                </c:pt>
                <c:pt idx="13017">
                  <c:v>7.2060000000000004</c:v>
                </c:pt>
                <c:pt idx="13018">
                  <c:v>7.2060000000000004</c:v>
                </c:pt>
                <c:pt idx="13019">
                  <c:v>7.2050000000000001</c:v>
                </c:pt>
                <c:pt idx="13020">
                  <c:v>7.2060000000000004</c:v>
                </c:pt>
                <c:pt idx="13021">
                  <c:v>7.2060000000000004</c:v>
                </c:pt>
                <c:pt idx="13022">
                  <c:v>7.2060000000000004</c:v>
                </c:pt>
                <c:pt idx="13023">
                  <c:v>7.2060000000000004</c:v>
                </c:pt>
                <c:pt idx="13024">
                  <c:v>7.2050000000000001</c:v>
                </c:pt>
                <c:pt idx="13025">
                  <c:v>7.2060000000000004</c:v>
                </c:pt>
                <c:pt idx="13026">
                  <c:v>7.2060000000000004</c:v>
                </c:pt>
                <c:pt idx="13027">
                  <c:v>7.2060000000000004</c:v>
                </c:pt>
                <c:pt idx="13028">
                  <c:v>7.2050000000000001</c:v>
                </c:pt>
                <c:pt idx="13029">
                  <c:v>7.2060000000000004</c:v>
                </c:pt>
                <c:pt idx="13030">
                  <c:v>7.2060000000000004</c:v>
                </c:pt>
                <c:pt idx="13031">
                  <c:v>7.2060000000000004</c:v>
                </c:pt>
                <c:pt idx="13032">
                  <c:v>7.2050000000000001</c:v>
                </c:pt>
                <c:pt idx="13033">
                  <c:v>7.2060000000000004</c:v>
                </c:pt>
                <c:pt idx="13034">
                  <c:v>7.2060000000000004</c:v>
                </c:pt>
                <c:pt idx="13035">
                  <c:v>7.2050000000000001</c:v>
                </c:pt>
                <c:pt idx="13036">
                  <c:v>7.2050000000000001</c:v>
                </c:pt>
                <c:pt idx="13037">
                  <c:v>7.2050000000000001</c:v>
                </c:pt>
                <c:pt idx="13038">
                  <c:v>7.2060000000000004</c:v>
                </c:pt>
                <c:pt idx="13039">
                  <c:v>7.2050000000000001</c:v>
                </c:pt>
                <c:pt idx="13040">
                  <c:v>7.2060000000000004</c:v>
                </c:pt>
                <c:pt idx="13041">
                  <c:v>7.2050000000000001</c:v>
                </c:pt>
                <c:pt idx="13042">
                  <c:v>7.2050000000000001</c:v>
                </c:pt>
                <c:pt idx="13043">
                  <c:v>7.2050000000000001</c:v>
                </c:pt>
                <c:pt idx="13044">
                  <c:v>7.2050000000000001</c:v>
                </c:pt>
                <c:pt idx="13045">
                  <c:v>7.2050000000000001</c:v>
                </c:pt>
                <c:pt idx="13046">
                  <c:v>7.2050000000000001</c:v>
                </c:pt>
                <c:pt idx="13047">
                  <c:v>7.2050000000000001</c:v>
                </c:pt>
                <c:pt idx="13048">
                  <c:v>7.2060000000000004</c:v>
                </c:pt>
                <c:pt idx="13049">
                  <c:v>7.2060000000000004</c:v>
                </c:pt>
                <c:pt idx="13050">
                  <c:v>7.2039999999999997</c:v>
                </c:pt>
                <c:pt idx="13051">
                  <c:v>7.2050000000000001</c:v>
                </c:pt>
                <c:pt idx="13052">
                  <c:v>7.2050000000000001</c:v>
                </c:pt>
                <c:pt idx="13053">
                  <c:v>7.2050000000000001</c:v>
                </c:pt>
                <c:pt idx="13054">
                  <c:v>7.2050000000000001</c:v>
                </c:pt>
                <c:pt idx="13055">
                  <c:v>7.2050000000000001</c:v>
                </c:pt>
                <c:pt idx="13056">
                  <c:v>7.2050000000000001</c:v>
                </c:pt>
                <c:pt idx="13057">
                  <c:v>7.2050000000000001</c:v>
                </c:pt>
                <c:pt idx="13058">
                  <c:v>7.2050000000000001</c:v>
                </c:pt>
                <c:pt idx="13059">
                  <c:v>7.2050000000000001</c:v>
                </c:pt>
                <c:pt idx="13060">
                  <c:v>7.2050000000000001</c:v>
                </c:pt>
                <c:pt idx="13061">
                  <c:v>7.2050000000000001</c:v>
                </c:pt>
                <c:pt idx="13062">
                  <c:v>7.2050000000000001</c:v>
                </c:pt>
                <c:pt idx="13063">
                  <c:v>7.2050000000000001</c:v>
                </c:pt>
                <c:pt idx="13064">
                  <c:v>7.2050000000000001</c:v>
                </c:pt>
                <c:pt idx="13065">
                  <c:v>7.2050000000000001</c:v>
                </c:pt>
                <c:pt idx="13066">
                  <c:v>7.2050000000000001</c:v>
                </c:pt>
                <c:pt idx="13067">
                  <c:v>7.2050000000000001</c:v>
                </c:pt>
                <c:pt idx="13068">
                  <c:v>7.2050000000000001</c:v>
                </c:pt>
                <c:pt idx="13069">
                  <c:v>7.2050000000000001</c:v>
                </c:pt>
                <c:pt idx="13070">
                  <c:v>7.2050000000000001</c:v>
                </c:pt>
                <c:pt idx="13071">
                  <c:v>7.2050000000000001</c:v>
                </c:pt>
                <c:pt idx="13072">
                  <c:v>7.2050000000000001</c:v>
                </c:pt>
                <c:pt idx="13073">
                  <c:v>7.2050000000000001</c:v>
                </c:pt>
                <c:pt idx="13074">
                  <c:v>7.2050000000000001</c:v>
                </c:pt>
                <c:pt idx="13075">
                  <c:v>7.2039999999999997</c:v>
                </c:pt>
                <c:pt idx="13076">
                  <c:v>7.2050000000000001</c:v>
                </c:pt>
                <c:pt idx="13077">
                  <c:v>7.2050000000000001</c:v>
                </c:pt>
                <c:pt idx="13078">
                  <c:v>7.2050000000000001</c:v>
                </c:pt>
                <c:pt idx="13079">
                  <c:v>7.2039999999999997</c:v>
                </c:pt>
                <c:pt idx="13080">
                  <c:v>7.2050000000000001</c:v>
                </c:pt>
                <c:pt idx="13081">
                  <c:v>7.2039999999999997</c:v>
                </c:pt>
                <c:pt idx="13082">
                  <c:v>7.2050000000000001</c:v>
                </c:pt>
                <c:pt idx="13083">
                  <c:v>7.2039999999999997</c:v>
                </c:pt>
                <c:pt idx="13084">
                  <c:v>7.2050000000000001</c:v>
                </c:pt>
                <c:pt idx="13085">
                  <c:v>7.2050000000000001</c:v>
                </c:pt>
                <c:pt idx="13086">
                  <c:v>7.2039999999999997</c:v>
                </c:pt>
                <c:pt idx="13087">
                  <c:v>7.2050000000000001</c:v>
                </c:pt>
                <c:pt idx="13088">
                  <c:v>7.2039999999999997</c:v>
                </c:pt>
                <c:pt idx="13089">
                  <c:v>7.2039999999999997</c:v>
                </c:pt>
                <c:pt idx="13090">
                  <c:v>7.2050000000000001</c:v>
                </c:pt>
                <c:pt idx="13091">
                  <c:v>7.2039999999999997</c:v>
                </c:pt>
                <c:pt idx="13092">
                  <c:v>7.2039999999999997</c:v>
                </c:pt>
                <c:pt idx="13093">
                  <c:v>7.2050000000000001</c:v>
                </c:pt>
                <c:pt idx="13094">
                  <c:v>7.2039999999999997</c:v>
                </c:pt>
                <c:pt idx="13095">
                  <c:v>7.2039999999999997</c:v>
                </c:pt>
                <c:pt idx="13096">
                  <c:v>7.2050000000000001</c:v>
                </c:pt>
                <c:pt idx="13097">
                  <c:v>7.2050000000000001</c:v>
                </c:pt>
                <c:pt idx="13098">
                  <c:v>7.2039999999999997</c:v>
                </c:pt>
                <c:pt idx="13099">
                  <c:v>7.2039999999999997</c:v>
                </c:pt>
                <c:pt idx="13100">
                  <c:v>7.2050000000000001</c:v>
                </c:pt>
                <c:pt idx="13101">
                  <c:v>7.2039999999999997</c:v>
                </c:pt>
                <c:pt idx="13102">
                  <c:v>7.2039999999999997</c:v>
                </c:pt>
                <c:pt idx="13103">
                  <c:v>7.2039999999999997</c:v>
                </c:pt>
                <c:pt idx="13104">
                  <c:v>7.2039999999999997</c:v>
                </c:pt>
                <c:pt idx="13105">
                  <c:v>7.2039999999999997</c:v>
                </c:pt>
                <c:pt idx="13106">
                  <c:v>7.2030000000000003</c:v>
                </c:pt>
                <c:pt idx="13107">
                  <c:v>7.2039999999999997</c:v>
                </c:pt>
                <c:pt idx="13108">
                  <c:v>7.2039999999999997</c:v>
                </c:pt>
                <c:pt idx="13109">
                  <c:v>7.2039999999999997</c:v>
                </c:pt>
                <c:pt idx="13110">
                  <c:v>7.2039999999999997</c:v>
                </c:pt>
                <c:pt idx="13111">
                  <c:v>7.2039999999999997</c:v>
                </c:pt>
                <c:pt idx="13112">
                  <c:v>7.2039999999999997</c:v>
                </c:pt>
                <c:pt idx="13113">
                  <c:v>7.2039999999999997</c:v>
                </c:pt>
                <c:pt idx="13114">
                  <c:v>7.2039999999999997</c:v>
                </c:pt>
                <c:pt idx="13115">
                  <c:v>7.2039999999999997</c:v>
                </c:pt>
                <c:pt idx="13116">
                  <c:v>7.2039999999999997</c:v>
                </c:pt>
                <c:pt idx="13117">
                  <c:v>7.2039999999999997</c:v>
                </c:pt>
                <c:pt idx="13118">
                  <c:v>7.2039999999999997</c:v>
                </c:pt>
                <c:pt idx="13119">
                  <c:v>7.2039999999999997</c:v>
                </c:pt>
                <c:pt idx="13120">
                  <c:v>7.2030000000000003</c:v>
                </c:pt>
                <c:pt idx="13121">
                  <c:v>7.2039999999999997</c:v>
                </c:pt>
                <c:pt idx="13122">
                  <c:v>7.2030000000000003</c:v>
                </c:pt>
                <c:pt idx="13123">
                  <c:v>7.2030000000000003</c:v>
                </c:pt>
                <c:pt idx="13124">
                  <c:v>7.2039999999999997</c:v>
                </c:pt>
                <c:pt idx="13125">
                  <c:v>7.2039999999999997</c:v>
                </c:pt>
                <c:pt idx="13126">
                  <c:v>7.2039999999999997</c:v>
                </c:pt>
                <c:pt idx="13127">
                  <c:v>7.2030000000000003</c:v>
                </c:pt>
                <c:pt idx="13128">
                  <c:v>7.2039999999999997</c:v>
                </c:pt>
                <c:pt idx="13129">
                  <c:v>7.2030000000000003</c:v>
                </c:pt>
                <c:pt idx="13130">
                  <c:v>7.2030000000000003</c:v>
                </c:pt>
                <c:pt idx="13131">
                  <c:v>7.2039999999999997</c:v>
                </c:pt>
                <c:pt idx="13132">
                  <c:v>7.2039999999999997</c:v>
                </c:pt>
                <c:pt idx="13133">
                  <c:v>7.2039999999999997</c:v>
                </c:pt>
                <c:pt idx="13134">
                  <c:v>7.2030000000000003</c:v>
                </c:pt>
                <c:pt idx="13135">
                  <c:v>7.2030000000000003</c:v>
                </c:pt>
                <c:pt idx="13136">
                  <c:v>7.2030000000000003</c:v>
                </c:pt>
                <c:pt idx="13137">
                  <c:v>7.2030000000000003</c:v>
                </c:pt>
                <c:pt idx="13138">
                  <c:v>7.2030000000000003</c:v>
                </c:pt>
                <c:pt idx="13139">
                  <c:v>7.2030000000000003</c:v>
                </c:pt>
                <c:pt idx="13140">
                  <c:v>7.2039999999999997</c:v>
                </c:pt>
                <c:pt idx="13141">
                  <c:v>7.2030000000000003</c:v>
                </c:pt>
                <c:pt idx="13142">
                  <c:v>7.2030000000000003</c:v>
                </c:pt>
                <c:pt idx="13143">
                  <c:v>7.2030000000000003</c:v>
                </c:pt>
                <c:pt idx="13144">
                  <c:v>7.2030000000000003</c:v>
                </c:pt>
                <c:pt idx="13145">
                  <c:v>7.2030000000000003</c:v>
                </c:pt>
                <c:pt idx="13146">
                  <c:v>7.2030000000000003</c:v>
                </c:pt>
                <c:pt idx="13147">
                  <c:v>7.2030000000000003</c:v>
                </c:pt>
                <c:pt idx="13148">
                  <c:v>7.2030000000000003</c:v>
                </c:pt>
                <c:pt idx="13149">
                  <c:v>7.2030000000000003</c:v>
                </c:pt>
                <c:pt idx="13150">
                  <c:v>7.2030000000000003</c:v>
                </c:pt>
                <c:pt idx="13151">
                  <c:v>7.2030000000000003</c:v>
                </c:pt>
                <c:pt idx="13152">
                  <c:v>7.2030000000000003</c:v>
                </c:pt>
                <c:pt idx="13153">
                  <c:v>7.2030000000000003</c:v>
                </c:pt>
                <c:pt idx="13154">
                  <c:v>7.2030000000000003</c:v>
                </c:pt>
                <c:pt idx="13155">
                  <c:v>7.2030000000000003</c:v>
                </c:pt>
                <c:pt idx="13156">
                  <c:v>7.2030000000000003</c:v>
                </c:pt>
                <c:pt idx="13157">
                  <c:v>7.2030000000000003</c:v>
                </c:pt>
                <c:pt idx="13158">
                  <c:v>7.2030000000000003</c:v>
                </c:pt>
                <c:pt idx="13159">
                  <c:v>7.2030000000000003</c:v>
                </c:pt>
                <c:pt idx="13160">
                  <c:v>7.202</c:v>
                </c:pt>
                <c:pt idx="13161">
                  <c:v>7.2030000000000003</c:v>
                </c:pt>
                <c:pt idx="13162">
                  <c:v>7.2030000000000003</c:v>
                </c:pt>
                <c:pt idx="13163">
                  <c:v>7.2030000000000003</c:v>
                </c:pt>
                <c:pt idx="13164">
                  <c:v>7.2030000000000003</c:v>
                </c:pt>
                <c:pt idx="13165">
                  <c:v>7.202</c:v>
                </c:pt>
                <c:pt idx="13166">
                  <c:v>7.2030000000000003</c:v>
                </c:pt>
                <c:pt idx="13167">
                  <c:v>7.2030000000000003</c:v>
                </c:pt>
                <c:pt idx="13168">
                  <c:v>7.2030000000000003</c:v>
                </c:pt>
                <c:pt idx="13169">
                  <c:v>7.2030000000000003</c:v>
                </c:pt>
                <c:pt idx="13170">
                  <c:v>7.2030000000000003</c:v>
                </c:pt>
                <c:pt idx="13171">
                  <c:v>7.2030000000000003</c:v>
                </c:pt>
                <c:pt idx="13172">
                  <c:v>7.202</c:v>
                </c:pt>
                <c:pt idx="13173">
                  <c:v>7.202</c:v>
                </c:pt>
                <c:pt idx="13174">
                  <c:v>7.2030000000000003</c:v>
                </c:pt>
                <c:pt idx="13175">
                  <c:v>7.2030000000000003</c:v>
                </c:pt>
                <c:pt idx="13176">
                  <c:v>7.202</c:v>
                </c:pt>
                <c:pt idx="13177">
                  <c:v>7.202</c:v>
                </c:pt>
                <c:pt idx="13178">
                  <c:v>7.2030000000000003</c:v>
                </c:pt>
                <c:pt idx="13179">
                  <c:v>7.202</c:v>
                </c:pt>
                <c:pt idx="13180">
                  <c:v>7.2030000000000003</c:v>
                </c:pt>
                <c:pt idx="13181">
                  <c:v>7.202</c:v>
                </c:pt>
                <c:pt idx="13182">
                  <c:v>7.2030000000000003</c:v>
                </c:pt>
                <c:pt idx="13183">
                  <c:v>7.2030000000000003</c:v>
                </c:pt>
                <c:pt idx="13184">
                  <c:v>7.202</c:v>
                </c:pt>
                <c:pt idx="13185">
                  <c:v>7.202</c:v>
                </c:pt>
                <c:pt idx="13186">
                  <c:v>7.202</c:v>
                </c:pt>
                <c:pt idx="13187">
                  <c:v>7.202</c:v>
                </c:pt>
                <c:pt idx="13188">
                  <c:v>7.202</c:v>
                </c:pt>
                <c:pt idx="13189">
                  <c:v>7.202</c:v>
                </c:pt>
                <c:pt idx="13190">
                  <c:v>7.202</c:v>
                </c:pt>
                <c:pt idx="13191">
                  <c:v>7.202</c:v>
                </c:pt>
                <c:pt idx="13192">
                  <c:v>7.202</c:v>
                </c:pt>
                <c:pt idx="13193">
                  <c:v>7.202</c:v>
                </c:pt>
                <c:pt idx="13194">
                  <c:v>7.2030000000000003</c:v>
                </c:pt>
                <c:pt idx="13195">
                  <c:v>7.202</c:v>
                </c:pt>
                <c:pt idx="13196">
                  <c:v>7.202</c:v>
                </c:pt>
                <c:pt idx="13197">
                  <c:v>7.202</c:v>
                </c:pt>
                <c:pt idx="13198">
                  <c:v>7.202</c:v>
                </c:pt>
                <c:pt idx="13199">
                  <c:v>7.2030000000000003</c:v>
                </c:pt>
                <c:pt idx="13200">
                  <c:v>7.2009999999999996</c:v>
                </c:pt>
                <c:pt idx="13201">
                  <c:v>7.2009999999999996</c:v>
                </c:pt>
                <c:pt idx="13202">
                  <c:v>7.202</c:v>
                </c:pt>
                <c:pt idx="13203">
                  <c:v>7.202</c:v>
                </c:pt>
                <c:pt idx="13204">
                  <c:v>7.202</c:v>
                </c:pt>
                <c:pt idx="13205">
                  <c:v>7.2009999999999996</c:v>
                </c:pt>
                <c:pt idx="13206">
                  <c:v>7.202</c:v>
                </c:pt>
                <c:pt idx="13207">
                  <c:v>7.202</c:v>
                </c:pt>
                <c:pt idx="13208">
                  <c:v>7.202</c:v>
                </c:pt>
                <c:pt idx="13209">
                  <c:v>7.202</c:v>
                </c:pt>
                <c:pt idx="13210">
                  <c:v>7.202</c:v>
                </c:pt>
                <c:pt idx="13211">
                  <c:v>7.202</c:v>
                </c:pt>
                <c:pt idx="13212">
                  <c:v>7.202</c:v>
                </c:pt>
                <c:pt idx="13213">
                  <c:v>7.202</c:v>
                </c:pt>
                <c:pt idx="13214">
                  <c:v>7.202</c:v>
                </c:pt>
                <c:pt idx="13215">
                  <c:v>7.202</c:v>
                </c:pt>
                <c:pt idx="13216">
                  <c:v>7.202</c:v>
                </c:pt>
                <c:pt idx="13217">
                  <c:v>7.202</c:v>
                </c:pt>
                <c:pt idx="13218">
                  <c:v>7.202</c:v>
                </c:pt>
                <c:pt idx="13219">
                  <c:v>7.2009999999999996</c:v>
                </c:pt>
                <c:pt idx="13220">
                  <c:v>7.202</c:v>
                </c:pt>
                <c:pt idx="13221">
                  <c:v>7.2009999999999996</c:v>
                </c:pt>
                <c:pt idx="13222">
                  <c:v>7.2009999999999996</c:v>
                </c:pt>
                <c:pt idx="13223">
                  <c:v>7.202</c:v>
                </c:pt>
                <c:pt idx="13224">
                  <c:v>7.2009999999999996</c:v>
                </c:pt>
                <c:pt idx="13225">
                  <c:v>7.202</c:v>
                </c:pt>
                <c:pt idx="13226">
                  <c:v>7.2009999999999996</c:v>
                </c:pt>
                <c:pt idx="13227">
                  <c:v>7.2009999999999996</c:v>
                </c:pt>
                <c:pt idx="13228">
                  <c:v>7.202</c:v>
                </c:pt>
                <c:pt idx="13229">
                  <c:v>7.202</c:v>
                </c:pt>
                <c:pt idx="13230">
                  <c:v>7.202</c:v>
                </c:pt>
                <c:pt idx="13231">
                  <c:v>7.2009999999999996</c:v>
                </c:pt>
                <c:pt idx="13232">
                  <c:v>7.2009999999999996</c:v>
                </c:pt>
                <c:pt idx="13233">
                  <c:v>7.202</c:v>
                </c:pt>
                <c:pt idx="13234">
                  <c:v>7.2009999999999996</c:v>
                </c:pt>
                <c:pt idx="13235">
                  <c:v>7.2009999999999996</c:v>
                </c:pt>
                <c:pt idx="13236">
                  <c:v>7.2009999999999996</c:v>
                </c:pt>
                <c:pt idx="13237">
                  <c:v>7.2009999999999996</c:v>
                </c:pt>
                <c:pt idx="13238">
                  <c:v>7.2009999999999996</c:v>
                </c:pt>
                <c:pt idx="13239">
                  <c:v>7.2009999999999996</c:v>
                </c:pt>
                <c:pt idx="13240">
                  <c:v>7.2009999999999996</c:v>
                </c:pt>
                <c:pt idx="13241">
                  <c:v>7.202</c:v>
                </c:pt>
                <c:pt idx="13242">
                  <c:v>7.2009999999999996</c:v>
                </c:pt>
                <c:pt idx="13243">
                  <c:v>7.2009999999999996</c:v>
                </c:pt>
                <c:pt idx="13244">
                  <c:v>7.2009999999999996</c:v>
                </c:pt>
                <c:pt idx="13245">
                  <c:v>7.202</c:v>
                </c:pt>
                <c:pt idx="13246">
                  <c:v>7.2009999999999996</c:v>
                </c:pt>
                <c:pt idx="13247">
                  <c:v>7.2009999999999996</c:v>
                </c:pt>
                <c:pt idx="13248">
                  <c:v>7.2009999999999996</c:v>
                </c:pt>
                <c:pt idx="13249">
                  <c:v>7.2009999999999996</c:v>
                </c:pt>
                <c:pt idx="13250">
                  <c:v>7.2009999999999996</c:v>
                </c:pt>
                <c:pt idx="13251">
                  <c:v>7.2009999999999996</c:v>
                </c:pt>
                <c:pt idx="13252">
                  <c:v>7.2009999999999996</c:v>
                </c:pt>
                <c:pt idx="13253">
                  <c:v>7.2009999999999996</c:v>
                </c:pt>
                <c:pt idx="13254">
                  <c:v>7.2009999999999996</c:v>
                </c:pt>
                <c:pt idx="13255">
                  <c:v>7.2009999999999996</c:v>
                </c:pt>
                <c:pt idx="13256">
                  <c:v>7.2009999999999996</c:v>
                </c:pt>
                <c:pt idx="13257">
                  <c:v>7.2009999999999996</c:v>
                </c:pt>
                <c:pt idx="13258">
                  <c:v>7.2009999999999996</c:v>
                </c:pt>
                <c:pt idx="13259">
                  <c:v>7.2009999999999996</c:v>
                </c:pt>
                <c:pt idx="13260">
                  <c:v>7.2009999999999996</c:v>
                </c:pt>
                <c:pt idx="13261">
                  <c:v>7.2009999999999996</c:v>
                </c:pt>
                <c:pt idx="13262">
                  <c:v>7.2009999999999996</c:v>
                </c:pt>
                <c:pt idx="13263">
                  <c:v>7.2009999999999996</c:v>
                </c:pt>
                <c:pt idx="13264">
                  <c:v>7.2</c:v>
                </c:pt>
                <c:pt idx="13265">
                  <c:v>7.2</c:v>
                </c:pt>
                <c:pt idx="13266">
                  <c:v>7.2</c:v>
                </c:pt>
                <c:pt idx="13267">
                  <c:v>7.2009999999999996</c:v>
                </c:pt>
                <c:pt idx="13268">
                  <c:v>7.2</c:v>
                </c:pt>
                <c:pt idx="13269">
                  <c:v>7.2009999999999996</c:v>
                </c:pt>
                <c:pt idx="13270">
                  <c:v>7.2</c:v>
                </c:pt>
                <c:pt idx="13271">
                  <c:v>7.2009999999999996</c:v>
                </c:pt>
                <c:pt idx="13272">
                  <c:v>7.2009999999999996</c:v>
                </c:pt>
                <c:pt idx="13273">
                  <c:v>7.2</c:v>
                </c:pt>
                <c:pt idx="13274">
                  <c:v>7.2</c:v>
                </c:pt>
                <c:pt idx="13275">
                  <c:v>7.2009999999999996</c:v>
                </c:pt>
                <c:pt idx="13276">
                  <c:v>7.2009999999999996</c:v>
                </c:pt>
                <c:pt idx="13277">
                  <c:v>7.2009999999999996</c:v>
                </c:pt>
                <c:pt idx="13278">
                  <c:v>7.2009999999999996</c:v>
                </c:pt>
                <c:pt idx="13279">
                  <c:v>7.2009999999999996</c:v>
                </c:pt>
                <c:pt idx="13280">
                  <c:v>7.2</c:v>
                </c:pt>
                <c:pt idx="13281">
                  <c:v>7.2</c:v>
                </c:pt>
                <c:pt idx="13282">
                  <c:v>7.2009999999999996</c:v>
                </c:pt>
                <c:pt idx="13283">
                  <c:v>7.2</c:v>
                </c:pt>
                <c:pt idx="13284">
                  <c:v>7.2</c:v>
                </c:pt>
                <c:pt idx="13285">
                  <c:v>7.2</c:v>
                </c:pt>
                <c:pt idx="13286">
                  <c:v>7.2</c:v>
                </c:pt>
                <c:pt idx="13287">
                  <c:v>7.2</c:v>
                </c:pt>
                <c:pt idx="13288">
                  <c:v>7.2</c:v>
                </c:pt>
                <c:pt idx="13289">
                  <c:v>7.2</c:v>
                </c:pt>
                <c:pt idx="13290">
                  <c:v>7.2</c:v>
                </c:pt>
                <c:pt idx="13291">
                  <c:v>7.2</c:v>
                </c:pt>
                <c:pt idx="13292">
                  <c:v>7.2</c:v>
                </c:pt>
                <c:pt idx="13293">
                  <c:v>7.2</c:v>
                </c:pt>
                <c:pt idx="13294">
                  <c:v>7.2</c:v>
                </c:pt>
                <c:pt idx="13295">
                  <c:v>7.2</c:v>
                </c:pt>
                <c:pt idx="13296">
                  <c:v>7.2</c:v>
                </c:pt>
                <c:pt idx="13297">
                  <c:v>7.2</c:v>
                </c:pt>
                <c:pt idx="13298">
                  <c:v>7.2009999999999996</c:v>
                </c:pt>
                <c:pt idx="13299">
                  <c:v>7.2</c:v>
                </c:pt>
                <c:pt idx="13300">
                  <c:v>7.2009999999999996</c:v>
                </c:pt>
                <c:pt idx="13301">
                  <c:v>7.2</c:v>
                </c:pt>
                <c:pt idx="13302">
                  <c:v>7.2</c:v>
                </c:pt>
                <c:pt idx="13303">
                  <c:v>7.1989999999999998</c:v>
                </c:pt>
                <c:pt idx="13304">
                  <c:v>7.2</c:v>
                </c:pt>
                <c:pt idx="13305">
                  <c:v>7.2</c:v>
                </c:pt>
                <c:pt idx="13306">
                  <c:v>7.1989999999999998</c:v>
                </c:pt>
                <c:pt idx="13307">
                  <c:v>7.1989999999999998</c:v>
                </c:pt>
                <c:pt idx="13308">
                  <c:v>7.2</c:v>
                </c:pt>
                <c:pt idx="13309">
                  <c:v>7.2</c:v>
                </c:pt>
                <c:pt idx="13310">
                  <c:v>7.2</c:v>
                </c:pt>
                <c:pt idx="13311">
                  <c:v>7.1989999999999998</c:v>
                </c:pt>
                <c:pt idx="13312">
                  <c:v>7.1989999999999998</c:v>
                </c:pt>
                <c:pt idx="13313">
                  <c:v>7.2</c:v>
                </c:pt>
                <c:pt idx="13314">
                  <c:v>7.1989999999999998</c:v>
                </c:pt>
                <c:pt idx="13315">
                  <c:v>7.2</c:v>
                </c:pt>
                <c:pt idx="13316">
                  <c:v>7.2</c:v>
                </c:pt>
                <c:pt idx="13317">
                  <c:v>7.2</c:v>
                </c:pt>
                <c:pt idx="13318">
                  <c:v>7.1989999999999998</c:v>
                </c:pt>
                <c:pt idx="13319">
                  <c:v>7.1989999999999998</c:v>
                </c:pt>
                <c:pt idx="13320">
                  <c:v>7.2</c:v>
                </c:pt>
                <c:pt idx="13321">
                  <c:v>7.2</c:v>
                </c:pt>
                <c:pt idx="13322">
                  <c:v>7.1989999999999998</c:v>
                </c:pt>
                <c:pt idx="13323">
                  <c:v>7.1989999999999998</c:v>
                </c:pt>
                <c:pt idx="13324">
                  <c:v>7.2</c:v>
                </c:pt>
                <c:pt idx="13325">
                  <c:v>7.2</c:v>
                </c:pt>
                <c:pt idx="13326">
                  <c:v>7.1989999999999998</c:v>
                </c:pt>
                <c:pt idx="13327">
                  <c:v>7.2</c:v>
                </c:pt>
                <c:pt idx="13328">
                  <c:v>7.1989999999999998</c:v>
                </c:pt>
                <c:pt idx="13329">
                  <c:v>7.1989999999999998</c:v>
                </c:pt>
                <c:pt idx="13330">
                  <c:v>7.1989999999999998</c:v>
                </c:pt>
                <c:pt idx="13331">
                  <c:v>7.1989999999999998</c:v>
                </c:pt>
                <c:pt idx="13332">
                  <c:v>7.1989999999999998</c:v>
                </c:pt>
                <c:pt idx="13333">
                  <c:v>7.1989999999999998</c:v>
                </c:pt>
                <c:pt idx="13334">
                  <c:v>7.1989999999999998</c:v>
                </c:pt>
                <c:pt idx="13335">
                  <c:v>7.1989999999999998</c:v>
                </c:pt>
                <c:pt idx="13336">
                  <c:v>7.1989999999999998</c:v>
                </c:pt>
                <c:pt idx="13337">
                  <c:v>7.1989999999999998</c:v>
                </c:pt>
                <c:pt idx="13338">
                  <c:v>7.2</c:v>
                </c:pt>
                <c:pt idx="13339">
                  <c:v>7.1989999999999998</c:v>
                </c:pt>
                <c:pt idx="13340">
                  <c:v>7.1989999999999998</c:v>
                </c:pt>
                <c:pt idx="13341">
                  <c:v>7.1989999999999998</c:v>
                </c:pt>
                <c:pt idx="13342">
                  <c:v>7.1989999999999998</c:v>
                </c:pt>
                <c:pt idx="13343">
                  <c:v>7.2</c:v>
                </c:pt>
                <c:pt idx="13344">
                  <c:v>7.1989999999999998</c:v>
                </c:pt>
                <c:pt idx="13345">
                  <c:v>7.1989999999999998</c:v>
                </c:pt>
                <c:pt idx="13346">
                  <c:v>7.1989999999999998</c:v>
                </c:pt>
                <c:pt idx="13347">
                  <c:v>7.2</c:v>
                </c:pt>
                <c:pt idx="13348">
                  <c:v>7.1989999999999998</c:v>
                </c:pt>
                <c:pt idx="13349">
                  <c:v>7.1989999999999998</c:v>
                </c:pt>
                <c:pt idx="13350">
                  <c:v>7.1989999999999998</c:v>
                </c:pt>
                <c:pt idx="13351">
                  <c:v>7.1989999999999998</c:v>
                </c:pt>
                <c:pt idx="13352">
                  <c:v>7.1989999999999998</c:v>
                </c:pt>
                <c:pt idx="13353">
                  <c:v>7.1989999999999998</c:v>
                </c:pt>
                <c:pt idx="13354">
                  <c:v>7.1989999999999998</c:v>
                </c:pt>
                <c:pt idx="13355">
                  <c:v>7.1980000000000004</c:v>
                </c:pt>
                <c:pt idx="13356">
                  <c:v>7.1989999999999998</c:v>
                </c:pt>
                <c:pt idx="13357">
                  <c:v>7.1989999999999998</c:v>
                </c:pt>
                <c:pt idx="13358">
                  <c:v>7.1989999999999998</c:v>
                </c:pt>
                <c:pt idx="13359">
                  <c:v>7.1989999999999998</c:v>
                </c:pt>
                <c:pt idx="13360">
                  <c:v>7.1989999999999998</c:v>
                </c:pt>
                <c:pt idx="13361">
                  <c:v>7.1980000000000004</c:v>
                </c:pt>
                <c:pt idx="13362">
                  <c:v>7.1989999999999998</c:v>
                </c:pt>
                <c:pt idx="13363">
                  <c:v>7.1989999999999998</c:v>
                </c:pt>
                <c:pt idx="13364">
                  <c:v>7.1980000000000004</c:v>
                </c:pt>
                <c:pt idx="13365">
                  <c:v>7.1980000000000004</c:v>
                </c:pt>
                <c:pt idx="13366">
                  <c:v>7.1980000000000004</c:v>
                </c:pt>
                <c:pt idx="13367">
                  <c:v>7.1989999999999998</c:v>
                </c:pt>
                <c:pt idx="13368">
                  <c:v>7.1989999999999998</c:v>
                </c:pt>
                <c:pt idx="13369">
                  <c:v>7.1980000000000004</c:v>
                </c:pt>
                <c:pt idx="13370">
                  <c:v>7.1989999999999998</c:v>
                </c:pt>
                <c:pt idx="13371">
                  <c:v>7.1980000000000004</c:v>
                </c:pt>
                <c:pt idx="13372">
                  <c:v>7.1989999999999998</c:v>
                </c:pt>
                <c:pt idx="13373">
                  <c:v>7.1989999999999998</c:v>
                </c:pt>
                <c:pt idx="13374">
                  <c:v>7.1989999999999998</c:v>
                </c:pt>
                <c:pt idx="13375">
                  <c:v>7.1989999999999998</c:v>
                </c:pt>
                <c:pt idx="13376">
                  <c:v>7.1980000000000004</c:v>
                </c:pt>
                <c:pt idx="13377">
                  <c:v>7.1989999999999998</c:v>
                </c:pt>
                <c:pt idx="13378">
                  <c:v>7.1980000000000004</c:v>
                </c:pt>
                <c:pt idx="13379">
                  <c:v>7.1980000000000004</c:v>
                </c:pt>
                <c:pt idx="13380">
                  <c:v>7.1980000000000004</c:v>
                </c:pt>
                <c:pt idx="13381">
                  <c:v>7.1989999999999998</c:v>
                </c:pt>
                <c:pt idx="13382">
                  <c:v>7.1980000000000004</c:v>
                </c:pt>
                <c:pt idx="13383">
                  <c:v>7.1980000000000004</c:v>
                </c:pt>
                <c:pt idx="13384">
                  <c:v>7.1980000000000004</c:v>
                </c:pt>
                <c:pt idx="13385">
                  <c:v>7.1980000000000004</c:v>
                </c:pt>
                <c:pt idx="13386">
                  <c:v>7.1980000000000004</c:v>
                </c:pt>
                <c:pt idx="13387">
                  <c:v>7.1980000000000004</c:v>
                </c:pt>
                <c:pt idx="13388">
                  <c:v>7.1980000000000004</c:v>
                </c:pt>
                <c:pt idx="13389">
                  <c:v>7.1980000000000004</c:v>
                </c:pt>
                <c:pt idx="13390">
                  <c:v>7.1980000000000004</c:v>
                </c:pt>
                <c:pt idx="13391">
                  <c:v>7.1980000000000004</c:v>
                </c:pt>
                <c:pt idx="13392">
                  <c:v>7.1980000000000004</c:v>
                </c:pt>
                <c:pt idx="13393">
                  <c:v>7.1980000000000004</c:v>
                </c:pt>
                <c:pt idx="13394">
                  <c:v>7.1980000000000004</c:v>
                </c:pt>
                <c:pt idx="13395">
                  <c:v>7.1980000000000004</c:v>
                </c:pt>
                <c:pt idx="13396">
                  <c:v>7.1980000000000004</c:v>
                </c:pt>
                <c:pt idx="13397">
                  <c:v>7.1980000000000004</c:v>
                </c:pt>
                <c:pt idx="13398">
                  <c:v>7.1989999999999998</c:v>
                </c:pt>
                <c:pt idx="13399">
                  <c:v>7.1980000000000004</c:v>
                </c:pt>
                <c:pt idx="13400">
                  <c:v>7.1989999999999998</c:v>
                </c:pt>
                <c:pt idx="13401">
                  <c:v>7.1980000000000004</c:v>
                </c:pt>
                <c:pt idx="13402">
                  <c:v>7.1980000000000004</c:v>
                </c:pt>
                <c:pt idx="13403">
                  <c:v>7.1980000000000004</c:v>
                </c:pt>
                <c:pt idx="13404">
                  <c:v>7.1989999999999998</c:v>
                </c:pt>
                <c:pt idx="13405">
                  <c:v>7.1980000000000004</c:v>
                </c:pt>
                <c:pt idx="13406">
                  <c:v>7.1980000000000004</c:v>
                </c:pt>
                <c:pt idx="13407">
                  <c:v>7.1980000000000004</c:v>
                </c:pt>
                <c:pt idx="13408">
                  <c:v>7.1980000000000004</c:v>
                </c:pt>
                <c:pt idx="13409">
                  <c:v>7.1980000000000004</c:v>
                </c:pt>
                <c:pt idx="13410">
                  <c:v>7.1980000000000004</c:v>
                </c:pt>
                <c:pt idx="13411">
                  <c:v>7.1980000000000004</c:v>
                </c:pt>
                <c:pt idx="13412">
                  <c:v>7.1980000000000004</c:v>
                </c:pt>
                <c:pt idx="13413">
                  <c:v>7.1980000000000004</c:v>
                </c:pt>
                <c:pt idx="13414">
                  <c:v>7.1980000000000004</c:v>
                </c:pt>
                <c:pt idx="13415">
                  <c:v>7.1980000000000004</c:v>
                </c:pt>
                <c:pt idx="13416">
                  <c:v>7.1980000000000004</c:v>
                </c:pt>
                <c:pt idx="13417">
                  <c:v>7.1980000000000004</c:v>
                </c:pt>
                <c:pt idx="13418">
                  <c:v>7.1980000000000004</c:v>
                </c:pt>
                <c:pt idx="13419">
                  <c:v>7.1980000000000004</c:v>
                </c:pt>
                <c:pt idx="13420">
                  <c:v>7.1980000000000004</c:v>
                </c:pt>
                <c:pt idx="13421">
                  <c:v>7.1970000000000001</c:v>
                </c:pt>
                <c:pt idx="13422">
                  <c:v>7.1980000000000004</c:v>
                </c:pt>
                <c:pt idx="13423">
                  <c:v>7.1980000000000004</c:v>
                </c:pt>
                <c:pt idx="13424">
                  <c:v>7.1980000000000004</c:v>
                </c:pt>
                <c:pt idx="13425">
                  <c:v>7.1980000000000004</c:v>
                </c:pt>
                <c:pt idx="13426">
                  <c:v>7.1980000000000004</c:v>
                </c:pt>
                <c:pt idx="13427">
                  <c:v>7.1980000000000004</c:v>
                </c:pt>
                <c:pt idx="13428">
                  <c:v>7.1980000000000004</c:v>
                </c:pt>
                <c:pt idx="13429">
                  <c:v>7.1980000000000004</c:v>
                </c:pt>
                <c:pt idx="13430">
                  <c:v>7.1970000000000001</c:v>
                </c:pt>
                <c:pt idx="13431">
                  <c:v>7.1970000000000001</c:v>
                </c:pt>
                <c:pt idx="13432">
                  <c:v>7.1980000000000004</c:v>
                </c:pt>
                <c:pt idx="13433">
                  <c:v>7.1970000000000001</c:v>
                </c:pt>
                <c:pt idx="13434">
                  <c:v>7.1970000000000001</c:v>
                </c:pt>
                <c:pt idx="13435">
                  <c:v>7.1970000000000001</c:v>
                </c:pt>
                <c:pt idx="13436">
                  <c:v>7.1970000000000001</c:v>
                </c:pt>
                <c:pt idx="13437">
                  <c:v>7.1980000000000004</c:v>
                </c:pt>
                <c:pt idx="13438">
                  <c:v>7.1980000000000004</c:v>
                </c:pt>
                <c:pt idx="13439">
                  <c:v>7.1970000000000001</c:v>
                </c:pt>
                <c:pt idx="13440">
                  <c:v>7.1980000000000004</c:v>
                </c:pt>
                <c:pt idx="13441">
                  <c:v>7.1970000000000001</c:v>
                </c:pt>
                <c:pt idx="13442">
                  <c:v>7.1980000000000004</c:v>
                </c:pt>
                <c:pt idx="13443">
                  <c:v>7.1970000000000001</c:v>
                </c:pt>
                <c:pt idx="13444">
                  <c:v>7.1970000000000001</c:v>
                </c:pt>
                <c:pt idx="13445">
                  <c:v>7.1970000000000001</c:v>
                </c:pt>
                <c:pt idx="13446">
                  <c:v>7.1970000000000001</c:v>
                </c:pt>
                <c:pt idx="13447">
                  <c:v>7.1980000000000004</c:v>
                </c:pt>
                <c:pt idx="13448">
                  <c:v>7.1970000000000001</c:v>
                </c:pt>
                <c:pt idx="13449">
                  <c:v>7.1970000000000001</c:v>
                </c:pt>
                <c:pt idx="13450">
                  <c:v>7.1970000000000001</c:v>
                </c:pt>
                <c:pt idx="13451">
                  <c:v>7.1970000000000001</c:v>
                </c:pt>
                <c:pt idx="13452">
                  <c:v>7.1970000000000001</c:v>
                </c:pt>
                <c:pt idx="13453">
                  <c:v>7.1970000000000001</c:v>
                </c:pt>
                <c:pt idx="13454">
                  <c:v>7.1970000000000001</c:v>
                </c:pt>
                <c:pt idx="13455">
                  <c:v>7.1970000000000001</c:v>
                </c:pt>
                <c:pt idx="13456">
                  <c:v>7.1970000000000001</c:v>
                </c:pt>
                <c:pt idx="13457">
                  <c:v>7.1970000000000001</c:v>
                </c:pt>
                <c:pt idx="13458">
                  <c:v>7.1970000000000001</c:v>
                </c:pt>
                <c:pt idx="13459">
                  <c:v>7.1970000000000001</c:v>
                </c:pt>
                <c:pt idx="13460">
                  <c:v>7.1970000000000001</c:v>
                </c:pt>
                <c:pt idx="13461">
                  <c:v>7.1970000000000001</c:v>
                </c:pt>
                <c:pt idx="13462">
                  <c:v>7.1959999999999997</c:v>
                </c:pt>
                <c:pt idx="13463">
                  <c:v>7.1970000000000001</c:v>
                </c:pt>
                <c:pt idx="13464">
                  <c:v>7.1970000000000001</c:v>
                </c:pt>
                <c:pt idx="13465">
                  <c:v>7.1970000000000001</c:v>
                </c:pt>
                <c:pt idx="13466">
                  <c:v>7.1970000000000001</c:v>
                </c:pt>
                <c:pt idx="13467">
                  <c:v>7.1970000000000001</c:v>
                </c:pt>
                <c:pt idx="13468">
                  <c:v>7.1970000000000001</c:v>
                </c:pt>
                <c:pt idx="13469">
                  <c:v>7.1970000000000001</c:v>
                </c:pt>
                <c:pt idx="13470">
                  <c:v>7.1959999999999997</c:v>
                </c:pt>
                <c:pt idx="13471">
                  <c:v>7.1970000000000001</c:v>
                </c:pt>
                <c:pt idx="13472">
                  <c:v>7.1959999999999997</c:v>
                </c:pt>
                <c:pt idx="13473">
                  <c:v>7.1959999999999997</c:v>
                </c:pt>
                <c:pt idx="13474">
                  <c:v>7.1970000000000001</c:v>
                </c:pt>
                <c:pt idx="13475">
                  <c:v>7.1959999999999997</c:v>
                </c:pt>
                <c:pt idx="13476">
                  <c:v>7.1970000000000001</c:v>
                </c:pt>
                <c:pt idx="13477">
                  <c:v>7.1970000000000001</c:v>
                </c:pt>
                <c:pt idx="13478">
                  <c:v>7.1970000000000001</c:v>
                </c:pt>
                <c:pt idx="13479">
                  <c:v>7.1970000000000001</c:v>
                </c:pt>
                <c:pt idx="13480">
                  <c:v>7.1970000000000001</c:v>
                </c:pt>
                <c:pt idx="13481">
                  <c:v>7.1959999999999997</c:v>
                </c:pt>
                <c:pt idx="13482">
                  <c:v>7.1970000000000001</c:v>
                </c:pt>
                <c:pt idx="13483">
                  <c:v>7.1959999999999997</c:v>
                </c:pt>
                <c:pt idx="13484">
                  <c:v>7.1959999999999997</c:v>
                </c:pt>
                <c:pt idx="13485">
                  <c:v>7.1959999999999997</c:v>
                </c:pt>
                <c:pt idx="13486">
                  <c:v>7.1970000000000001</c:v>
                </c:pt>
                <c:pt idx="13487">
                  <c:v>7.1970000000000001</c:v>
                </c:pt>
                <c:pt idx="13488">
                  <c:v>7.1970000000000001</c:v>
                </c:pt>
                <c:pt idx="13489">
                  <c:v>7.1959999999999997</c:v>
                </c:pt>
                <c:pt idx="13490">
                  <c:v>7.1970000000000001</c:v>
                </c:pt>
                <c:pt idx="13491">
                  <c:v>7.1970000000000001</c:v>
                </c:pt>
                <c:pt idx="13492">
                  <c:v>7.1970000000000001</c:v>
                </c:pt>
                <c:pt idx="13493">
                  <c:v>7.1959999999999997</c:v>
                </c:pt>
                <c:pt idx="13494">
                  <c:v>7.1959999999999997</c:v>
                </c:pt>
                <c:pt idx="13495">
                  <c:v>7.1959999999999997</c:v>
                </c:pt>
                <c:pt idx="13496">
                  <c:v>7.1970000000000001</c:v>
                </c:pt>
                <c:pt idx="13497">
                  <c:v>7.1959999999999997</c:v>
                </c:pt>
                <c:pt idx="13498">
                  <c:v>7.1959999999999997</c:v>
                </c:pt>
                <c:pt idx="13499">
                  <c:v>7.1959999999999997</c:v>
                </c:pt>
                <c:pt idx="13500">
                  <c:v>7.1959999999999997</c:v>
                </c:pt>
                <c:pt idx="13501">
                  <c:v>7.1959999999999997</c:v>
                </c:pt>
                <c:pt idx="13502">
                  <c:v>7.1959999999999997</c:v>
                </c:pt>
                <c:pt idx="13503">
                  <c:v>7.1959999999999997</c:v>
                </c:pt>
                <c:pt idx="13504">
                  <c:v>7.1959999999999997</c:v>
                </c:pt>
                <c:pt idx="13505">
                  <c:v>7.1970000000000001</c:v>
                </c:pt>
                <c:pt idx="13506">
                  <c:v>7.1970000000000001</c:v>
                </c:pt>
                <c:pt idx="13507">
                  <c:v>7.1959999999999997</c:v>
                </c:pt>
                <c:pt idx="13508">
                  <c:v>7.1970000000000001</c:v>
                </c:pt>
                <c:pt idx="13509">
                  <c:v>7.1959999999999997</c:v>
                </c:pt>
                <c:pt idx="13510">
                  <c:v>7.1959999999999997</c:v>
                </c:pt>
                <c:pt idx="13511">
                  <c:v>7.1959999999999997</c:v>
                </c:pt>
                <c:pt idx="13512">
                  <c:v>7.1959999999999997</c:v>
                </c:pt>
                <c:pt idx="13513">
                  <c:v>7.1959999999999997</c:v>
                </c:pt>
                <c:pt idx="13514">
                  <c:v>7.1959999999999997</c:v>
                </c:pt>
                <c:pt idx="13515">
                  <c:v>7.1959999999999997</c:v>
                </c:pt>
                <c:pt idx="13516">
                  <c:v>7.1950000000000003</c:v>
                </c:pt>
                <c:pt idx="13517">
                  <c:v>7.1959999999999997</c:v>
                </c:pt>
                <c:pt idx="13518">
                  <c:v>7.1959999999999997</c:v>
                </c:pt>
                <c:pt idx="13519">
                  <c:v>7.1950000000000003</c:v>
                </c:pt>
                <c:pt idx="13520">
                  <c:v>7.1959999999999997</c:v>
                </c:pt>
                <c:pt idx="13521">
                  <c:v>7.1959999999999997</c:v>
                </c:pt>
                <c:pt idx="13522">
                  <c:v>7.1959999999999997</c:v>
                </c:pt>
                <c:pt idx="13523">
                  <c:v>7.1959999999999997</c:v>
                </c:pt>
                <c:pt idx="13524">
                  <c:v>7.1959999999999997</c:v>
                </c:pt>
                <c:pt idx="13525">
                  <c:v>7.1959999999999997</c:v>
                </c:pt>
                <c:pt idx="13526">
                  <c:v>7.1959999999999997</c:v>
                </c:pt>
                <c:pt idx="13527">
                  <c:v>7.1959999999999997</c:v>
                </c:pt>
                <c:pt idx="13528">
                  <c:v>7.1950000000000003</c:v>
                </c:pt>
                <c:pt idx="13529">
                  <c:v>7.1959999999999997</c:v>
                </c:pt>
                <c:pt idx="13530">
                  <c:v>7.1959999999999997</c:v>
                </c:pt>
                <c:pt idx="13531">
                  <c:v>7.1959999999999997</c:v>
                </c:pt>
                <c:pt idx="13532">
                  <c:v>7.1959999999999997</c:v>
                </c:pt>
                <c:pt idx="13533">
                  <c:v>7.1959999999999997</c:v>
                </c:pt>
                <c:pt idx="13534">
                  <c:v>7.1950000000000003</c:v>
                </c:pt>
                <c:pt idx="13535">
                  <c:v>7.1959999999999997</c:v>
                </c:pt>
                <c:pt idx="13536">
                  <c:v>7.1959999999999997</c:v>
                </c:pt>
                <c:pt idx="13537">
                  <c:v>7.1959999999999997</c:v>
                </c:pt>
                <c:pt idx="13538">
                  <c:v>7.1950000000000003</c:v>
                </c:pt>
                <c:pt idx="13539">
                  <c:v>7.1959999999999997</c:v>
                </c:pt>
                <c:pt idx="13540">
                  <c:v>7.1950000000000003</c:v>
                </c:pt>
                <c:pt idx="13541">
                  <c:v>7.1950000000000003</c:v>
                </c:pt>
                <c:pt idx="13542">
                  <c:v>7.1959999999999997</c:v>
                </c:pt>
                <c:pt idx="13543">
                  <c:v>7.1959999999999997</c:v>
                </c:pt>
                <c:pt idx="13544">
                  <c:v>7.1959999999999997</c:v>
                </c:pt>
                <c:pt idx="13545">
                  <c:v>7.1950000000000003</c:v>
                </c:pt>
                <c:pt idx="13546">
                  <c:v>7.1959999999999997</c:v>
                </c:pt>
                <c:pt idx="13547">
                  <c:v>7.1950000000000003</c:v>
                </c:pt>
                <c:pt idx="13548">
                  <c:v>7.1959999999999997</c:v>
                </c:pt>
                <c:pt idx="13549">
                  <c:v>7.1950000000000003</c:v>
                </c:pt>
                <c:pt idx="13550">
                  <c:v>7.1950000000000003</c:v>
                </c:pt>
                <c:pt idx="13551">
                  <c:v>7.1950000000000003</c:v>
                </c:pt>
                <c:pt idx="13552">
                  <c:v>7.1959999999999997</c:v>
                </c:pt>
                <c:pt idx="13553">
                  <c:v>7.1950000000000003</c:v>
                </c:pt>
                <c:pt idx="13554">
                  <c:v>7.1959999999999997</c:v>
                </c:pt>
                <c:pt idx="13555">
                  <c:v>7.1959999999999997</c:v>
                </c:pt>
                <c:pt idx="13556">
                  <c:v>7.1959999999999997</c:v>
                </c:pt>
                <c:pt idx="13557">
                  <c:v>7.1950000000000003</c:v>
                </c:pt>
                <c:pt idx="13558">
                  <c:v>7.1950000000000003</c:v>
                </c:pt>
                <c:pt idx="13559">
                  <c:v>7.1959999999999997</c:v>
                </c:pt>
                <c:pt idx="13560">
                  <c:v>7.1950000000000003</c:v>
                </c:pt>
                <c:pt idx="13561">
                  <c:v>7.1950000000000003</c:v>
                </c:pt>
                <c:pt idx="13562">
                  <c:v>7.1950000000000003</c:v>
                </c:pt>
                <c:pt idx="13563">
                  <c:v>7.1950000000000003</c:v>
                </c:pt>
                <c:pt idx="13564">
                  <c:v>7.1959999999999997</c:v>
                </c:pt>
                <c:pt idx="13565">
                  <c:v>7.1959999999999997</c:v>
                </c:pt>
                <c:pt idx="13566">
                  <c:v>7.1950000000000003</c:v>
                </c:pt>
                <c:pt idx="13567">
                  <c:v>7.1950000000000003</c:v>
                </c:pt>
                <c:pt idx="13568">
                  <c:v>7.1950000000000003</c:v>
                </c:pt>
                <c:pt idx="13569">
                  <c:v>7.1950000000000003</c:v>
                </c:pt>
                <c:pt idx="13570">
                  <c:v>7.1950000000000003</c:v>
                </c:pt>
                <c:pt idx="13571">
                  <c:v>7.1950000000000003</c:v>
                </c:pt>
                <c:pt idx="13572">
                  <c:v>7.1950000000000003</c:v>
                </c:pt>
                <c:pt idx="13573">
                  <c:v>7.1950000000000003</c:v>
                </c:pt>
                <c:pt idx="13574">
                  <c:v>7.1950000000000003</c:v>
                </c:pt>
                <c:pt idx="13575">
                  <c:v>7.1950000000000003</c:v>
                </c:pt>
                <c:pt idx="13576">
                  <c:v>7.1950000000000003</c:v>
                </c:pt>
                <c:pt idx="13577">
                  <c:v>7.1950000000000003</c:v>
                </c:pt>
                <c:pt idx="13578">
                  <c:v>7.1950000000000003</c:v>
                </c:pt>
                <c:pt idx="13579">
                  <c:v>7.1950000000000003</c:v>
                </c:pt>
                <c:pt idx="13580">
                  <c:v>7.1950000000000003</c:v>
                </c:pt>
                <c:pt idx="13581">
                  <c:v>7.1950000000000003</c:v>
                </c:pt>
                <c:pt idx="13582">
                  <c:v>7.1959999999999997</c:v>
                </c:pt>
                <c:pt idx="13583">
                  <c:v>7.1950000000000003</c:v>
                </c:pt>
                <c:pt idx="13584">
                  <c:v>7.194</c:v>
                </c:pt>
                <c:pt idx="13585">
                  <c:v>7.1950000000000003</c:v>
                </c:pt>
                <c:pt idx="13586">
                  <c:v>7.1950000000000003</c:v>
                </c:pt>
                <c:pt idx="13587">
                  <c:v>7.1950000000000003</c:v>
                </c:pt>
                <c:pt idx="13588">
                  <c:v>7.1950000000000003</c:v>
                </c:pt>
                <c:pt idx="13589">
                  <c:v>7.1950000000000003</c:v>
                </c:pt>
                <c:pt idx="13590">
                  <c:v>7.1950000000000003</c:v>
                </c:pt>
                <c:pt idx="13591">
                  <c:v>7.194</c:v>
                </c:pt>
                <c:pt idx="13592">
                  <c:v>7.194</c:v>
                </c:pt>
                <c:pt idx="13593">
                  <c:v>7.1950000000000003</c:v>
                </c:pt>
                <c:pt idx="13594">
                  <c:v>7.1950000000000003</c:v>
                </c:pt>
                <c:pt idx="13595">
                  <c:v>7.1950000000000003</c:v>
                </c:pt>
                <c:pt idx="13596">
                  <c:v>7.1950000000000003</c:v>
                </c:pt>
                <c:pt idx="13597">
                  <c:v>7.1950000000000003</c:v>
                </c:pt>
                <c:pt idx="13598">
                  <c:v>7.1950000000000003</c:v>
                </c:pt>
                <c:pt idx="13599">
                  <c:v>7.194</c:v>
                </c:pt>
                <c:pt idx="13600">
                  <c:v>7.1950000000000003</c:v>
                </c:pt>
                <c:pt idx="13601">
                  <c:v>7.1950000000000003</c:v>
                </c:pt>
                <c:pt idx="13602">
                  <c:v>7.1950000000000003</c:v>
                </c:pt>
                <c:pt idx="13603">
                  <c:v>7.1950000000000003</c:v>
                </c:pt>
                <c:pt idx="13604">
                  <c:v>7.194</c:v>
                </c:pt>
                <c:pt idx="13605">
                  <c:v>7.194</c:v>
                </c:pt>
                <c:pt idx="13606">
                  <c:v>7.1950000000000003</c:v>
                </c:pt>
                <c:pt idx="13607">
                  <c:v>7.1950000000000003</c:v>
                </c:pt>
                <c:pt idx="13608">
                  <c:v>7.1950000000000003</c:v>
                </c:pt>
                <c:pt idx="13609">
                  <c:v>7.194</c:v>
                </c:pt>
                <c:pt idx="13610">
                  <c:v>7.1950000000000003</c:v>
                </c:pt>
                <c:pt idx="13611">
                  <c:v>7.1950000000000003</c:v>
                </c:pt>
                <c:pt idx="13612">
                  <c:v>7.194</c:v>
                </c:pt>
                <c:pt idx="13613">
                  <c:v>7.194</c:v>
                </c:pt>
                <c:pt idx="13614">
                  <c:v>7.194</c:v>
                </c:pt>
                <c:pt idx="13615">
                  <c:v>7.194</c:v>
                </c:pt>
                <c:pt idx="13616">
                  <c:v>7.194</c:v>
                </c:pt>
                <c:pt idx="13617">
                  <c:v>7.194</c:v>
                </c:pt>
                <c:pt idx="13618">
                  <c:v>7.194</c:v>
                </c:pt>
                <c:pt idx="13619">
                  <c:v>7.194</c:v>
                </c:pt>
                <c:pt idx="13620">
                  <c:v>7.194</c:v>
                </c:pt>
                <c:pt idx="13621">
                  <c:v>7.194</c:v>
                </c:pt>
                <c:pt idx="13622">
                  <c:v>7.194</c:v>
                </c:pt>
                <c:pt idx="13623">
                  <c:v>7.1950000000000003</c:v>
                </c:pt>
                <c:pt idx="13624">
                  <c:v>7.194</c:v>
                </c:pt>
                <c:pt idx="13625">
                  <c:v>7.194</c:v>
                </c:pt>
                <c:pt idx="13626">
                  <c:v>7.194</c:v>
                </c:pt>
                <c:pt idx="13627">
                  <c:v>7.194</c:v>
                </c:pt>
                <c:pt idx="13628">
                  <c:v>7.194</c:v>
                </c:pt>
                <c:pt idx="13629">
                  <c:v>7.194</c:v>
                </c:pt>
                <c:pt idx="13630">
                  <c:v>7.194</c:v>
                </c:pt>
                <c:pt idx="13631">
                  <c:v>7.194</c:v>
                </c:pt>
                <c:pt idx="13632">
                  <c:v>7.194</c:v>
                </c:pt>
                <c:pt idx="13633">
                  <c:v>7.194</c:v>
                </c:pt>
                <c:pt idx="13634">
                  <c:v>7.194</c:v>
                </c:pt>
                <c:pt idx="13635">
                  <c:v>7.194</c:v>
                </c:pt>
                <c:pt idx="13636">
                  <c:v>7.194</c:v>
                </c:pt>
                <c:pt idx="13637">
                  <c:v>7.194</c:v>
                </c:pt>
                <c:pt idx="13638">
                  <c:v>7.194</c:v>
                </c:pt>
                <c:pt idx="13639">
                  <c:v>7.194</c:v>
                </c:pt>
                <c:pt idx="13640">
                  <c:v>7.194</c:v>
                </c:pt>
                <c:pt idx="13641">
                  <c:v>7.194</c:v>
                </c:pt>
                <c:pt idx="13642">
                  <c:v>7.194</c:v>
                </c:pt>
                <c:pt idx="13643">
                  <c:v>7.194</c:v>
                </c:pt>
                <c:pt idx="13644">
                  <c:v>7.194</c:v>
                </c:pt>
                <c:pt idx="13645">
                  <c:v>7.194</c:v>
                </c:pt>
                <c:pt idx="13646">
                  <c:v>7.194</c:v>
                </c:pt>
                <c:pt idx="13647">
                  <c:v>7.1929999999999996</c:v>
                </c:pt>
                <c:pt idx="13648">
                  <c:v>7.194</c:v>
                </c:pt>
                <c:pt idx="13649">
                  <c:v>7.194</c:v>
                </c:pt>
                <c:pt idx="13650">
                  <c:v>7.194</c:v>
                </c:pt>
                <c:pt idx="13651">
                  <c:v>7.1929999999999996</c:v>
                </c:pt>
                <c:pt idx="13652">
                  <c:v>7.1929999999999996</c:v>
                </c:pt>
                <c:pt idx="13653">
                  <c:v>7.1929999999999996</c:v>
                </c:pt>
                <c:pt idx="13654">
                  <c:v>7.1929999999999996</c:v>
                </c:pt>
                <c:pt idx="13655">
                  <c:v>7.1929999999999996</c:v>
                </c:pt>
                <c:pt idx="13656">
                  <c:v>7.194</c:v>
                </c:pt>
                <c:pt idx="13657">
                  <c:v>7.194</c:v>
                </c:pt>
                <c:pt idx="13658">
                  <c:v>7.1929999999999996</c:v>
                </c:pt>
                <c:pt idx="13659">
                  <c:v>7.194</c:v>
                </c:pt>
                <c:pt idx="13660">
                  <c:v>7.1929999999999996</c:v>
                </c:pt>
                <c:pt idx="13661">
                  <c:v>7.194</c:v>
                </c:pt>
                <c:pt idx="13662">
                  <c:v>7.1929999999999996</c:v>
                </c:pt>
                <c:pt idx="13663">
                  <c:v>7.1929999999999996</c:v>
                </c:pt>
                <c:pt idx="13664">
                  <c:v>7.1929999999999996</c:v>
                </c:pt>
                <c:pt idx="13665">
                  <c:v>7.1929999999999996</c:v>
                </c:pt>
                <c:pt idx="13666">
                  <c:v>7.194</c:v>
                </c:pt>
                <c:pt idx="13667">
                  <c:v>7.1929999999999996</c:v>
                </c:pt>
                <c:pt idx="13668">
                  <c:v>7.1929999999999996</c:v>
                </c:pt>
                <c:pt idx="13669">
                  <c:v>7.1929999999999996</c:v>
                </c:pt>
                <c:pt idx="13670">
                  <c:v>7.1929999999999996</c:v>
                </c:pt>
                <c:pt idx="13671">
                  <c:v>7.1929999999999996</c:v>
                </c:pt>
                <c:pt idx="13672">
                  <c:v>7.1929999999999996</c:v>
                </c:pt>
                <c:pt idx="13673">
                  <c:v>7.1929999999999996</c:v>
                </c:pt>
                <c:pt idx="13674">
                  <c:v>7.1929999999999996</c:v>
                </c:pt>
                <c:pt idx="13675">
                  <c:v>7.1929999999999996</c:v>
                </c:pt>
                <c:pt idx="13676">
                  <c:v>7.1929999999999996</c:v>
                </c:pt>
                <c:pt idx="13677">
                  <c:v>7.1929999999999996</c:v>
                </c:pt>
                <c:pt idx="13678">
                  <c:v>7.1929999999999996</c:v>
                </c:pt>
                <c:pt idx="13679">
                  <c:v>7.1929999999999996</c:v>
                </c:pt>
                <c:pt idx="13680">
                  <c:v>7.1929999999999996</c:v>
                </c:pt>
                <c:pt idx="13681">
                  <c:v>7.1929999999999996</c:v>
                </c:pt>
                <c:pt idx="13682">
                  <c:v>7.1929999999999996</c:v>
                </c:pt>
                <c:pt idx="13683">
                  <c:v>7.1929999999999996</c:v>
                </c:pt>
                <c:pt idx="13684">
                  <c:v>7.1929999999999996</c:v>
                </c:pt>
                <c:pt idx="13685">
                  <c:v>7.1929999999999996</c:v>
                </c:pt>
                <c:pt idx="13686">
                  <c:v>7.1929999999999996</c:v>
                </c:pt>
                <c:pt idx="13687">
                  <c:v>7.1929999999999996</c:v>
                </c:pt>
                <c:pt idx="13688">
                  <c:v>7.1929999999999996</c:v>
                </c:pt>
                <c:pt idx="13689">
                  <c:v>7.1929999999999996</c:v>
                </c:pt>
                <c:pt idx="13690">
                  <c:v>7.1929999999999996</c:v>
                </c:pt>
                <c:pt idx="13691">
                  <c:v>7.194</c:v>
                </c:pt>
                <c:pt idx="13692">
                  <c:v>7.1929999999999996</c:v>
                </c:pt>
                <c:pt idx="13693">
                  <c:v>7.1920000000000002</c:v>
                </c:pt>
                <c:pt idx="13694">
                  <c:v>7.1929999999999996</c:v>
                </c:pt>
                <c:pt idx="13695">
                  <c:v>7.1929999999999996</c:v>
                </c:pt>
                <c:pt idx="13696">
                  <c:v>7.1929999999999996</c:v>
                </c:pt>
                <c:pt idx="13697">
                  <c:v>7.1920000000000002</c:v>
                </c:pt>
                <c:pt idx="13698">
                  <c:v>7.1929999999999996</c:v>
                </c:pt>
                <c:pt idx="13699">
                  <c:v>7.1929999999999996</c:v>
                </c:pt>
                <c:pt idx="13700">
                  <c:v>7.1920000000000002</c:v>
                </c:pt>
                <c:pt idx="13701">
                  <c:v>7.1929999999999996</c:v>
                </c:pt>
                <c:pt idx="13702">
                  <c:v>7.1929999999999996</c:v>
                </c:pt>
                <c:pt idx="13703">
                  <c:v>7.1920000000000002</c:v>
                </c:pt>
                <c:pt idx="13704">
                  <c:v>7.1920000000000002</c:v>
                </c:pt>
                <c:pt idx="13705">
                  <c:v>7.1920000000000002</c:v>
                </c:pt>
                <c:pt idx="13706">
                  <c:v>7.1920000000000002</c:v>
                </c:pt>
                <c:pt idx="13707">
                  <c:v>7.1920000000000002</c:v>
                </c:pt>
                <c:pt idx="13708">
                  <c:v>7.1920000000000002</c:v>
                </c:pt>
                <c:pt idx="13709">
                  <c:v>7.1929999999999996</c:v>
                </c:pt>
                <c:pt idx="13710">
                  <c:v>7.1920000000000002</c:v>
                </c:pt>
                <c:pt idx="13711">
                  <c:v>7.1920000000000002</c:v>
                </c:pt>
                <c:pt idx="13712">
                  <c:v>7.1920000000000002</c:v>
                </c:pt>
                <c:pt idx="13713">
                  <c:v>7.1920000000000002</c:v>
                </c:pt>
                <c:pt idx="13714">
                  <c:v>7.1920000000000002</c:v>
                </c:pt>
                <c:pt idx="13715">
                  <c:v>7.1929999999999996</c:v>
                </c:pt>
                <c:pt idx="13716">
                  <c:v>7.1929999999999996</c:v>
                </c:pt>
                <c:pt idx="13717">
                  <c:v>7.1920000000000002</c:v>
                </c:pt>
                <c:pt idx="13718">
                  <c:v>7.1929999999999996</c:v>
                </c:pt>
                <c:pt idx="13719">
                  <c:v>7.1920000000000002</c:v>
                </c:pt>
                <c:pt idx="13720">
                  <c:v>7.1920000000000002</c:v>
                </c:pt>
                <c:pt idx="13721">
                  <c:v>7.1929999999999996</c:v>
                </c:pt>
                <c:pt idx="13722">
                  <c:v>7.1920000000000002</c:v>
                </c:pt>
                <c:pt idx="13723">
                  <c:v>7.1920000000000002</c:v>
                </c:pt>
                <c:pt idx="13724">
                  <c:v>7.1920000000000002</c:v>
                </c:pt>
                <c:pt idx="13725">
                  <c:v>7.1920000000000002</c:v>
                </c:pt>
                <c:pt idx="13726">
                  <c:v>7.1920000000000002</c:v>
                </c:pt>
                <c:pt idx="13727">
                  <c:v>7.1920000000000002</c:v>
                </c:pt>
                <c:pt idx="13728">
                  <c:v>7.1920000000000002</c:v>
                </c:pt>
                <c:pt idx="13729">
                  <c:v>7.1920000000000002</c:v>
                </c:pt>
                <c:pt idx="13730">
                  <c:v>7.1920000000000002</c:v>
                </c:pt>
                <c:pt idx="13731">
                  <c:v>7.1920000000000002</c:v>
                </c:pt>
                <c:pt idx="13732">
                  <c:v>7.1920000000000002</c:v>
                </c:pt>
                <c:pt idx="13733">
                  <c:v>7.1920000000000002</c:v>
                </c:pt>
                <c:pt idx="13734">
                  <c:v>7.1920000000000002</c:v>
                </c:pt>
                <c:pt idx="13735">
                  <c:v>7.1920000000000002</c:v>
                </c:pt>
                <c:pt idx="13736">
                  <c:v>7.1920000000000002</c:v>
                </c:pt>
                <c:pt idx="13737">
                  <c:v>7.1920000000000002</c:v>
                </c:pt>
                <c:pt idx="13738">
                  <c:v>7.1920000000000002</c:v>
                </c:pt>
                <c:pt idx="13739">
                  <c:v>7.1920000000000002</c:v>
                </c:pt>
                <c:pt idx="13740">
                  <c:v>7.1920000000000002</c:v>
                </c:pt>
                <c:pt idx="13741">
                  <c:v>7.1920000000000002</c:v>
                </c:pt>
                <c:pt idx="13742">
                  <c:v>7.1920000000000002</c:v>
                </c:pt>
                <c:pt idx="13743">
                  <c:v>7.1920000000000002</c:v>
                </c:pt>
                <c:pt idx="13744">
                  <c:v>7.1920000000000002</c:v>
                </c:pt>
                <c:pt idx="13745">
                  <c:v>7.1920000000000002</c:v>
                </c:pt>
                <c:pt idx="13746">
                  <c:v>7.1920000000000002</c:v>
                </c:pt>
                <c:pt idx="13747">
                  <c:v>7.1920000000000002</c:v>
                </c:pt>
                <c:pt idx="13748">
                  <c:v>7.1909999999999998</c:v>
                </c:pt>
                <c:pt idx="13749">
                  <c:v>7.1920000000000002</c:v>
                </c:pt>
                <c:pt idx="13750">
                  <c:v>7.1920000000000002</c:v>
                </c:pt>
                <c:pt idx="13751">
                  <c:v>7.1920000000000002</c:v>
                </c:pt>
                <c:pt idx="13752">
                  <c:v>7.1920000000000002</c:v>
                </c:pt>
                <c:pt idx="13753">
                  <c:v>7.1909999999999998</c:v>
                </c:pt>
                <c:pt idx="13754">
                  <c:v>7.1920000000000002</c:v>
                </c:pt>
                <c:pt idx="13755">
                  <c:v>7.1909999999999998</c:v>
                </c:pt>
                <c:pt idx="13756">
                  <c:v>7.1909999999999998</c:v>
                </c:pt>
                <c:pt idx="13757">
                  <c:v>7.1920000000000002</c:v>
                </c:pt>
                <c:pt idx="13758">
                  <c:v>7.1920000000000002</c:v>
                </c:pt>
                <c:pt idx="13759">
                  <c:v>7.1909999999999998</c:v>
                </c:pt>
                <c:pt idx="13760">
                  <c:v>7.1920000000000002</c:v>
                </c:pt>
                <c:pt idx="13761">
                  <c:v>7.1909999999999998</c:v>
                </c:pt>
                <c:pt idx="13762">
                  <c:v>7.1909999999999998</c:v>
                </c:pt>
                <c:pt idx="13763">
                  <c:v>7.1920000000000002</c:v>
                </c:pt>
                <c:pt idx="13764">
                  <c:v>7.1920000000000002</c:v>
                </c:pt>
                <c:pt idx="13765">
                  <c:v>7.1909999999999998</c:v>
                </c:pt>
                <c:pt idx="13766">
                  <c:v>7.1909999999999998</c:v>
                </c:pt>
                <c:pt idx="13767">
                  <c:v>7.1920000000000002</c:v>
                </c:pt>
                <c:pt idx="13768">
                  <c:v>7.1909999999999998</c:v>
                </c:pt>
                <c:pt idx="13769">
                  <c:v>7.1920000000000002</c:v>
                </c:pt>
                <c:pt idx="13770">
                  <c:v>7.1920000000000002</c:v>
                </c:pt>
                <c:pt idx="13771">
                  <c:v>7.1920000000000002</c:v>
                </c:pt>
                <c:pt idx="13772">
                  <c:v>7.1909999999999998</c:v>
                </c:pt>
                <c:pt idx="13773">
                  <c:v>7.1909999999999998</c:v>
                </c:pt>
                <c:pt idx="13774">
                  <c:v>7.1920000000000002</c:v>
                </c:pt>
                <c:pt idx="13775">
                  <c:v>7.1909999999999998</c:v>
                </c:pt>
                <c:pt idx="13776">
                  <c:v>7.1909999999999998</c:v>
                </c:pt>
                <c:pt idx="13777">
                  <c:v>7.1909999999999998</c:v>
                </c:pt>
                <c:pt idx="13778">
                  <c:v>7.1909999999999998</c:v>
                </c:pt>
                <c:pt idx="13779">
                  <c:v>7.1909999999999998</c:v>
                </c:pt>
                <c:pt idx="13780">
                  <c:v>7.1909999999999998</c:v>
                </c:pt>
                <c:pt idx="13781">
                  <c:v>7.1909999999999998</c:v>
                </c:pt>
                <c:pt idx="13782">
                  <c:v>7.1909999999999998</c:v>
                </c:pt>
                <c:pt idx="13783">
                  <c:v>7.1920000000000002</c:v>
                </c:pt>
                <c:pt idx="13784">
                  <c:v>7.1909999999999998</c:v>
                </c:pt>
                <c:pt idx="13785">
                  <c:v>7.1909999999999998</c:v>
                </c:pt>
                <c:pt idx="13786">
                  <c:v>7.1909999999999998</c:v>
                </c:pt>
                <c:pt idx="13787">
                  <c:v>7.1909999999999998</c:v>
                </c:pt>
                <c:pt idx="13788">
                  <c:v>7.1909999999999998</c:v>
                </c:pt>
                <c:pt idx="13789">
                  <c:v>7.1909999999999998</c:v>
                </c:pt>
                <c:pt idx="13790">
                  <c:v>7.1909999999999998</c:v>
                </c:pt>
                <c:pt idx="13791">
                  <c:v>7.1909999999999998</c:v>
                </c:pt>
                <c:pt idx="13792">
                  <c:v>7.19</c:v>
                </c:pt>
                <c:pt idx="13793">
                  <c:v>7.1909999999999998</c:v>
                </c:pt>
                <c:pt idx="13794">
                  <c:v>7.1909999999999998</c:v>
                </c:pt>
                <c:pt idx="13795">
                  <c:v>7.1909999999999998</c:v>
                </c:pt>
                <c:pt idx="13796">
                  <c:v>7.1909999999999998</c:v>
                </c:pt>
                <c:pt idx="13797">
                  <c:v>7.1909999999999998</c:v>
                </c:pt>
                <c:pt idx="13798">
                  <c:v>7.1909999999999998</c:v>
                </c:pt>
                <c:pt idx="13799">
                  <c:v>7.1909999999999998</c:v>
                </c:pt>
                <c:pt idx="13800">
                  <c:v>7.1909999999999998</c:v>
                </c:pt>
                <c:pt idx="13801">
                  <c:v>7.1909999999999998</c:v>
                </c:pt>
                <c:pt idx="13802">
                  <c:v>7.1909999999999998</c:v>
                </c:pt>
                <c:pt idx="13803">
                  <c:v>7.19</c:v>
                </c:pt>
                <c:pt idx="13804">
                  <c:v>7.1909999999999998</c:v>
                </c:pt>
                <c:pt idx="13805">
                  <c:v>7.1909999999999998</c:v>
                </c:pt>
                <c:pt idx="13806">
                  <c:v>7.19</c:v>
                </c:pt>
                <c:pt idx="13807">
                  <c:v>7.1909999999999998</c:v>
                </c:pt>
                <c:pt idx="13808">
                  <c:v>7.1909999999999998</c:v>
                </c:pt>
                <c:pt idx="13809">
                  <c:v>7.1909999999999998</c:v>
                </c:pt>
                <c:pt idx="13810">
                  <c:v>7.19</c:v>
                </c:pt>
                <c:pt idx="13811">
                  <c:v>7.19</c:v>
                </c:pt>
                <c:pt idx="13812">
                  <c:v>7.19</c:v>
                </c:pt>
                <c:pt idx="13813">
                  <c:v>7.1909999999999998</c:v>
                </c:pt>
                <c:pt idx="13814">
                  <c:v>7.19</c:v>
                </c:pt>
                <c:pt idx="13815">
                  <c:v>7.1909999999999998</c:v>
                </c:pt>
                <c:pt idx="13816">
                  <c:v>7.1909999999999998</c:v>
                </c:pt>
                <c:pt idx="13817">
                  <c:v>7.1909999999999998</c:v>
                </c:pt>
                <c:pt idx="13818">
                  <c:v>7.19</c:v>
                </c:pt>
                <c:pt idx="13819">
                  <c:v>7.19</c:v>
                </c:pt>
                <c:pt idx="13820">
                  <c:v>7.19</c:v>
                </c:pt>
                <c:pt idx="13821">
                  <c:v>7.19</c:v>
                </c:pt>
                <c:pt idx="13822">
                  <c:v>7.19</c:v>
                </c:pt>
                <c:pt idx="13823">
                  <c:v>7.19</c:v>
                </c:pt>
                <c:pt idx="13824">
                  <c:v>7.19</c:v>
                </c:pt>
                <c:pt idx="13825">
                  <c:v>7.19</c:v>
                </c:pt>
                <c:pt idx="13826">
                  <c:v>7.19</c:v>
                </c:pt>
                <c:pt idx="13827">
                  <c:v>7.19</c:v>
                </c:pt>
                <c:pt idx="13828">
                  <c:v>7.19</c:v>
                </c:pt>
                <c:pt idx="13829">
                  <c:v>7.19</c:v>
                </c:pt>
                <c:pt idx="13830">
                  <c:v>7.19</c:v>
                </c:pt>
                <c:pt idx="13831">
                  <c:v>7.19</c:v>
                </c:pt>
                <c:pt idx="13832">
                  <c:v>7.19</c:v>
                </c:pt>
                <c:pt idx="13833">
                  <c:v>7.19</c:v>
                </c:pt>
                <c:pt idx="13834">
                  <c:v>7.19</c:v>
                </c:pt>
                <c:pt idx="13835">
                  <c:v>7.19</c:v>
                </c:pt>
                <c:pt idx="13836">
                  <c:v>7.19</c:v>
                </c:pt>
                <c:pt idx="13837">
                  <c:v>7.19</c:v>
                </c:pt>
                <c:pt idx="13838">
                  <c:v>7.19</c:v>
                </c:pt>
                <c:pt idx="13839">
                  <c:v>7.19</c:v>
                </c:pt>
                <c:pt idx="13840">
                  <c:v>7.19</c:v>
                </c:pt>
                <c:pt idx="13841">
                  <c:v>7.19</c:v>
                </c:pt>
                <c:pt idx="13842">
                  <c:v>7.19</c:v>
                </c:pt>
                <c:pt idx="13843">
                  <c:v>7.19</c:v>
                </c:pt>
                <c:pt idx="13844">
                  <c:v>7.19</c:v>
                </c:pt>
                <c:pt idx="13845">
                  <c:v>7.19</c:v>
                </c:pt>
                <c:pt idx="13846">
                  <c:v>7.1890000000000001</c:v>
                </c:pt>
                <c:pt idx="13847">
                  <c:v>7.19</c:v>
                </c:pt>
                <c:pt idx="13848">
                  <c:v>7.19</c:v>
                </c:pt>
                <c:pt idx="13849">
                  <c:v>7.19</c:v>
                </c:pt>
                <c:pt idx="13850">
                  <c:v>7.19</c:v>
                </c:pt>
                <c:pt idx="13851">
                  <c:v>7.19</c:v>
                </c:pt>
                <c:pt idx="13852">
                  <c:v>7.19</c:v>
                </c:pt>
                <c:pt idx="13853">
                  <c:v>7.19</c:v>
                </c:pt>
                <c:pt idx="13854">
                  <c:v>7.19</c:v>
                </c:pt>
                <c:pt idx="13855">
                  <c:v>7.1890000000000001</c:v>
                </c:pt>
                <c:pt idx="13856">
                  <c:v>7.1890000000000001</c:v>
                </c:pt>
                <c:pt idx="13857">
                  <c:v>7.19</c:v>
                </c:pt>
                <c:pt idx="13858">
                  <c:v>7.19</c:v>
                </c:pt>
                <c:pt idx="13859">
                  <c:v>7.1890000000000001</c:v>
                </c:pt>
                <c:pt idx="13860">
                  <c:v>7.1890000000000001</c:v>
                </c:pt>
                <c:pt idx="13861">
                  <c:v>7.1890000000000001</c:v>
                </c:pt>
                <c:pt idx="13862">
                  <c:v>7.1890000000000001</c:v>
                </c:pt>
                <c:pt idx="13863">
                  <c:v>7.1890000000000001</c:v>
                </c:pt>
                <c:pt idx="13864">
                  <c:v>7.19</c:v>
                </c:pt>
                <c:pt idx="13865">
                  <c:v>7.19</c:v>
                </c:pt>
                <c:pt idx="13866">
                  <c:v>7.19</c:v>
                </c:pt>
                <c:pt idx="13867">
                  <c:v>7.1890000000000001</c:v>
                </c:pt>
                <c:pt idx="13868">
                  <c:v>7.1890000000000001</c:v>
                </c:pt>
                <c:pt idx="13869">
                  <c:v>7.1890000000000001</c:v>
                </c:pt>
                <c:pt idx="13870">
                  <c:v>7.1890000000000001</c:v>
                </c:pt>
                <c:pt idx="13871">
                  <c:v>7.1890000000000001</c:v>
                </c:pt>
                <c:pt idx="13872">
                  <c:v>7.1890000000000001</c:v>
                </c:pt>
                <c:pt idx="13873">
                  <c:v>7.1890000000000001</c:v>
                </c:pt>
                <c:pt idx="13874">
                  <c:v>7.1890000000000001</c:v>
                </c:pt>
                <c:pt idx="13875">
                  <c:v>7.1890000000000001</c:v>
                </c:pt>
                <c:pt idx="13876">
                  <c:v>7.1890000000000001</c:v>
                </c:pt>
                <c:pt idx="13877">
                  <c:v>7.1890000000000001</c:v>
                </c:pt>
                <c:pt idx="13878">
                  <c:v>7.1890000000000001</c:v>
                </c:pt>
                <c:pt idx="13879">
                  <c:v>7.1890000000000001</c:v>
                </c:pt>
                <c:pt idx="13880">
                  <c:v>7.1890000000000001</c:v>
                </c:pt>
                <c:pt idx="13881">
                  <c:v>7.1890000000000001</c:v>
                </c:pt>
                <c:pt idx="13882">
                  <c:v>7.19</c:v>
                </c:pt>
                <c:pt idx="13883">
                  <c:v>7.1890000000000001</c:v>
                </c:pt>
                <c:pt idx="13884">
                  <c:v>7.1890000000000001</c:v>
                </c:pt>
                <c:pt idx="13885">
                  <c:v>7.1890000000000001</c:v>
                </c:pt>
                <c:pt idx="13886">
                  <c:v>7.19</c:v>
                </c:pt>
                <c:pt idx="13887">
                  <c:v>7.1890000000000001</c:v>
                </c:pt>
                <c:pt idx="13888">
                  <c:v>7.1890000000000001</c:v>
                </c:pt>
                <c:pt idx="13889">
                  <c:v>7.19</c:v>
                </c:pt>
                <c:pt idx="13890">
                  <c:v>7.1890000000000001</c:v>
                </c:pt>
                <c:pt idx="13891">
                  <c:v>7.1879999999999997</c:v>
                </c:pt>
                <c:pt idx="13892">
                  <c:v>7.1879999999999997</c:v>
                </c:pt>
                <c:pt idx="13893">
                  <c:v>7.1890000000000001</c:v>
                </c:pt>
                <c:pt idx="13894">
                  <c:v>7.1890000000000001</c:v>
                </c:pt>
                <c:pt idx="13895">
                  <c:v>7.1890000000000001</c:v>
                </c:pt>
                <c:pt idx="13896">
                  <c:v>7.1890000000000001</c:v>
                </c:pt>
                <c:pt idx="13897">
                  <c:v>7.1890000000000001</c:v>
                </c:pt>
                <c:pt idx="13898">
                  <c:v>7.1890000000000001</c:v>
                </c:pt>
                <c:pt idx="13899">
                  <c:v>7.1890000000000001</c:v>
                </c:pt>
                <c:pt idx="13900">
                  <c:v>7.1890000000000001</c:v>
                </c:pt>
                <c:pt idx="13901">
                  <c:v>7.1890000000000001</c:v>
                </c:pt>
                <c:pt idx="13902">
                  <c:v>7.1890000000000001</c:v>
                </c:pt>
                <c:pt idx="13903">
                  <c:v>7.1890000000000001</c:v>
                </c:pt>
                <c:pt idx="13904">
                  <c:v>7.1890000000000001</c:v>
                </c:pt>
                <c:pt idx="13905">
                  <c:v>7.1890000000000001</c:v>
                </c:pt>
                <c:pt idx="13906">
                  <c:v>7.1890000000000001</c:v>
                </c:pt>
                <c:pt idx="13907">
                  <c:v>7.1879999999999997</c:v>
                </c:pt>
                <c:pt idx="13908">
                  <c:v>7.1890000000000001</c:v>
                </c:pt>
                <c:pt idx="13909">
                  <c:v>7.1890000000000001</c:v>
                </c:pt>
                <c:pt idx="13910">
                  <c:v>7.1890000000000001</c:v>
                </c:pt>
                <c:pt idx="13911">
                  <c:v>7.1879999999999997</c:v>
                </c:pt>
                <c:pt idx="13912">
                  <c:v>7.1890000000000001</c:v>
                </c:pt>
                <c:pt idx="13913">
                  <c:v>7.1890000000000001</c:v>
                </c:pt>
                <c:pt idx="13914">
                  <c:v>7.1890000000000001</c:v>
                </c:pt>
                <c:pt idx="13915">
                  <c:v>7.1890000000000001</c:v>
                </c:pt>
                <c:pt idx="13916">
                  <c:v>7.1890000000000001</c:v>
                </c:pt>
                <c:pt idx="13917">
                  <c:v>7.1890000000000001</c:v>
                </c:pt>
                <c:pt idx="13918">
                  <c:v>7.1890000000000001</c:v>
                </c:pt>
                <c:pt idx="13919">
                  <c:v>7.1879999999999997</c:v>
                </c:pt>
                <c:pt idx="13920">
                  <c:v>7.1890000000000001</c:v>
                </c:pt>
                <c:pt idx="13921">
                  <c:v>7.1890000000000001</c:v>
                </c:pt>
                <c:pt idx="13922">
                  <c:v>7.1890000000000001</c:v>
                </c:pt>
                <c:pt idx="13923">
                  <c:v>7.1879999999999997</c:v>
                </c:pt>
                <c:pt idx="13924">
                  <c:v>7.1879999999999997</c:v>
                </c:pt>
                <c:pt idx="13925">
                  <c:v>7.1890000000000001</c:v>
                </c:pt>
                <c:pt idx="13926">
                  <c:v>7.1879999999999997</c:v>
                </c:pt>
                <c:pt idx="13927">
                  <c:v>7.1890000000000001</c:v>
                </c:pt>
                <c:pt idx="13928">
                  <c:v>7.1890000000000001</c:v>
                </c:pt>
                <c:pt idx="13929">
                  <c:v>7.1879999999999997</c:v>
                </c:pt>
                <c:pt idx="13930">
                  <c:v>7.1890000000000001</c:v>
                </c:pt>
                <c:pt idx="13931">
                  <c:v>7.1890000000000001</c:v>
                </c:pt>
                <c:pt idx="13932">
                  <c:v>7.1879999999999997</c:v>
                </c:pt>
                <c:pt idx="13933">
                  <c:v>7.1879999999999997</c:v>
                </c:pt>
                <c:pt idx="13934">
                  <c:v>7.1879999999999997</c:v>
                </c:pt>
                <c:pt idx="13935">
                  <c:v>7.1890000000000001</c:v>
                </c:pt>
                <c:pt idx="13936">
                  <c:v>7.1879999999999997</c:v>
                </c:pt>
                <c:pt idx="13937">
                  <c:v>7.1879999999999997</c:v>
                </c:pt>
                <c:pt idx="13938">
                  <c:v>7.1890000000000001</c:v>
                </c:pt>
                <c:pt idx="13939">
                  <c:v>7.1879999999999997</c:v>
                </c:pt>
                <c:pt idx="13940">
                  <c:v>7.1879999999999997</c:v>
                </c:pt>
                <c:pt idx="13941">
                  <c:v>7.1879999999999997</c:v>
                </c:pt>
                <c:pt idx="13942">
                  <c:v>7.1890000000000001</c:v>
                </c:pt>
                <c:pt idx="13943">
                  <c:v>7.1879999999999997</c:v>
                </c:pt>
                <c:pt idx="13944">
                  <c:v>7.1879999999999997</c:v>
                </c:pt>
                <c:pt idx="13945">
                  <c:v>7.1879999999999997</c:v>
                </c:pt>
                <c:pt idx="13946">
                  <c:v>7.1879999999999997</c:v>
                </c:pt>
                <c:pt idx="13947">
                  <c:v>7.1879999999999997</c:v>
                </c:pt>
                <c:pt idx="13948">
                  <c:v>7.1879999999999997</c:v>
                </c:pt>
                <c:pt idx="13949">
                  <c:v>7.1890000000000001</c:v>
                </c:pt>
                <c:pt idx="13950">
                  <c:v>7.1879999999999997</c:v>
                </c:pt>
                <c:pt idx="13951">
                  <c:v>7.1879999999999997</c:v>
                </c:pt>
                <c:pt idx="13952">
                  <c:v>7.1879999999999997</c:v>
                </c:pt>
                <c:pt idx="13953">
                  <c:v>7.1879999999999997</c:v>
                </c:pt>
                <c:pt idx="13954">
                  <c:v>7.1879999999999997</c:v>
                </c:pt>
                <c:pt idx="13955">
                  <c:v>7.1879999999999997</c:v>
                </c:pt>
                <c:pt idx="13956">
                  <c:v>7.1879999999999997</c:v>
                </c:pt>
                <c:pt idx="13957">
                  <c:v>7.1879999999999997</c:v>
                </c:pt>
                <c:pt idx="13958">
                  <c:v>7.1879999999999997</c:v>
                </c:pt>
                <c:pt idx="13959">
                  <c:v>7.1870000000000003</c:v>
                </c:pt>
                <c:pt idx="13960">
                  <c:v>7.1879999999999997</c:v>
                </c:pt>
                <c:pt idx="13961">
                  <c:v>7.1879999999999997</c:v>
                </c:pt>
                <c:pt idx="13962">
                  <c:v>7.1870000000000003</c:v>
                </c:pt>
                <c:pt idx="13963">
                  <c:v>7.1870000000000003</c:v>
                </c:pt>
                <c:pt idx="13964">
                  <c:v>7.1879999999999997</c:v>
                </c:pt>
                <c:pt idx="13965">
                  <c:v>7.1879999999999997</c:v>
                </c:pt>
                <c:pt idx="13966">
                  <c:v>7.1879999999999997</c:v>
                </c:pt>
                <c:pt idx="13967">
                  <c:v>7.1879999999999997</c:v>
                </c:pt>
                <c:pt idx="13968">
                  <c:v>7.1879999999999997</c:v>
                </c:pt>
                <c:pt idx="13969">
                  <c:v>7.1879999999999997</c:v>
                </c:pt>
                <c:pt idx="13970">
                  <c:v>7.1879999999999997</c:v>
                </c:pt>
                <c:pt idx="13971">
                  <c:v>7.1879999999999997</c:v>
                </c:pt>
                <c:pt idx="13972">
                  <c:v>7.1879999999999997</c:v>
                </c:pt>
                <c:pt idx="13973">
                  <c:v>7.1879999999999997</c:v>
                </c:pt>
                <c:pt idx="13974">
                  <c:v>7.1870000000000003</c:v>
                </c:pt>
                <c:pt idx="13975">
                  <c:v>7.1879999999999997</c:v>
                </c:pt>
                <c:pt idx="13976">
                  <c:v>7.1879999999999997</c:v>
                </c:pt>
                <c:pt idx="13977">
                  <c:v>7.1879999999999997</c:v>
                </c:pt>
                <c:pt idx="13978">
                  <c:v>7.1879999999999997</c:v>
                </c:pt>
                <c:pt idx="13979">
                  <c:v>7.1870000000000003</c:v>
                </c:pt>
                <c:pt idx="13980">
                  <c:v>7.1879999999999997</c:v>
                </c:pt>
                <c:pt idx="13981">
                  <c:v>7.1879999999999997</c:v>
                </c:pt>
                <c:pt idx="13982">
                  <c:v>7.1879999999999997</c:v>
                </c:pt>
                <c:pt idx="13983">
                  <c:v>7.1870000000000003</c:v>
                </c:pt>
                <c:pt idx="13984">
                  <c:v>7.1879999999999997</c:v>
                </c:pt>
                <c:pt idx="13985">
                  <c:v>7.1879999999999997</c:v>
                </c:pt>
                <c:pt idx="13986">
                  <c:v>7.1879999999999997</c:v>
                </c:pt>
                <c:pt idx="13987">
                  <c:v>7.1870000000000003</c:v>
                </c:pt>
                <c:pt idx="13988">
                  <c:v>7.1870000000000003</c:v>
                </c:pt>
                <c:pt idx="13989">
                  <c:v>7.1870000000000003</c:v>
                </c:pt>
                <c:pt idx="13990">
                  <c:v>7.1879999999999997</c:v>
                </c:pt>
                <c:pt idx="13991">
                  <c:v>7.1870000000000003</c:v>
                </c:pt>
                <c:pt idx="13992">
                  <c:v>7.1870000000000003</c:v>
                </c:pt>
                <c:pt idx="13993">
                  <c:v>7.1870000000000003</c:v>
                </c:pt>
                <c:pt idx="13994">
                  <c:v>7.1870000000000003</c:v>
                </c:pt>
                <c:pt idx="13995">
                  <c:v>7.1870000000000003</c:v>
                </c:pt>
                <c:pt idx="13996">
                  <c:v>7.1870000000000003</c:v>
                </c:pt>
                <c:pt idx="13997">
                  <c:v>7.1870000000000003</c:v>
                </c:pt>
                <c:pt idx="13998">
                  <c:v>7.1870000000000003</c:v>
                </c:pt>
                <c:pt idx="13999">
                  <c:v>7.1879999999999997</c:v>
                </c:pt>
                <c:pt idx="14000">
                  <c:v>7.1870000000000003</c:v>
                </c:pt>
                <c:pt idx="14001">
                  <c:v>7.1870000000000003</c:v>
                </c:pt>
                <c:pt idx="14002">
                  <c:v>7.1870000000000003</c:v>
                </c:pt>
                <c:pt idx="14003">
                  <c:v>7.1870000000000003</c:v>
                </c:pt>
                <c:pt idx="14004">
                  <c:v>7.1870000000000003</c:v>
                </c:pt>
                <c:pt idx="14005">
                  <c:v>7.1870000000000003</c:v>
                </c:pt>
                <c:pt idx="14006">
                  <c:v>7.1870000000000003</c:v>
                </c:pt>
                <c:pt idx="14007">
                  <c:v>7.1870000000000003</c:v>
                </c:pt>
                <c:pt idx="14008">
                  <c:v>7.1870000000000003</c:v>
                </c:pt>
                <c:pt idx="14009">
                  <c:v>7.1859999999999999</c:v>
                </c:pt>
                <c:pt idx="14010">
                  <c:v>7.1870000000000003</c:v>
                </c:pt>
                <c:pt idx="14011">
                  <c:v>7.1870000000000003</c:v>
                </c:pt>
                <c:pt idx="14012">
                  <c:v>7.1879999999999997</c:v>
                </c:pt>
                <c:pt idx="14013">
                  <c:v>7.1859999999999999</c:v>
                </c:pt>
                <c:pt idx="14014">
                  <c:v>7.1870000000000003</c:v>
                </c:pt>
                <c:pt idx="14015">
                  <c:v>7.1870000000000003</c:v>
                </c:pt>
                <c:pt idx="14016">
                  <c:v>7.1870000000000003</c:v>
                </c:pt>
                <c:pt idx="14017">
                  <c:v>7.1870000000000003</c:v>
                </c:pt>
                <c:pt idx="14018">
                  <c:v>7.1870000000000003</c:v>
                </c:pt>
                <c:pt idx="14019">
                  <c:v>7.1870000000000003</c:v>
                </c:pt>
                <c:pt idx="14020">
                  <c:v>7.1859999999999999</c:v>
                </c:pt>
                <c:pt idx="14021">
                  <c:v>7.1870000000000003</c:v>
                </c:pt>
                <c:pt idx="14022">
                  <c:v>7.1870000000000003</c:v>
                </c:pt>
                <c:pt idx="14023">
                  <c:v>7.1870000000000003</c:v>
                </c:pt>
                <c:pt idx="14024">
                  <c:v>7.1859999999999999</c:v>
                </c:pt>
                <c:pt idx="14025">
                  <c:v>7.1870000000000003</c:v>
                </c:pt>
                <c:pt idx="14026">
                  <c:v>7.1870000000000003</c:v>
                </c:pt>
                <c:pt idx="14027">
                  <c:v>7.1870000000000003</c:v>
                </c:pt>
                <c:pt idx="14028">
                  <c:v>7.1870000000000003</c:v>
                </c:pt>
                <c:pt idx="14029">
                  <c:v>7.1859999999999999</c:v>
                </c:pt>
                <c:pt idx="14030">
                  <c:v>7.1859999999999999</c:v>
                </c:pt>
                <c:pt idx="14031">
                  <c:v>7.1859999999999999</c:v>
                </c:pt>
                <c:pt idx="14032">
                  <c:v>7.1859999999999999</c:v>
                </c:pt>
                <c:pt idx="14033">
                  <c:v>7.1870000000000003</c:v>
                </c:pt>
                <c:pt idx="14034">
                  <c:v>7.1870000000000003</c:v>
                </c:pt>
                <c:pt idx="14035">
                  <c:v>7.1859999999999999</c:v>
                </c:pt>
                <c:pt idx="14036">
                  <c:v>7.1859999999999999</c:v>
                </c:pt>
                <c:pt idx="14037">
                  <c:v>7.1870000000000003</c:v>
                </c:pt>
                <c:pt idx="14038">
                  <c:v>7.1859999999999999</c:v>
                </c:pt>
                <c:pt idx="14039">
                  <c:v>7.1870000000000003</c:v>
                </c:pt>
                <c:pt idx="14040">
                  <c:v>7.1870000000000003</c:v>
                </c:pt>
                <c:pt idx="14041">
                  <c:v>7.1870000000000003</c:v>
                </c:pt>
                <c:pt idx="14042">
                  <c:v>7.1859999999999999</c:v>
                </c:pt>
                <c:pt idx="14043">
                  <c:v>7.1859999999999999</c:v>
                </c:pt>
                <c:pt idx="14044">
                  <c:v>7.1859999999999999</c:v>
                </c:pt>
                <c:pt idx="14045">
                  <c:v>7.1870000000000003</c:v>
                </c:pt>
                <c:pt idx="14046">
                  <c:v>7.1859999999999999</c:v>
                </c:pt>
                <c:pt idx="14047">
                  <c:v>7.1870000000000003</c:v>
                </c:pt>
                <c:pt idx="14048">
                  <c:v>7.1870000000000003</c:v>
                </c:pt>
                <c:pt idx="14049">
                  <c:v>7.1859999999999999</c:v>
                </c:pt>
                <c:pt idx="14050">
                  <c:v>7.1859999999999999</c:v>
                </c:pt>
                <c:pt idx="14051">
                  <c:v>7.1859999999999999</c:v>
                </c:pt>
                <c:pt idx="14052">
                  <c:v>7.1870000000000003</c:v>
                </c:pt>
                <c:pt idx="14053">
                  <c:v>7.1859999999999999</c:v>
                </c:pt>
                <c:pt idx="14054">
                  <c:v>7.1870000000000003</c:v>
                </c:pt>
                <c:pt idx="14055">
                  <c:v>7.1859999999999999</c:v>
                </c:pt>
                <c:pt idx="14056">
                  <c:v>7.1859999999999999</c:v>
                </c:pt>
                <c:pt idx="14057">
                  <c:v>7.1859999999999999</c:v>
                </c:pt>
                <c:pt idx="14058">
                  <c:v>7.1859999999999999</c:v>
                </c:pt>
                <c:pt idx="14059">
                  <c:v>7.1859999999999999</c:v>
                </c:pt>
                <c:pt idx="14060">
                  <c:v>7.1859999999999999</c:v>
                </c:pt>
                <c:pt idx="14061">
                  <c:v>7.1859999999999999</c:v>
                </c:pt>
                <c:pt idx="14062">
                  <c:v>7.1859999999999999</c:v>
                </c:pt>
                <c:pt idx="14063">
                  <c:v>7.1859999999999999</c:v>
                </c:pt>
                <c:pt idx="14064">
                  <c:v>7.1859999999999999</c:v>
                </c:pt>
                <c:pt idx="14065">
                  <c:v>7.1859999999999999</c:v>
                </c:pt>
                <c:pt idx="14066">
                  <c:v>7.1859999999999999</c:v>
                </c:pt>
                <c:pt idx="14067">
                  <c:v>7.1859999999999999</c:v>
                </c:pt>
                <c:pt idx="14068">
                  <c:v>7.1859999999999999</c:v>
                </c:pt>
                <c:pt idx="14069">
                  <c:v>7.1859999999999999</c:v>
                </c:pt>
                <c:pt idx="14070">
                  <c:v>7.1849999999999996</c:v>
                </c:pt>
                <c:pt idx="14071">
                  <c:v>7.1859999999999999</c:v>
                </c:pt>
                <c:pt idx="14072">
                  <c:v>7.1859999999999999</c:v>
                </c:pt>
                <c:pt idx="14073">
                  <c:v>7.1859999999999999</c:v>
                </c:pt>
                <c:pt idx="14074">
                  <c:v>7.1859999999999999</c:v>
                </c:pt>
                <c:pt idx="14075">
                  <c:v>7.1859999999999999</c:v>
                </c:pt>
                <c:pt idx="14076">
                  <c:v>7.1859999999999999</c:v>
                </c:pt>
                <c:pt idx="14077">
                  <c:v>7.1859999999999999</c:v>
                </c:pt>
                <c:pt idx="14078">
                  <c:v>7.1859999999999999</c:v>
                </c:pt>
                <c:pt idx="14079">
                  <c:v>7.1859999999999999</c:v>
                </c:pt>
                <c:pt idx="14080">
                  <c:v>7.1849999999999996</c:v>
                </c:pt>
                <c:pt idx="14081">
                  <c:v>7.1849999999999996</c:v>
                </c:pt>
                <c:pt idx="14082">
                  <c:v>7.1849999999999996</c:v>
                </c:pt>
                <c:pt idx="14083">
                  <c:v>7.1859999999999999</c:v>
                </c:pt>
                <c:pt idx="14084">
                  <c:v>7.1859999999999999</c:v>
                </c:pt>
                <c:pt idx="14085">
                  <c:v>7.1859999999999999</c:v>
                </c:pt>
                <c:pt idx="14086">
                  <c:v>7.1859999999999999</c:v>
                </c:pt>
                <c:pt idx="14087">
                  <c:v>7.1859999999999999</c:v>
                </c:pt>
                <c:pt idx="14088">
                  <c:v>7.1859999999999999</c:v>
                </c:pt>
                <c:pt idx="14089">
                  <c:v>7.1849999999999996</c:v>
                </c:pt>
                <c:pt idx="14090">
                  <c:v>7.1859999999999999</c:v>
                </c:pt>
                <c:pt idx="14091">
                  <c:v>7.1859999999999999</c:v>
                </c:pt>
                <c:pt idx="14092">
                  <c:v>7.1849999999999996</c:v>
                </c:pt>
                <c:pt idx="14093">
                  <c:v>7.1849999999999996</c:v>
                </c:pt>
                <c:pt idx="14094">
                  <c:v>7.1849999999999996</c:v>
                </c:pt>
                <c:pt idx="14095">
                  <c:v>7.1849999999999996</c:v>
                </c:pt>
                <c:pt idx="14096">
                  <c:v>7.1849999999999996</c:v>
                </c:pt>
                <c:pt idx="14097">
                  <c:v>7.1849999999999996</c:v>
                </c:pt>
                <c:pt idx="14098">
                  <c:v>7.1849999999999996</c:v>
                </c:pt>
                <c:pt idx="14099">
                  <c:v>7.1849999999999996</c:v>
                </c:pt>
                <c:pt idx="14100">
                  <c:v>7.1849999999999996</c:v>
                </c:pt>
                <c:pt idx="14101">
                  <c:v>7.1849999999999996</c:v>
                </c:pt>
                <c:pt idx="14102">
                  <c:v>7.1849999999999996</c:v>
                </c:pt>
                <c:pt idx="14103">
                  <c:v>7.1849999999999996</c:v>
                </c:pt>
                <c:pt idx="14104">
                  <c:v>7.1849999999999996</c:v>
                </c:pt>
                <c:pt idx="14105">
                  <c:v>7.1859999999999999</c:v>
                </c:pt>
                <c:pt idx="14106">
                  <c:v>7.1859999999999999</c:v>
                </c:pt>
                <c:pt idx="14107">
                  <c:v>7.1849999999999996</c:v>
                </c:pt>
                <c:pt idx="14108">
                  <c:v>7.1859999999999999</c:v>
                </c:pt>
                <c:pt idx="14109">
                  <c:v>7.1849999999999996</c:v>
                </c:pt>
                <c:pt idx="14110">
                  <c:v>7.1849999999999996</c:v>
                </c:pt>
                <c:pt idx="14111">
                  <c:v>7.1849999999999996</c:v>
                </c:pt>
                <c:pt idx="14112">
                  <c:v>7.1849999999999996</c:v>
                </c:pt>
                <c:pt idx="14113">
                  <c:v>7.1849999999999996</c:v>
                </c:pt>
                <c:pt idx="14114">
                  <c:v>7.1849999999999996</c:v>
                </c:pt>
                <c:pt idx="14115">
                  <c:v>7.1849999999999996</c:v>
                </c:pt>
                <c:pt idx="14116">
                  <c:v>7.1849999999999996</c:v>
                </c:pt>
                <c:pt idx="14117">
                  <c:v>7.1849999999999996</c:v>
                </c:pt>
                <c:pt idx="14118">
                  <c:v>7.1849999999999996</c:v>
                </c:pt>
                <c:pt idx="14119">
                  <c:v>7.1859999999999999</c:v>
                </c:pt>
                <c:pt idx="14120">
                  <c:v>7.1849999999999996</c:v>
                </c:pt>
                <c:pt idx="14121">
                  <c:v>7.1849999999999996</c:v>
                </c:pt>
                <c:pt idx="14122">
                  <c:v>7.1849999999999996</c:v>
                </c:pt>
                <c:pt idx="14123">
                  <c:v>7.1849999999999996</c:v>
                </c:pt>
                <c:pt idx="14124">
                  <c:v>7.1849999999999996</c:v>
                </c:pt>
                <c:pt idx="14125">
                  <c:v>7.1859999999999999</c:v>
                </c:pt>
                <c:pt idx="14126">
                  <c:v>7.1849999999999996</c:v>
                </c:pt>
                <c:pt idx="14127">
                  <c:v>7.1849999999999996</c:v>
                </c:pt>
                <c:pt idx="14128">
                  <c:v>7.1849999999999996</c:v>
                </c:pt>
                <c:pt idx="14129">
                  <c:v>7.1849999999999996</c:v>
                </c:pt>
                <c:pt idx="14130">
                  <c:v>7.1849999999999996</c:v>
                </c:pt>
                <c:pt idx="14131">
                  <c:v>7.1849999999999996</c:v>
                </c:pt>
                <c:pt idx="14132">
                  <c:v>7.1849999999999996</c:v>
                </c:pt>
                <c:pt idx="14133">
                  <c:v>7.1849999999999996</c:v>
                </c:pt>
                <c:pt idx="14134">
                  <c:v>7.1849999999999996</c:v>
                </c:pt>
                <c:pt idx="14135">
                  <c:v>7.1849999999999996</c:v>
                </c:pt>
                <c:pt idx="14136">
                  <c:v>7.1849999999999996</c:v>
                </c:pt>
                <c:pt idx="14137">
                  <c:v>7.1849999999999996</c:v>
                </c:pt>
                <c:pt idx="14138">
                  <c:v>7.1840000000000002</c:v>
                </c:pt>
                <c:pt idx="14139">
                  <c:v>7.1849999999999996</c:v>
                </c:pt>
                <c:pt idx="14140">
                  <c:v>7.1849999999999996</c:v>
                </c:pt>
                <c:pt idx="14141">
                  <c:v>7.1849999999999996</c:v>
                </c:pt>
                <c:pt idx="14142">
                  <c:v>7.1849999999999996</c:v>
                </c:pt>
                <c:pt idx="14143">
                  <c:v>7.1840000000000002</c:v>
                </c:pt>
                <c:pt idx="14144">
                  <c:v>7.1849999999999996</c:v>
                </c:pt>
                <c:pt idx="14145">
                  <c:v>7.1840000000000002</c:v>
                </c:pt>
                <c:pt idx="14146">
                  <c:v>7.1840000000000002</c:v>
                </c:pt>
                <c:pt idx="14147">
                  <c:v>7.1840000000000002</c:v>
                </c:pt>
                <c:pt idx="14148">
                  <c:v>7.1849999999999996</c:v>
                </c:pt>
                <c:pt idx="14149">
                  <c:v>7.1840000000000002</c:v>
                </c:pt>
                <c:pt idx="14150">
                  <c:v>7.1840000000000002</c:v>
                </c:pt>
                <c:pt idx="14151">
                  <c:v>7.1849999999999996</c:v>
                </c:pt>
                <c:pt idx="14152">
                  <c:v>7.1840000000000002</c:v>
                </c:pt>
                <c:pt idx="14153">
                  <c:v>7.1849999999999996</c:v>
                </c:pt>
                <c:pt idx="14154">
                  <c:v>7.1849999999999996</c:v>
                </c:pt>
                <c:pt idx="14155">
                  <c:v>7.1840000000000002</c:v>
                </c:pt>
                <c:pt idx="14156">
                  <c:v>7.1849999999999996</c:v>
                </c:pt>
                <c:pt idx="14157">
                  <c:v>7.1840000000000002</c:v>
                </c:pt>
                <c:pt idx="14158">
                  <c:v>7.1840000000000002</c:v>
                </c:pt>
                <c:pt idx="14159">
                  <c:v>7.1840000000000002</c:v>
                </c:pt>
                <c:pt idx="14160">
                  <c:v>7.1840000000000002</c:v>
                </c:pt>
                <c:pt idx="14161">
                  <c:v>7.1840000000000002</c:v>
                </c:pt>
                <c:pt idx="14162">
                  <c:v>7.1840000000000002</c:v>
                </c:pt>
                <c:pt idx="14163">
                  <c:v>7.1840000000000002</c:v>
                </c:pt>
                <c:pt idx="14164">
                  <c:v>7.1840000000000002</c:v>
                </c:pt>
                <c:pt idx="14165">
                  <c:v>7.1840000000000002</c:v>
                </c:pt>
                <c:pt idx="14166">
                  <c:v>7.1849999999999996</c:v>
                </c:pt>
                <c:pt idx="14167">
                  <c:v>7.1840000000000002</c:v>
                </c:pt>
                <c:pt idx="14168">
                  <c:v>7.1840000000000002</c:v>
                </c:pt>
                <c:pt idx="14169">
                  <c:v>7.1840000000000002</c:v>
                </c:pt>
                <c:pt idx="14170">
                  <c:v>7.1840000000000002</c:v>
                </c:pt>
                <c:pt idx="14171">
                  <c:v>7.1840000000000002</c:v>
                </c:pt>
                <c:pt idx="14172">
                  <c:v>7.1840000000000002</c:v>
                </c:pt>
                <c:pt idx="14173">
                  <c:v>7.1840000000000002</c:v>
                </c:pt>
                <c:pt idx="14174">
                  <c:v>7.1840000000000002</c:v>
                </c:pt>
                <c:pt idx="14175">
                  <c:v>7.1840000000000002</c:v>
                </c:pt>
                <c:pt idx="14176">
                  <c:v>7.1840000000000002</c:v>
                </c:pt>
                <c:pt idx="14177">
                  <c:v>7.1840000000000002</c:v>
                </c:pt>
                <c:pt idx="14178">
                  <c:v>7.1840000000000002</c:v>
                </c:pt>
                <c:pt idx="14179">
                  <c:v>7.1840000000000002</c:v>
                </c:pt>
                <c:pt idx="14180">
                  <c:v>7.1840000000000002</c:v>
                </c:pt>
                <c:pt idx="14181">
                  <c:v>7.1840000000000002</c:v>
                </c:pt>
                <c:pt idx="14182">
                  <c:v>7.1840000000000002</c:v>
                </c:pt>
                <c:pt idx="14183">
                  <c:v>7.1840000000000002</c:v>
                </c:pt>
                <c:pt idx="14184">
                  <c:v>7.1829999999999998</c:v>
                </c:pt>
                <c:pt idx="14185">
                  <c:v>7.1840000000000002</c:v>
                </c:pt>
                <c:pt idx="14186">
                  <c:v>7.1840000000000002</c:v>
                </c:pt>
                <c:pt idx="14187">
                  <c:v>7.1829999999999998</c:v>
                </c:pt>
                <c:pt idx="14188">
                  <c:v>7.1829999999999998</c:v>
                </c:pt>
                <c:pt idx="14189">
                  <c:v>7.1840000000000002</c:v>
                </c:pt>
                <c:pt idx="14190">
                  <c:v>7.1840000000000002</c:v>
                </c:pt>
                <c:pt idx="14191">
                  <c:v>7.1840000000000002</c:v>
                </c:pt>
                <c:pt idx="14192">
                  <c:v>7.1840000000000002</c:v>
                </c:pt>
                <c:pt idx="14193">
                  <c:v>7.1840000000000002</c:v>
                </c:pt>
                <c:pt idx="14194">
                  <c:v>7.1840000000000002</c:v>
                </c:pt>
                <c:pt idx="14195">
                  <c:v>7.1840000000000002</c:v>
                </c:pt>
                <c:pt idx="14196">
                  <c:v>7.1829999999999998</c:v>
                </c:pt>
                <c:pt idx="14197">
                  <c:v>7.1840000000000002</c:v>
                </c:pt>
                <c:pt idx="14198">
                  <c:v>7.1829999999999998</c:v>
                </c:pt>
                <c:pt idx="14199">
                  <c:v>7.1840000000000002</c:v>
                </c:pt>
                <c:pt idx="14200">
                  <c:v>7.1829999999999998</c:v>
                </c:pt>
                <c:pt idx="14201">
                  <c:v>7.1829999999999998</c:v>
                </c:pt>
                <c:pt idx="14202">
                  <c:v>7.1829999999999998</c:v>
                </c:pt>
                <c:pt idx="14203">
                  <c:v>7.1840000000000002</c:v>
                </c:pt>
                <c:pt idx="14204">
                  <c:v>7.1840000000000002</c:v>
                </c:pt>
                <c:pt idx="14205">
                  <c:v>7.1840000000000002</c:v>
                </c:pt>
                <c:pt idx="14206">
                  <c:v>7.1829999999999998</c:v>
                </c:pt>
                <c:pt idx="14207">
                  <c:v>7.1829999999999998</c:v>
                </c:pt>
                <c:pt idx="14208">
                  <c:v>7.1840000000000002</c:v>
                </c:pt>
                <c:pt idx="14209">
                  <c:v>7.1829999999999998</c:v>
                </c:pt>
                <c:pt idx="14210">
                  <c:v>7.1840000000000002</c:v>
                </c:pt>
                <c:pt idx="14211">
                  <c:v>7.1840000000000002</c:v>
                </c:pt>
                <c:pt idx="14212">
                  <c:v>7.1829999999999998</c:v>
                </c:pt>
                <c:pt idx="14213">
                  <c:v>7.1829999999999998</c:v>
                </c:pt>
                <c:pt idx="14214">
                  <c:v>7.1829999999999998</c:v>
                </c:pt>
                <c:pt idx="14215">
                  <c:v>7.1829999999999998</c:v>
                </c:pt>
                <c:pt idx="14216">
                  <c:v>7.1829999999999998</c:v>
                </c:pt>
                <c:pt idx="14217">
                  <c:v>7.1829999999999998</c:v>
                </c:pt>
                <c:pt idx="14218">
                  <c:v>7.1840000000000002</c:v>
                </c:pt>
                <c:pt idx="14219">
                  <c:v>7.1829999999999998</c:v>
                </c:pt>
                <c:pt idx="14220">
                  <c:v>7.1829999999999998</c:v>
                </c:pt>
                <c:pt idx="14221">
                  <c:v>7.1829999999999998</c:v>
                </c:pt>
                <c:pt idx="14222">
                  <c:v>7.1829999999999998</c:v>
                </c:pt>
                <c:pt idx="14223">
                  <c:v>7.1840000000000002</c:v>
                </c:pt>
                <c:pt idx="14224">
                  <c:v>7.1829999999999998</c:v>
                </c:pt>
                <c:pt idx="14225">
                  <c:v>7.1840000000000002</c:v>
                </c:pt>
                <c:pt idx="14226">
                  <c:v>7.1829999999999998</c:v>
                </c:pt>
                <c:pt idx="14227">
                  <c:v>7.1840000000000002</c:v>
                </c:pt>
                <c:pt idx="14228">
                  <c:v>7.1829999999999998</c:v>
                </c:pt>
                <c:pt idx="14229">
                  <c:v>7.1829999999999998</c:v>
                </c:pt>
                <c:pt idx="14230">
                  <c:v>7.1829999999999998</c:v>
                </c:pt>
                <c:pt idx="14231">
                  <c:v>7.1829999999999998</c:v>
                </c:pt>
                <c:pt idx="14232">
                  <c:v>7.1829999999999998</c:v>
                </c:pt>
                <c:pt idx="14233">
                  <c:v>7.1829999999999998</c:v>
                </c:pt>
                <c:pt idx="14234">
                  <c:v>7.1829999999999998</c:v>
                </c:pt>
                <c:pt idx="14235">
                  <c:v>7.1829999999999998</c:v>
                </c:pt>
                <c:pt idx="14236">
                  <c:v>7.1829999999999998</c:v>
                </c:pt>
                <c:pt idx="14237">
                  <c:v>7.1829999999999998</c:v>
                </c:pt>
                <c:pt idx="14238">
                  <c:v>7.1829999999999998</c:v>
                </c:pt>
                <c:pt idx="14239">
                  <c:v>7.1829999999999998</c:v>
                </c:pt>
                <c:pt idx="14240">
                  <c:v>7.1829999999999998</c:v>
                </c:pt>
                <c:pt idx="14241">
                  <c:v>7.1829999999999998</c:v>
                </c:pt>
                <c:pt idx="14242">
                  <c:v>7.1829999999999998</c:v>
                </c:pt>
                <c:pt idx="14243">
                  <c:v>7.1829999999999998</c:v>
                </c:pt>
                <c:pt idx="14244">
                  <c:v>7.1829999999999998</c:v>
                </c:pt>
                <c:pt idx="14245">
                  <c:v>7.1829999999999998</c:v>
                </c:pt>
                <c:pt idx="14246">
                  <c:v>7.1820000000000004</c:v>
                </c:pt>
                <c:pt idx="14247">
                  <c:v>7.1820000000000004</c:v>
                </c:pt>
                <c:pt idx="14248">
                  <c:v>7.1829999999999998</c:v>
                </c:pt>
                <c:pt idx="14249">
                  <c:v>7.1829999999999998</c:v>
                </c:pt>
                <c:pt idx="14250">
                  <c:v>7.1829999999999998</c:v>
                </c:pt>
                <c:pt idx="14251">
                  <c:v>7.1829999999999998</c:v>
                </c:pt>
                <c:pt idx="14252">
                  <c:v>7.1829999999999998</c:v>
                </c:pt>
                <c:pt idx="14253">
                  <c:v>7.1829999999999998</c:v>
                </c:pt>
                <c:pt idx="14254">
                  <c:v>7.1829999999999998</c:v>
                </c:pt>
                <c:pt idx="14255">
                  <c:v>7.1829999999999998</c:v>
                </c:pt>
                <c:pt idx="14256">
                  <c:v>7.1829999999999998</c:v>
                </c:pt>
                <c:pt idx="14257">
                  <c:v>7.1829999999999998</c:v>
                </c:pt>
                <c:pt idx="14258">
                  <c:v>7.1829999999999998</c:v>
                </c:pt>
                <c:pt idx="14259">
                  <c:v>7.1829999999999998</c:v>
                </c:pt>
                <c:pt idx="14260">
                  <c:v>7.1829999999999998</c:v>
                </c:pt>
                <c:pt idx="14261">
                  <c:v>7.1829999999999998</c:v>
                </c:pt>
                <c:pt idx="14262">
                  <c:v>7.1829999999999998</c:v>
                </c:pt>
                <c:pt idx="14263">
                  <c:v>7.1829999999999998</c:v>
                </c:pt>
                <c:pt idx="14264">
                  <c:v>7.1829999999999998</c:v>
                </c:pt>
                <c:pt idx="14265">
                  <c:v>7.1829999999999998</c:v>
                </c:pt>
                <c:pt idx="14266">
                  <c:v>7.1820000000000004</c:v>
                </c:pt>
                <c:pt idx="14267">
                  <c:v>7.1829999999999998</c:v>
                </c:pt>
                <c:pt idx="14268">
                  <c:v>7.1820000000000004</c:v>
                </c:pt>
                <c:pt idx="14269">
                  <c:v>7.1820000000000004</c:v>
                </c:pt>
                <c:pt idx="14270">
                  <c:v>7.1820000000000004</c:v>
                </c:pt>
                <c:pt idx="14271">
                  <c:v>7.1820000000000004</c:v>
                </c:pt>
                <c:pt idx="14272">
                  <c:v>7.1829999999999998</c:v>
                </c:pt>
                <c:pt idx="14273">
                  <c:v>7.1820000000000004</c:v>
                </c:pt>
                <c:pt idx="14274">
                  <c:v>7.1820000000000004</c:v>
                </c:pt>
                <c:pt idx="14275">
                  <c:v>7.1829999999999998</c:v>
                </c:pt>
                <c:pt idx="14276">
                  <c:v>7.1820000000000004</c:v>
                </c:pt>
                <c:pt idx="14277">
                  <c:v>7.1829999999999998</c:v>
                </c:pt>
                <c:pt idx="14278">
                  <c:v>7.1829999999999998</c:v>
                </c:pt>
                <c:pt idx="14279">
                  <c:v>7.1820000000000004</c:v>
                </c:pt>
                <c:pt idx="14280">
                  <c:v>7.1820000000000004</c:v>
                </c:pt>
                <c:pt idx="14281">
                  <c:v>7.1829999999999998</c:v>
                </c:pt>
                <c:pt idx="14282">
                  <c:v>7.1820000000000004</c:v>
                </c:pt>
                <c:pt idx="14283">
                  <c:v>7.1829999999999998</c:v>
                </c:pt>
                <c:pt idx="14284">
                  <c:v>7.1829999999999998</c:v>
                </c:pt>
                <c:pt idx="14285">
                  <c:v>7.1820000000000004</c:v>
                </c:pt>
                <c:pt idx="14286">
                  <c:v>7.1820000000000004</c:v>
                </c:pt>
                <c:pt idx="14287">
                  <c:v>7.1829999999999998</c:v>
                </c:pt>
                <c:pt idx="14288">
                  <c:v>7.1829999999999998</c:v>
                </c:pt>
                <c:pt idx="14289">
                  <c:v>7.1820000000000004</c:v>
                </c:pt>
                <c:pt idx="14290">
                  <c:v>7.1820000000000004</c:v>
                </c:pt>
                <c:pt idx="14291">
                  <c:v>7.1820000000000004</c:v>
                </c:pt>
                <c:pt idx="14292">
                  <c:v>7.1820000000000004</c:v>
                </c:pt>
                <c:pt idx="14293">
                  <c:v>7.1820000000000004</c:v>
                </c:pt>
                <c:pt idx="14294">
                  <c:v>7.1820000000000004</c:v>
                </c:pt>
                <c:pt idx="14295">
                  <c:v>7.1820000000000004</c:v>
                </c:pt>
                <c:pt idx="14296">
                  <c:v>7.1820000000000004</c:v>
                </c:pt>
                <c:pt idx="14297">
                  <c:v>7.1820000000000004</c:v>
                </c:pt>
                <c:pt idx="14298">
                  <c:v>7.1829999999999998</c:v>
                </c:pt>
                <c:pt idx="14299">
                  <c:v>7.1820000000000004</c:v>
                </c:pt>
                <c:pt idx="14300">
                  <c:v>7.1820000000000004</c:v>
                </c:pt>
                <c:pt idx="14301">
                  <c:v>7.181</c:v>
                </c:pt>
                <c:pt idx="14302">
                  <c:v>7.1820000000000004</c:v>
                </c:pt>
                <c:pt idx="14303">
                  <c:v>7.1820000000000004</c:v>
                </c:pt>
                <c:pt idx="14304">
                  <c:v>7.1820000000000004</c:v>
                </c:pt>
                <c:pt idx="14305">
                  <c:v>7.1820000000000004</c:v>
                </c:pt>
                <c:pt idx="14306">
                  <c:v>7.1820000000000004</c:v>
                </c:pt>
                <c:pt idx="14307">
                  <c:v>7.1820000000000004</c:v>
                </c:pt>
                <c:pt idx="14308">
                  <c:v>7.1820000000000004</c:v>
                </c:pt>
                <c:pt idx="14309">
                  <c:v>7.1820000000000004</c:v>
                </c:pt>
                <c:pt idx="14310">
                  <c:v>7.1820000000000004</c:v>
                </c:pt>
                <c:pt idx="14311">
                  <c:v>7.1820000000000004</c:v>
                </c:pt>
                <c:pt idx="14312">
                  <c:v>7.1820000000000004</c:v>
                </c:pt>
                <c:pt idx="14313">
                  <c:v>7.1820000000000004</c:v>
                </c:pt>
                <c:pt idx="14314">
                  <c:v>7.1820000000000004</c:v>
                </c:pt>
                <c:pt idx="14315">
                  <c:v>7.1820000000000004</c:v>
                </c:pt>
                <c:pt idx="14316">
                  <c:v>7.1820000000000004</c:v>
                </c:pt>
                <c:pt idx="14317">
                  <c:v>7.181</c:v>
                </c:pt>
                <c:pt idx="14318">
                  <c:v>7.1820000000000004</c:v>
                </c:pt>
                <c:pt idx="14319">
                  <c:v>7.1820000000000004</c:v>
                </c:pt>
                <c:pt idx="14320">
                  <c:v>7.1820000000000004</c:v>
                </c:pt>
                <c:pt idx="14321">
                  <c:v>7.1820000000000004</c:v>
                </c:pt>
                <c:pt idx="14322">
                  <c:v>7.1820000000000004</c:v>
                </c:pt>
                <c:pt idx="14323">
                  <c:v>7.1820000000000004</c:v>
                </c:pt>
                <c:pt idx="14324">
                  <c:v>7.1820000000000004</c:v>
                </c:pt>
                <c:pt idx="14325">
                  <c:v>7.1820000000000004</c:v>
                </c:pt>
                <c:pt idx="14326">
                  <c:v>7.1820000000000004</c:v>
                </c:pt>
                <c:pt idx="14327">
                  <c:v>7.181</c:v>
                </c:pt>
                <c:pt idx="14328">
                  <c:v>7.1820000000000004</c:v>
                </c:pt>
                <c:pt idx="14329">
                  <c:v>7.1820000000000004</c:v>
                </c:pt>
                <c:pt idx="14330">
                  <c:v>7.1820000000000004</c:v>
                </c:pt>
                <c:pt idx="14331">
                  <c:v>7.181</c:v>
                </c:pt>
                <c:pt idx="14332">
                  <c:v>7.1820000000000004</c:v>
                </c:pt>
                <c:pt idx="14333">
                  <c:v>7.1820000000000004</c:v>
                </c:pt>
                <c:pt idx="14334">
                  <c:v>7.1820000000000004</c:v>
                </c:pt>
                <c:pt idx="14335">
                  <c:v>7.181</c:v>
                </c:pt>
                <c:pt idx="14336">
                  <c:v>7.181</c:v>
                </c:pt>
                <c:pt idx="14337">
                  <c:v>7.1820000000000004</c:v>
                </c:pt>
                <c:pt idx="14338">
                  <c:v>7.181</c:v>
                </c:pt>
                <c:pt idx="14339">
                  <c:v>7.181</c:v>
                </c:pt>
                <c:pt idx="14340">
                  <c:v>7.1820000000000004</c:v>
                </c:pt>
                <c:pt idx="14341">
                  <c:v>7.1820000000000004</c:v>
                </c:pt>
                <c:pt idx="14342">
                  <c:v>7.181</c:v>
                </c:pt>
                <c:pt idx="14343">
                  <c:v>7.181</c:v>
                </c:pt>
                <c:pt idx="14344">
                  <c:v>7.181</c:v>
                </c:pt>
                <c:pt idx="14345">
                  <c:v>7.181</c:v>
                </c:pt>
                <c:pt idx="14346">
                  <c:v>7.1820000000000004</c:v>
                </c:pt>
                <c:pt idx="14347">
                  <c:v>7.181</c:v>
                </c:pt>
                <c:pt idx="14348">
                  <c:v>7.181</c:v>
                </c:pt>
                <c:pt idx="14349">
                  <c:v>7.181</c:v>
                </c:pt>
                <c:pt idx="14350">
                  <c:v>7.181</c:v>
                </c:pt>
                <c:pt idx="14351">
                  <c:v>7.181</c:v>
                </c:pt>
                <c:pt idx="14352">
                  <c:v>7.181</c:v>
                </c:pt>
                <c:pt idx="14353">
                  <c:v>7.181</c:v>
                </c:pt>
                <c:pt idx="14354">
                  <c:v>7.181</c:v>
                </c:pt>
                <c:pt idx="14355">
                  <c:v>7.181</c:v>
                </c:pt>
                <c:pt idx="14356">
                  <c:v>7.181</c:v>
                </c:pt>
                <c:pt idx="14357">
                  <c:v>7.181</c:v>
                </c:pt>
                <c:pt idx="14358">
                  <c:v>7.181</c:v>
                </c:pt>
                <c:pt idx="14359">
                  <c:v>7.181</c:v>
                </c:pt>
                <c:pt idx="14360">
                  <c:v>7.181</c:v>
                </c:pt>
                <c:pt idx="14361">
                  <c:v>7.181</c:v>
                </c:pt>
                <c:pt idx="14362">
                  <c:v>7.1820000000000004</c:v>
                </c:pt>
                <c:pt idx="14363">
                  <c:v>7.181</c:v>
                </c:pt>
                <c:pt idx="14364">
                  <c:v>7.181</c:v>
                </c:pt>
                <c:pt idx="14365">
                  <c:v>7.181</c:v>
                </c:pt>
                <c:pt idx="14366">
                  <c:v>7.181</c:v>
                </c:pt>
                <c:pt idx="14367">
                  <c:v>7.181</c:v>
                </c:pt>
                <c:pt idx="14368">
                  <c:v>7.181</c:v>
                </c:pt>
                <c:pt idx="14369">
                  <c:v>7.181</c:v>
                </c:pt>
                <c:pt idx="14370">
                  <c:v>7.181</c:v>
                </c:pt>
                <c:pt idx="14371">
                  <c:v>7.181</c:v>
                </c:pt>
                <c:pt idx="14372">
                  <c:v>7.181</c:v>
                </c:pt>
                <c:pt idx="14373">
                  <c:v>7.181</c:v>
                </c:pt>
                <c:pt idx="14374">
                  <c:v>7.181</c:v>
                </c:pt>
                <c:pt idx="14375">
                  <c:v>7.181</c:v>
                </c:pt>
                <c:pt idx="14376">
                  <c:v>7.181</c:v>
                </c:pt>
                <c:pt idx="14377">
                  <c:v>7.181</c:v>
                </c:pt>
                <c:pt idx="14378">
                  <c:v>7.181</c:v>
                </c:pt>
                <c:pt idx="14379">
                  <c:v>7.181</c:v>
                </c:pt>
                <c:pt idx="14380">
                  <c:v>7.181</c:v>
                </c:pt>
                <c:pt idx="14381">
                  <c:v>7.181</c:v>
                </c:pt>
                <c:pt idx="14382">
                  <c:v>7.181</c:v>
                </c:pt>
                <c:pt idx="14383">
                  <c:v>7.181</c:v>
                </c:pt>
                <c:pt idx="14384">
                  <c:v>7.18</c:v>
                </c:pt>
                <c:pt idx="14385">
                  <c:v>7.181</c:v>
                </c:pt>
                <c:pt idx="14386">
                  <c:v>7.181</c:v>
                </c:pt>
                <c:pt idx="14387">
                  <c:v>7.18</c:v>
                </c:pt>
                <c:pt idx="14388">
                  <c:v>7.18</c:v>
                </c:pt>
                <c:pt idx="14389">
                  <c:v>7.181</c:v>
                </c:pt>
                <c:pt idx="14390">
                  <c:v>7.181</c:v>
                </c:pt>
                <c:pt idx="14391">
                  <c:v>7.18</c:v>
                </c:pt>
                <c:pt idx="14392">
                  <c:v>7.181</c:v>
                </c:pt>
                <c:pt idx="14393">
                  <c:v>7.181</c:v>
                </c:pt>
                <c:pt idx="14394">
                  <c:v>7.181</c:v>
                </c:pt>
                <c:pt idx="14395">
                  <c:v>7.18</c:v>
                </c:pt>
                <c:pt idx="14396">
                  <c:v>7.181</c:v>
                </c:pt>
                <c:pt idx="14397">
                  <c:v>7.181</c:v>
                </c:pt>
                <c:pt idx="14398">
                  <c:v>7.18</c:v>
                </c:pt>
                <c:pt idx="14399">
                  <c:v>7.181</c:v>
                </c:pt>
                <c:pt idx="14400">
                  <c:v>7.18</c:v>
                </c:pt>
                <c:pt idx="14401">
                  <c:v>7.181</c:v>
                </c:pt>
                <c:pt idx="14402">
                  <c:v>7.18</c:v>
                </c:pt>
                <c:pt idx="14403">
                  <c:v>7.18</c:v>
                </c:pt>
                <c:pt idx="14404">
                  <c:v>7.181</c:v>
                </c:pt>
                <c:pt idx="14405">
                  <c:v>7.18</c:v>
                </c:pt>
                <c:pt idx="14406">
                  <c:v>7.1790000000000003</c:v>
                </c:pt>
                <c:pt idx="14407">
                  <c:v>7.18</c:v>
                </c:pt>
                <c:pt idx="14408">
                  <c:v>7.18</c:v>
                </c:pt>
                <c:pt idx="14409">
                  <c:v>7.18</c:v>
                </c:pt>
                <c:pt idx="14410">
                  <c:v>7.18</c:v>
                </c:pt>
                <c:pt idx="14411">
                  <c:v>7.18</c:v>
                </c:pt>
                <c:pt idx="14412">
                  <c:v>7.1790000000000003</c:v>
                </c:pt>
                <c:pt idx="14413">
                  <c:v>7.18</c:v>
                </c:pt>
                <c:pt idx="14414">
                  <c:v>7.18</c:v>
                </c:pt>
                <c:pt idx="14415">
                  <c:v>7.18</c:v>
                </c:pt>
                <c:pt idx="14416">
                  <c:v>7.181</c:v>
                </c:pt>
                <c:pt idx="14417">
                  <c:v>7.18</c:v>
                </c:pt>
                <c:pt idx="14418">
                  <c:v>7.18</c:v>
                </c:pt>
                <c:pt idx="14419">
                  <c:v>7.18</c:v>
                </c:pt>
                <c:pt idx="14420">
                  <c:v>7.18</c:v>
                </c:pt>
                <c:pt idx="14421">
                  <c:v>7.18</c:v>
                </c:pt>
                <c:pt idx="14422">
                  <c:v>7.18</c:v>
                </c:pt>
                <c:pt idx="14423">
                  <c:v>7.18</c:v>
                </c:pt>
                <c:pt idx="14424">
                  <c:v>7.1790000000000003</c:v>
                </c:pt>
                <c:pt idx="14425">
                  <c:v>7.18</c:v>
                </c:pt>
                <c:pt idx="14426">
                  <c:v>7.18</c:v>
                </c:pt>
                <c:pt idx="14427">
                  <c:v>7.18</c:v>
                </c:pt>
                <c:pt idx="14428">
                  <c:v>7.18</c:v>
                </c:pt>
                <c:pt idx="14429">
                  <c:v>7.18</c:v>
                </c:pt>
                <c:pt idx="14430">
                  <c:v>7.1790000000000003</c:v>
                </c:pt>
                <c:pt idx="14431">
                  <c:v>7.18</c:v>
                </c:pt>
                <c:pt idx="14432">
                  <c:v>7.18</c:v>
                </c:pt>
                <c:pt idx="14433">
                  <c:v>7.1790000000000003</c:v>
                </c:pt>
                <c:pt idx="14434">
                  <c:v>7.18</c:v>
                </c:pt>
                <c:pt idx="14435">
                  <c:v>7.18</c:v>
                </c:pt>
                <c:pt idx="14436">
                  <c:v>7.18</c:v>
                </c:pt>
                <c:pt idx="14437">
                  <c:v>7.18</c:v>
                </c:pt>
                <c:pt idx="14438">
                  <c:v>7.18</c:v>
                </c:pt>
                <c:pt idx="14439">
                  <c:v>7.18</c:v>
                </c:pt>
                <c:pt idx="14440">
                  <c:v>7.181</c:v>
                </c:pt>
                <c:pt idx="14441">
                  <c:v>7.18</c:v>
                </c:pt>
                <c:pt idx="14442">
                  <c:v>7.18</c:v>
                </c:pt>
                <c:pt idx="14443">
                  <c:v>7.18</c:v>
                </c:pt>
                <c:pt idx="14444">
                  <c:v>7.18</c:v>
                </c:pt>
                <c:pt idx="14445">
                  <c:v>7.18</c:v>
                </c:pt>
                <c:pt idx="14446">
                  <c:v>7.18</c:v>
                </c:pt>
                <c:pt idx="14447">
                  <c:v>7.18</c:v>
                </c:pt>
                <c:pt idx="14448">
                  <c:v>7.1790000000000003</c:v>
                </c:pt>
                <c:pt idx="14449">
                  <c:v>7.18</c:v>
                </c:pt>
                <c:pt idx="14450">
                  <c:v>7.1790000000000003</c:v>
                </c:pt>
                <c:pt idx="14451">
                  <c:v>7.18</c:v>
                </c:pt>
                <c:pt idx="14452">
                  <c:v>7.18</c:v>
                </c:pt>
                <c:pt idx="14453">
                  <c:v>7.18</c:v>
                </c:pt>
                <c:pt idx="14454">
                  <c:v>7.1790000000000003</c:v>
                </c:pt>
                <c:pt idx="14455">
                  <c:v>7.18</c:v>
                </c:pt>
                <c:pt idx="14456">
                  <c:v>7.1790000000000003</c:v>
                </c:pt>
                <c:pt idx="14457">
                  <c:v>7.18</c:v>
                </c:pt>
                <c:pt idx="14458">
                  <c:v>7.18</c:v>
                </c:pt>
                <c:pt idx="14459">
                  <c:v>7.1790000000000003</c:v>
                </c:pt>
                <c:pt idx="14460">
                  <c:v>7.18</c:v>
                </c:pt>
                <c:pt idx="14461">
                  <c:v>7.1790000000000003</c:v>
                </c:pt>
                <c:pt idx="14462">
                  <c:v>7.18</c:v>
                </c:pt>
                <c:pt idx="14463">
                  <c:v>7.18</c:v>
                </c:pt>
                <c:pt idx="14464">
                  <c:v>7.1790000000000003</c:v>
                </c:pt>
                <c:pt idx="14465">
                  <c:v>7.1790000000000003</c:v>
                </c:pt>
                <c:pt idx="14466">
                  <c:v>7.1790000000000003</c:v>
                </c:pt>
                <c:pt idx="14467">
                  <c:v>7.1790000000000003</c:v>
                </c:pt>
                <c:pt idx="14468">
                  <c:v>7.1790000000000003</c:v>
                </c:pt>
                <c:pt idx="14469">
                  <c:v>7.1790000000000003</c:v>
                </c:pt>
                <c:pt idx="14470">
                  <c:v>7.1790000000000003</c:v>
                </c:pt>
                <c:pt idx="14471">
                  <c:v>7.1790000000000003</c:v>
                </c:pt>
                <c:pt idx="14472">
                  <c:v>7.1790000000000003</c:v>
                </c:pt>
                <c:pt idx="14473">
                  <c:v>7.1790000000000003</c:v>
                </c:pt>
                <c:pt idx="14474">
                  <c:v>7.1790000000000003</c:v>
                </c:pt>
                <c:pt idx="14475">
                  <c:v>7.1790000000000003</c:v>
                </c:pt>
                <c:pt idx="14476">
                  <c:v>7.1790000000000003</c:v>
                </c:pt>
                <c:pt idx="14477">
                  <c:v>7.1790000000000003</c:v>
                </c:pt>
                <c:pt idx="14478">
                  <c:v>7.1790000000000003</c:v>
                </c:pt>
                <c:pt idx="14479">
                  <c:v>7.1790000000000003</c:v>
                </c:pt>
                <c:pt idx="14480">
                  <c:v>7.1790000000000003</c:v>
                </c:pt>
                <c:pt idx="14481">
                  <c:v>7.1790000000000003</c:v>
                </c:pt>
                <c:pt idx="14482">
                  <c:v>7.1790000000000003</c:v>
                </c:pt>
                <c:pt idx="14483">
                  <c:v>7.1790000000000003</c:v>
                </c:pt>
                <c:pt idx="14484">
                  <c:v>7.1790000000000003</c:v>
                </c:pt>
                <c:pt idx="14485">
                  <c:v>7.1790000000000003</c:v>
                </c:pt>
                <c:pt idx="14486">
                  <c:v>7.1790000000000003</c:v>
                </c:pt>
                <c:pt idx="14487">
                  <c:v>7.1790000000000003</c:v>
                </c:pt>
                <c:pt idx="14488">
                  <c:v>7.1790000000000003</c:v>
                </c:pt>
                <c:pt idx="14489">
                  <c:v>7.1790000000000003</c:v>
                </c:pt>
                <c:pt idx="14490">
                  <c:v>7.1790000000000003</c:v>
                </c:pt>
                <c:pt idx="14491">
                  <c:v>7.1779999999999999</c:v>
                </c:pt>
                <c:pt idx="14492">
                  <c:v>7.1790000000000003</c:v>
                </c:pt>
                <c:pt idx="14493">
                  <c:v>7.1790000000000003</c:v>
                </c:pt>
                <c:pt idx="14494">
                  <c:v>7.1790000000000003</c:v>
                </c:pt>
                <c:pt idx="14495">
                  <c:v>7.1790000000000003</c:v>
                </c:pt>
                <c:pt idx="14496">
                  <c:v>7.1790000000000003</c:v>
                </c:pt>
                <c:pt idx="14497">
                  <c:v>7.1790000000000003</c:v>
                </c:pt>
                <c:pt idx="14498">
                  <c:v>7.1790000000000003</c:v>
                </c:pt>
                <c:pt idx="14499">
                  <c:v>7.1790000000000003</c:v>
                </c:pt>
                <c:pt idx="14500">
                  <c:v>7.1790000000000003</c:v>
                </c:pt>
                <c:pt idx="14501">
                  <c:v>7.1790000000000003</c:v>
                </c:pt>
                <c:pt idx="14502">
                  <c:v>7.1790000000000003</c:v>
                </c:pt>
                <c:pt idx="14503">
                  <c:v>7.1790000000000003</c:v>
                </c:pt>
                <c:pt idx="14504">
                  <c:v>7.1790000000000003</c:v>
                </c:pt>
                <c:pt idx="14505">
                  <c:v>7.1790000000000003</c:v>
                </c:pt>
                <c:pt idx="14506">
                  <c:v>7.1790000000000003</c:v>
                </c:pt>
                <c:pt idx="14507">
                  <c:v>7.1790000000000003</c:v>
                </c:pt>
                <c:pt idx="14508">
                  <c:v>7.1790000000000003</c:v>
                </c:pt>
                <c:pt idx="14509">
                  <c:v>7.1790000000000003</c:v>
                </c:pt>
                <c:pt idx="14510">
                  <c:v>7.1790000000000003</c:v>
                </c:pt>
                <c:pt idx="14511">
                  <c:v>7.1779999999999999</c:v>
                </c:pt>
                <c:pt idx="14512">
                  <c:v>7.1779999999999999</c:v>
                </c:pt>
                <c:pt idx="14513">
                  <c:v>7.1790000000000003</c:v>
                </c:pt>
                <c:pt idx="14514">
                  <c:v>7.1790000000000003</c:v>
                </c:pt>
                <c:pt idx="14515">
                  <c:v>7.1790000000000003</c:v>
                </c:pt>
                <c:pt idx="14516">
                  <c:v>7.1790000000000003</c:v>
                </c:pt>
                <c:pt idx="14517">
                  <c:v>7.1779999999999999</c:v>
                </c:pt>
                <c:pt idx="14518">
                  <c:v>7.1779999999999999</c:v>
                </c:pt>
                <c:pt idx="14519">
                  <c:v>7.1779999999999999</c:v>
                </c:pt>
                <c:pt idx="14520">
                  <c:v>7.1790000000000003</c:v>
                </c:pt>
                <c:pt idx="14521">
                  <c:v>7.1790000000000003</c:v>
                </c:pt>
                <c:pt idx="14522">
                  <c:v>7.1790000000000003</c:v>
                </c:pt>
                <c:pt idx="14523">
                  <c:v>7.1779999999999999</c:v>
                </c:pt>
                <c:pt idx="14524">
                  <c:v>7.1790000000000003</c:v>
                </c:pt>
                <c:pt idx="14525">
                  <c:v>7.1779999999999999</c:v>
                </c:pt>
                <c:pt idx="14526">
                  <c:v>7.1779999999999999</c:v>
                </c:pt>
                <c:pt idx="14527">
                  <c:v>7.1779999999999999</c:v>
                </c:pt>
                <c:pt idx="14528">
                  <c:v>7.1779999999999999</c:v>
                </c:pt>
                <c:pt idx="14529">
                  <c:v>7.1779999999999999</c:v>
                </c:pt>
                <c:pt idx="14530">
                  <c:v>7.1779999999999999</c:v>
                </c:pt>
                <c:pt idx="14531">
                  <c:v>7.1779999999999999</c:v>
                </c:pt>
                <c:pt idx="14532">
                  <c:v>7.1779999999999999</c:v>
                </c:pt>
                <c:pt idx="14533">
                  <c:v>7.1790000000000003</c:v>
                </c:pt>
                <c:pt idx="14534">
                  <c:v>7.1779999999999999</c:v>
                </c:pt>
                <c:pt idx="14535">
                  <c:v>7.1779999999999999</c:v>
                </c:pt>
                <c:pt idx="14536">
                  <c:v>7.1790000000000003</c:v>
                </c:pt>
                <c:pt idx="14537">
                  <c:v>7.1779999999999999</c:v>
                </c:pt>
                <c:pt idx="14538">
                  <c:v>7.1790000000000003</c:v>
                </c:pt>
                <c:pt idx="14539">
                  <c:v>7.1779999999999999</c:v>
                </c:pt>
                <c:pt idx="14540">
                  <c:v>7.1779999999999999</c:v>
                </c:pt>
                <c:pt idx="14541">
                  <c:v>7.1779999999999999</c:v>
                </c:pt>
                <c:pt idx="14542">
                  <c:v>7.1779999999999999</c:v>
                </c:pt>
                <c:pt idx="14543">
                  <c:v>7.1779999999999999</c:v>
                </c:pt>
                <c:pt idx="14544">
                  <c:v>7.1779999999999999</c:v>
                </c:pt>
                <c:pt idx="14545">
                  <c:v>7.1779999999999999</c:v>
                </c:pt>
                <c:pt idx="14546">
                  <c:v>7.1779999999999999</c:v>
                </c:pt>
                <c:pt idx="14547">
                  <c:v>7.1779999999999999</c:v>
                </c:pt>
                <c:pt idx="14548">
                  <c:v>7.1769999999999996</c:v>
                </c:pt>
                <c:pt idx="14549">
                  <c:v>7.1779999999999999</c:v>
                </c:pt>
                <c:pt idx="14550">
                  <c:v>7.1779999999999999</c:v>
                </c:pt>
                <c:pt idx="14551">
                  <c:v>7.1790000000000003</c:v>
                </c:pt>
                <c:pt idx="14552">
                  <c:v>7.1779999999999999</c:v>
                </c:pt>
                <c:pt idx="14553">
                  <c:v>7.1779999999999999</c:v>
                </c:pt>
                <c:pt idx="14554">
                  <c:v>7.1779999999999999</c:v>
                </c:pt>
                <c:pt idx="14555">
                  <c:v>7.1779999999999999</c:v>
                </c:pt>
                <c:pt idx="14556">
                  <c:v>7.1779999999999999</c:v>
                </c:pt>
                <c:pt idx="14557">
                  <c:v>7.1779999999999999</c:v>
                </c:pt>
                <c:pt idx="14558">
                  <c:v>7.1779999999999999</c:v>
                </c:pt>
                <c:pt idx="14559">
                  <c:v>7.1779999999999999</c:v>
                </c:pt>
                <c:pt idx="14560">
                  <c:v>7.1779999999999999</c:v>
                </c:pt>
                <c:pt idx="14561">
                  <c:v>7.1779999999999999</c:v>
                </c:pt>
                <c:pt idx="14562">
                  <c:v>7.1769999999999996</c:v>
                </c:pt>
                <c:pt idx="14563">
                  <c:v>7.1769999999999996</c:v>
                </c:pt>
                <c:pt idx="14564">
                  <c:v>7.1769999999999996</c:v>
                </c:pt>
                <c:pt idx="14565">
                  <c:v>7.1779999999999999</c:v>
                </c:pt>
                <c:pt idx="14566">
                  <c:v>7.1779999999999999</c:v>
                </c:pt>
                <c:pt idx="14567">
                  <c:v>7.1779999999999999</c:v>
                </c:pt>
                <c:pt idx="14568">
                  <c:v>7.1779999999999999</c:v>
                </c:pt>
                <c:pt idx="14569">
                  <c:v>7.1769999999999996</c:v>
                </c:pt>
                <c:pt idx="14570">
                  <c:v>7.1779999999999999</c:v>
                </c:pt>
                <c:pt idx="14571">
                  <c:v>7.1769999999999996</c:v>
                </c:pt>
                <c:pt idx="14572">
                  <c:v>7.1769999999999996</c:v>
                </c:pt>
                <c:pt idx="14573">
                  <c:v>7.1769999999999996</c:v>
                </c:pt>
                <c:pt idx="14574">
                  <c:v>7.1779999999999999</c:v>
                </c:pt>
                <c:pt idx="14575">
                  <c:v>7.1769999999999996</c:v>
                </c:pt>
                <c:pt idx="14576">
                  <c:v>7.1769999999999996</c:v>
                </c:pt>
                <c:pt idx="14577">
                  <c:v>7.1769999999999996</c:v>
                </c:pt>
                <c:pt idx="14578">
                  <c:v>7.1769999999999996</c:v>
                </c:pt>
                <c:pt idx="14579">
                  <c:v>7.1769999999999996</c:v>
                </c:pt>
                <c:pt idx="14580">
                  <c:v>7.1769999999999996</c:v>
                </c:pt>
                <c:pt idx="14581">
                  <c:v>7.1769999999999996</c:v>
                </c:pt>
                <c:pt idx="14582">
                  <c:v>7.1769999999999996</c:v>
                </c:pt>
                <c:pt idx="14583">
                  <c:v>7.1769999999999996</c:v>
                </c:pt>
                <c:pt idx="14584">
                  <c:v>7.1769999999999996</c:v>
                </c:pt>
                <c:pt idx="14585">
                  <c:v>7.1769999999999996</c:v>
                </c:pt>
                <c:pt idx="14586">
                  <c:v>7.1769999999999996</c:v>
                </c:pt>
                <c:pt idx="14587">
                  <c:v>7.1769999999999996</c:v>
                </c:pt>
                <c:pt idx="14588">
                  <c:v>7.1779999999999999</c:v>
                </c:pt>
                <c:pt idx="14589">
                  <c:v>7.1769999999999996</c:v>
                </c:pt>
                <c:pt idx="14590">
                  <c:v>7.1769999999999996</c:v>
                </c:pt>
                <c:pt idx="14591">
                  <c:v>7.1769999999999996</c:v>
                </c:pt>
                <c:pt idx="14592">
                  <c:v>7.1779999999999999</c:v>
                </c:pt>
                <c:pt idx="14593">
                  <c:v>7.1769999999999996</c:v>
                </c:pt>
                <c:pt idx="14594">
                  <c:v>7.1769999999999996</c:v>
                </c:pt>
                <c:pt idx="14595">
                  <c:v>7.1760000000000002</c:v>
                </c:pt>
                <c:pt idx="14596">
                  <c:v>7.1769999999999996</c:v>
                </c:pt>
                <c:pt idx="14597">
                  <c:v>7.1769999999999996</c:v>
                </c:pt>
                <c:pt idx="14598">
                  <c:v>7.1769999999999996</c:v>
                </c:pt>
                <c:pt idx="14599">
                  <c:v>7.1769999999999996</c:v>
                </c:pt>
                <c:pt idx="14600">
                  <c:v>7.1769999999999996</c:v>
                </c:pt>
                <c:pt idx="14601">
                  <c:v>7.1769999999999996</c:v>
                </c:pt>
                <c:pt idx="14602">
                  <c:v>7.1769999999999996</c:v>
                </c:pt>
                <c:pt idx="14603">
                  <c:v>7.1760000000000002</c:v>
                </c:pt>
                <c:pt idx="14604">
                  <c:v>7.1760000000000002</c:v>
                </c:pt>
                <c:pt idx="14605">
                  <c:v>7.1769999999999996</c:v>
                </c:pt>
                <c:pt idx="14606">
                  <c:v>7.1769999999999996</c:v>
                </c:pt>
                <c:pt idx="14607">
                  <c:v>7.1769999999999996</c:v>
                </c:pt>
                <c:pt idx="14608">
                  <c:v>7.1760000000000002</c:v>
                </c:pt>
                <c:pt idx="14609">
                  <c:v>7.1760000000000002</c:v>
                </c:pt>
                <c:pt idx="14610">
                  <c:v>7.1769999999999996</c:v>
                </c:pt>
                <c:pt idx="14611">
                  <c:v>7.1769999999999996</c:v>
                </c:pt>
                <c:pt idx="14612">
                  <c:v>7.1760000000000002</c:v>
                </c:pt>
                <c:pt idx="14613">
                  <c:v>7.1760000000000002</c:v>
                </c:pt>
                <c:pt idx="14614">
                  <c:v>7.1760000000000002</c:v>
                </c:pt>
                <c:pt idx="14615">
                  <c:v>7.1769999999999996</c:v>
                </c:pt>
                <c:pt idx="14616">
                  <c:v>7.1769999999999996</c:v>
                </c:pt>
                <c:pt idx="14617">
                  <c:v>7.1760000000000002</c:v>
                </c:pt>
                <c:pt idx="14618">
                  <c:v>7.1760000000000002</c:v>
                </c:pt>
                <c:pt idx="14619">
                  <c:v>7.1760000000000002</c:v>
                </c:pt>
                <c:pt idx="14620">
                  <c:v>7.1760000000000002</c:v>
                </c:pt>
                <c:pt idx="14621">
                  <c:v>7.1760000000000002</c:v>
                </c:pt>
                <c:pt idx="14622">
                  <c:v>7.1760000000000002</c:v>
                </c:pt>
                <c:pt idx="14623">
                  <c:v>7.1760000000000002</c:v>
                </c:pt>
                <c:pt idx="14624">
                  <c:v>7.1760000000000002</c:v>
                </c:pt>
                <c:pt idx="14625">
                  <c:v>7.1760000000000002</c:v>
                </c:pt>
                <c:pt idx="14626">
                  <c:v>7.1760000000000002</c:v>
                </c:pt>
                <c:pt idx="14627">
                  <c:v>7.1760000000000002</c:v>
                </c:pt>
                <c:pt idx="14628">
                  <c:v>7.1760000000000002</c:v>
                </c:pt>
                <c:pt idx="14629">
                  <c:v>7.1760000000000002</c:v>
                </c:pt>
                <c:pt idx="14630">
                  <c:v>7.1760000000000002</c:v>
                </c:pt>
                <c:pt idx="14631">
                  <c:v>7.1760000000000002</c:v>
                </c:pt>
                <c:pt idx="14632">
                  <c:v>7.1769999999999996</c:v>
                </c:pt>
                <c:pt idx="14633">
                  <c:v>7.1760000000000002</c:v>
                </c:pt>
                <c:pt idx="14634">
                  <c:v>7.1760000000000002</c:v>
                </c:pt>
                <c:pt idx="14635">
                  <c:v>7.1760000000000002</c:v>
                </c:pt>
                <c:pt idx="14636">
                  <c:v>7.1760000000000002</c:v>
                </c:pt>
                <c:pt idx="14637">
                  <c:v>7.1760000000000002</c:v>
                </c:pt>
                <c:pt idx="14638">
                  <c:v>7.1760000000000002</c:v>
                </c:pt>
                <c:pt idx="14639">
                  <c:v>7.1760000000000002</c:v>
                </c:pt>
                <c:pt idx="14640">
                  <c:v>7.1749999999999998</c:v>
                </c:pt>
                <c:pt idx="14641">
                  <c:v>7.1760000000000002</c:v>
                </c:pt>
                <c:pt idx="14642">
                  <c:v>7.1760000000000002</c:v>
                </c:pt>
                <c:pt idx="14643">
                  <c:v>7.1760000000000002</c:v>
                </c:pt>
                <c:pt idx="14644">
                  <c:v>7.1749999999999998</c:v>
                </c:pt>
                <c:pt idx="14645">
                  <c:v>7.1760000000000002</c:v>
                </c:pt>
                <c:pt idx="14646">
                  <c:v>7.1760000000000002</c:v>
                </c:pt>
                <c:pt idx="14647">
                  <c:v>7.1760000000000002</c:v>
                </c:pt>
                <c:pt idx="14648">
                  <c:v>7.1760000000000002</c:v>
                </c:pt>
                <c:pt idx="14649">
                  <c:v>7.1760000000000002</c:v>
                </c:pt>
                <c:pt idx="14650">
                  <c:v>7.1749999999999998</c:v>
                </c:pt>
                <c:pt idx="14651">
                  <c:v>7.1760000000000002</c:v>
                </c:pt>
                <c:pt idx="14652">
                  <c:v>7.1760000000000002</c:v>
                </c:pt>
                <c:pt idx="14653">
                  <c:v>7.1760000000000002</c:v>
                </c:pt>
                <c:pt idx="14654">
                  <c:v>7.1749999999999998</c:v>
                </c:pt>
                <c:pt idx="14655">
                  <c:v>7.1760000000000002</c:v>
                </c:pt>
                <c:pt idx="14656">
                  <c:v>7.1760000000000002</c:v>
                </c:pt>
                <c:pt idx="14657">
                  <c:v>7.1760000000000002</c:v>
                </c:pt>
                <c:pt idx="14658">
                  <c:v>7.1749999999999998</c:v>
                </c:pt>
                <c:pt idx="14659">
                  <c:v>7.1760000000000002</c:v>
                </c:pt>
                <c:pt idx="14660">
                  <c:v>7.1760000000000002</c:v>
                </c:pt>
                <c:pt idx="14661">
                  <c:v>7.1760000000000002</c:v>
                </c:pt>
                <c:pt idx="14662">
                  <c:v>7.1760000000000002</c:v>
                </c:pt>
                <c:pt idx="14663">
                  <c:v>7.1760000000000002</c:v>
                </c:pt>
                <c:pt idx="14664">
                  <c:v>7.1760000000000002</c:v>
                </c:pt>
                <c:pt idx="14665">
                  <c:v>7.1760000000000002</c:v>
                </c:pt>
                <c:pt idx="14666">
                  <c:v>7.1760000000000002</c:v>
                </c:pt>
                <c:pt idx="14667">
                  <c:v>7.1760000000000002</c:v>
                </c:pt>
                <c:pt idx="14668">
                  <c:v>7.1749999999999998</c:v>
                </c:pt>
                <c:pt idx="14669">
                  <c:v>7.1760000000000002</c:v>
                </c:pt>
                <c:pt idx="14670">
                  <c:v>7.1760000000000002</c:v>
                </c:pt>
                <c:pt idx="14671">
                  <c:v>7.1760000000000002</c:v>
                </c:pt>
                <c:pt idx="14672">
                  <c:v>7.1749999999999998</c:v>
                </c:pt>
                <c:pt idx="14673">
                  <c:v>7.1760000000000002</c:v>
                </c:pt>
                <c:pt idx="14674">
                  <c:v>7.1749999999999998</c:v>
                </c:pt>
                <c:pt idx="14675">
                  <c:v>7.1760000000000002</c:v>
                </c:pt>
                <c:pt idx="14676">
                  <c:v>7.1760000000000002</c:v>
                </c:pt>
                <c:pt idx="14677">
                  <c:v>7.1749999999999998</c:v>
                </c:pt>
                <c:pt idx="14678">
                  <c:v>7.1760000000000002</c:v>
                </c:pt>
                <c:pt idx="14679">
                  <c:v>7.1749999999999998</c:v>
                </c:pt>
                <c:pt idx="14680">
                  <c:v>7.1749999999999998</c:v>
                </c:pt>
                <c:pt idx="14681">
                  <c:v>7.1760000000000002</c:v>
                </c:pt>
                <c:pt idx="14682">
                  <c:v>7.1749999999999998</c:v>
                </c:pt>
                <c:pt idx="14683">
                  <c:v>7.1749999999999998</c:v>
                </c:pt>
                <c:pt idx="14684">
                  <c:v>7.1760000000000002</c:v>
                </c:pt>
                <c:pt idx="14685">
                  <c:v>7.1749999999999998</c:v>
                </c:pt>
                <c:pt idx="14686">
                  <c:v>7.1749999999999998</c:v>
                </c:pt>
                <c:pt idx="14687">
                  <c:v>7.1749999999999998</c:v>
                </c:pt>
                <c:pt idx="14688">
                  <c:v>7.1749999999999998</c:v>
                </c:pt>
                <c:pt idx="14689">
                  <c:v>7.1749999999999998</c:v>
                </c:pt>
                <c:pt idx="14690">
                  <c:v>7.1749999999999998</c:v>
                </c:pt>
                <c:pt idx="14691">
                  <c:v>7.1749999999999998</c:v>
                </c:pt>
                <c:pt idx="14692">
                  <c:v>7.1749999999999998</c:v>
                </c:pt>
                <c:pt idx="14693">
                  <c:v>7.1749999999999998</c:v>
                </c:pt>
                <c:pt idx="14694">
                  <c:v>7.1749999999999998</c:v>
                </c:pt>
                <c:pt idx="14695">
                  <c:v>7.1749999999999998</c:v>
                </c:pt>
                <c:pt idx="14696">
                  <c:v>7.1749999999999998</c:v>
                </c:pt>
                <c:pt idx="14697">
                  <c:v>7.1749999999999998</c:v>
                </c:pt>
                <c:pt idx="14698">
                  <c:v>7.1749999999999998</c:v>
                </c:pt>
                <c:pt idx="14699">
                  <c:v>7.1749999999999998</c:v>
                </c:pt>
                <c:pt idx="14700">
                  <c:v>7.1749999999999998</c:v>
                </c:pt>
                <c:pt idx="14701">
                  <c:v>7.1749999999999998</c:v>
                </c:pt>
                <c:pt idx="14702">
                  <c:v>7.1749999999999998</c:v>
                </c:pt>
                <c:pt idx="14703">
                  <c:v>7.1749999999999998</c:v>
                </c:pt>
                <c:pt idx="14704">
                  <c:v>7.1749999999999998</c:v>
                </c:pt>
                <c:pt idx="14705">
                  <c:v>7.1740000000000004</c:v>
                </c:pt>
                <c:pt idx="14706">
                  <c:v>7.1749999999999998</c:v>
                </c:pt>
                <c:pt idx="14707">
                  <c:v>7.1749999999999998</c:v>
                </c:pt>
                <c:pt idx="14708">
                  <c:v>7.1749999999999998</c:v>
                </c:pt>
                <c:pt idx="14709">
                  <c:v>7.1749999999999998</c:v>
                </c:pt>
                <c:pt idx="14710">
                  <c:v>7.1740000000000004</c:v>
                </c:pt>
                <c:pt idx="14711">
                  <c:v>7.1749999999999998</c:v>
                </c:pt>
                <c:pt idx="14712">
                  <c:v>7.1749999999999998</c:v>
                </c:pt>
                <c:pt idx="14713">
                  <c:v>7.1749999999999998</c:v>
                </c:pt>
                <c:pt idx="14714">
                  <c:v>7.1749999999999998</c:v>
                </c:pt>
                <c:pt idx="14715">
                  <c:v>7.1749999999999998</c:v>
                </c:pt>
                <c:pt idx="14716">
                  <c:v>7.1749999999999998</c:v>
                </c:pt>
                <c:pt idx="14717">
                  <c:v>7.1740000000000004</c:v>
                </c:pt>
                <c:pt idx="14718">
                  <c:v>7.1749999999999998</c:v>
                </c:pt>
                <c:pt idx="14719">
                  <c:v>7.1749999999999998</c:v>
                </c:pt>
                <c:pt idx="14720">
                  <c:v>7.1749999999999998</c:v>
                </c:pt>
                <c:pt idx="14721">
                  <c:v>7.1740000000000004</c:v>
                </c:pt>
                <c:pt idx="14722">
                  <c:v>7.1749999999999998</c:v>
                </c:pt>
                <c:pt idx="14723">
                  <c:v>7.1749999999999998</c:v>
                </c:pt>
                <c:pt idx="14724">
                  <c:v>7.1740000000000004</c:v>
                </c:pt>
                <c:pt idx="14725">
                  <c:v>7.1740000000000004</c:v>
                </c:pt>
                <c:pt idx="14726">
                  <c:v>7.1749999999999998</c:v>
                </c:pt>
                <c:pt idx="14727">
                  <c:v>7.1740000000000004</c:v>
                </c:pt>
                <c:pt idx="14728">
                  <c:v>7.1740000000000004</c:v>
                </c:pt>
                <c:pt idx="14729">
                  <c:v>7.1740000000000004</c:v>
                </c:pt>
                <c:pt idx="14730">
                  <c:v>7.1740000000000004</c:v>
                </c:pt>
                <c:pt idx="14731">
                  <c:v>7.1740000000000004</c:v>
                </c:pt>
                <c:pt idx="14732">
                  <c:v>7.1740000000000004</c:v>
                </c:pt>
                <c:pt idx="14733">
                  <c:v>7.1749999999999998</c:v>
                </c:pt>
                <c:pt idx="14734">
                  <c:v>7.1749999999999998</c:v>
                </c:pt>
                <c:pt idx="14735">
                  <c:v>7.1740000000000004</c:v>
                </c:pt>
                <c:pt idx="14736">
                  <c:v>7.1740000000000004</c:v>
                </c:pt>
                <c:pt idx="14737">
                  <c:v>7.1740000000000004</c:v>
                </c:pt>
                <c:pt idx="14738">
                  <c:v>7.1740000000000004</c:v>
                </c:pt>
                <c:pt idx="14739">
                  <c:v>7.1740000000000004</c:v>
                </c:pt>
                <c:pt idx="14740">
                  <c:v>7.1740000000000004</c:v>
                </c:pt>
                <c:pt idx="14741">
                  <c:v>7.1740000000000004</c:v>
                </c:pt>
                <c:pt idx="14742">
                  <c:v>7.1740000000000004</c:v>
                </c:pt>
                <c:pt idx="14743">
                  <c:v>7.173</c:v>
                </c:pt>
                <c:pt idx="14744">
                  <c:v>7.1740000000000004</c:v>
                </c:pt>
                <c:pt idx="14745">
                  <c:v>7.1749999999999998</c:v>
                </c:pt>
                <c:pt idx="14746">
                  <c:v>7.1740000000000004</c:v>
                </c:pt>
                <c:pt idx="14747">
                  <c:v>7.1740000000000004</c:v>
                </c:pt>
                <c:pt idx="14748">
                  <c:v>7.1740000000000004</c:v>
                </c:pt>
                <c:pt idx="14749">
                  <c:v>7.1740000000000004</c:v>
                </c:pt>
                <c:pt idx="14750">
                  <c:v>7.1740000000000004</c:v>
                </c:pt>
                <c:pt idx="14751">
                  <c:v>7.1740000000000004</c:v>
                </c:pt>
                <c:pt idx="14752">
                  <c:v>7.1740000000000004</c:v>
                </c:pt>
                <c:pt idx="14753">
                  <c:v>7.1740000000000004</c:v>
                </c:pt>
                <c:pt idx="14754">
                  <c:v>7.1740000000000004</c:v>
                </c:pt>
                <c:pt idx="14755">
                  <c:v>7.1740000000000004</c:v>
                </c:pt>
                <c:pt idx="14756">
                  <c:v>7.1749999999999998</c:v>
                </c:pt>
                <c:pt idx="14757">
                  <c:v>7.1740000000000004</c:v>
                </c:pt>
                <c:pt idx="14758">
                  <c:v>7.1740000000000004</c:v>
                </c:pt>
                <c:pt idx="14759">
                  <c:v>7.1740000000000004</c:v>
                </c:pt>
                <c:pt idx="14760">
                  <c:v>7.1740000000000004</c:v>
                </c:pt>
                <c:pt idx="14761">
                  <c:v>7.1740000000000004</c:v>
                </c:pt>
                <c:pt idx="14762">
                  <c:v>7.1740000000000004</c:v>
                </c:pt>
                <c:pt idx="14763">
                  <c:v>7.1740000000000004</c:v>
                </c:pt>
                <c:pt idx="14764">
                  <c:v>7.1740000000000004</c:v>
                </c:pt>
                <c:pt idx="14765">
                  <c:v>7.1740000000000004</c:v>
                </c:pt>
                <c:pt idx="14766">
                  <c:v>7.1740000000000004</c:v>
                </c:pt>
                <c:pt idx="14767">
                  <c:v>7.1740000000000004</c:v>
                </c:pt>
                <c:pt idx="14768">
                  <c:v>7.1740000000000004</c:v>
                </c:pt>
                <c:pt idx="14769">
                  <c:v>7.1740000000000004</c:v>
                </c:pt>
                <c:pt idx="14770">
                  <c:v>7.1740000000000004</c:v>
                </c:pt>
                <c:pt idx="14771">
                  <c:v>7.173</c:v>
                </c:pt>
                <c:pt idx="14772">
                  <c:v>7.1740000000000004</c:v>
                </c:pt>
                <c:pt idx="14773">
                  <c:v>7.1740000000000004</c:v>
                </c:pt>
                <c:pt idx="14774">
                  <c:v>7.1740000000000004</c:v>
                </c:pt>
                <c:pt idx="14775">
                  <c:v>7.1749999999999998</c:v>
                </c:pt>
                <c:pt idx="14776">
                  <c:v>7.1740000000000004</c:v>
                </c:pt>
                <c:pt idx="14777">
                  <c:v>7.1740000000000004</c:v>
                </c:pt>
                <c:pt idx="14778">
                  <c:v>7.1740000000000004</c:v>
                </c:pt>
                <c:pt idx="14779">
                  <c:v>7.173</c:v>
                </c:pt>
                <c:pt idx="14780">
                  <c:v>7.1740000000000004</c:v>
                </c:pt>
                <c:pt idx="14781">
                  <c:v>7.173</c:v>
                </c:pt>
                <c:pt idx="14782">
                  <c:v>7.1740000000000004</c:v>
                </c:pt>
                <c:pt idx="14783">
                  <c:v>7.1740000000000004</c:v>
                </c:pt>
                <c:pt idx="14784">
                  <c:v>7.1740000000000004</c:v>
                </c:pt>
                <c:pt idx="14785">
                  <c:v>7.1740000000000004</c:v>
                </c:pt>
                <c:pt idx="14786">
                  <c:v>7.1740000000000004</c:v>
                </c:pt>
                <c:pt idx="14787">
                  <c:v>7.173</c:v>
                </c:pt>
                <c:pt idx="14788">
                  <c:v>7.1740000000000004</c:v>
                </c:pt>
                <c:pt idx="14789">
                  <c:v>7.173</c:v>
                </c:pt>
                <c:pt idx="14790">
                  <c:v>7.173</c:v>
                </c:pt>
                <c:pt idx="14791">
                  <c:v>7.1740000000000004</c:v>
                </c:pt>
                <c:pt idx="14792">
                  <c:v>7.1740000000000004</c:v>
                </c:pt>
                <c:pt idx="14793">
                  <c:v>7.1740000000000004</c:v>
                </c:pt>
                <c:pt idx="14794">
                  <c:v>7.173</c:v>
                </c:pt>
                <c:pt idx="14795">
                  <c:v>7.173</c:v>
                </c:pt>
                <c:pt idx="14796">
                  <c:v>7.1740000000000004</c:v>
                </c:pt>
                <c:pt idx="14797">
                  <c:v>7.173</c:v>
                </c:pt>
                <c:pt idx="14798">
                  <c:v>7.173</c:v>
                </c:pt>
                <c:pt idx="14799">
                  <c:v>7.1740000000000004</c:v>
                </c:pt>
                <c:pt idx="14800">
                  <c:v>7.173</c:v>
                </c:pt>
                <c:pt idx="14801">
                  <c:v>7.173</c:v>
                </c:pt>
                <c:pt idx="14802">
                  <c:v>7.173</c:v>
                </c:pt>
                <c:pt idx="14803">
                  <c:v>7.173</c:v>
                </c:pt>
                <c:pt idx="14804">
                  <c:v>7.1740000000000004</c:v>
                </c:pt>
                <c:pt idx="14805">
                  <c:v>7.1740000000000004</c:v>
                </c:pt>
                <c:pt idx="14806">
                  <c:v>7.173</c:v>
                </c:pt>
                <c:pt idx="14807">
                  <c:v>7.173</c:v>
                </c:pt>
                <c:pt idx="14808">
                  <c:v>7.173</c:v>
                </c:pt>
                <c:pt idx="14809">
                  <c:v>7.173</c:v>
                </c:pt>
                <c:pt idx="14810">
                  <c:v>7.173</c:v>
                </c:pt>
                <c:pt idx="14811">
                  <c:v>7.173</c:v>
                </c:pt>
                <c:pt idx="14812">
                  <c:v>7.173</c:v>
                </c:pt>
                <c:pt idx="14813">
                  <c:v>7.173</c:v>
                </c:pt>
                <c:pt idx="14814">
                  <c:v>7.173</c:v>
                </c:pt>
                <c:pt idx="14815">
                  <c:v>7.173</c:v>
                </c:pt>
                <c:pt idx="14816">
                  <c:v>7.173</c:v>
                </c:pt>
                <c:pt idx="14817">
                  <c:v>7.173</c:v>
                </c:pt>
                <c:pt idx="14818">
                  <c:v>7.173</c:v>
                </c:pt>
                <c:pt idx="14819">
                  <c:v>7.1740000000000004</c:v>
                </c:pt>
                <c:pt idx="14820">
                  <c:v>7.173</c:v>
                </c:pt>
                <c:pt idx="14821">
                  <c:v>7.173</c:v>
                </c:pt>
                <c:pt idx="14822">
                  <c:v>7.173</c:v>
                </c:pt>
                <c:pt idx="14823">
                  <c:v>7.173</c:v>
                </c:pt>
                <c:pt idx="14824">
                  <c:v>7.173</c:v>
                </c:pt>
                <c:pt idx="14825">
                  <c:v>7.1740000000000004</c:v>
                </c:pt>
                <c:pt idx="14826">
                  <c:v>7.173</c:v>
                </c:pt>
                <c:pt idx="14827">
                  <c:v>7.173</c:v>
                </c:pt>
                <c:pt idx="14828">
                  <c:v>7.173</c:v>
                </c:pt>
                <c:pt idx="14829">
                  <c:v>7.173</c:v>
                </c:pt>
                <c:pt idx="14830">
                  <c:v>7.173</c:v>
                </c:pt>
                <c:pt idx="14831">
                  <c:v>7.1719999999999997</c:v>
                </c:pt>
                <c:pt idx="14832">
                  <c:v>7.173</c:v>
                </c:pt>
                <c:pt idx="14833">
                  <c:v>7.173</c:v>
                </c:pt>
                <c:pt idx="14834">
                  <c:v>7.173</c:v>
                </c:pt>
                <c:pt idx="14835">
                  <c:v>7.173</c:v>
                </c:pt>
                <c:pt idx="14836">
                  <c:v>7.173</c:v>
                </c:pt>
                <c:pt idx="14837">
                  <c:v>7.173</c:v>
                </c:pt>
                <c:pt idx="14838">
                  <c:v>7.173</c:v>
                </c:pt>
                <c:pt idx="14839">
                  <c:v>7.173</c:v>
                </c:pt>
                <c:pt idx="14840">
                  <c:v>7.173</c:v>
                </c:pt>
                <c:pt idx="14841">
                  <c:v>7.173</c:v>
                </c:pt>
                <c:pt idx="14842">
                  <c:v>7.173</c:v>
                </c:pt>
                <c:pt idx="14843">
                  <c:v>7.173</c:v>
                </c:pt>
                <c:pt idx="14844">
                  <c:v>7.173</c:v>
                </c:pt>
                <c:pt idx="14845">
                  <c:v>7.1719999999999997</c:v>
                </c:pt>
                <c:pt idx="14846">
                  <c:v>7.173</c:v>
                </c:pt>
                <c:pt idx="14847">
                  <c:v>7.173</c:v>
                </c:pt>
                <c:pt idx="14848">
                  <c:v>7.173</c:v>
                </c:pt>
                <c:pt idx="14849">
                  <c:v>7.173</c:v>
                </c:pt>
                <c:pt idx="14850">
                  <c:v>7.1719999999999997</c:v>
                </c:pt>
                <c:pt idx="14851">
                  <c:v>7.173</c:v>
                </c:pt>
                <c:pt idx="14852">
                  <c:v>7.173</c:v>
                </c:pt>
                <c:pt idx="14853">
                  <c:v>7.1719999999999997</c:v>
                </c:pt>
                <c:pt idx="14854">
                  <c:v>7.1719999999999997</c:v>
                </c:pt>
                <c:pt idx="14855">
                  <c:v>7.173</c:v>
                </c:pt>
                <c:pt idx="14856">
                  <c:v>7.173</c:v>
                </c:pt>
                <c:pt idx="14857">
                  <c:v>7.1719999999999997</c:v>
                </c:pt>
                <c:pt idx="14858">
                  <c:v>7.173</c:v>
                </c:pt>
                <c:pt idx="14859">
                  <c:v>7.173</c:v>
                </c:pt>
                <c:pt idx="14860">
                  <c:v>7.1719999999999997</c:v>
                </c:pt>
                <c:pt idx="14861">
                  <c:v>7.173</c:v>
                </c:pt>
                <c:pt idx="14862">
                  <c:v>7.173</c:v>
                </c:pt>
                <c:pt idx="14863">
                  <c:v>7.1719999999999997</c:v>
                </c:pt>
                <c:pt idx="14864">
                  <c:v>7.1719999999999997</c:v>
                </c:pt>
                <c:pt idx="14865">
                  <c:v>7.173</c:v>
                </c:pt>
                <c:pt idx="14866">
                  <c:v>7.1719999999999997</c:v>
                </c:pt>
                <c:pt idx="14867">
                  <c:v>7.173</c:v>
                </c:pt>
                <c:pt idx="14868">
                  <c:v>7.173</c:v>
                </c:pt>
                <c:pt idx="14869">
                  <c:v>7.1719999999999997</c:v>
                </c:pt>
                <c:pt idx="14870">
                  <c:v>7.1719999999999997</c:v>
                </c:pt>
                <c:pt idx="14871">
                  <c:v>7.173</c:v>
                </c:pt>
                <c:pt idx="14872">
                  <c:v>7.1719999999999997</c:v>
                </c:pt>
                <c:pt idx="14873">
                  <c:v>7.173</c:v>
                </c:pt>
                <c:pt idx="14874">
                  <c:v>7.1719999999999997</c:v>
                </c:pt>
                <c:pt idx="14875">
                  <c:v>7.1719999999999997</c:v>
                </c:pt>
                <c:pt idx="14876">
                  <c:v>7.1719999999999997</c:v>
                </c:pt>
                <c:pt idx="14877">
                  <c:v>7.1719999999999997</c:v>
                </c:pt>
                <c:pt idx="14878">
                  <c:v>7.1719999999999997</c:v>
                </c:pt>
                <c:pt idx="14879">
                  <c:v>7.173</c:v>
                </c:pt>
                <c:pt idx="14880">
                  <c:v>7.1719999999999997</c:v>
                </c:pt>
                <c:pt idx="14881">
                  <c:v>7.1719999999999997</c:v>
                </c:pt>
                <c:pt idx="14882">
                  <c:v>7.1719999999999997</c:v>
                </c:pt>
                <c:pt idx="14883">
                  <c:v>7.1719999999999997</c:v>
                </c:pt>
                <c:pt idx="14884">
                  <c:v>7.1719999999999997</c:v>
                </c:pt>
                <c:pt idx="14885">
                  <c:v>7.1719999999999997</c:v>
                </c:pt>
                <c:pt idx="14886">
                  <c:v>7.1719999999999997</c:v>
                </c:pt>
                <c:pt idx="14887">
                  <c:v>7.1719999999999997</c:v>
                </c:pt>
                <c:pt idx="14888">
                  <c:v>7.1719999999999997</c:v>
                </c:pt>
                <c:pt idx="14889">
                  <c:v>7.1719999999999997</c:v>
                </c:pt>
                <c:pt idx="14890">
                  <c:v>7.1719999999999997</c:v>
                </c:pt>
                <c:pt idx="14891">
                  <c:v>7.1719999999999997</c:v>
                </c:pt>
                <c:pt idx="14892">
                  <c:v>7.1719999999999997</c:v>
                </c:pt>
                <c:pt idx="14893">
                  <c:v>7.1719999999999997</c:v>
                </c:pt>
                <c:pt idx="14894">
                  <c:v>7.1719999999999997</c:v>
                </c:pt>
                <c:pt idx="14895">
                  <c:v>7.1719999999999997</c:v>
                </c:pt>
                <c:pt idx="14896">
                  <c:v>7.1719999999999997</c:v>
                </c:pt>
                <c:pt idx="14897">
                  <c:v>7.1719999999999997</c:v>
                </c:pt>
                <c:pt idx="14898">
                  <c:v>7.1710000000000003</c:v>
                </c:pt>
                <c:pt idx="14899">
                  <c:v>7.1719999999999997</c:v>
                </c:pt>
                <c:pt idx="14900">
                  <c:v>7.1719999999999997</c:v>
                </c:pt>
                <c:pt idx="14901">
                  <c:v>7.1719999999999997</c:v>
                </c:pt>
                <c:pt idx="14902">
                  <c:v>7.1719999999999997</c:v>
                </c:pt>
                <c:pt idx="14903">
                  <c:v>7.1719999999999997</c:v>
                </c:pt>
                <c:pt idx="14904">
                  <c:v>7.1710000000000003</c:v>
                </c:pt>
                <c:pt idx="14905">
                  <c:v>7.1719999999999997</c:v>
                </c:pt>
                <c:pt idx="14906">
                  <c:v>7.1719999999999997</c:v>
                </c:pt>
                <c:pt idx="14907">
                  <c:v>7.1719999999999997</c:v>
                </c:pt>
                <c:pt idx="14908">
                  <c:v>7.1710000000000003</c:v>
                </c:pt>
                <c:pt idx="14909">
                  <c:v>7.1719999999999997</c:v>
                </c:pt>
                <c:pt idx="14910">
                  <c:v>7.1719999999999997</c:v>
                </c:pt>
                <c:pt idx="14911">
                  <c:v>7.1719999999999997</c:v>
                </c:pt>
                <c:pt idx="14912">
                  <c:v>7.1719999999999997</c:v>
                </c:pt>
                <c:pt idx="14913">
                  <c:v>7.1710000000000003</c:v>
                </c:pt>
                <c:pt idx="14914">
                  <c:v>7.1719999999999997</c:v>
                </c:pt>
                <c:pt idx="14915">
                  <c:v>7.1719999999999997</c:v>
                </c:pt>
                <c:pt idx="14916">
                  <c:v>7.1719999999999997</c:v>
                </c:pt>
                <c:pt idx="14917">
                  <c:v>7.1719999999999997</c:v>
                </c:pt>
                <c:pt idx="14918">
                  <c:v>7.1719999999999997</c:v>
                </c:pt>
                <c:pt idx="14919">
                  <c:v>7.1719999999999997</c:v>
                </c:pt>
                <c:pt idx="14920">
                  <c:v>7.1719999999999997</c:v>
                </c:pt>
                <c:pt idx="14921">
                  <c:v>7.1719999999999997</c:v>
                </c:pt>
                <c:pt idx="14922">
                  <c:v>7.1719999999999997</c:v>
                </c:pt>
                <c:pt idx="14923">
                  <c:v>7.1719999999999997</c:v>
                </c:pt>
                <c:pt idx="14924">
                  <c:v>7.1719999999999997</c:v>
                </c:pt>
                <c:pt idx="14925">
                  <c:v>7.1710000000000003</c:v>
                </c:pt>
                <c:pt idx="14926">
                  <c:v>7.1719999999999997</c:v>
                </c:pt>
                <c:pt idx="14927">
                  <c:v>7.1710000000000003</c:v>
                </c:pt>
                <c:pt idx="14928">
                  <c:v>7.1710000000000003</c:v>
                </c:pt>
                <c:pt idx="14929">
                  <c:v>7.1710000000000003</c:v>
                </c:pt>
                <c:pt idx="14930">
                  <c:v>7.1710000000000003</c:v>
                </c:pt>
                <c:pt idx="14931">
                  <c:v>7.1710000000000003</c:v>
                </c:pt>
                <c:pt idx="14932">
                  <c:v>7.1710000000000003</c:v>
                </c:pt>
                <c:pt idx="14933">
                  <c:v>7.1710000000000003</c:v>
                </c:pt>
                <c:pt idx="14934">
                  <c:v>7.1710000000000003</c:v>
                </c:pt>
                <c:pt idx="14935">
                  <c:v>7.1719999999999997</c:v>
                </c:pt>
                <c:pt idx="14936">
                  <c:v>7.1710000000000003</c:v>
                </c:pt>
                <c:pt idx="14937">
                  <c:v>7.1710000000000003</c:v>
                </c:pt>
                <c:pt idx="14938">
                  <c:v>7.1719999999999997</c:v>
                </c:pt>
                <c:pt idx="14939">
                  <c:v>7.1710000000000003</c:v>
                </c:pt>
                <c:pt idx="14940">
                  <c:v>7.1710000000000003</c:v>
                </c:pt>
                <c:pt idx="14941">
                  <c:v>7.1710000000000003</c:v>
                </c:pt>
                <c:pt idx="14942">
                  <c:v>7.1710000000000003</c:v>
                </c:pt>
                <c:pt idx="14943">
                  <c:v>7.1719999999999997</c:v>
                </c:pt>
                <c:pt idx="14944">
                  <c:v>7.1710000000000003</c:v>
                </c:pt>
                <c:pt idx="14945">
                  <c:v>7.1710000000000003</c:v>
                </c:pt>
                <c:pt idx="14946">
                  <c:v>7.1710000000000003</c:v>
                </c:pt>
                <c:pt idx="14947">
                  <c:v>7.1710000000000003</c:v>
                </c:pt>
                <c:pt idx="14948">
                  <c:v>7.1710000000000003</c:v>
                </c:pt>
                <c:pt idx="14949">
                  <c:v>7.1710000000000003</c:v>
                </c:pt>
                <c:pt idx="14950">
                  <c:v>7.1710000000000003</c:v>
                </c:pt>
                <c:pt idx="14951">
                  <c:v>7.1710000000000003</c:v>
                </c:pt>
                <c:pt idx="14952">
                  <c:v>7.1710000000000003</c:v>
                </c:pt>
                <c:pt idx="14953">
                  <c:v>7.1710000000000003</c:v>
                </c:pt>
                <c:pt idx="14954">
                  <c:v>7.1710000000000003</c:v>
                </c:pt>
                <c:pt idx="14955">
                  <c:v>7.1710000000000003</c:v>
                </c:pt>
                <c:pt idx="14956">
                  <c:v>7.1710000000000003</c:v>
                </c:pt>
                <c:pt idx="14957">
                  <c:v>7.1710000000000003</c:v>
                </c:pt>
                <c:pt idx="14958">
                  <c:v>7.1719999999999997</c:v>
                </c:pt>
                <c:pt idx="14959">
                  <c:v>7.1710000000000003</c:v>
                </c:pt>
                <c:pt idx="14960">
                  <c:v>7.17</c:v>
                </c:pt>
                <c:pt idx="14961">
                  <c:v>7.1710000000000003</c:v>
                </c:pt>
                <c:pt idx="14962">
                  <c:v>7.1710000000000003</c:v>
                </c:pt>
                <c:pt idx="14963">
                  <c:v>7.1710000000000003</c:v>
                </c:pt>
                <c:pt idx="14964">
                  <c:v>7.1710000000000003</c:v>
                </c:pt>
                <c:pt idx="14965">
                  <c:v>7.17</c:v>
                </c:pt>
                <c:pt idx="14966">
                  <c:v>7.1710000000000003</c:v>
                </c:pt>
                <c:pt idx="14967">
                  <c:v>7.1710000000000003</c:v>
                </c:pt>
                <c:pt idx="14968">
                  <c:v>7.1710000000000003</c:v>
                </c:pt>
                <c:pt idx="14969">
                  <c:v>7.17</c:v>
                </c:pt>
                <c:pt idx="14970">
                  <c:v>7.1710000000000003</c:v>
                </c:pt>
                <c:pt idx="14971">
                  <c:v>7.17</c:v>
                </c:pt>
                <c:pt idx="14972">
                  <c:v>7.1710000000000003</c:v>
                </c:pt>
                <c:pt idx="14973">
                  <c:v>7.1710000000000003</c:v>
                </c:pt>
                <c:pt idx="14974">
                  <c:v>7.17</c:v>
                </c:pt>
                <c:pt idx="14975">
                  <c:v>7.1710000000000003</c:v>
                </c:pt>
                <c:pt idx="14976">
                  <c:v>7.1710000000000003</c:v>
                </c:pt>
                <c:pt idx="14977">
                  <c:v>7.17</c:v>
                </c:pt>
                <c:pt idx="14978">
                  <c:v>7.1710000000000003</c:v>
                </c:pt>
                <c:pt idx="14979">
                  <c:v>7.17</c:v>
                </c:pt>
                <c:pt idx="14980">
                  <c:v>7.1710000000000003</c:v>
                </c:pt>
                <c:pt idx="14981">
                  <c:v>7.17</c:v>
                </c:pt>
                <c:pt idx="14982">
                  <c:v>7.1710000000000003</c:v>
                </c:pt>
                <c:pt idx="14983">
                  <c:v>7.1710000000000003</c:v>
                </c:pt>
                <c:pt idx="14984">
                  <c:v>7.17</c:v>
                </c:pt>
                <c:pt idx="14985">
                  <c:v>7.17</c:v>
                </c:pt>
                <c:pt idx="14986">
                  <c:v>7.1710000000000003</c:v>
                </c:pt>
                <c:pt idx="14987">
                  <c:v>7.1710000000000003</c:v>
                </c:pt>
                <c:pt idx="14988">
                  <c:v>7.1710000000000003</c:v>
                </c:pt>
                <c:pt idx="14989">
                  <c:v>7.1710000000000003</c:v>
                </c:pt>
                <c:pt idx="14990">
                  <c:v>7.17</c:v>
                </c:pt>
                <c:pt idx="14991">
                  <c:v>7.1710000000000003</c:v>
                </c:pt>
                <c:pt idx="14992">
                  <c:v>7.17</c:v>
                </c:pt>
                <c:pt idx="14993">
                  <c:v>7.1710000000000003</c:v>
                </c:pt>
                <c:pt idx="14994">
                  <c:v>7.17</c:v>
                </c:pt>
                <c:pt idx="14995">
                  <c:v>7.1710000000000003</c:v>
                </c:pt>
                <c:pt idx="14996">
                  <c:v>7.1710000000000003</c:v>
                </c:pt>
                <c:pt idx="14997">
                  <c:v>7.17</c:v>
                </c:pt>
                <c:pt idx="14998">
                  <c:v>7.17</c:v>
                </c:pt>
                <c:pt idx="14999">
                  <c:v>7.17</c:v>
                </c:pt>
                <c:pt idx="15000">
                  <c:v>7.17</c:v>
                </c:pt>
                <c:pt idx="15001">
                  <c:v>7.1710000000000003</c:v>
                </c:pt>
                <c:pt idx="15002">
                  <c:v>7.1710000000000003</c:v>
                </c:pt>
                <c:pt idx="15003">
                  <c:v>7.1710000000000003</c:v>
                </c:pt>
                <c:pt idx="15004">
                  <c:v>7.17</c:v>
                </c:pt>
                <c:pt idx="15005">
                  <c:v>7.1710000000000003</c:v>
                </c:pt>
                <c:pt idx="15006">
                  <c:v>7.17</c:v>
                </c:pt>
                <c:pt idx="15007">
                  <c:v>7.17</c:v>
                </c:pt>
                <c:pt idx="15008">
                  <c:v>7.17</c:v>
                </c:pt>
                <c:pt idx="15009">
                  <c:v>7.17</c:v>
                </c:pt>
                <c:pt idx="15010">
                  <c:v>7.1710000000000003</c:v>
                </c:pt>
                <c:pt idx="15011">
                  <c:v>7.17</c:v>
                </c:pt>
                <c:pt idx="15012">
                  <c:v>7.17</c:v>
                </c:pt>
                <c:pt idx="15013">
                  <c:v>7.1710000000000003</c:v>
                </c:pt>
                <c:pt idx="15014">
                  <c:v>7.17</c:v>
                </c:pt>
                <c:pt idx="15015">
                  <c:v>7.17</c:v>
                </c:pt>
                <c:pt idx="15016">
                  <c:v>7.1710000000000003</c:v>
                </c:pt>
                <c:pt idx="15017">
                  <c:v>7.17</c:v>
                </c:pt>
                <c:pt idx="15018">
                  <c:v>7.17</c:v>
                </c:pt>
                <c:pt idx="15019">
                  <c:v>7.17</c:v>
                </c:pt>
                <c:pt idx="15020">
                  <c:v>7.17</c:v>
                </c:pt>
                <c:pt idx="15021">
                  <c:v>7.17</c:v>
                </c:pt>
                <c:pt idx="15022">
                  <c:v>7.17</c:v>
                </c:pt>
                <c:pt idx="15023">
                  <c:v>7.17</c:v>
                </c:pt>
                <c:pt idx="15024">
                  <c:v>7.17</c:v>
                </c:pt>
                <c:pt idx="15025">
                  <c:v>7.17</c:v>
                </c:pt>
                <c:pt idx="15026">
                  <c:v>7.17</c:v>
                </c:pt>
                <c:pt idx="15027">
                  <c:v>7.17</c:v>
                </c:pt>
                <c:pt idx="15028">
                  <c:v>7.17</c:v>
                </c:pt>
                <c:pt idx="15029">
                  <c:v>7.17</c:v>
                </c:pt>
                <c:pt idx="15030">
                  <c:v>7.17</c:v>
                </c:pt>
                <c:pt idx="15031">
                  <c:v>7.17</c:v>
                </c:pt>
                <c:pt idx="15032">
                  <c:v>7.1710000000000003</c:v>
                </c:pt>
                <c:pt idx="15033">
                  <c:v>7.17</c:v>
                </c:pt>
                <c:pt idx="15034">
                  <c:v>7.17</c:v>
                </c:pt>
                <c:pt idx="15035">
                  <c:v>7.17</c:v>
                </c:pt>
                <c:pt idx="15036">
                  <c:v>7.17</c:v>
                </c:pt>
                <c:pt idx="15037">
                  <c:v>7.17</c:v>
                </c:pt>
                <c:pt idx="15038">
                  <c:v>7.17</c:v>
                </c:pt>
                <c:pt idx="15039">
                  <c:v>7.17</c:v>
                </c:pt>
                <c:pt idx="15040">
                  <c:v>7.17</c:v>
                </c:pt>
                <c:pt idx="15041">
                  <c:v>7.17</c:v>
                </c:pt>
                <c:pt idx="15042">
                  <c:v>7.17</c:v>
                </c:pt>
                <c:pt idx="15043">
                  <c:v>7.17</c:v>
                </c:pt>
                <c:pt idx="15044">
                  <c:v>7.17</c:v>
                </c:pt>
                <c:pt idx="15045">
                  <c:v>7.17</c:v>
                </c:pt>
                <c:pt idx="15046">
                  <c:v>7.1689999999999996</c:v>
                </c:pt>
                <c:pt idx="15047">
                  <c:v>7.17</c:v>
                </c:pt>
                <c:pt idx="15048">
                  <c:v>7.1689999999999996</c:v>
                </c:pt>
                <c:pt idx="15049">
                  <c:v>7.1689999999999996</c:v>
                </c:pt>
                <c:pt idx="15050">
                  <c:v>7.17</c:v>
                </c:pt>
                <c:pt idx="15051">
                  <c:v>7.17</c:v>
                </c:pt>
                <c:pt idx="15052">
                  <c:v>7.17</c:v>
                </c:pt>
                <c:pt idx="15053">
                  <c:v>7.17</c:v>
                </c:pt>
                <c:pt idx="15054">
                  <c:v>7.17</c:v>
                </c:pt>
                <c:pt idx="15055">
                  <c:v>7.17</c:v>
                </c:pt>
                <c:pt idx="15056">
                  <c:v>7.17</c:v>
                </c:pt>
                <c:pt idx="15057">
                  <c:v>7.17</c:v>
                </c:pt>
                <c:pt idx="15058">
                  <c:v>7.17</c:v>
                </c:pt>
                <c:pt idx="15059">
                  <c:v>7.1689999999999996</c:v>
                </c:pt>
                <c:pt idx="15060">
                  <c:v>7.1689999999999996</c:v>
                </c:pt>
                <c:pt idx="15061">
                  <c:v>7.1689999999999996</c:v>
                </c:pt>
                <c:pt idx="15062">
                  <c:v>7.17</c:v>
                </c:pt>
                <c:pt idx="15063">
                  <c:v>7.1689999999999996</c:v>
                </c:pt>
                <c:pt idx="15064">
                  <c:v>7.1689999999999996</c:v>
                </c:pt>
                <c:pt idx="15065">
                  <c:v>7.1689999999999996</c:v>
                </c:pt>
                <c:pt idx="15066">
                  <c:v>7.17</c:v>
                </c:pt>
                <c:pt idx="15067">
                  <c:v>7.17</c:v>
                </c:pt>
                <c:pt idx="15068">
                  <c:v>7.1689999999999996</c:v>
                </c:pt>
                <c:pt idx="15069">
                  <c:v>7.1689999999999996</c:v>
                </c:pt>
                <c:pt idx="15070">
                  <c:v>7.17</c:v>
                </c:pt>
                <c:pt idx="15071">
                  <c:v>7.17</c:v>
                </c:pt>
                <c:pt idx="15072">
                  <c:v>7.1689999999999996</c:v>
                </c:pt>
                <c:pt idx="15073">
                  <c:v>7.1689999999999996</c:v>
                </c:pt>
                <c:pt idx="15074">
                  <c:v>7.1689999999999996</c:v>
                </c:pt>
                <c:pt idx="15075">
                  <c:v>7.1689999999999996</c:v>
                </c:pt>
                <c:pt idx="15076">
                  <c:v>7.1689999999999996</c:v>
                </c:pt>
                <c:pt idx="15077">
                  <c:v>7.17</c:v>
                </c:pt>
                <c:pt idx="15078">
                  <c:v>7.1689999999999996</c:v>
                </c:pt>
                <c:pt idx="15079">
                  <c:v>7.1689999999999996</c:v>
                </c:pt>
                <c:pt idx="15080">
                  <c:v>7.1689999999999996</c:v>
                </c:pt>
                <c:pt idx="15081">
                  <c:v>7.1689999999999996</c:v>
                </c:pt>
                <c:pt idx="15082">
                  <c:v>7.1689999999999996</c:v>
                </c:pt>
                <c:pt idx="15083">
                  <c:v>7.1689999999999996</c:v>
                </c:pt>
                <c:pt idx="15084">
                  <c:v>7.17</c:v>
                </c:pt>
                <c:pt idx="15085">
                  <c:v>7.17</c:v>
                </c:pt>
                <c:pt idx="15086">
                  <c:v>7.1689999999999996</c:v>
                </c:pt>
                <c:pt idx="15087">
                  <c:v>7.17</c:v>
                </c:pt>
                <c:pt idx="15088">
                  <c:v>7.1689999999999996</c:v>
                </c:pt>
                <c:pt idx="15089">
                  <c:v>7.1689999999999996</c:v>
                </c:pt>
                <c:pt idx="15090">
                  <c:v>7.1689999999999996</c:v>
                </c:pt>
                <c:pt idx="15091">
                  <c:v>7.1689999999999996</c:v>
                </c:pt>
                <c:pt idx="15092">
                  <c:v>7.1689999999999996</c:v>
                </c:pt>
                <c:pt idx="15093">
                  <c:v>7.1689999999999996</c:v>
                </c:pt>
                <c:pt idx="15094">
                  <c:v>7.1689999999999996</c:v>
                </c:pt>
                <c:pt idx="15095">
                  <c:v>7.1689999999999996</c:v>
                </c:pt>
                <c:pt idx="15096">
                  <c:v>7.1689999999999996</c:v>
                </c:pt>
                <c:pt idx="15097">
                  <c:v>7.1689999999999996</c:v>
                </c:pt>
                <c:pt idx="15098">
                  <c:v>7.1689999999999996</c:v>
                </c:pt>
                <c:pt idx="15099">
                  <c:v>7.1689999999999996</c:v>
                </c:pt>
                <c:pt idx="15100">
                  <c:v>7.1689999999999996</c:v>
                </c:pt>
                <c:pt idx="15101">
                  <c:v>7.1689999999999996</c:v>
                </c:pt>
                <c:pt idx="15102">
                  <c:v>7.1689999999999996</c:v>
                </c:pt>
                <c:pt idx="15103">
                  <c:v>7.1689999999999996</c:v>
                </c:pt>
                <c:pt idx="15104">
                  <c:v>7.1680000000000001</c:v>
                </c:pt>
                <c:pt idx="15105">
                  <c:v>7.1689999999999996</c:v>
                </c:pt>
                <c:pt idx="15106">
                  <c:v>7.1689999999999996</c:v>
                </c:pt>
                <c:pt idx="15107">
                  <c:v>7.1689999999999996</c:v>
                </c:pt>
                <c:pt idx="15108">
                  <c:v>7.1689999999999996</c:v>
                </c:pt>
                <c:pt idx="15109">
                  <c:v>7.1689999999999996</c:v>
                </c:pt>
                <c:pt idx="15110">
                  <c:v>7.1680000000000001</c:v>
                </c:pt>
                <c:pt idx="15111">
                  <c:v>7.1689999999999996</c:v>
                </c:pt>
                <c:pt idx="15112">
                  <c:v>7.1689999999999996</c:v>
                </c:pt>
                <c:pt idx="15113">
                  <c:v>7.1689999999999996</c:v>
                </c:pt>
                <c:pt idx="15114">
                  <c:v>7.1680000000000001</c:v>
                </c:pt>
                <c:pt idx="15115">
                  <c:v>7.1680000000000001</c:v>
                </c:pt>
                <c:pt idx="15116">
                  <c:v>7.1689999999999996</c:v>
                </c:pt>
                <c:pt idx="15117">
                  <c:v>7.1680000000000001</c:v>
                </c:pt>
                <c:pt idx="15118">
                  <c:v>7.1680000000000001</c:v>
                </c:pt>
                <c:pt idx="15119">
                  <c:v>7.1689999999999996</c:v>
                </c:pt>
                <c:pt idx="15120">
                  <c:v>7.1689999999999996</c:v>
                </c:pt>
                <c:pt idx="15121">
                  <c:v>7.1680000000000001</c:v>
                </c:pt>
                <c:pt idx="15122">
                  <c:v>7.1689999999999996</c:v>
                </c:pt>
                <c:pt idx="15123">
                  <c:v>7.1689999999999996</c:v>
                </c:pt>
                <c:pt idx="15124">
                  <c:v>7.1689999999999996</c:v>
                </c:pt>
                <c:pt idx="15125">
                  <c:v>7.1689999999999996</c:v>
                </c:pt>
                <c:pt idx="15126">
                  <c:v>7.1689999999999996</c:v>
                </c:pt>
                <c:pt idx="15127">
                  <c:v>7.1680000000000001</c:v>
                </c:pt>
                <c:pt idx="15128">
                  <c:v>7.1689999999999996</c:v>
                </c:pt>
                <c:pt idx="15129">
                  <c:v>7.1689999999999996</c:v>
                </c:pt>
                <c:pt idx="15130">
                  <c:v>7.1689999999999996</c:v>
                </c:pt>
                <c:pt idx="15131">
                  <c:v>7.1680000000000001</c:v>
                </c:pt>
                <c:pt idx="15132">
                  <c:v>7.1680000000000001</c:v>
                </c:pt>
                <c:pt idx="15133">
                  <c:v>7.1689999999999996</c:v>
                </c:pt>
                <c:pt idx="15134">
                  <c:v>7.1689999999999996</c:v>
                </c:pt>
                <c:pt idx="15135">
                  <c:v>7.1680000000000001</c:v>
                </c:pt>
                <c:pt idx="15136">
                  <c:v>7.1689999999999996</c:v>
                </c:pt>
                <c:pt idx="15137">
                  <c:v>7.1680000000000001</c:v>
                </c:pt>
                <c:pt idx="15138">
                  <c:v>7.1680000000000001</c:v>
                </c:pt>
                <c:pt idx="15139">
                  <c:v>7.1680000000000001</c:v>
                </c:pt>
                <c:pt idx="15140">
                  <c:v>7.1689999999999996</c:v>
                </c:pt>
                <c:pt idx="15141">
                  <c:v>7.1680000000000001</c:v>
                </c:pt>
                <c:pt idx="15142">
                  <c:v>7.1680000000000001</c:v>
                </c:pt>
                <c:pt idx="15143">
                  <c:v>7.1680000000000001</c:v>
                </c:pt>
                <c:pt idx="15144">
                  <c:v>7.1680000000000001</c:v>
                </c:pt>
                <c:pt idx="15145">
                  <c:v>7.1680000000000001</c:v>
                </c:pt>
                <c:pt idx="15146">
                  <c:v>7.1680000000000001</c:v>
                </c:pt>
                <c:pt idx="15147">
                  <c:v>7.1680000000000001</c:v>
                </c:pt>
                <c:pt idx="15148">
                  <c:v>7.1680000000000001</c:v>
                </c:pt>
                <c:pt idx="15149">
                  <c:v>7.1680000000000001</c:v>
                </c:pt>
                <c:pt idx="15150">
                  <c:v>7.1680000000000001</c:v>
                </c:pt>
                <c:pt idx="15151">
                  <c:v>7.1680000000000001</c:v>
                </c:pt>
                <c:pt idx="15152">
                  <c:v>7.1680000000000001</c:v>
                </c:pt>
                <c:pt idx="15153">
                  <c:v>7.1680000000000001</c:v>
                </c:pt>
                <c:pt idx="15154">
                  <c:v>7.1680000000000001</c:v>
                </c:pt>
                <c:pt idx="15155">
                  <c:v>7.1680000000000001</c:v>
                </c:pt>
                <c:pt idx="15156">
                  <c:v>7.1680000000000001</c:v>
                </c:pt>
                <c:pt idx="15157">
                  <c:v>7.1680000000000001</c:v>
                </c:pt>
                <c:pt idx="15158">
                  <c:v>7.1680000000000001</c:v>
                </c:pt>
                <c:pt idx="15159">
                  <c:v>7.1680000000000001</c:v>
                </c:pt>
                <c:pt idx="15160">
                  <c:v>7.1680000000000001</c:v>
                </c:pt>
                <c:pt idx="15161">
                  <c:v>7.1680000000000001</c:v>
                </c:pt>
                <c:pt idx="15162">
                  <c:v>7.1680000000000001</c:v>
                </c:pt>
                <c:pt idx="15163">
                  <c:v>7.1680000000000001</c:v>
                </c:pt>
                <c:pt idx="15164">
                  <c:v>7.1680000000000001</c:v>
                </c:pt>
                <c:pt idx="15165">
                  <c:v>7.1680000000000001</c:v>
                </c:pt>
                <c:pt idx="15166">
                  <c:v>7.1680000000000001</c:v>
                </c:pt>
                <c:pt idx="15167">
                  <c:v>7.1680000000000001</c:v>
                </c:pt>
                <c:pt idx="15168">
                  <c:v>7.1680000000000001</c:v>
                </c:pt>
                <c:pt idx="15169">
                  <c:v>7.1680000000000001</c:v>
                </c:pt>
                <c:pt idx="15170">
                  <c:v>7.1680000000000001</c:v>
                </c:pt>
                <c:pt idx="15171">
                  <c:v>7.1680000000000001</c:v>
                </c:pt>
                <c:pt idx="15172">
                  <c:v>7.1669999999999998</c:v>
                </c:pt>
                <c:pt idx="15173">
                  <c:v>7.1680000000000001</c:v>
                </c:pt>
                <c:pt idx="15174">
                  <c:v>7.1669999999999998</c:v>
                </c:pt>
                <c:pt idx="15175">
                  <c:v>7.1680000000000001</c:v>
                </c:pt>
                <c:pt idx="15176">
                  <c:v>7.1680000000000001</c:v>
                </c:pt>
                <c:pt idx="15177">
                  <c:v>7.1680000000000001</c:v>
                </c:pt>
                <c:pt idx="15178">
                  <c:v>7.1680000000000001</c:v>
                </c:pt>
                <c:pt idx="15179">
                  <c:v>7.1680000000000001</c:v>
                </c:pt>
                <c:pt idx="15180">
                  <c:v>7.1680000000000001</c:v>
                </c:pt>
                <c:pt idx="15181">
                  <c:v>7.1680000000000001</c:v>
                </c:pt>
                <c:pt idx="15182">
                  <c:v>7.1680000000000001</c:v>
                </c:pt>
                <c:pt idx="15183">
                  <c:v>7.1680000000000001</c:v>
                </c:pt>
                <c:pt idx="15184">
                  <c:v>7.1669999999999998</c:v>
                </c:pt>
                <c:pt idx="15185">
                  <c:v>7.1669999999999998</c:v>
                </c:pt>
                <c:pt idx="15186">
                  <c:v>7.1680000000000001</c:v>
                </c:pt>
                <c:pt idx="15187">
                  <c:v>7.1680000000000001</c:v>
                </c:pt>
                <c:pt idx="15188">
                  <c:v>7.1680000000000001</c:v>
                </c:pt>
                <c:pt idx="15189">
                  <c:v>7.1680000000000001</c:v>
                </c:pt>
                <c:pt idx="15190">
                  <c:v>7.1680000000000001</c:v>
                </c:pt>
                <c:pt idx="15191">
                  <c:v>7.1680000000000001</c:v>
                </c:pt>
                <c:pt idx="15192">
                  <c:v>7.1680000000000001</c:v>
                </c:pt>
                <c:pt idx="15193">
                  <c:v>7.1680000000000001</c:v>
                </c:pt>
                <c:pt idx="15194">
                  <c:v>7.1680000000000001</c:v>
                </c:pt>
                <c:pt idx="15195">
                  <c:v>7.1669999999999998</c:v>
                </c:pt>
                <c:pt idx="15196">
                  <c:v>7.1669999999999998</c:v>
                </c:pt>
                <c:pt idx="15197">
                  <c:v>7.1680000000000001</c:v>
                </c:pt>
                <c:pt idx="15198">
                  <c:v>7.1680000000000001</c:v>
                </c:pt>
                <c:pt idx="15199">
                  <c:v>7.1669999999999998</c:v>
                </c:pt>
                <c:pt idx="15200">
                  <c:v>7.1680000000000001</c:v>
                </c:pt>
                <c:pt idx="15201">
                  <c:v>7.1669999999999998</c:v>
                </c:pt>
                <c:pt idx="15202">
                  <c:v>7.1669999999999998</c:v>
                </c:pt>
                <c:pt idx="15203">
                  <c:v>7.1680000000000001</c:v>
                </c:pt>
                <c:pt idx="15204">
                  <c:v>7.1680000000000001</c:v>
                </c:pt>
                <c:pt idx="15205">
                  <c:v>7.1680000000000001</c:v>
                </c:pt>
                <c:pt idx="15206">
                  <c:v>7.1680000000000001</c:v>
                </c:pt>
                <c:pt idx="15207">
                  <c:v>7.1680000000000001</c:v>
                </c:pt>
                <c:pt idx="15208">
                  <c:v>7.1680000000000001</c:v>
                </c:pt>
                <c:pt idx="15209">
                  <c:v>7.1669999999999998</c:v>
                </c:pt>
                <c:pt idx="15210">
                  <c:v>7.1680000000000001</c:v>
                </c:pt>
                <c:pt idx="15211">
                  <c:v>7.1669999999999998</c:v>
                </c:pt>
                <c:pt idx="15212">
                  <c:v>7.1680000000000001</c:v>
                </c:pt>
                <c:pt idx="15213">
                  <c:v>7.1680000000000001</c:v>
                </c:pt>
                <c:pt idx="15214">
                  <c:v>7.1669999999999998</c:v>
                </c:pt>
                <c:pt idx="15215">
                  <c:v>7.1669999999999998</c:v>
                </c:pt>
                <c:pt idx="15216">
                  <c:v>7.1669999999999998</c:v>
                </c:pt>
                <c:pt idx="15217">
                  <c:v>7.1669999999999998</c:v>
                </c:pt>
                <c:pt idx="15218">
                  <c:v>7.1680000000000001</c:v>
                </c:pt>
                <c:pt idx="15219">
                  <c:v>7.1680000000000001</c:v>
                </c:pt>
                <c:pt idx="15220">
                  <c:v>7.1669999999999998</c:v>
                </c:pt>
                <c:pt idx="15221">
                  <c:v>7.1669999999999998</c:v>
                </c:pt>
                <c:pt idx="15222">
                  <c:v>7.1680000000000001</c:v>
                </c:pt>
                <c:pt idx="15223">
                  <c:v>7.1669999999999998</c:v>
                </c:pt>
                <c:pt idx="15224">
                  <c:v>7.1680000000000001</c:v>
                </c:pt>
                <c:pt idx="15225">
                  <c:v>7.1669999999999998</c:v>
                </c:pt>
                <c:pt idx="15226">
                  <c:v>7.1669999999999998</c:v>
                </c:pt>
                <c:pt idx="15227">
                  <c:v>7.1680000000000001</c:v>
                </c:pt>
                <c:pt idx="15228">
                  <c:v>7.1669999999999998</c:v>
                </c:pt>
                <c:pt idx="15229">
                  <c:v>7.1669999999999998</c:v>
                </c:pt>
                <c:pt idx="15230">
                  <c:v>7.1669999999999998</c:v>
                </c:pt>
                <c:pt idx="15231">
                  <c:v>7.1669999999999998</c:v>
                </c:pt>
                <c:pt idx="15232">
                  <c:v>7.1669999999999998</c:v>
                </c:pt>
                <c:pt idx="15233">
                  <c:v>7.1669999999999998</c:v>
                </c:pt>
                <c:pt idx="15234">
                  <c:v>7.1680000000000001</c:v>
                </c:pt>
                <c:pt idx="15235">
                  <c:v>7.1669999999999998</c:v>
                </c:pt>
                <c:pt idx="15236">
                  <c:v>7.1680000000000001</c:v>
                </c:pt>
                <c:pt idx="15237">
                  <c:v>7.1669999999999998</c:v>
                </c:pt>
                <c:pt idx="15238">
                  <c:v>7.1669999999999998</c:v>
                </c:pt>
                <c:pt idx="15239">
                  <c:v>7.1669999999999998</c:v>
                </c:pt>
                <c:pt idx="15240">
                  <c:v>7.1669999999999998</c:v>
                </c:pt>
                <c:pt idx="15241">
                  <c:v>7.1669999999999998</c:v>
                </c:pt>
                <c:pt idx="15242">
                  <c:v>7.1669999999999998</c:v>
                </c:pt>
                <c:pt idx="15243">
                  <c:v>7.1669999999999998</c:v>
                </c:pt>
                <c:pt idx="15244">
                  <c:v>7.1669999999999998</c:v>
                </c:pt>
                <c:pt idx="15245">
                  <c:v>7.1660000000000004</c:v>
                </c:pt>
                <c:pt idx="15246">
                  <c:v>7.1669999999999998</c:v>
                </c:pt>
                <c:pt idx="15247">
                  <c:v>7.1680000000000001</c:v>
                </c:pt>
                <c:pt idx="15248">
                  <c:v>7.1669999999999998</c:v>
                </c:pt>
                <c:pt idx="15249">
                  <c:v>7.1669999999999998</c:v>
                </c:pt>
                <c:pt idx="15250">
                  <c:v>7.1660000000000004</c:v>
                </c:pt>
                <c:pt idx="15251">
                  <c:v>7.1669999999999998</c:v>
                </c:pt>
                <c:pt idx="15252">
                  <c:v>7.1669999999999998</c:v>
                </c:pt>
                <c:pt idx="15253">
                  <c:v>7.1669999999999998</c:v>
                </c:pt>
                <c:pt idx="15254">
                  <c:v>7.1660000000000004</c:v>
                </c:pt>
                <c:pt idx="15255">
                  <c:v>7.1669999999999998</c:v>
                </c:pt>
                <c:pt idx="15256">
                  <c:v>7.1660000000000004</c:v>
                </c:pt>
                <c:pt idx="15257">
                  <c:v>7.1669999999999998</c:v>
                </c:pt>
                <c:pt idx="15258">
                  <c:v>7.1669999999999998</c:v>
                </c:pt>
                <c:pt idx="15259">
                  <c:v>7.1669999999999998</c:v>
                </c:pt>
                <c:pt idx="15260">
                  <c:v>7.1660000000000004</c:v>
                </c:pt>
                <c:pt idx="15261">
                  <c:v>7.1669999999999998</c:v>
                </c:pt>
                <c:pt idx="15262">
                  <c:v>7.1669999999999998</c:v>
                </c:pt>
                <c:pt idx="15263">
                  <c:v>7.1669999999999998</c:v>
                </c:pt>
                <c:pt idx="15264">
                  <c:v>7.1669999999999998</c:v>
                </c:pt>
                <c:pt idx="15265">
                  <c:v>7.1660000000000004</c:v>
                </c:pt>
                <c:pt idx="15266">
                  <c:v>7.1669999999999998</c:v>
                </c:pt>
                <c:pt idx="15267">
                  <c:v>7.1669999999999998</c:v>
                </c:pt>
                <c:pt idx="15268">
                  <c:v>7.1669999999999998</c:v>
                </c:pt>
                <c:pt idx="15269">
                  <c:v>7.1669999999999998</c:v>
                </c:pt>
                <c:pt idx="15270">
                  <c:v>7.1669999999999998</c:v>
                </c:pt>
                <c:pt idx="15271">
                  <c:v>7.1680000000000001</c:v>
                </c:pt>
                <c:pt idx="15272">
                  <c:v>7.1660000000000004</c:v>
                </c:pt>
                <c:pt idx="15273">
                  <c:v>7.1669999999999998</c:v>
                </c:pt>
                <c:pt idx="15274">
                  <c:v>7.1660000000000004</c:v>
                </c:pt>
                <c:pt idx="15275">
                  <c:v>7.1669999999999998</c:v>
                </c:pt>
                <c:pt idx="15276">
                  <c:v>7.1660000000000004</c:v>
                </c:pt>
                <c:pt idx="15277">
                  <c:v>7.1669999999999998</c:v>
                </c:pt>
                <c:pt idx="15278">
                  <c:v>7.1660000000000004</c:v>
                </c:pt>
                <c:pt idx="15279">
                  <c:v>7.1669999999999998</c:v>
                </c:pt>
                <c:pt idx="15280">
                  <c:v>7.1660000000000004</c:v>
                </c:pt>
                <c:pt idx="15281">
                  <c:v>7.1660000000000004</c:v>
                </c:pt>
                <c:pt idx="15282">
                  <c:v>7.1660000000000004</c:v>
                </c:pt>
                <c:pt idx="15283">
                  <c:v>7.1669999999999998</c:v>
                </c:pt>
                <c:pt idx="15284">
                  <c:v>7.1660000000000004</c:v>
                </c:pt>
                <c:pt idx="15285">
                  <c:v>7.1660000000000004</c:v>
                </c:pt>
                <c:pt idx="15286">
                  <c:v>7.1660000000000004</c:v>
                </c:pt>
                <c:pt idx="15287">
                  <c:v>7.1660000000000004</c:v>
                </c:pt>
                <c:pt idx="15288">
                  <c:v>7.1660000000000004</c:v>
                </c:pt>
                <c:pt idx="15289">
                  <c:v>7.1660000000000004</c:v>
                </c:pt>
                <c:pt idx="15290">
                  <c:v>7.1669999999999998</c:v>
                </c:pt>
                <c:pt idx="15291">
                  <c:v>7.1660000000000004</c:v>
                </c:pt>
                <c:pt idx="15292">
                  <c:v>7.1660000000000004</c:v>
                </c:pt>
                <c:pt idx="15293">
                  <c:v>7.1660000000000004</c:v>
                </c:pt>
                <c:pt idx="15294">
                  <c:v>7.1660000000000004</c:v>
                </c:pt>
                <c:pt idx="15295">
                  <c:v>7.1660000000000004</c:v>
                </c:pt>
                <c:pt idx="15296">
                  <c:v>7.1660000000000004</c:v>
                </c:pt>
                <c:pt idx="15297">
                  <c:v>7.1660000000000004</c:v>
                </c:pt>
                <c:pt idx="15298">
                  <c:v>7.1660000000000004</c:v>
                </c:pt>
                <c:pt idx="15299">
                  <c:v>7.1660000000000004</c:v>
                </c:pt>
                <c:pt idx="15300">
                  <c:v>7.1660000000000004</c:v>
                </c:pt>
                <c:pt idx="15301">
                  <c:v>7.1660000000000004</c:v>
                </c:pt>
                <c:pt idx="15302">
                  <c:v>7.1660000000000004</c:v>
                </c:pt>
                <c:pt idx="15303">
                  <c:v>7.1660000000000004</c:v>
                </c:pt>
                <c:pt idx="15304">
                  <c:v>7.1660000000000004</c:v>
                </c:pt>
                <c:pt idx="15305">
                  <c:v>7.1660000000000004</c:v>
                </c:pt>
                <c:pt idx="15306">
                  <c:v>7.1660000000000004</c:v>
                </c:pt>
                <c:pt idx="15307">
                  <c:v>7.1660000000000004</c:v>
                </c:pt>
                <c:pt idx="15308">
                  <c:v>7.1660000000000004</c:v>
                </c:pt>
                <c:pt idx="15309">
                  <c:v>7.1660000000000004</c:v>
                </c:pt>
                <c:pt idx="15310">
                  <c:v>7.1660000000000004</c:v>
                </c:pt>
                <c:pt idx="15311">
                  <c:v>7.1660000000000004</c:v>
                </c:pt>
                <c:pt idx="15312">
                  <c:v>7.1660000000000004</c:v>
                </c:pt>
                <c:pt idx="15313">
                  <c:v>7.1660000000000004</c:v>
                </c:pt>
                <c:pt idx="15314">
                  <c:v>7.1660000000000004</c:v>
                </c:pt>
                <c:pt idx="15315">
                  <c:v>7.1660000000000004</c:v>
                </c:pt>
                <c:pt idx="15316">
                  <c:v>7.1660000000000004</c:v>
                </c:pt>
                <c:pt idx="15317">
                  <c:v>7.1660000000000004</c:v>
                </c:pt>
                <c:pt idx="15318">
                  <c:v>7.1660000000000004</c:v>
                </c:pt>
                <c:pt idx="15319">
                  <c:v>7.1660000000000004</c:v>
                </c:pt>
                <c:pt idx="15320">
                  <c:v>7.1660000000000004</c:v>
                </c:pt>
                <c:pt idx="15321">
                  <c:v>7.1660000000000004</c:v>
                </c:pt>
                <c:pt idx="15322">
                  <c:v>7.1660000000000004</c:v>
                </c:pt>
                <c:pt idx="15323">
                  <c:v>7.165</c:v>
                </c:pt>
                <c:pt idx="15324">
                  <c:v>7.1660000000000004</c:v>
                </c:pt>
                <c:pt idx="15325">
                  <c:v>7.1660000000000004</c:v>
                </c:pt>
                <c:pt idx="15326">
                  <c:v>7.1660000000000004</c:v>
                </c:pt>
                <c:pt idx="15327">
                  <c:v>7.1660000000000004</c:v>
                </c:pt>
                <c:pt idx="15328">
                  <c:v>7.1660000000000004</c:v>
                </c:pt>
                <c:pt idx="15329">
                  <c:v>7.165</c:v>
                </c:pt>
                <c:pt idx="15330">
                  <c:v>7.1660000000000004</c:v>
                </c:pt>
                <c:pt idx="15331">
                  <c:v>7.1660000000000004</c:v>
                </c:pt>
                <c:pt idx="15332">
                  <c:v>7.1660000000000004</c:v>
                </c:pt>
                <c:pt idx="15333">
                  <c:v>7.1660000000000004</c:v>
                </c:pt>
                <c:pt idx="15334">
                  <c:v>7.165</c:v>
                </c:pt>
                <c:pt idx="15335">
                  <c:v>7.1660000000000004</c:v>
                </c:pt>
                <c:pt idx="15336">
                  <c:v>7.1660000000000004</c:v>
                </c:pt>
                <c:pt idx="15337">
                  <c:v>7.1660000000000004</c:v>
                </c:pt>
                <c:pt idx="15338">
                  <c:v>7.1660000000000004</c:v>
                </c:pt>
                <c:pt idx="15339">
                  <c:v>7.1660000000000004</c:v>
                </c:pt>
                <c:pt idx="15340">
                  <c:v>7.1660000000000004</c:v>
                </c:pt>
                <c:pt idx="15341">
                  <c:v>7.1660000000000004</c:v>
                </c:pt>
                <c:pt idx="15342">
                  <c:v>7.165</c:v>
                </c:pt>
                <c:pt idx="15343">
                  <c:v>7.165</c:v>
                </c:pt>
                <c:pt idx="15344">
                  <c:v>7.165</c:v>
                </c:pt>
                <c:pt idx="15345">
                  <c:v>7.165</c:v>
                </c:pt>
                <c:pt idx="15346">
                  <c:v>7.1660000000000004</c:v>
                </c:pt>
                <c:pt idx="15347">
                  <c:v>7.165</c:v>
                </c:pt>
                <c:pt idx="15348">
                  <c:v>7.165</c:v>
                </c:pt>
                <c:pt idx="15349">
                  <c:v>7.165</c:v>
                </c:pt>
                <c:pt idx="15350">
                  <c:v>7.165</c:v>
                </c:pt>
                <c:pt idx="15351">
                  <c:v>7.1660000000000004</c:v>
                </c:pt>
                <c:pt idx="15352">
                  <c:v>7.1660000000000004</c:v>
                </c:pt>
                <c:pt idx="15353">
                  <c:v>7.165</c:v>
                </c:pt>
                <c:pt idx="15354">
                  <c:v>7.165</c:v>
                </c:pt>
                <c:pt idx="15355">
                  <c:v>7.1660000000000004</c:v>
                </c:pt>
                <c:pt idx="15356">
                  <c:v>7.1660000000000004</c:v>
                </c:pt>
                <c:pt idx="15357">
                  <c:v>7.165</c:v>
                </c:pt>
                <c:pt idx="15358">
                  <c:v>7.1660000000000004</c:v>
                </c:pt>
                <c:pt idx="15359">
                  <c:v>7.165</c:v>
                </c:pt>
                <c:pt idx="15360">
                  <c:v>7.1660000000000004</c:v>
                </c:pt>
                <c:pt idx="15361">
                  <c:v>7.1660000000000004</c:v>
                </c:pt>
                <c:pt idx="15362">
                  <c:v>7.165</c:v>
                </c:pt>
                <c:pt idx="15363">
                  <c:v>7.165</c:v>
                </c:pt>
                <c:pt idx="15364">
                  <c:v>7.165</c:v>
                </c:pt>
                <c:pt idx="15365">
                  <c:v>7.165</c:v>
                </c:pt>
                <c:pt idx="15366">
                  <c:v>7.165</c:v>
                </c:pt>
                <c:pt idx="15367">
                  <c:v>7.165</c:v>
                </c:pt>
                <c:pt idx="15368">
                  <c:v>7.1639999999999997</c:v>
                </c:pt>
                <c:pt idx="15369">
                  <c:v>7.165</c:v>
                </c:pt>
                <c:pt idx="15370">
                  <c:v>7.165</c:v>
                </c:pt>
                <c:pt idx="15371">
                  <c:v>7.1660000000000004</c:v>
                </c:pt>
                <c:pt idx="15372">
                  <c:v>7.165</c:v>
                </c:pt>
                <c:pt idx="15373">
                  <c:v>7.165</c:v>
                </c:pt>
                <c:pt idx="15374">
                  <c:v>7.165</c:v>
                </c:pt>
                <c:pt idx="15375">
                  <c:v>7.165</c:v>
                </c:pt>
                <c:pt idx="15376">
                  <c:v>7.165</c:v>
                </c:pt>
                <c:pt idx="15377">
                  <c:v>7.165</c:v>
                </c:pt>
                <c:pt idx="15378">
                  <c:v>7.165</c:v>
                </c:pt>
                <c:pt idx="15379">
                  <c:v>7.165</c:v>
                </c:pt>
                <c:pt idx="15380">
                  <c:v>7.165</c:v>
                </c:pt>
                <c:pt idx="15381">
                  <c:v>7.165</c:v>
                </c:pt>
                <c:pt idx="15382">
                  <c:v>7.1639999999999997</c:v>
                </c:pt>
                <c:pt idx="15383">
                  <c:v>7.165</c:v>
                </c:pt>
                <c:pt idx="15384">
                  <c:v>7.165</c:v>
                </c:pt>
                <c:pt idx="15385">
                  <c:v>7.1639999999999997</c:v>
                </c:pt>
                <c:pt idx="15386">
                  <c:v>7.165</c:v>
                </c:pt>
                <c:pt idx="15387">
                  <c:v>7.165</c:v>
                </c:pt>
                <c:pt idx="15388">
                  <c:v>7.165</c:v>
                </c:pt>
                <c:pt idx="15389">
                  <c:v>7.165</c:v>
                </c:pt>
                <c:pt idx="15390">
                  <c:v>7.1639999999999997</c:v>
                </c:pt>
                <c:pt idx="15391">
                  <c:v>7.165</c:v>
                </c:pt>
                <c:pt idx="15392">
                  <c:v>7.165</c:v>
                </c:pt>
                <c:pt idx="15393">
                  <c:v>7.165</c:v>
                </c:pt>
                <c:pt idx="15394">
                  <c:v>7.165</c:v>
                </c:pt>
                <c:pt idx="15395">
                  <c:v>7.1639999999999997</c:v>
                </c:pt>
                <c:pt idx="15396">
                  <c:v>7.165</c:v>
                </c:pt>
                <c:pt idx="15397">
                  <c:v>7.165</c:v>
                </c:pt>
                <c:pt idx="15398">
                  <c:v>7.1660000000000004</c:v>
                </c:pt>
                <c:pt idx="15399">
                  <c:v>7.1639999999999997</c:v>
                </c:pt>
                <c:pt idx="15400">
                  <c:v>7.1639999999999997</c:v>
                </c:pt>
                <c:pt idx="15401">
                  <c:v>7.1639999999999997</c:v>
                </c:pt>
                <c:pt idx="15402">
                  <c:v>7.165</c:v>
                </c:pt>
                <c:pt idx="15403">
                  <c:v>7.165</c:v>
                </c:pt>
                <c:pt idx="15404">
                  <c:v>7.1639999999999997</c:v>
                </c:pt>
                <c:pt idx="15405">
                  <c:v>7.1639999999999997</c:v>
                </c:pt>
                <c:pt idx="15406">
                  <c:v>7.1639999999999997</c:v>
                </c:pt>
                <c:pt idx="15407">
                  <c:v>7.1639999999999997</c:v>
                </c:pt>
                <c:pt idx="15408">
                  <c:v>7.165</c:v>
                </c:pt>
                <c:pt idx="15409">
                  <c:v>7.1639999999999997</c:v>
                </c:pt>
                <c:pt idx="15410">
                  <c:v>7.1639999999999997</c:v>
                </c:pt>
                <c:pt idx="15411">
                  <c:v>7.1639999999999997</c:v>
                </c:pt>
                <c:pt idx="15412">
                  <c:v>7.1639999999999997</c:v>
                </c:pt>
                <c:pt idx="15413">
                  <c:v>7.165</c:v>
                </c:pt>
                <c:pt idx="15414">
                  <c:v>7.1639999999999997</c:v>
                </c:pt>
                <c:pt idx="15415">
                  <c:v>7.1639999999999997</c:v>
                </c:pt>
                <c:pt idx="15416">
                  <c:v>7.1639999999999997</c:v>
                </c:pt>
                <c:pt idx="15417">
                  <c:v>7.1639999999999997</c:v>
                </c:pt>
                <c:pt idx="15418">
                  <c:v>7.165</c:v>
                </c:pt>
                <c:pt idx="15419">
                  <c:v>7.165</c:v>
                </c:pt>
                <c:pt idx="15420">
                  <c:v>7.1639999999999997</c:v>
                </c:pt>
                <c:pt idx="15421">
                  <c:v>7.1639999999999997</c:v>
                </c:pt>
                <c:pt idx="15422">
                  <c:v>7.1639999999999997</c:v>
                </c:pt>
                <c:pt idx="15423">
                  <c:v>7.165</c:v>
                </c:pt>
                <c:pt idx="15424">
                  <c:v>7.1630000000000003</c:v>
                </c:pt>
                <c:pt idx="15425">
                  <c:v>7.1639999999999997</c:v>
                </c:pt>
                <c:pt idx="15426">
                  <c:v>7.1639999999999997</c:v>
                </c:pt>
                <c:pt idx="15427">
                  <c:v>7.1639999999999997</c:v>
                </c:pt>
                <c:pt idx="15428">
                  <c:v>7.165</c:v>
                </c:pt>
                <c:pt idx="15429">
                  <c:v>7.1639999999999997</c:v>
                </c:pt>
                <c:pt idx="15430">
                  <c:v>7.1630000000000003</c:v>
                </c:pt>
                <c:pt idx="15431">
                  <c:v>7.1639999999999997</c:v>
                </c:pt>
                <c:pt idx="15432">
                  <c:v>7.1639999999999997</c:v>
                </c:pt>
                <c:pt idx="15433">
                  <c:v>7.1639999999999997</c:v>
                </c:pt>
                <c:pt idx="15434">
                  <c:v>7.1639999999999997</c:v>
                </c:pt>
                <c:pt idx="15435">
                  <c:v>7.1639999999999997</c:v>
                </c:pt>
                <c:pt idx="15436">
                  <c:v>7.1639999999999997</c:v>
                </c:pt>
                <c:pt idx="15437">
                  <c:v>7.1639999999999997</c:v>
                </c:pt>
                <c:pt idx="15438">
                  <c:v>7.1639999999999997</c:v>
                </c:pt>
                <c:pt idx="15439">
                  <c:v>7.1639999999999997</c:v>
                </c:pt>
                <c:pt idx="15440">
                  <c:v>7.1639999999999997</c:v>
                </c:pt>
                <c:pt idx="15441">
                  <c:v>7.1639999999999997</c:v>
                </c:pt>
                <c:pt idx="15442">
                  <c:v>7.1639999999999997</c:v>
                </c:pt>
                <c:pt idx="15443">
                  <c:v>7.1639999999999997</c:v>
                </c:pt>
                <c:pt idx="15444">
                  <c:v>7.1639999999999997</c:v>
                </c:pt>
                <c:pt idx="15445">
                  <c:v>7.1639999999999997</c:v>
                </c:pt>
                <c:pt idx="15446">
                  <c:v>7.1639999999999997</c:v>
                </c:pt>
                <c:pt idx="15447">
                  <c:v>7.1630000000000003</c:v>
                </c:pt>
                <c:pt idx="15448">
                  <c:v>7.1639999999999997</c:v>
                </c:pt>
                <c:pt idx="15449">
                  <c:v>7.1639999999999997</c:v>
                </c:pt>
                <c:pt idx="15450">
                  <c:v>7.1639999999999997</c:v>
                </c:pt>
                <c:pt idx="15451">
                  <c:v>7.1639999999999997</c:v>
                </c:pt>
                <c:pt idx="15452">
                  <c:v>7.1639999999999997</c:v>
                </c:pt>
                <c:pt idx="15453">
                  <c:v>7.1639999999999997</c:v>
                </c:pt>
                <c:pt idx="15454">
                  <c:v>7.1639999999999997</c:v>
                </c:pt>
                <c:pt idx="15455">
                  <c:v>7.1639999999999997</c:v>
                </c:pt>
                <c:pt idx="15456">
                  <c:v>7.1639999999999997</c:v>
                </c:pt>
                <c:pt idx="15457">
                  <c:v>7.1639999999999997</c:v>
                </c:pt>
                <c:pt idx="15458">
                  <c:v>7.1630000000000003</c:v>
                </c:pt>
                <c:pt idx="15459">
                  <c:v>7.1639999999999997</c:v>
                </c:pt>
                <c:pt idx="15460">
                  <c:v>7.1639999999999997</c:v>
                </c:pt>
                <c:pt idx="15461">
                  <c:v>7.1630000000000003</c:v>
                </c:pt>
                <c:pt idx="15462">
                  <c:v>7.1639999999999997</c:v>
                </c:pt>
                <c:pt idx="15463">
                  <c:v>7.1639999999999997</c:v>
                </c:pt>
                <c:pt idx="15464">
                  <c:v>7.1639999999999997</c:v>
                </c:pt>
                <c:pt idx="15465">
                  <c:v>7.1630000000000003</c:v>
                </c:pt>
                <c:pt idx="15466">
                  <c:v>7.1630000000000003</c:v>
                </c:pt>
                <c:pt idx="15467">
                  <c:v>7.1639999999999997</c:v>
                </c:pt>
                <c:pt idx="15468">
                  <c:v>7.1639999999999997</c:v>
                </c:pt>
                <c:pt idx="15469">
                  <c:v>7.1639999999999997</c:v>
                </c:pt>
                <c:pt idx="15470">
                  <c:v>7.1630000000000003</c:v>
                </c:pt>
                <c:pt idx="15471">
                  <c:v>7.1630000000000003</c:v>
                </c:pt>
                <c:pt idx="15472">
                  <c:v>7.1639999999999997</c:v>
                </c:pt>
                <c:pt idx="15473">
                  <c:v>7.1630000000000003</c:v>
                </c:pt>
                <c:pt idx="15474">
                  <c:v>7.1630000000000003</c:v>
                </c:pt>
                <c:pt idx="15475">
                  <c:v>7.1630000000000003</c:v>
                </c:pt>
                <c:pt idx="15476">
                  <c:v>7.1630000000000003</c:v>
                </c:pt>
                <c:pt idx="15477">
                  <c:v>7.1630000000000003</c:v>
                </c:pt>
                <c:pt idx="15478">
                  <c:v>7.1630000000000003</c:v>
                </c:pt>
                <c:pt idx="15479">
                  <c:v>7.1630000000000003</c:v>
                </c:pt>
                <c:pt idx="15480">
                  <c:v>7.1630000000000003</c:v>
                </c:pt>
                <c:pt idx="15481">
                  <c:v>7.1630000000000003</c:v>
                </c:pt>
                <c:pt idx="15482">
                  <c:v>7.1630000000000003</c:v>
                </c:pt>
                <c:pt idx="15483">
                  <c:v>7.1630000000000003</c:v>
                </c:pt>
                <c:pt idx="15484">
                  <c:v>7.1630000000000003</c:v>
                </c:pt>
                <c:pt idx="15485">
                  <c:v>7.1639999999999997</c:v>
                </c:pt>
                <c:pt idx="15486">
                  <c:v>7.1630000000000003</c:v>
                </c:pt>
                <c:pt idx="15487">
                  <c:v>7.1630000000000003</c:v>
                </c:pt>
                <c:pt idx="15488">
                  <c:v>7.1630000000000003</c:v>
                </c:pt>
                <c:pt idx="15489">
                  <c:v>7.1630000000000003</c:v>
                </c:pt>
                <c:pt idx="15490">
                  <c:v>7.1630000000000003</c:v>
                </c:pt>
                <c:pt idx="15491">
                  <c:v>7.1630000000000003</c:v>
                </c:pt>
                <c:pt idx="15492">
                  <c:v>7.1639999999999997</c:v>
                </c:pt>
                <c:pt idx="15493">
                  <c:v>7.1630000000000003</c:v>
                </c:pt>
                <c:pt idx="15494">
                  <c:v>7.1630000000000003</c:v>
                </c:pt>
                <c:pt idx="15495">
                  <c:v>7.1630000000000003</c:v>
                </c:pt>
                <c:pt idx="15496">
                  <c:v>7.1630000000000003</c:v>
                </c:pt>
                <c:pt idx="15497">
                  <c:v>7.1630000000000003</c:v>
                </c:pt>
                <c:pt idx="15498">
                  <c:v>7.1630000000000003</c:v>
                </c:pt>
                <c:pt idx="15499">
                  <c:v>7.1630000000000003</c:v>
                </c:pt>
                <c:pt idx="15500">
                  <c:v>7.1630000000000003</c:v>
                </c:pt>
                <c:pt idx="15501">
                  <c:v>7.1630000000000003</c:v>
                </c:pt>
                <c:pt idx="15502">
                  <c:v>7.1630000000000003</c:v>
                </c:pt>
                <c:pt idx="15503">
                  <c:v>7.1630000000000003</c:v>
                </c:pt>
                <c:pt idx="15504">
                  <c:v>7.1630000000000003</c:v>
                </c:pt>
                <c:pt idx="15505">
                  <c:v>7.1619999999999999</c:v>
                </c:pt>
                <c:pt idx="15506">
                  <c:v>7.1630000000000003</c:v>
                </c:pt>
                <c:pt idx="15507">
                  <c:v>7.1619999999999999</c:v>
                </c:pt>
                <c:pt idx="15508">
                  <c:v>7.1619999999999999</c:v>
                </c:pt>
                <c:pt idx="15509">
                  <c:v>7.1630000000000003</c:v>
                </c:pt>
                <c:pt idx="15510">
                  <c:v>7.1630000000000003</c:v>
                </c:pt>
                <c:pt idx="15511">
                  <c:v>7.1630000000000003</c:v>
                </c:pt>
                <c:pt idx="15512">
                  <c:v>7.1630000000000003</c:v>
                </c:pt>
                <c:pt idx="15513">
                  <c:v>7.1630000000000003</c:v>
                </c:pt>
                <c:pt idx="15514">
                  <c:v>7.1630000000000003</c:v>
                </c:pt>
                <c:pt idx="15515">
                  <c:v>7.1619999999999999</c:v>
                </c:pt>
                <c:pt idx="15516">
                  <c:v>7.1630000000000003</c:v>
                </c:pt>
                <c:pt idx="15517">
                  <c:v>7.1630000000000003</c:v>
                </c:pt>
                <c:pt idx="15518">
                  <c:v>7.1630000000000003</c:v>
                </c:pt>
                <c:pt idx="15519">
                  <c:v>7.1630000000000003</c:v>
                </c:pt>
                <c:pt idx="15520">
                  <c:v>7.1630000000000003</c:v>
                </c:pt>
                <c:pt idx="15521">
                  <c:v>7.1630000000000003</c:v>
                </c:pt>
                <c:pt idx="15522">
                  <c:v>7.1619999999999999</c:v>
                </c:pt>
                <c:pt idx="15523">
                  <c:v>7.1619999999999999</c:v>
                </c:pt>
                <c:pt idx="15524">
                  <c:v>7.1630000000000003</c:v>
                </c:pt>
                <c:pt idx="15525">
                  <c:v>7.1630000000000003</c:v>
                </c:pt>
                <c:pt idx="15526">
                  <c:v>7.1619999999999999</c:v>
                </c:pt>
                <c:pt idx="15527">
                  <c:v>7.1630000000000003</c:v>
                </c:pt>
                <c:pt idx="15528">
                  <c:v>7.1630000000000003</c:v>
                </c:pt>
                <c:pt idx="15529">
                  <c:v>7.1619999999999999</c:v>
                </c:pt>
                <c:pt idx="15530">
                  <c:v>7.1619999999999999</c:v>
                </c:pt>
                <c:pt idx="15531">
                  <c:v>7.1619999999999999</c:v>
                </c:pt>
                <c:pt idx="15532">
                  <c:v>7.1630000000000003</c:v>
                </c:pt>
                <c:pt idx="15533">
                  <c:v>7.1619999999999999</c:v>
                </c:pt>
                <c:pt idx="15534">
                  <c:v>7.1630000000000003</c:v>
                </c:pt>
                <c:pt idx="15535">
                  <c:v>7.1619999999999999</c:v>
                </c:pt>
                <c:pt idx="15536">
                  <c:v>7.1619999999999999</c:v>
                </c:pt>
                <c:pt idx="15537">
                  <c:v>7.1619999999999999</c:v>
                </c:pt>
                <c:pt idx="15538">
                  <c:v>7.1619999999999999</c:v>
                </c:pt>
                <c:pt idx="15539">
                  <c:v>7.1619999999999999</c:v>
                </c:pt>
                <c:pt idx="15540">
                  <c:v>7.1619999999999999</c:v>
                </c:pt>
                <c:pt idx="15541">
                  <c:v>7.1630000000000003</c:v>
                </c:pt>
                <c:pt idx="15542">
                  <c:v>7.1619999999999999</c:v>
                </c:pt>
                <c:pt idx="15543">
                  <c:v>7.1619999999999999</c:v>
                </c:pt>
                <c:pt idx="15544">
                  <c:v>7.1619999999999999</c:v>
                </c:pt>
                <c:pt idx="15545">
                  <c:v>7.1630000000000003</c:v>
                </c:pt>
                <c:pt idx="15546">
                  <c:v>7.1619999999999999</c:v>
                </c:pt>
                <c:pt idx="15547">
                  <c:v>7.1619999999999999</c:v>
                </c:pt>
                <c:pt idx="15548">
                  <c:v>7.1630000000000003</c:v>
                </c:pt>
                <c:pt idx="15549">
                  <c:v>7.1619999999999999</c:v>
                </c:pt>
                <c:pt idx="15550">
                  <c:v>7.1619999999999999</c:v>
                </c:pt>
                <c:pt idx="15551">
                  <c:v>7.1619999999999999</c:v>
                </c:pt>
                <c:pt idx="15552">
                  <c:v>7.1619999999999999</c:v>
                </c:pt>
                <c:pt idx="15553">
                  <c:v>7.1619999999999999</c:v>
                </c:pt>
                <c:pt idx="15554">
                  <c:v>7.1619999999999999</c:v>
                </c:pt>
                <c:pt idx="15555">
                  <c:v>7.1619999999999999</c:v>
                </c:pt>
                <c:pt idx="15556">
                  <c:v>7.1619999999999999</c:v>
                </c:pt>
                <c:pt idx="15557">
                  <c:v>7.1609999999999996</c:v>
                </c:pt>
                <c:pt idx="15558">
                  <c:v>7.1619999999999999</c:v>
                </c:pt>
                <c:pt idx="15559">
                  <c:v>7.1619999999999999</c:v>
                </c:pt>
                <c:pt idx="15560">
                  <c:v>7.1619999999999999</c:v>
                </c:pt>
                <c:pt idx="15561">
                  <c:v>7.1619999999999999</c:v>
                </c:pt>
                <c:pt idx="15562">
                  <c:v>7.1609999999999996</c:v>
                </c:pt>
                <c:pt idx="15563">
                  <c:v>7.1619999999999999</c:v>
                </c:pt>
                <c:pt idx="15564">
                  <c:v>7.1619999999999999</c:v>
                </c:pt>
                <c:pt idx="15565">
                  <c:v>7.1619999999999999</c:v>
                </c:pt>
                <c:pt idx="15566">
                  <c:v>7.1619999999999999</c:v>
                </c:pt>
                <c:pt idx="15567">
                  <c:v>7.1619999999999999</c:v>
                </c:pt>
                <c:pt idx="15568">
                  <c:v>7.1619999999999999</c:v>
                </c:pt>
                <c:pt idx="15569">
                  <c:v>7.1619999999999999</c:v>
                </c:pt>
                <c:pt idx="15570">
                  <c:v>7.1619999999999999</c:v>
                </c:pt>
                <c:pt idx="15571">
                  <c:v>7.1619999999999999</c:v>
                </c:pt>
                <c:pt idx="15572">
                  <c:v>7.1619999999999999</c:v>
                </c:pt>
                <c:pt idx="15573">
                  <c:v>7.1619999999999999</c:v>
                </c:pt>
                <c:pt idx="15574">
                  <c:v>7.1619999999999999</c:v>
                </c:pt>
                <c:pt idx="15575">
                  <c:v>7.1609999999999996</c:v>
                </c:pt>
                <c:pt idx="15576">
                  <c:v>7.1609999999999996</c:v>
                </c:pt>
                <c:pt idx="15577">
                  <c:v>7.1619999999999999</c:v>
                </c:pt>
                <c:pt idx="15578">
                  <c:v>7.1609999999999996</c:v>
                </c:pt>
                <c:pt idx="15579">
                  <c:v>7.1609999999999996</c:v>
                </c:pt>
                <c:pt idx="15580">
                  <c:v>7.1609999999999996</c:v>
                </c:pt>
                <c:pt idx="15581">
                  <c:v>7.1609999999999996</c:v>
                </c:pt>
                <c:pt idx="15582">
                  <c:v>7.1619999999999999</c:v>
                </c:pt>
                <c:pt idx="15583">
                  <c:v>7.1609999999999996</c:v>
                </c:pt>
                <c:pt idx="15584">
                  <c:v>7.1619999999999999</c:v>
                </c:pt>
                <c:pt idx="15585">
                  <c:v>7.1619999999999999</c:v>
                </c:pt>
                <c:pt idx="15586">
                  <c:v>7.1619999999999999</c:v>
                </c:pt>
                <c:pt idx="15587">
                  <c:v>7.1619999999999999</c:v>
                </c:pt>
                <c:pt idx="15588">
                  <c:v>7.1619999999999999</c:v>
                </c:pt>
                <c:pt idx="15589">
                  <c:v>7.1609999999999996</c:v>
                </c:pt>
                <c:pt idx="15590">
                  <c:v>7.1619999999999999</c:v>
                </c:pt>
                <c:pt idx="15591">
                  <c:v>7.1609999999999996</c:v>
                </c:pt>
                <c:pt idx="15592">
                  <c:v>7.1609999999999996</c:v>
                </c:pt>
                <c:pt idx="15593">
                  <c:v>7.1619999999999999</c:v>
                </c:pt>
                <c:pt idx="15594">
                  <c:v>7.1609999999999996</c:v>
                </c:pt>
                <c:pt idx="15595">
                  <c:v>7.1619999999999999</c:v>
                </c:pt>
                <c:pt idx="15596">
                  <c:v>7.1619999999999999</c:v>
                </c:pt>
                <c:pt idx="15597">
                  <c:v>7.1609999999999996</c:v>
                </c:pt>
                <c:pt idx="15598">
                  <c:v>7.1609999999999996</c:v>
                </c:pt>
                <c:pt idx="15599">
                  <c:v>7.1609999999999996</c:v>
                </c:pt>
                <c:pt idx="15600">
                  <c:v>7.1609999999999996</c:v>
                </c:pt>
                <c:pt idx="15601">
                  <c:v>7.1619999999999999</c:v>
                </c:pt>
                <c:pt idx="15602">
                  <c:v>7.1609999999999996</c:v>
                </c:pt>
                <c:pt idx="15603">
                  <c:v>7.1609999999999996</c:v>
                </c:pt>
                <c:pt idx="15604">
                  <c:v>7.1609999999999996</c:v>
                </c:pt>
                <c:pt idx="15605">
                  <c:v>7.1609999999999996</c:v>
                </c:pt>
                <c:pt idx="15606">
                  <c:v>7.1619999999999999</c:v>
                </c:pt>
                <c:pt idx="15607">
                  <c:v>7.1609999999999996</c:v>
                </c:pt>
                <c:pt idx="15608">
                  <c:v>7.1619999999999999</c:v>
                </c:pt>
                <c:pt idx="15609">
                  <c:v>7.1609999999999996</c:v>
                </c:pt>
                <c:pt idx="15610">
                  <c:v>7.1609999999999996</c:v>
                </c:pt>
                <c:pt idx="15611">
                  <c:v>7.1609999999999996</c:v>
                </c:pt>
                <c:pt idx="15612">
                  <c:v>7.1609999999999996</c:v>
                </c:pt>
                <c:pt idx="15613">
                  <c:v>7.1609999999999996</c:v>
                </c:pt>
                <c:pt idx="15614">
                  <c:v>7.1609999999999996</c:v>
                </c:pt>
                <c:pt idx="15615">
                  <c:v>7.16</c:v>
                </c:pt>
                <c:pt idx="15616">
                  <c:v>7.1619999999999999</c:v>
                </c:pt>
                <c:pt idx="15617">
                  <c:v>7.1609999999999996</c:v>
                </c:pt>
                <c:pt idx="15618">
                  <c:v>7.1609999999999996</c:v>
                </c:pt>
                <c:pt idx="15619">
                  <c:v>7.1609999999999996</c:v>
                </c:pt>
                <c:pt idx="15620">
                  <c:v>7.1609999999999996</c:v>
                </c:pt>
                <c:pt idx="15621">
                  <c:v>7.1609999999999996</c:v>
                </c:pt>
                <c:pt idx="15622">
                  <c:v>7.1609999999999996</c:v>
                </c:pt>
                <c:pt idx="15623">
                  <c:v>7.1609999999999996</c:v>
                </c:pt>
                <c:pt idx="15624">
                  <c:v>7.1609999999999996</c:v>
                </c:pt>
                <c:pt idx="15625">
                  <c:v>7.1609999999999996</c:v>
                </c:pt>
                <c:pt idx="15626">
                  <c:v>7.1609999999999996</c:v>
                </c:pt>
                <c:pt idx="15627">
                  <c:v>7.1609999999999996</c:v>
                </c:pt>
                <c:pt idx="15628">
                  <c:v>7.1609999999999996</c:v>
                </c:pt>
                <c:pt idx="15629">
                  <c:v>7.1609999999999996</c:v>
                </c:pt>
                <c:pt idx="15630">
                  <c:v>7.1609999999999996</c:v>
                </c:pt>
                <c:pt idx="15631">
                  <c:v>7.1609999999999996</c:v>
                </c:pt>
                <c:pt idx="15632">
                  <c:v>7.1609999999999996</c:v>
                </c:pt>
                <c:pt idx="15633">
                  <c:v>7.1609999999999996</c:v>
                </c:pt>
                <c:pt idx="15634">
                  <c:v>7.1609999999999996</c:v>
                </c:pt>
                <c:pt idx="15635">
                  <c:v>7.1609999999999996</c:v>
                </c:pt>
                <c:pt idx="15636">
                  <c:v>7.1609999999999996</c:v>
                </c:pt>
                <c:pt idx="15637">
                  <c:v>7.1609999999999996</c:v>
                </c:pt>
                <c:pt idx="15638">
                  <c:v>7.1609999999999996</c:v>
                </c:pt>
                <c:pt idx="15639">
                  <c:v>7.16</c:v>
                </c:pt>
                <c:pt idx="15640">
                  <c:v>7.16</c:v>
                </c:pt>
                <c:pt idx="15641">
                  <c:v>7.1609999999999996</c:v>
                </c:pt>
                <c:pt idx="15642">
                  <c:v>7.16</c:v>
                </c:pt>
                <c:pt idx="15643">
                  <c:v>7.16</c:v>
                </c:pt>
                <c:pt idx="15644">
                  <c:v>7.1609999999999996</c:v>
                </c:pt>
                <c:pt idx="15645">
                  <c:v>7.1609999999999996</c:v>
                </c:pt>
                <c:pt idx="15646">
                  <c:v>7.1609999999999996</c:v>
                </c:pt>
                <c:pt idx="15647">
                  <c:v>7.16</c:v>
                </c:pt>
                <c:pt idx="15648">
                  <c:v>7.1609999999999996</c:v>
                </c:pt>
                <c:pt idx="15649">
                  <c:v>7.16</c:v>
                </c:pt>
                <c:pt idx="15650">
                  <c:v>7.1609999999999996</c:v>
                </c:pt>
                <c:pt idx="15651">
                  <c:v>7.16</c:v>
                </c:pt>
                <c:pt idx="15652">
                  <c:v>7.1609999999999996</c:v>
                </c:pt>
                <c:pt idx="15653">
                  <c:v>7.1609999999999996</c:v>
                </c:pt>
                <c:pt idx="15654">
                  <c:v>7.16</c:v>
                </c:pt>
                <c:pt idx="15655">
                  <c:v>7.16</c:v>
                </c:pt>
                <c:pt idx="15656">
                  <c:v>7.1609999999999996</c:v>
                </c:pt>
                <c:pt idx="15657">
                  <c:v>7.1609999999999996</c:v>
                </c:pt>
                <c:pt idx="15658">
                  <c:v>7.16</c:v>
                </c:pt>
                <c:pt idx="15659">
                  <c:v>7.1609999999999996</c:v>
                </c:pt>
                <c:pt idx="15660">
                  <c:v>7.1609999999999996</c:v>
                </c:pt>
                <c:pt idx="15661">
                  <c:v>7.16</c:v>
                </c:pt>
                <c:pt idx="15662">
                  <c:v>7.16</c:v>
                </c:pt>
                <c:pt idx="15663">
                  <c:v>7.16</c:v>
                </c:pt>
                <c:pt idx="15664">
                  <c:v>7.1609999999999996</c:v>
                </c:pt>
                <c:pt idx="15665">
                  <c:v>7.1609999999999996</c:v>
                </c:pt>
                <c:pt idx="15666">
                  <c:v>7.16</c:v>
                </c:pt>
                <c:pt idx="15667">
                  <c:v>7.16</c:v>
                </c:pt>
                <c:pt idx="15668">
                  <c:v>7.1609999999999996</c:v>
                </c:pt>
                <c:pt idx="15669">
                  <c:v>7.1609999999999996</c:v>
                </c:pt>
                <c:pt idx="15670">
                  <c:v>7.16</c:v>
                </c:pt>
                <c:pt idx="15671">
                  <c:v>7.16</c:v>
                </c:pt>
                <c:pt idx="15672">
                  <c:v>7.16</c:v>
                </c:pt>
                <c:pt idx="15673">
                  <c:v>7.16</c:v>
                </c:pt>
                <c:pt idx="15674">
                  <c:v>7.16</c:v>
                </c:pt>
                <c:pt idx="15675">
                  <c:v>7.16</c:v>
                </c:pt>
                <c:pt idx="15676">
                  <c:v>7.16</c:v>
                </c:pt>
                <c:pt idx="15677">
                  <c:v>7.16</c:v>
                </c:pt>
                <c:pt idx="15678">
                  <c:v>7.16</c:v>
                </c:pt>
                <c:pt idx="15679">
                  <c:v>7.16</c:v>
                </c:pt>
                <c:pt idx="15680">
                  <c:v>7.16</c:v>
                </c:pt>
                <c:pt idx="15681">
                  <c:v>7.1609999999999996</c:v>
                </c:pt>
                <c:pt idx="15682">
                  <c:v>7.16</c:v>
                </c:pt>
                <c:pt idx="15683">
                  <c:v>7.16</c:v>
                </c:pt>
                <c:pt idx="15684">
                  <c:v>7.16</c:v>
                </c:pt>
                <c:pt idx="15685">
                  <c:v>7.16</c:v>
                </c:pt>
                <c:pt idx="15686">
                  <c:v>7.16</c:v>
                </c:pt>
                <c:pt idx="15687">
                  <c:v>7.16</c:v>
                </c:pt>
                <c:pt idx="15688">
                  <c:v>7.16</c:v>
                </c:pt>
                <c:pt idx="15689">
                  <c:v>7.16</c:v>
                </c:pt>
                <c:pt idx="15690">
                  <c:v>7.16</c:v>
                </c:pt>
                <c:pt idx="15691">
                  <c:v>7.16</c:v>
                </c:pt>
                <c:pt idx="15692">
                  <c:v>7.1589999999999998</c:v>
                </c:pt>
                <c:pt idx="15693">
                  <c:v>7.16</c:v>
                </c:pt>
                <c:pt idx="15694">
                  <c:v>7.16</c:v>
                </c:pt>
                <c:pt idx="15695">
                  <c:v>7.16</c:v>
                </c:pt>
                <c:pt idx="15696">
                  <c:v>7.16</c:v>
                </c:pt>
                <c:pt idx="15697">
                  <c:v>7.16</c:v>
                </c:pt>
                <c:pt idx="15698">
                  <c:v>7.16</c:v>
                </c:pt>
                <c:pt idx="15699">
                  <c:v>7.16</c:v>
                </c:pt>
                <c:pt idx="15700">
                  <c:v>7.16</c:v>
                </c:pt>
                <c:pt idx="15701">
                  <c:v>7.16</c:v>
                </c:pt>
                <c:pt idx="15702">
                  <c:v>7.16</c:v>
                </c:pt>
                <c:pt idx="15703">
                  <c:v>7.16</c:v>
                </c:pt>
                <c:pt idx="15704">
                  <c:v>7.16</c:v>
                </c:pt>
                <c:pt idx="15705">
                  <c:v>7.16</c:v>
                </c:pt>
                <c:pt idx="15706">
                  <c:v>7.1589999999999998</c:v>
                </c:pt>
                <c:pt idx="15707">
                  <c:v>7.16</c:v>
                </c:pt>
                <c:pt idx="15708">
                  <c:v>7.16</c:v>
                </c:pt>
                <c:pt idx="15709">
                  <c:v>7.16</c:v>
                </c:pt>
                <c:pt idx="15710">
                  <c:v>7.16</c:v>
                </c:pt>
                <c:pt idx="15711">
                  <c:v>7.16</c:v>
                </c:pt>
                <c:pt idx="15712">
                  <c:v>7.16</c:v>
                </c:pt>
                <c:pt idx="15713">
                  <c:v>7.16</c:v>
                </c:pt>
                <c:pt idx="15714">
                  <c:v>7.16</c:v>
                </c:pt>
                <c:pt idx="15715">
                  <c:v>7.16</c:v>
                </c:pt>
                <c:pt idx="15716">
                  <c:v>7.16</c:v>
                </c:pt>
                <c:pt idx="15717">
                  <c:v>7.16</c:v>
                </c:pt>
                <c:pt idx="15718">
                  <c:v>7.16</c:v>
                </c:pt>
                <c:pt idx="15719">
                  <c:v>7.16</c:v>
                </c:pt>
                <c:pt idx="15720">
                  <c:v>7.16</c:v>
                </c:pt>
                <c:pt idx="15721">
                  <c:v>7.1589999999999998</c:v>
                </c:pt>
                <c:pt idx="15722">
                  <c:v>7.16</c:v>
                </c:pt>
                <c:pt idx="15723">
                  <c:v>7.1589999999999998</c:v>
                </c:pt>
                <c:pt idx="15724">
                  <c:v>7.1589999999999998</c:v>
                </c:pt>
                <c:pt idx="15725">
                  <c:v>7.16</c:v>
                </c:pt>
                <c:pt idx="15726">
                  <c:v>7.16</c:v>
                </c:pt>
                <c:pt idx="15727">
                  <c:v>7.1589999999999998</c:v>
                </c:pt>
                <c:pt idx="15728">
                  <c:v>7.1589999999999998</c:v>
                </c:pt>
                <c:pt idx="15729">
                  <c:v>7.1589999999999998</c:v>
                </c:pt>
                <c:pt idx="15730">
                  <c:v>7.16</c:v>
                </c:pt>
                <c:pt idx="15731">
                  <c:v>7.16</c:v>
                </c:pt>
                <c:pt idx="15732">
                  <c:v>7.16</c:v>
                </c:pt>
                <c:pt idx="15733">
                  <c:v>7.16</c:v>
                </c:pt>
                <c:pt idx="15734">
                  <c:v>7.16</c:v>
                </c:pt>
                <c:pt idx="15735">
                  <c:v>7.16</c:v>
                </c:pt>
                <c:pt idx="15736">
                  <c:v>7.16</c:v>
                </c:pt>
                <c:pt idx="15737">
                  <c:v>7.16</c:v>
                </c:pt>
                <c:pt idx="15738">
                  <c:v>7.1589999999999998</c:v>
                </c:pt>
                <c:pt idx="15739">
                  <c:v>7.16</c:v>
                </c:pt>
                <c:pt idx="15740">
                  <c:v>7.1589999999999998</c:v>
                </c:pt>
                <c:pt idx="15741">
                  <c:v>7.16</c:v>
                </c:pt>
                <c:pt idx="15742">
                  <c:v>7.1589999999999998</c:v>
                </c:pt>
                <c:pt idx="15743">
                  <c:v>7.1589999999999998</c:v>
                </c:pt>
                <c:pt idx="15744">
                  <c:v>7.1589999999999998</c:v>
                </c:pt>
                <c:pt idx="15745">
                  <c:v>7.1589999999999998</c:v>
                </c:pt>
                <c:pt idx="15746">
                  <c:v>7.1589999999999998</c:v>
                </c:pt>
                <c:pt idx="15747">
                  <c:v>7.16</c:v>
                </c:pt>
                <c:pt idx="15748">
                  <c:v>7.1589999999999998</c:v>
                </c:pt>
                <c:pt idx="15749">
                  <c:v>7.1589999999999998</c:v>
                </c:pt>
                <c:pt idx="15750">
                  <c:v>7.1589999999999998</c:v>
                </c:pt>
                <c:pt idx="15751">
                  <c:v>7.1589999999999998</c:v>
                </c:pt>
                <c:pt idx="15752">
                  <c:v>7.16</c:v>
                </c:pt>
                <c:pt idx="15753">
                  <c:v>7.1589999999999998</c:v>
                </c:pt>
                <c:pt idx="15754">
                  <c:v>7.1589999999999998</c:v>
                </c:pt>
                <c:pt idx="15755">
                  <c:v>7.1589999999999998</c:v>
                </c:pt>
                <c:pt idx="15756">
                  <c:v>7.1589999999999998</c:v>
                </c:pt>
                <c:pt idx="15757">
                  <c:v>7.1589999999999998</c:v>
                </c:pt>
                <c:pt idx="15758">
                  <c:v>7.1589999999999998</c:v>
                </c:pt>
                <c:pt idx="15759">
                  <c:v>7.1589999999999998</c:v>
                </c:pt>
                <c:pt idx="15760">
                  <c:v>7.16</c:v>
                </c:pt>
                <c:pt idx="15761">
                  <c:v>7.1589999999999998</c:v>
                </c:pt>
                <c:pt idx="15762">
                  <c:v>7.1589999999999998</c:v>
                </c:pt>
                <c:pt idx="15763">
                  <c:v>7.1589999999999998</c:v>
                </c:pt>
                <c:pt idx="15764">
                  <c:v>7.1580000000000004</c:v>
                </c:pt>
                <c:pt idx="15765">
                  <c:v>7.1589999999999998</c:v>
                </c:pt>
                <c:pt idx="15766">
                  <c:v>7.1589999999999998</c:v>
                </c:pt>
                <c:pt idx="15767">
                  <c:v>7.1580000000000004</c:v>
                </c:pt>
                <c:pt idx="15768">
                  <c:v>7.1589999999999998</c:v>
                </c:pt>
                <c:pt idx="15769">
                  <c:v>7.1589999999999998</c:v>
                </c:pt>
                <c:pt idx="15770">
                  <c:v>7.1580000000000004</c:v>
                </c:pt>
                <c:pt idx="15771">
                  <c:v>7.1589999999999998</c:v>
                </c:pt>
                <c:pt idx="15772">
                  <c:v>7.1589999999999998</c:v>
                </c:pt>
                <c:pt idx="15773">
                  <c:v>7.1589999999999998</c:v>
                </c:pt>
                <c:pt idx="15774">
                  <c:v>7.1589999999999998</c:v>
                </c:pt>
                <c:pt idx="15775">
                  <c:v>7.16</c:v>
                </c:pt>
                <c:pt idx="15776">
                  <c:v>7.1589999999999998</c:v>
                </c:pt>
                <c:pt idx="15777">
                  <c:v>7.1589999999999998</c:v>
                </c:pt>
                <c:pt idx="15778">
                  <c:v>7.1589999999999998</c:v>
                </c:pt>
                <c:pt idx="15779">
                  <c:v>7.1589999999999998</c:v>
                </c:pt>
                <c:pt idx="15780">
                  <c:v>7.1589999999999998</c:v>
                </c:pt>
                <c:pt idx="15781">
                  <c:v>7.1589999999999998</c:v>
                </c:pt>
                <c:pt idx="15782">
                  <c:v>7.1589999999999998</c:v>
                </c:pt>
                <c:pt idx="15783">
                  <c:v>7.1589999999999998</c:v>
                </c:pt>
                <c:pt idx="15784">
                  <c:v>7.1589999999999998</c:v>
                </c:pt>
                <c:pt idx="15785">
                  <c:v>7.1580000000000004</c:v>
                </c:pt>
                <c:pt idx="15786">
                  <c:v>7.1589999999999998</c:v>
                </c:pt>
                <c:pt idx="15787">
                  <c:v>7.1580000000000004</c:v>
                </c:pt>
                <c:pt idx="15788">
                  <c:v>7.1589999999999998</c:v>
                </c:pt>
                <c:pt idx="15789">
                  <c:v>7.1580000000000004</c:v>
                </c:pt>
                <c:pt idx="15790">
                  <c:v>7.1589999999999998</c:v>
                </c:pt>
                <c:pt idx="15791">
                  <c:v>7.1589999999999998</c:v>
                </c:pt>
                <c:pt idx="15792">
                  <c:v>7.1589999999999998</c:v>
                </c:pt>
                <c:pt idx="15793">
                  <c:v>7.1580000000000004</c:v>
                </c:pt>
                <c:pt idx="15794">
                  <c:v>7.1580000000000004</c:v>
                </c:pt>
                <c:pt idx="15795">
                  <c:v>7.1589999999999998</c:v>
                </c:pt>
                <c:pt idx="15796">
                  <c:v>7.1589999999999998</c:v>
                </c:pt>
                <c:pt idx="15797">
                  <c:v>7.1589999999999998</c:v>
                </c:pt>
                <c:pt idx="15798">
                  <c:v>7.1589999999999998</c:v>
                </c:pt>
                <c:pt idx="15799">
                  <c:v>7.1589999999999998</c:v>
                </c:pt>
                <c:pt idx="15800">
                  <c:v>7.1580000000000004</c:v>
                </c:pt>
                <c:pt idx="15801">
                  <c:v>7.1589999999999998</c:v>
                </c:pt>
                <c:pt idx="15802">
                  <c:v>7.1580000000000004</c:v>
                </c:pt>
                <c:pt idx="15803">
                  <c:v>7.1580000000000004</c:v>
                </c:pt>
                <c:pt idx="15804">
                  <c:v>7.1589999999999998</c:v>
                </c:pt>
                <c:pt idx="15805">
                  <c:v>7.1580000000000004</c:v>
                </c:pt>
                <c:pt idx="15806">
                  <c:v>7.1580000000000004</c:v>
                </c:pt>
                <c:pt idx="15807">
                  <c:v>7.1580000000000004</c:v>
                </c:pt>
                <c:pt idx="15808">
                  <c:v>7.1580000000000004</c:v>
                </c:pt>
                <c:pt idx="15809">
                  <c:v>7.1580000000000004</c:v>
                </c:pt>
                <c:pt idx="15810">
                  <c:v>7.1580000000000004</c:v>
                </c:pt>
                <c:pt idx="15811">
                  <c:v>7.1580000000000004</c:v>
                </c:pt>
                <c:pt idx="15812">
                  <c:v>7.1580000000000004</c:v>
                </c:pt>
                <c:pt idx="15813">
                  <c:v>7.1589999999999998</c:v>
                </c:pt>
                <c:pt idx="15814">
                  <c:v>7.1580000000000004</c:v>
                </c:pt>
                <c:pt idx="15815">
                  <c:v>7.1580000000000004</c:v>
                </c:pt>
                <c:pt idx="15816">
                  <c:v>7.1580000000000004</c:v>
                </c:pt>
                <c:pt idx="15817">
                  <c:v>7.1589999999999998</c:v>
                </c:pt>
                <c:pt idx="15818">
                  <c:v>7.1580000000000004</c:v>
                </c:pt>
                <c:pt idx="15819">
                  <c:v>7.1580000000000004</c:v>
                </c:pt>
                <c:pt idx="15820">
                  <c:v>7.1580000000000004</c:v>
                </c:pt>
                <c:pt idx="15821">
                  <c:v>7.1580000000000004</c:v>
                </c:pt>
                <c:pt idx="15822">
                  <c:v>7.1580000000000004</c:v>
                </c:pt>
                <c:pt idx="15823">
                  <c:v>7.1580000000000004</c:v>
                </c:pt>
                <c:pt idx="15824">
                  <c:v>7.1580000000000004</c:v>
                </c:pt>
                <c:pt idx="15825">
                  <c:v>7.1580000000000004</c:v>
                </c:pt>
                <c:pt idx="15826">
                  <c:v>7.1580000000000004</c:v>
                </c:pt>
                <c:pt idx="15827">
                  <c:v>7.1580000000000004</c:v>
                </c:pt>
                <c:pt idx="15828">
                  <c:v>7.1580000000000004</c:v>
                </c:pt>
                <c:pt idx="15829">
                  <c:v>7.1580000000000004</c:v>
                </c:pt>
                <c:pt idx="15830">
                  <c:v>7.1580000000000004</c:v>
                </c:pt>
                <c:pt idx="15831">
                  <c:v>7.1580000000000004</c:v>
                </c:pt>
                <c:pt idx="15832">
                  <c:v>7.1580000000000004</c:v>
                </c:pt>
                <c:pt idx="15833">
                  <c:v>7.1580000000000004</c:v>
                </c:pt>
                <c:pt idx="15834">
                  <c:v>7.1580000000000004</c:v>
                </c:pt>
                <c:pt idx="15835">
                  <c:v>7.1580000000000004</c:v>
                </c:pt>
                <c:pt idx="15836">
                  <c:v>7.157</c:v>
                </c:pt>
                <c:pt idx="15837">
                  <c:v>7.1580000000000004</c:v>
                </c:pt>
                <c:pt idx="15838">
                  <c:v>7.1580000000000004</c:v>
                </c:pt>
                <c:pt idx="15839">
                  <c:v>7.157</c:v>
                </c:pt>
                <c:pt idx="15840">
                  <c:v>7.1580000000000004</c:v>
                </c:pt>
                <c:pt idx="15841">
                  <c:v>7.1580000000000004</c:v>
                </c:pt>
                <c:pt idx="15842">
                  <c:v>7.1580000000000004</c:v>
                </c:pt>
                <c:pt idx="15843">
                  <c:v>7.1580000000000004</c:v>
                </c:pt>
                <c:pt idx="15844">
                  <c:v>7.1580000000000004</c:v>
                </c:pt>
                <c:pt idx="15845">
                  <c:v>7.1580000000000004</c:v>
                </c:pt>
                <c:pt idx="15846">
                  <c:v>7.157</c:v>
                </c:pt>
                <c:pt idx="15847">
                  <c:v>7.1580000000000004</c:v>
                </c:pt>
                <c:pt idx="15848">
                  <c:v>7.1580000000000004</c:v>
                </c:pt>
                <c:pt idx="15849">
                  <c:v>7.1580000000000004</c:v>
                </c:pt>
                <c:pt idx="15850">
                  <c:v>7.1580000000000004</c:v>
                </c:pt>
                <c:pt idx="15851">
                  <c:v>7.157</c:v>
                </c:pt>
                <c:pt idx="15852">
                  <c:v>7.1580000000000004</c:v>
                </c:pt>
                <c:pt idx="15853">
                  <c:v>7.157</c:v>
                </c:pt>
                <c:pt idx="15854">
                  <c:v>7.157</c:v>
                </c:pt>
                <c:pt idx="15855">
                  <c:v>7.1580000000000004</c:v>
                </c:pt>
                <c:pt idx="15856">
                  <c:v>7.1580000000000004</c:v>
                </c:pt>
                <c:pt idx="15857">
                  <c:v>7.157</c:v>
                </c:pt>
                <c:pt idx="15858">
                  <c:v>7.1580000000000004</c:v>
                </c:pt>
                <c:pt idx="15859">
                  <c:v>7.1580000000000004</c:v>
                </c:pt>
                <c:pt idx="15860">
                  <c:v>7.157</c:v>
                </c:pt>
                <c:pt idx="15861">
                  <c:v>7.157</c:v>
                </c:pt>
                <c:pt idx="15862">
                  <c:v>7.157</c:v>
                </c:pt>
                <c:pt idx="15863">
                  <c:v>7.157</c:v>
                </c:pt>
                <c:pt idx="15864">
                  <c:v>7.157</c:v>
                </c:pt>
                <c:pt idx="15865">
                  <c:v>7.157</c:v>
                </c:pt>
                <c:pt idx="15866">
                  <c:v>7.157</c:v>
                </c:pt>
                <c:pt idx="15867">
                  <c:v>7.157</c:v>
                </c:pt>
                <c:pt idx="15868">
                  <c:v>7.157</c:v>
                </c:pt>
                <c:pt idx="15869">
                  <c:v>7.1580000000000004</c:v>
                </c:pt>
                <c:pt idx="15870">
                  <c:v>7.157</c:v>
                </c:pt>
                <c:pt idx="15871">
                  <c:v>7.1580000000000004</c:v>
                </c:pt>
                <c:pt idx="15872">
                  <c:v>7.157</c:v>
                </c:pt>
                <c:pt idx="15873">
                  <c:v>7.157</c:v>
                </c:pt>
                <c:pt idx="15874">
                  <c:v>7.157</c:v>
                </c:pt>
                <c:pt idx="15875">
                  <c:v>7.157</c:v>
                </c:pt>
                <c:pt idx="15876">
                  <c:v>7.157</c:v>
                </c:pt>
                <c:pt idx="15877">
                  <c:v>7.157</c:v>
                </c:pt>
                <c:pt idx="15878">
                  <c:v>7.157</c:v>
                </c:pt>
                <c:pt idx="15879">
                  <c:v>7.157</c:v>
                </c:pt>
                <c:pt idx="15880">
                  <c:v>7.157</c:v>
                </c:pt>
                <c:pt idx="15881">
                  <c:v>7.157</c:v>
                </c:pt>
                <c:pt idx="15882">
                  <c:v>7.157</c:v>
                </c:pt>
                <c:pt idx="15883">
                  <c:v>7.157</c:v>
                </c:pt>
                <c:pt idx="15884">
                  <c:v>7.157</c:v>
                </c:pt>
                <c:pt idx="15885">
                  <c:v>7.157</c:v>
                </c:pt>
                <c:pt idx="15886">
                  <c:v>7.157</c:v>
                </c:pt>
                <c:pt idx="15887">
                  <c:v>7.157</c:v>
                </c:pt>
                <c:pt idx="15888">
                  <c:v>7.157</c:v>
                </c:pt>
                <c:pt idx="15889">
                  <c:v>7.157</c:v>
                </c:pt>
                <c:pt idx="15890">
                  <c:v>7.157</c:v>
                </c:pt>
                <c:pt idx="15891">
                  <c:v>7.1559999999999997</c:v>
                </c:pt>
                <c:pt idx="15892">
                  <c:v>7.157</c:v>
                </c:pt>
                <c:pt idx="15893">
                  <c:v>7.1559999999999997</c:v>
                </c:pt>
                <c:pt idx="15894">
                  <c:v>7.157</c:v>
                </c:pt>
                <c:pt idx="15895">
                  <c:v>7.157</c:v>
                </c:pt>
                <c:pt idx="15896">
                  <c:v>7.157</c:v>
                </c:pt>
                <c:pt idx="15897">
                  <c:v>7.157</c:v>
                </c:pt>
                <c:pt idx="15898">
                  <c:v>7.157</c:v>
                </c:pt>
                <c:pt idx="15899">
                  <c:v>7.157</c:v>
                </c:pt>
                <c:pt idx="15900">
                  <c:v>7.1559999999999997</c:v>
                </c:pt>
                <c:pt idx="15901">
                  <c:v>7.1559999999999997</c:v>
                </c:pt>
                <c:pt idx="15902">
                  <c:v>7.157</c:v>
                </c:pt>
                <c:pt idx="15903">
                  <c:v>7.157</c:v>
                </c:pt>
                <c:pt idx="15904">
                  <c:v>7.1559999999999997</c:v>
                </c:pt>
                <c:pt idx="15905">
                  <c:v>7.157</c:v>
                </c:pt>
                <c:pt idx="15906">
                  <c:v>7.157</c:v>
                </c:pt>
                <c:pt idx="15907">
                  <c:v>7.157</c:v>
                </c:pt>
                <c:pt idx="15908">
                  <c:v>7.157</c:v>
                </c:pt>
                <c:pt idx="15909">
                  <c:v>7.157</c:v>
                </c:pt>
                <c:pt idx="15910">
                  <c:v>7.157</c:v>
                </c:pt>
                <c:pt idx="15911">
                  <c:v>7.157</c:v>
                </c:pt>
                <c:pt idx="15912">
                  <c:v>7.157</c:v>
                </c:pt>
                <c:pt idx="15913">
                  <c:v>7.157</c:v>
                </c:pt>
                <c:pt idx="15914">
                  <c:v>7.157</c:v>
                </c:pt>
                <c:pt idx="15915">
                  <c:v>7.1559999999999997</c:v>
                </c:pt>
                <c:pt idx="15916">
                  <c:v>7.1559999999999997</c:v>
                </c:pt>
                <c:pt idx="15917">
                  <c:v>7.1559999999999997</c:v>
                </c:pt>
                <c:pt idx="15918">
                  <c:v>7.1559999999999997</c:v>
                </c:pt>
                <c:pt idx="15919">
                  <c:v>7.157</c:v>
                </c:pt>
                <c:pt idx="15920">
                  <c:v>7.1559999999999997</c:v>
                </c:pt>
                <c:pt idx="15921">
                  <c:v>7.1559999999999997</c:v>
                </c:pt>
                <c:pt idx="15922">
                  <c:v>7.157</c:v>
                </c:pt>
                <c:pt idx="15923">
                  <c:v>7.1559999999999997</c:v>
                </c:pt>
                <c:pt idx="15924">
                  <c:v>7.1559999999999997</c:v>
                </c:pt>
                <c:pt idx="15925">
                  <c:v>7.1559999999999997</c:v>
                </c:pt>
                <c:pt idx="15926">
                  <c:v>7.157</c:v>
                </c:pt>
                <c:pt idx="15927">
                  <c:v>7.1559999999999997</c:v>
                </c:pt>
                <c:pt idx="15928">
                  <c:v>7.1559999999999997</c:v>
                </c:pt>
                <c:pt idx="15929">
                  <c:v>7.1559999999999997</c:v>
                </c:pt>
                <c:pt idx="15930">
                  <c:v>7.1559999999999997</c:v>
                </c:pt>
                <c:pt idx="15931">
                  <c:v>7.1559999999999997</c:v>
                </c:pt>
                <c:pt idx="15932">
                  <c:v>7.1559999999999997</c:v>
                </c:pt>
                <c:pt idx="15933">
                  <c:v>7.157</c:v>
                </c:pt>
                <c:pt idx="15934">
                  <c:v>7.1559999999999997</c:v>
                </c:pt>
                <c:pt idx="15935">
                  <c:v>7.1559999999999997</c:v>
                </c:pt>
                <c:pt idx="15936">
                  <c:v>7.1559999999999997</c:v>
                </c:pt>
                <c:pt idx="15937">
                  <c:v>7.157</c:v>
                </c:pt>
                <c:pt idx="15938">
                  <c:v>7.1559999999999997</c:v>
                </c:pt>
                <c:pt idx="15939">
                  <c:v>7.1559999999999997</c:v>
                </c:pt>
                <c:pt idx="15940">
                  <c:v>7.1559999999999997</c:v>
                </c:pt>
                <c:pt idx="15941">
                  <c:v>7.157</c:v>
                </c:pt>
                <c:pt idx="15942">
                  <c:v>7.1559999999999997</c:v>
                </c:pt>
                <c:pt idx="15943">
                  <c:v>7.1559999999999997</c:v>
                </c:pt>
                <c:pt idx="15944">
                  <c:v>7.1559999999999997</c:v>
                </c:pt>
                <c:pt idx="15945">
                  <c:v>7.1559999999999997</c:v>
                </c:pt>
                <c:pt idx="15946">
                  <c:v>7.1559999999999997</c:v>
                </c:pt>
                <c:pt idx="15947">
                  <c:v>7.1559999999999997</c:v>
                </c:pt>
                <c:pt idx="15948">
                  <c:v>7.157</c:v>
                </c:pt>
                <c:pt idx="15949">
                  <c:v>7.1559999999999997</c:v>
                </c:pt>
                <c:pt idx="15950">
                  <c:v>7.1559999999999997</c:v>
                </c:pt>
                <c:pt idx="15951">
                  <c:v>7.1559999999999997</c:v>
                </c:pt>
                <c:pt idx="15952">
                  <c:v>7.1559999999999997</c:v>
                </c:pt>
                <c:pt idx="15953">
                  <c:v>7.1559999999999997</c:v>
                </c:pt>
                <c:pt idx="15954">
                  <c:v>7.1559999999999997</c:v>
                </c:pt>
                <c:pt idx="15955">
                  <c:v>7.1559999999999997</c:v>
                </c:pt>
                <c:pt idx="15956">
                  <c:v>7.1559999999999997</c:v>
                </c:pt>
                <c:pt idx="15957">
                  <c:v>7.1550000000000002</c:v>
                </c:pt>
                <c:pt idx="15958">
                  <c:v>7.1559999999999997</c:v>
                </c:pt>
                <c:pt idx="15959">
                  <c:v>7.1559999999999997</c:v>
                </c:pt>
                <c:pt idx="15960">
                  <c:v>7.1559999999999997</c:v>
                </c:pt>
                <c:pt idx="15961">
                  <c:v>7.1559999999999997</c:v>
                </c:pt>
                <c:pt idx="15962">
                  <c:v>7.1550000000000002</c:v>
                </c:pt>
                <c:pt idx="15963">
                  <c:v>7.1550000000000002</c:v>
                </c:pt>
                <c:pt idx="15964">
                  <c:v>7.1559999999999997</c:v>
                </c:pt>
                <c:pt idx="15965">
                  <c:v>7.1559999999999997</c:v>
                </c:pt>
                <c:pt idx="15966">
                  <c:v>7.1559999999999997</c:v>
                </c:pt>
                <c:pt idx="15967">
                  <c:v>7.1559999999999997</c:v>
                </c:pt>
                <c:pt idx="15968">
                  <c:v>7.1559999999999997</c:v>
                </c:pt>
                <c:pt idx="15969">
                  <c:v>7.1559999999999997</c:v>
                </c:pt>
                <c:pt idx="15970">
                  <c:v>7.1550000000000002</c:v>
                </c:pt>
                <c:pt idx="15971">
                  <c:v>7.1559999999999997</c:v>
                </c:pt>
                <c:pt idx="15972">
                  <c:v>7.1559999999999997</c:v>
                </c:pt>
                <c:pt idx="15973">
                  <c:v>7.1559999999999997</c:v>
                </c:pt>
                <c:pt idx="15974">
                  <c:v>7.1559999999999997</c:v>
                </c:pt>
                <c:pt idx="15975">
                  <c:v>7.1559999999999997</c:v>
                </c:pt>
                <c:pt idx="15976">
                  <c:v>7.1550000000000002</c:v>
                </c:pt>
                <c:pt idx="15977">
                  <c:v>7.1559999999999997</c:v>
                </c:pt>
                <c:pt idx="15978">
                  <c:v>7.1559999999999997</c:v>
                </c:pt>
                <c:pt idx="15979">
                  <c:v>7.1559999999999997</c:v>
                </c:pt>
                <c:pt idx="15980">
                  <c:v>7.1559999999999997</c:v>
                </c:pt>
                <c:pt idx="15981">
                  <c:v>7.1559999999999997</c:v>
                </c:pt>
                <c:pt idx="15982">
                  <c:v>7.1559999999999997</c:v>
                </c:pt>
                <c:pt idx="15983">
                  <c:v>7.1550000000000002</c:v>
                </c:pt>
                <c:pt idx="15984">
                  <c:v>7.1550000000000002</c:v>
                </c:pt>
                <c:pt idx="15985">
                  <c:v>7.1559999999999997</c:v>
                </c:pt>
                <c:pt idx="15986">
                  <c:v>7.1550000000000002</c:v>
                </c:pt>
                <c:pt idx="15987">
                  <c:v>7.1559999999999997</c:v>
                </c:pt>
                <c:pt idx="15988">
                  <c:v>7.1559999999999997</c:v>
                </c:pt>
                <c:pt idx="15989">
                  <c:v>7.1559999999999997</c:v>
                </c:pt>
                <c:pt idx="15990">
                  <c:v>7.1550000000000002</c:v>
                </c:pt>
                <c:pt idx="15991">
                  <c:v>7.1559999999999997</c:v>
                </c:pt>
                <c:pt idx="15992">
                  <c:v>7.1559999999999997</c:v>
                </c:pt>
                <c:pt idx="15993">
                  <c:v>7.1550000000000002</c:v>
                </c:pt>
                <c:pt idx="15994">
                  <c:v>7.1550000000000002</c:v>
                </c:pt>
                <c:pt idx="15995">
                  <c:v>7.1559999999999997</c:v>
                </c:pt>
                <c:pt idx="15996">
                  <c:v>7.1550000000000002</c:v>
                </c:pt>
                <c:pt idx="15997">
                  <c:v>7.1550000000000002</c:v>
                </c:pt>
                <c:pt idx="15998">
                  <c:v>7.1559999999999997</c:v>
                </c:pt>
                <c:pt idx="15999">
                  <c:v>7.1550000000000002</c:v>
                </c:pt>
                <c:pt idx="16000">
                  <c:v>7.1559999999999997</c:v>
                </c:pt>
                <c:pt idx="16001">
                  <c:v>7.1559999999999997</c:v>
                </c:pt>
                <c:pt idx="16002">
                  <c:v>7.1550000000000002</c:v>
                </c:pt>
                <c:pt idx="16003">
                  <c:v>7.1550000000000002</c:v>
                </c:pt>
                <c:pt idx="16004">
                  <c:v>7.1550000000000002</c:v>
                </c:pt>
                <c:pt idx="16005">
                  <c:v>7.1550000000000002</c:v>
                </c:pt>
                <c:pt idx="16006">
                  <c:v>7.1550000000000002</c:v>
                </c:pt>
                <c:pt idx="16007">
                  <c:v>7.1550000000000002</c:v>
                </c:pt>
                <c:pt idx="16008">
                  <c:v>7.1550000000000002</c:v>
                </c:pt>
                <c:pt idx="16009">
                  <c:v>7.1550000000000002</c:v>
                </c:pt>
                <c:pt idx="16010">
                  <c:v>7.1550000000000002</c:v>
                </c:pt>
                <c:pt idx="16011">
                  <c:v>7.1550000000000002</c:v>
                </c:pt>
                <c:pt idx="16012">
                  <c:v>7.1550000000000002</c:v>
                </c:pt>
                <c:pt idx="16013">
                  <c:v>7.1550000000000002</c:v>
                </c:pt>
                <c:pt idx="16014">
                  <c:v>7.1539999999999999</c:v>
                </c:pt>
                <c:pt idx="16015">
                  <c:v>7.1550000000000002</c:v>
                </c:pt>
                <c:pt idx="16016">
                  <c:v>7.1550000000000002</c:v>
                </c:pt>
                <c:pt idx="16017">
                  <c:v>7.1550000000000002</c:v>
                </c:pt>
                <c:pt idx="16018">
                  <c:v>7.1550000000000002</c:v>
                </c:pt>
                <c:pt idx="16019">
                  <c:v>7.1550000000000002</c:v>
                </c:pt>
                <c:pt idx="16020">
                  <c:v>7.1550000000000002</c:v>
                </c:pt>
                <c:pt idx="16021">
                  <c:v>7.1550000000000002</c:v>
                </c:pt>
                <c:pt idx="16022">
                  <c:v>7.1539999999999999</c:v>
                </c:pt>
                <c:pt idx="16023">
                  <c:v>7.1550000000000002</c:v>
                </c:pt>
                <c:pt idx="16024">
                  <c:v>7.1550000000000002</c:v>
                </c:pt>
                <c:pt idx="16025">
                  <c:v>7.1550000000000002</c:v>
                </c:pt>
                <c:pt idx="16026">
                  <c:v>7.1550000000000002</c:v>
                </c:pt>
                <c:pt idx="16027">
                  <c:v>7.1550000000000002</c:v>
                </c:pt>
                <c:pt idx="16028">
                  <c:v>7.1539999999999999</c:v>
                </c:pt>
                <c:pt idx="16029">
                  <c:v>7.1550000000000002</c:v>
                </c:pt>
                <c:pt idx="16030">
                  <c:v>7.1550000000000002</c:v>
                </c:pt>
                <c:pt idx="16031">
                  <c:v>7.1550000000000002</c:v>
                </c:pt>
                <c:pt idx="16032">
                  <c:v>7.1550000000000002</c:v>
                </c:pt>
                <c:pt idx="16033">
                  <c:v>7.1550000000000002</c:v>
                </c:pt>
                <c:pt idx="16034">
                  <c:v>7.1550000000000002</c:v>
                </c:pt>
                <c:pt idx="16035">
                  <c:v>7.1550000000000002</c:v>
                </c:pt>
                <c:pt idx="16036">
                  <c:v>7.1550000000000002</c:v>
                </c:pt>
                <c:pt idx="16037">
                  <c:v>7.1539999999999999</c:v>
                </c:pt>
                <c:pt idx="16038">
                  <c:v>7.1550000000000002</c:v>
                </c:pt>
                <c:pt idx="16039">
                  <c:v>7.1550000000000002</c:v>
                </c:pt>
                <c:pt idx="16040">
                  <c:v>7.1550000000000002</c:v>
                </c:pt>
                <c:pt idx="16041">
                  <c:v>7.1550000000000002</c:v>
                </c:pt>
                <c:pt idx="16042">
                  <c:v>7.1550000000000002</c:v>
                </c:pt>
                <c:pt idx="16043">
                  <c:v>7.1550000000000002</c:v>
                </c:pt>
                <c:pt idx="16044">
                  <c:v>7.1539999999999999</c:v>
                </c:pt>
                <c:pt idx="16045">
                  <c:v>7.1539999999999999</c:v>
                </c:pt>
                <c:pt idx="16046">
                  <c:v>7.1539999999999999</c:v>
                </c:pt>
                <c:pt idx="16047">
                  <c:v>7.1539999999999999</c:v>
                </c:pt>
                <c:pt idx="16048">
                  <c:v>7.1539999999999999</c:v>
                </c:pt>
                <c:pt idx="16049">
                  <c:v>7.1550000000000002</c:v>
                </c:pt>
                <c:pt idx="16050">
                  <c:v>7.1539999999999999</c:v>
                </c:pt>
                <c:pt idx="16051">
                  <c:v>7.1550000000000002</c:v>
                </c:pt>
                <c:pt idx="16052">
                  <c:v>7.1539999999999999</c:v>
                </c:pt>
                <c:pt idx="16053">
                  <c:v>7.1539999999999999</c:v>
                </c:pt>
                <c:pt idx="16054">
                  <c:v>7.1539999999999999</c:v>
                </c:pt>
                <c:pt idx="16055">
                  <c:v>7.1539999999999999</c:v>
                </c:pt>
                <c:pt idx="16056">
                  <c:v>7.1539999999999999</c:v>
                </c:pt>
                <c:pt idx="16057">
                  <c:v>7.1539999999999999</c:v>
                </c:pt>
                <c:pt idx="16058">
                  <c:v>7.1550000000000002</c:v>
                </c:pt>
                <c:pt idx="16059">
                  <c:v>7.1539999999999999</c:v>
                </c:pt>
                <c:pt idx="16060">
                  <c:v>7.1550000000000002</c:v>
                </c:pt>
                <c:pt idx="16061">
                  <c:v>7.1550000000000002</c:v>
                </c:pt>
                <c:pt idx="16062">
                  <c:v>7.1550000000000002</c:v>
                </c:pt>
                <c:pt idx="16063">
                  <c:v>7.1550000000000002</c:v>
                </c:pt>
                <c:pt idx="16064">
                  <c:v>7.1550000000000002</c:v>
                </c:pt>
                <c:pt idx="16065">
                  <c:v>7.1550000000000002</c:v>
                </c:pt>
                <c:pt idx="16066">
                  <c:v>7.1550000000000002</c:v>
                </c:pt>
                <c:pt idx="16067">
                  <c:v>7.1550000000000002</c:v>
                </c:pt>
                <c:pt idx="16068">
                  <c:v>7.1550000000000002</c:v>
                </c:pt>
                <c:pt idx="16069">
                  <c:v>7.1550000000000002</c:v>
                </c:pt>
                <c:pt idx="16070">
                  <c:v>7.1539999999999999</c:v>
                </c:pt>
                <c:pt idx="16071">
                  <c:v>7.1539999999999999</c:v>
                </c:pt>
                <c:pt idx="16072">
                  <c:v>7.1539999999999999</c:v>
                </c:pt>
                <c:pt idx="16073">
                  <c:v>7.1550000000000002</c:v>
                </c:pt>
                <c:pt idx="16074">
                  <c:v>7.1550000000000002</c:v>
                </c:pt>
                <c:pt idx="16075">
                  <c:v>7.1550000000000002</c:v>
                </c:pt>
                <c:pt idx="16076">
                  <c:v>7.1539999999999999</c:v>
                </c:pt>
                <c:pt idx="16077">
                  <c:v>7.1539999999999999</c:v>
                </c:pt>
                <c:pt idx="16078">
                  <c:v>7.1539999999999999</c:v>
                </c:pt>
                <c:pt idx="16079">
                  <c:v>7.1539999999999999</c:v>
                </c:pt>
                <c:pt idx="16080">
                  <c:v>7.1539999999999999</c:v>
                </c:pt>
                <c:pt idx="16081">
                  <c:v>7.1539999999999999</c:v>
                </c:pt>
                <c:pt idx="16082">
                  <c:v>7.1539999999999999</c:v>
                </c:pt>
                <c:pt idx="16083">
                  <c:v>7.1539999999999999</c:v>
                </c:pt>
                <c:pt idx="16084">
                  <c:v>7.1550000000000002</c:v>
                </c:pt>
                <c:pt idx="16085">
                  <c:v>7.1539999999999999</c:v>
                </c:pt>
                <c:pt idx="16086">
                  <c:v>7.1539999999999999</c:v>
                </c:pt>
                <c:pt idx="16087">
                  <c:v>7.1550000000000002</c:v>
                </c:pt>
                <c:pt idx="16088">
                  <c:v>7.1539999999999999</c:v>
                </c:pt>
                <c:pt idx="16089">
                  <c:v>7.1539999999999999</c:v>
                </c:pt>
                <c:pt idx="16090">
                  <c:v>7.1539999999999999</c:v>
                </c:pt>
                <c:pt idx="16091">
                  <c:v>7.1539999999999999</c:v>
                </c:pt>
                <c:pt idx="16092">
                  <c:v>7.1539999999999999</c:v>
                </c:pt>
                <c:pt idx="16093">
                  <c:v>7.1539999999999999</c:v>
                </c:pt>
                <c:pt idx="16094">
                  <c:v>7.1539999999999999</c:v>
                </c:pt>
                <c:pt idx="16095">
                  <c:v>7.1539999999999999</c:v>
                </c:pt>
                <c:pt idx="16096">
                  <c:v>7.1539999999999999</c:v>
                </c:pt>
                <c:pt idx="16097">
                  <c:v>7.1539999999999999</c:v>
                </c:pt>
                <c:pt idx="16098">
                  <c:v>7.1539999999999999</c:v>
                </c:pt>
                <c:pt idx="16099">
                  <c:v>7.1539999999999999</c:v>
                </c:pt>
                <c:pt idx="16100">
                  <c:v>7.1539999999999999</c:v>
                </c:pt>
                <c:pt idx="16101">
                  <c:v>7.1539999999999999</c:v>
                </c:pt>
                <c:pt idx="16102">
                  <c:v>7.1539999999999999</c:v>
                </c:pt>
                <c:pt idx="16103">
                  <c:v>7.1529999999999996</c:v>
                </c:pt>
                <c:pt idx="16104">
                  <c:v>7.1539999999999999</c:v>
                </c:pt>
                <c:pt idx="16105">
                  <c:v>7.1529999999999996</c:v>
                </c:pt>
                <c:pt idx="16106">
                  <c:v>7.1550000000000002</c:v>
                </c:pt>
                <c:pt idx="16107">
                  <c:v>7.1539999999999999</c:v>
                </c:pt>
                <c:pt idx="16108">
                  <c:v>7.1539999999999999</c:v>
                </c:pt>
                <c:pt idx="16109">
                  <c:v>7.1539999999999999</c:v>
                </c:pt>
                <c:pt idx="16110">
                  <c:v>7.1539999999999999</c:v>
                </c:pt>
                <c:pt idx="16111">
                  <c:v>7.1539999999999999</c:v>
                </c:pt>
                <c:pt idx="16112">
                  <c:v>7.1539999999999999</c:v>
                </c:pt>
                <c:pt idx="16113">
                  <c:v>7.1550000000000002</c:v>
                </c:pt>
                <c:pt idx="16114">
                  <c:v>7.1539999999999999</c:v>
                </c:pt>
                <c:pt idx="16115">
                  <c:v>7.1529999999999996</c:v>
                </c:pt>
                <c:pt idx="16116">
                  <c:v>7.1529999999999996</c:v>
                </c:pt>
                <c:pt idx="16117">
                  <c:v>7.1539999999999999</c:v>
                </c:pt>
                <c:pt idx="16118">
                  <c:v>7.1539999999999999</c:v>
                </c:pt>
                <c:pt idx="16119">
                  <c:v>7.1539999999999999</c:v>
                </c:pt>
                <c:pt idx="16120">
                  <c:v>7.1539999999999999</c:v>
                </c:pt>
                <c:pt idx="16121">
                  <c:v>7.1539999999999999</c:v>
                </c:pt>
                <c:pt idx="16122">
                  <c:v>7.1539999999999999</c:v>
                </c:pt>
                <c:pt idx="16123">
                  <c:v>7.1539999999999999</c:v>
                </c:pt>
                <c:pt idx="16124">
                  <c:v>7.1539999999999999</c:v>
                </c:pt>
                <c:pt idx="16125">
                  <c:v>7.1539999999999999</c:v>
                </c:pt>
                <c:pt idx="16126">
                  <c:v>7.1539999999999999</c:v>
                </c:pt>
                <c:pt idx="16127">
                  <c:v>7.1539999999999999</c:v>
                </c:pt>
                <c:pt idx="16128">
                  <c:v>7.1539999999999999</c:v>
                </c:pt>
                <c:pt idx="16129">
                  <c:v>7.1539999999999999</c:v>
                </c:pt>
                <c:pt idx="16130">
                  <c:v>7.1529999999999996</c:v>
                </c:pt>
                <c:pt idx="16131">
                  <c:v>7.1529999999999996</c:v>
                </c:pt>
                <c:pt idx="16132">
                  <c:v>7.1539999999999999</c:v>
                </c:pt>
                <c:pt idx="16133">
                  <c:v>7.1539999999999999</c:v>
                </c:pt>
                <c:pt idx="16134">
                  <c:v>7.1539999999999999</c:v>
                </c:pt>
                <c:pt idx="16135">
                  <c:v>7.1539999999999999</c:v>
                </c:pt>
                <c:pt idx="16136">
                  <c:v>7.1539999999999999</c:v>
                </c:pt>
                <c:pt idx="16137">
                  <c:v>7.1539999999999999</c:v>
                </c:pt>
                <c:pt idx="16138">
                  <c:v>7.1529999999999996</c:v>
                </c:pt>
                <c:pt idx="16139">
                  <c:v>7.1539999999999999</c:v>
                </c:pt>
                <c:pt idx="16140">
                  <c:v>7.1529999999999996</c:v>
                </c:pt>
                <c:pt idx="16141">
                  <c:v>7.1539999999999999</c:v>
                </c:pt>
                <c:pt idx="16142">
                  <c:v>7.1529999999999996</c:v>
                </c:pt>
                <c:pt idx="16143">
                  <c:v>7.1539999999999999</c:v>
                </c:pt>
                <c:pt idx="16144">
                  <c:v>7.1529999999999996</c:v>
                </c:pt>
                <c:pt idx="16145">
                  <c:v>7.1539999999999999</c:v>
                </c:pt>
                <c:pt idx="16146">
                  <c:v>7.1539999999999999</c:v>
                </c:pt>
                <c:pt idx="16147">
                  <c:v>7.1539999999999999</c:v>
                </c:pt>
                <c:pt idx="16148">
                  <c:v>7.1529999999999996</c:v>
                </c:pt>
                <c:pt idx="16149">
                  <c:v>7.1529999999999996</c:v>
                </c:pt>
                <c:pt idx="16150">
                  <c:v>7.1529999999999996</c:v>
                </c:pt>
                <c:pt idx="16151">
                  <c:v>7.1539999999999999</c:v>
                </c:pt>
                <c:pt idx="16152">
                  <c:v>7.1529999999999996</c:v>
                </c:pt>
                <c:pt idx="16153">
                  <c:v>7.1539999999999999</c:v>
                </c:pt>
                <c:pt idx="16154">
                  <c:v>7.1529999999999996</c:v>
                </c:pt>
                <c:pt idx="16155">
                  <c:v>7.1529999999999996</c:v>
                </c:pt>
                <c:pt idx="16156">
                  <c:v>7.1539999999999999</c:v>
                </c:pt>
                <c:pt idx="16157">
                  <c:v>7.1529999999999996</c:v>
                </c:pt>
                <c:pt idx="16158">
                  <c:v>7.1529999999999996</c:v>
                </c:pt>
                <c:pt idx="16159">
                  <c:v>7.1529999999999996</c:v>
                </c:pt>
                <c:pt idx="16160">
                  <c:v>7.1529999999999996</c:v>
                </c:pt>
                <c:pt idx="16161">
                  <c:v>7.1529999999999996</c:v>
                </c:pt>
                <c:pt idx="16162">
                  <c:v>7.1529999999999996</c:v>
                </c:pt>
                <c:pt idx="16163">
                  <c:v>7.1529999999999996</c:v>
                </c:pt>
                <c:pt idx="16164">
                  <c:v>7.1529999999999996</c:v>
                </c:pt>
                <c:pt idx="16165">
                  <c:v>7.1529999999999996</c:v>
                </c:pt>
                <c:pt idx="16166">
                  <c:v>7.1529999999999996</c:v>
                </c:pt>
                <c:pt idx="16167">
                  <c:v>7.1529999999999996</c:v>
                </c:pt>
                <c:pt idx="16168">
                  <c:v>7.1529999999999996</c:v>
                </c:pt>
                <c:pt idx="16169">
                  <c:v>7.1529999999999996</c:v>
                </c:pt>
                <c:pt idx="16170">
                  <c:v>7.1529999999999996</c:v>
                </c:pt>
                <c:pt idx="16171">
                  <c:v>7.1529999999999996</c:v>
                </c:pt>
                <c:pt idx="16172">
                  <c:v>7.1529999999999996</c:v>
                </c:pt>
                <c:pt idx="16173">
                  <c:v>7.1529999999999996</c:v>
                </c:pt>
                <c:pt idx="16174">
                  <c:v>7.1529999999999996</c:v>
                </c:pt>
                <c:pt idx="16175">
                  <c:v>7.1529999999999996</c:v>
                </c:pt>
                <c:pt idx="16176">
                  <c:v>7.1539999999999999</c:v>
                </c:pt>
                <c:pt idx="16177">
                  <c:v>7.1529999999999996</c:v>
                </c:pt>
                <c:pt idx="16178">
                  <c:v>7.1529999999999996</c:v>
                </c:pt>
                <c:pt idx="16179">
                  <c:v>7.1529999999999996</c:v>
                </c:pt>
                <c:pt idx="16180">
                  <c:v>7.1529999999999996</c:v>
                </c:pt>
                <c:pt idx="16181">
                  <c:v>7.1529999999999996</c:v>
                </c:pt>
                <c:pt idx="16182">
                  <c:v>7.1529999999999996</c:v>
                </c:pt>
                <c:pt idx="16183">
                  <c:v>7.1520000000000001</c:v>
                </c:pt>
                <c:pt idx="16184">
                  <c:v>7.1529999999999996</c:v>
                </c:pt>
                <c:pt idx="16185">
                  <c:v>7.1529999999999996</c:v>
                </c:pt>
                <c:pt idx="16186">
                  <c:v>7.1529999999999996</c:v>
                </c:pt>
                <c:pt idx="16187">
                  <c:v>7.1529999999999996</c:v>
                </c:pt>
                <c:pt idx="16188">
                  <c:v>7.1529999999999996</c:v>
                </c:pt>
                <c:pt idx="16189">
                  <c:v>7.1529999999999996</c:v>
                </c:pt>
                <c:pt idx="16190">
                  <c:v>7.1529999999999996</c:v>
                </c:pt>
                <c:pt idx="16191">
                  <c:v>7.1529999999999996</c:v>
                </c:pt>
                <c:pt idx="16192">
                  <c:v>7.1529999999999996</c:v>
                </c:pt>
                <c:pt idx="16193">
                  <c:v>7.1529999999999996</c:v>
                </c:pt>
                <c:pt idx="16194">
                  <c:v>7.1529999999999996</c:v>
                </c:pt>
                <c:pt idx="16195">
                  <c:v>7.1529999999999996</c:v>
                </c:pt>
                <c:pt idx="16196">
                  <c:v>7.1529999999999996</c:v>
                </c:pt>
                <c:pt idx="16197">
                  <c:v>7.1520000000000001</c:v>
                </c:pt>
                <c:pt idx="16198">
                  <c:v>7.1529999999999996</c:v>
                </c:pt>
                <c:pt idx="16199">
                  <c:v>7.1529999999999996</c:v>
                </c:pt>
                <c:pt idx="16200">
                  <c:v>7.1520000000000001</c:v>
                </c:pt>
                <c:pt idx="16201">
                  <c:v>7.1520000000000001</c:v>
                </c:pt>
                <c:pt idx="16202">
                  <c:v>7.1529999999999996</c:v>
                </c:pt>
                <c:pt idx="16203">
                  <c:v>7.1529999999999996</c:v>
                </c:pt>
                <c:pt idx="16204">
                  <c:v>7.1520000000000001</c:v>
                </c:pt>
                <c:pt idx="16205">
                  <c:v>7.1520000000000001</c:v>
                </c:pt>
                <c:pt idx="16206">
                  <c:v>7.1520000000000001</c:v>
                </c:pt>
                <c:pt idx="16207">
                  <c:v>7.1529999999999996</c:v>
                </c:pt>
                <c:pt idx="16208">
                  <c:v>7.1529999999999996</c:v>
                </c:pt>
                <c:pt idx="16209">
                  <c:v>7.1529999999999996</c:v>
                </c:pt>
                <c:pt idx="16210">
                  <c:v>7.1529999999999996</c:v>
                </c:pt>
                <c:pt idx="16211">
                  <c:v>7.1520000000000001</c:v>
                </c:pt>
                <c:pt idx="16212">
                  <c:v>7.1529999999999996</c:v>
                </c:pt>
                <c:pt idx="16213">
                  <c:v>7.1520000000000001</c:v>
                </c:pt>
                <c:pt idx="16214">
                  <c:v>7.1520000000000001</c:v>
                </c:pt>
                <c:pt idx="16215">
                  <c:v>7.1520000000000001</c:v>
                </c:pt>
                <c:pt idx="16216">
                  <c:v>7.1520000000000001</c:v>
                </c:pt>
                <c:pt idx="16217">
                  <c:v>7.1520000000000001</c:v>
                </c:pt>
                <c:pt idx="16218">
                  <c:v>7.1520000000000001</c:v>
                </c:pt>
                <c:pt idx="16219">
                  <c:v>7.1520000000000001</c:v>
                </c:pt>
                <c:pt idx="16220">
                  <c:v>7.1520000000000001</c:v>
                </c:pt>
                <c:pt idx="16221">
                  <c:v>7.1520000000000001</c:v>
                </c:pt>
                <c:pt idx="16222">
                  <c:v>7.1520000000000001</c:v>
                </c:pt>
                <c:pt idx="16223">
                  <c:v>7.1520000000000001</c:v>
                </c:pt>
                <c:pt idx="16224">
                  <c:v>7.1520000000000001</c:v>
                </c:pt>
                <c:pt idx="16225">
                  <c:v>7.1520000000000001</c:v>
                </c:pt>
                <c:pt idx="16226">
                  <c:v>7.1509999999999998</c:v>
                </c:pt>
                <c:pt idx="16227">
                  <c:v>7.1520000000000001</c:v>
                </c:pt>
                <c:pt idx="16228">
                  <c:v>7.1520000000000001</c:v>
                </c:pt>
                <c:pt idx="16229">
                  <c:v>7.1520000000000001</c:v>
                </c:pt>
                <c:pt idx="16230">
                  <c:v>7.1520000000000001</c:v>
                </c:pt>
                <c:pt idx="16231">
                  <c:v>7.1520000000000001</c:v>
                </c:pt>
                <c:pt idx="16232">
                  <c:v>7.1520000000000001</c:v>
                </c:pt>
                <c:pt idx="16233">
                  <c:v>7.1509999999999998</c:v>
                </c:pt>
                <c:pt idx="16234">
                  <c:v>7.1509999999999998</c:v>
                </c:pt>
                <c:pt idx="16235">
                  <c:v>7.1509999999999998</c:v>
                </c:pt>
                <c:pt idx="16236">
                  <c:v>7.1509999999999998</c:v>
                </c:pt>
                <c:pt idx="16237">
                  <c:v>7.1520000000000001</c:v>
                </c:pt>
                <c:pt idx="16238">
                  <c:v>7.1520000000000001</c:v>
                </c:pt>
                <c:pt idx="16239">
                  <c:v>7.1520000000000001</c:v>
                </c:pt>
                <c:pt idx="16240">
                  <c:v>7.1509999999999998</c:v>
                </c:pt>
                <c:pt idx="16241">
                  <c:v>7.1509999999999998</c:v>
                </c:pt>
                <c:pt idx="16242">
                  <c:v>7.1520000000000001</c:v>
                </c:pt>
                <c:pt idx="16243">
                  <c:v>7.1509999999999998</c:v>
                </c:pt>
                <c:pt idx="16244">
                  <c:v>7.1509999999999998</c:v>
                </c:pt>
                <c:pt idx="16245">
                  <c:v>7.1520000000000001</c:v>
                </c:pt>
                <c:pt idx="16246">
                  <c:v>7.1520000000000001</c:v>
                </c:pt>
                <c:pt idx="16247">
                  <c:v>7.1520000000000001</c:v>
                </c:pt>
                <c:pt idx="16248">
                  <c:v>7.1520000000000001</c:v>
                </c:pt>
                <c:pt idx="16249">
                  <c:v>7.1509999999999998</c:v>
                </c:pt>
                <c:pt idx="16250">
                  <c:v>7.1520000000000001</c:v>
                </c:pt>
                <c:pt idx="16251">
                  <c:v>7.1509999999999998</c:v>
                </c:pt>
                <c:pt idx="16252">
                  <c:v>7.1509999999999998</c:v>
                </c:pt>
                <c:pt idx="16253">
                  <c:v>7.1509999999999998</c:v>
                </c:pt>
                <c:pt idx="16254">
                  <c:v>7.1509999999999998</c:v>
                </c:pt>
                <c:pt idx="16255">
                  <c:v>7.1509999999999998</c:v>
                </c:pt>
                <c:pt idx="16256">
                  <c:v>7.1509999999999998</c:v>
                </c:pt>
                <c:pt idx="16257">
                  <c:v>7.1509999999999998</c:v>
                </c:pt>
                <c:pt idx="16258">
                  <c:v>7.1509999999999998</c:v>
                </c:pt>
                <c:pt idx="16259">
                  <c:v>7.1509999999999998</c:v>
                </c:pt>
                <c:pt idx="16260">
                  <c:v>7.1509999999999998</c:v>
                </c:pt>
                <c:pt idx="16261">
                  <c:v>7.1509999999999998</c:v>
                </c:pt>
                <c:pt idx="16262">
                  <c:v>7.1509999999999998</c:v>
                </c:pt>
                <c:pt idx="16263">
                  <c:v>7.1509999999999998</c:v>
                </c:pt>
                <c:pt idx="16264">
                  <c:v>7.1509999999999998</c:v>
                </c:pt>
                <c:pt idx="16265">
                  <c:v>7.1509999999999998</c:v>
                </c:pt>
                <c:pt idx="16266">
                  <c:v>7.1509999999999998</c:v>
                </c:pt>
                <c:pt idx="16267">
                  <c:v>7.1509999999999998</c:v>
                </c:pt>
                <c:pt idx="16268">
                  <c:v>7.1509999999999998</c:v>
                </c:pt>
                <c:pt idx="16269">
                  <c:v>7.1509999999999998</c:v>
                </c:pt>
                <c:pt idx="16270">
                  <c:v>7.1509999999999998</c:v>
                </c:pt>
                <c:pt idx="16271">
                  <c:v>7.1509999999999998</c:v>
                </c:pt>
                <c:pt idx="16272">
                  <c:v>7.1509999999999998</c:v>
                </c:pt>
                <c:pt idx="16273">
                  <c:v>7.1509999999999998</c:v>
                </c:pt>
                <c:pt idx="16274">
                  <c:v>7.1509999999999998</c:v>
                </c:pt>
                <c:pt idx="16275">
                  <c:v>7.15</c:v>
                </c:pt>
                <c:pt idx="16276">
                  <c:v>7.1509999999999998</c:v>
                </c:pt>
                <c:pt idx="16277">
                  <c:v>7.15</c:v>
                </c:pt>
                <c:pt idx="16278">
                  <c:v>7.1509999999999998</c:v>
                </c:pt>
                <c:pt idx="16279">
                  <c:v>7.15</c:v>
                </c:pt>
                <c:pt idx="16280">
                  <c:v>7.1509999999999998</c:v>
                </c:pt>
                <c:pt idx="16281">
                  <c:v>7.15</c:v>
                </c:pt>
                <c:pt idx="16282">
                  <c:v>7.1509999999999998</c:v>
                </c:pt>
                <c:pt idx="16283">
                  <c:v>7.15</c:v>
                </c:pt>
                <c:pt idx="16284">
                  <c:v>7.15</c:v>
                </c:pt>
                <c:pt idx="16285">
                  <c:v>7.15</c:v>
                </c:pt>
                <c:pt idx="16286">
                  <c:v>7.15</c:v>
                </c:pt>
                <c:pt idx="16287">
                  <c:v>7.1509999999999998</c:v>
                </c:pt>
                <c:pt idx="16288">
                  <c:v>7.15</c:v>
                </c:pt>
                <c:pt idx="16289">
                  <c:v>7.15</c:v>
                </c:pt>
                <c:pt idx="16290">
                  <c:v>7.1509999999999998</c:v>
                </c:pt>
                <c:pt idx="16291">
                  <c:v>7.15</c:v>
                </c:pt>
                <c:pt idx="16292">
                  <c:v>7.15</c:v>
                </c:pt>
                <c:pt idx="16293">
                  <c:v>7.15</c:v>
                </c:pt>
                <c:pt idx="16294">
                  <c:v>7.15</c:v>
                </c:pt>
                <c:pt idx="16295">
                  <c:v>7.1509999999999998</c:v>
                </c:pt>
                <c:pt idx="16296">
                  <c:v>7.15</c:v>
                </c:pt>
                <c:pt idx="16297">
                  <c:v>7.15</c:v>
                </c:pt>
                <c:pt idx="16298">
                  <c:v>7.15</c:v>
                </c:pt>
                <c:pt idx="16299">
                  <c:v>7.15</c:v>
                </c:pt>
                <c:pt idx="16300">
                  <c:v>7.1509999999999998</c:v>
                </c:pt>
                <c:pt idx="16301">
                  <c:v>7.1509999999999998</c:v>
                </c:pt>
                <c:pt idx="16302">
                  <c:v>7.1509999999999998</c:v>
                </c:pt>
                <c:pt idx="16303">
                  <c:v>7.15</c:v>
                </c:pt>
                <c:pt idx="16304">
                  <c:v>7.15</c:v>
                </c:pt>
                <c:pt idx="16305">
                  <c:v>7.15</c:v>
                </c:pt>
                <c:pt idx="16306">
                  <c:v>7.15</c:v>
                </c:pt>
                <c:pt idx="16307">
                  <c:v>7.15</c:v>
                </c:pt>
                <c:pt idx="16308">
                  <c:v>7.15</c:v>
                </c:pt>
                <c:pt idx="16309">
                  <c:v>7.15</c:v>
                </c:pt>
                <c:pt idx="16310">
                  <c:v>7.15</c:v>
                </c:pt>
                <c:pt idx="16311">
                  <c:v>7.15</c:v>
                </c:pt>
                <c:pt idx="16312">
                  <c:v>7.15</c:v>
                </c:pt>
                <c:pt idx="16313">
                  <c:v>7.15</c:v>
                </c:pt>
                <c:pt idx="16314">
                  <c:v>7.15</c:v>
                </c:pt>
                <c:pt idx="16315">
                  <c:v>7.149</c:v>
                </c:pt>
                <c:pt idx="16316">
                  <c:v>7.15</c:v>
                </c:pt>
                <c:pt idx="16317">
                  <c:v>7.15</c:v>
                </c:pt>
                <c:pt idx="16318">
                  <c:v>7.15</c:v>
                </c:pt>
                <c:pt idx="16319">
                  <c:v>7.15</c:v>
                </c:pt>
                <c:pt idx="16320">
                  <c:v>7.15</c:v>
                </c:pt>
                <c:pt idx="16321">
                  <c:v>7.15</c:v>
                </c:pt>
                <c:pt idx="16322">
                  <c:v>7.15</c:v>
                </c:pt>
                <c:pt idx="16323">
                  <c:v>7.15</c:v>
                </c:pt>
                <c:pt idx="16324">
                  <c:v>7.15</c:v>
                </c:pt>
                <c:pt idx="16325">
                  <c:v>7.15</c:v>
                </c:pt>
                <c:pt idx="16326">
                  <c:v>7.15</c:v>
                </c:pt>
                <c:pt idx="16327">
                  <c:v>7.15</c:v>
                </c:pt>
                <c:pt idx="16328">
                  <c:v>7.15</c:v>
                </c:pt>
                <c:pt idx="16329">
                  <c:v>7.15</c:v>
                </c:pt>
                <c:pt idx="16330">
                  <c:v>7.15</c:v>
                </c:pt>
                <c:pt idx="16331">
                  <c:v>7.15</c:v>
                </c:pt>
                <c:pt idx="16332">
                  <c:v>7.149</c:v>
                </c:pt>
                <c:pt idx="16333">
                  <c:v>7.15</c:v>
                </c:pt>
                <c:pt idx="16334">
                  <c:v>7.149</c:v>
                </c:pt>
                <c:pt idx="16335">
                  <c:v>7.15</c:v>
                </c:pt>
                <c:pt idx="16336">
                  <c:v>7.149</c:v>
                </c:pt>
                <c:pt idx="16337">
                  <c:v>7.149</c:v>
                </c:pt>
                <c:pt idx="16338">
                  <c:v>7.15</c:v>
                </c:pt>
                <c:pt idx="16339">
                  <c:v>7.149</c:v>
                </c:pt>
                <c:pt idx="16340">
                  <c:v>7.15</c:v>
                </c:pt>
                <c:pt idx="16341">
                  <c:v>7.149</c:v>
                </c:pt>
                <c:pt idx="16342">
                  <c:v>7.149</c:v>
                </c:pt>
                <c:pt idx="16343">
                  <c:v>7.149</c:v>
                </c:pt>
                <c:pt idx="16344">
                  <c:v>7.149</c:v>
                </c:pt>
                <c:pt idx="16345">
                  <c:v>7.149</c:v>
                </c:pt>
                <c:pt idx="16346">
                  <c:v>7.149</c:v>
                </c:pt>
                <c:pt idx="16347">
                  <c:v>7.15</c:v>
                </c:pt>
                <c:pt idx="16348">
                  <c:v>7.149</c:v>
                </c:pt>
                <c:pt idx="16349">
                  <c:v>7.149</c:v>
                </c:pt>
                <c:pt idx="16350">
                  <c:v>7.149</c:v>
                </c:pt>
                <c:pt idx="16351">
                  <c:v>7.149</c:v>
                </c:pt>
                <c:pt idx="16352">
                  <c:v>7.149</c:v>
                </c:pt>
                <c:pt idx="16353">
                  <c:v>7.149</c:v>
                </c:pt>
                <c:pt idx="16354">
                  <c:v>7.149</c:v>
                </c:pt>
                <c:pt idx="16355">
                  <c:v>7.149</c:v>
                </c:pt>
                <c:pt idx="16356">
                  <c:v>7.149</c:v>
                </c:pt>
                <c:pt idx="16357">
                  <c:v>7.149</c:v>
                </c:pt>
                <c:pt idx="16358">
                  <c:v>7.149</c:v>
                </c:pt>
                <c:pt idx="16359">
                  <c:v>7.149</c:v>
                </c:pt>
                <c:pt idx="16360">
                  <c:v>7.149</c:v>
                </c:pt>
                <c:pt idx="16361">
                  <c:v>7.149</c:v>
                </c:pt>
                <c:pt idx="16362">
                  <c:v>7.149</c:v>
                </c:pt>
                <c:pt idx="16363">
                  <c:v>7.149</c:v>
                </c:pt>
                <c:pt idx="16364">
                  <c:v>7.15</c:v>
                </c:pt>
                <c:pt idx="16365">
                  <c:v>7.149</c:v>
                </c:pt>
                <c:pt idx="16366">
                  <c:v>7.149</c:v>
                </c:pt>
                <c:pt idx="16367">
                  <c:v>7.149</c:v>
                </c:pt>
                <c:pt idx="16368">
                  <c:v>7.149</c:v>
                </c:pt>
                <c:pt idx="16369">
                  <c:v>7.149</c:v>
                </c:pt>
                <c:pt idx="16370">
                  <c:v>7.149</c:v>
                </c:pt>
                <c:pt idx="16371">
                  <c:v>7.149</c:v>
                </c:pt>
                <c:pt idx="16372">
                  <c:v>7.149</c:v>
                </c:pt>
                <c:pt idx="16373">
                  <c:v>7.149</c:v>
                </c:pt>
                <c:pt idx="16374">
                  <c:v>7.1479999999999997</c:v>
                </c:pt>
                <c:pt idx="16375">
                  <c:v>7.149</c:v>
                </c:pt>
                <c:pt idx="16376">
                  <c:v>7.149</c:v>
                </c:pt>
                <c:pt idx="16377">
                  <c:v>7.1479999999999997</c:v>
                </c:pt>
                <c:pt idx="16378">
                  <c:v>7.149</c:v>
                </c:pt>
                <c:pt idx="16379">
                  <c:v>7.149</c:v>
                </c:pt>
                <c:pt idx="16380">
                  <c:v>7.149</c:v>
                </c:pt>
                <c:pt idx="16381">
                  <c:v>7.149</c:v>
                </c:pt>
                <c:pt idx="16382">
                  <c:v>7.149</c:v>
                </c:pt>
                <c:pt idx="16383">
                  <c:v>7.149</c:v>
                </c:pt>
                <c:pt idx="16384">
                  <c:v>7.149</c:v>
                </c:pt>
                <c:pt idx="16385">
                  <c:v>7.1479999999999997</c:v>
                </c:pt>
                <c:pt idx="16386">
                  <c:v>7.149</c:v>
                </c:pt>
                <c:pt idx="16387">
                  <c:v>7.149</c:v>
                </c:pt>
                <c:pt idx="16388">
                  <c:v>7.149</c:v>
                </c:pt>
                <c:pt idx="16389">
                  <c:v>7.149</c:v>
                </c:pt>
                <c:pt idx="16390">
                  <c:v>7.149</c:v>
                </c:pt>
                <c:pt idx="16391">
                  <c:v>7.149</c:v>
                </c:pt>
                <c:pt idx="16392">
                  <c:v>7.1479999999999997</c:v>
                </c:pt>
                <c:pt idx="16393">
                  <c:v>7.1479999999999997</c:v>
                </c:pt>
                <c:pt idx="16394">
                  <c:v>7.149</c:v>
                </c:pt>
                <c:pt idx="16395">
                  <c:v>7.1479999999999997</c:v>
                </c:pt>
                <c:pt idx="16396">
                  <c:v>7.149</c:v>
                </c:pt>
                <c:pt idx="16397">
                  <c:v>7.149</c:v>
                </c:pt>
                <c:pt idx="16398">
                  <c:v>7.149</c:v>
                </c:pt>
                <c:pt idx="16399">
                  <c:v>7.149</c:v>
                </c:pt>
                <c:pt idx="16400">
                  <c:v>7.1479999999999997</c:v>
                </c:pt>
                <c:pt idx="16401">
                  <c:v>7.149</c:v>
                </c:pt>
                <c:pt idx="16402">
                  <c:v>7.1479999999999997</c:v>
                </c:pt>
                <c:pt idx="16403">
                  <c:v>7.149</c:v>
                </c:pt>
                <c:pt idx="16404">
                  <c:v>7.1479999999999997</c:v>
                </c:pt>
                <c:pt idx="16405">
                  <c:v>7.149</c:v>
                </c:pt>
                <c:pt idx="16406">
                  <c:v>7.1479999999999997</c:v>
                </c:pt>
                <c:pt idx="16407">
                  <c:v>7.1479999999999997</c:v>
                </c:pt>
                <c:pt idx="16408">
                  <c:v>7.149</c:v>
                </c:pt>
                <c:pt idx="16409">
                  <c:v>7.149</c:v>
                </c:pt>
                <c:pt idx="16410">
                  <c:v>7.149</c:v>
                </c:pt>
                <c:pt idx="16411">
                  <c:v>7.1479999999999997</c:v>
                </c:pt>
                <c:pt idx="16412">
                  <c:v>7.149</c:v>
                </c:pt>
                <c:pt idx="16413">
                  <c:v>7.1479999999999997</c:v>
                </c:pt>
                <c:pt idx="16414">
                  <c:v>7.149</c:v>
                </c:pt>
                <c:pt idx="16415">
                  <c:v>7.149</c:v>
                </c:pt>
                <c:pt idx="16416">
                  <c:v>7.1479999999999997</c:v>
                </c:pt>
                <c:pt idx="16417">
                  <c:v>7.1479999999999997</c:v>
                </c:pt>
                <c:pt idx="16418">
                  <c:v>7.149</c:v>
                </c:pt>
                <c:pt idx="16419">
                  <c:v>7.1479999999999997</c:v>
                </c:pt>
                <c:pt idx="16420">
                  <c:v>7.149</c:v>
                </c:pt>
                <c:pt idx="16421">
                  <c:v>7.1479999999999997</c:v>
                </c:pt>
                <c:pt idx="16422">
                  <c:v>7.1479999999999997</c:v>
                </c:pt>
                <c:pt idx="16423">
                  <c:v>7.149</c:v>
                </c:pt>
                <c:pt idx="16424">
                  <c:v>7.1479999999999997</c:v>
                </c:pt>
                <c:pt idx="16425">
                  <c:v>7.1479999999999997</c:v>
                </c:pt>
                <c:pt idx="16426">
                  <c:v>7.1479999999999997</c:v>
                </c:pt>
                <c:pt idx="16427">
                  <c:v>7.1479999999999997</c:v>
                </c:pt>
                <c:pt idx="16428">
                  <c:v>7.1479999999999997</c:v>
                </c:pt>
                <c:pt idx="16429">
                  <c:v>7.149</c:v>
                </c:pt>
                <c:pt idx="16430">
                  <c:v>7.1479999999999997</c:v>
                </c:pt>
                <c:pt idx="16431">
                  <c:v>7.1479999999999997</c:v>
                </c:pt>
                <c:pt idx="16432">
                  <c:v>7.1479999999999997</c:v>
                </c:pt>
                <c:pt idx="16433">
                  <c:v>7.1479999999999997</c:v>
                </c:pt>
                <c:pt idx="16434">
                  <c:v>7.149</c:v>
                </c:pt>
                <c:pt idx="16435">
                  <c:v>7.1479999999999997</c:v>
                </c:pt>
                <c:pt idx="16436">
                  <c:v>7.1479999999999997</c:v>
                </c:pt>
                <c:pt idx="16437">
                  <c:v>7.1479999999999997</c:v>
                </c:pt>
                <c:pt idx="16438">
                  <c:v>7.1479999999999997</c:v>
                </c:pt>
                <c:pt idx="16439">
                  <c:v>7.1479999999999997</c:v>
                </c:pt>
                <c:pt idx="16440">
                  <c:v>7.1479999999999997</c:v>
                </c:pt>
                <c:pt idx="16441">
                  <c:v>7.1479999999999997</c:v>
                </c:pt>
                <c:pt idx="16442">
                  <c:v>7.1479999999999997</c:v>
                </c:pt>
                <c:pt idx="16443">
                  <c:v>7.1479999999999997</c:v>
                </c:pt>
                <c:pt idx="16444">
                  <c:v>7.1479999999999997</c:v>
                </c:pt>
                <c:pt idx="16445">
                  <c:v>7.1479999999999997</c:v>
                </c:pt>
                <c:pt idx="16446">
                  <c:v>7.1479999999999997</c:v>
                </c:pt>
                <c:pt idx="16447">
                  <c:v>7.1479999999999997</c:v>
                </c:pt>
                <c:pt idx="16448">
                  <c:v>7.1479999999999997</c:v>
                </c:pt>
                <c:pt idx="16449">
                  <c:v>7.1479999999999997</c:v>
                </c:pt>
                <c:pt idx="16450">
                  <c:v>7.1479999999999997</c:v>
                </c:pt>
                <c:pt idx="16451">
                  <c:v>7.1479999999999997</c:v>
                </c:pt>
                <c:pt idx="16452">
                  <c:v>7.1479999999999997</c:v>
                </c:pt>
                <c:pt idx="16453">
                  <c:v>7.1479999999999997</c:v>
                </c:pt>
                <c:pt idx="16454">
                  <c:v>7.1479999999999997</c:v>
                </c:pt>
                <c:pt idx="16455">
                  <c:v>7.1479999999999997</c:v>
                </c:pt>
                <c:pt idx="16456">
                  <c:v>7.1479999999999997</c:v>
                </c:pt>
                <c:pt idx="16457">
                  <c:v>7.1479999999999997</c:v>
                </c:pt>
                <c:pt idx="16458">
                  <c:v>7.1479999999999997</c:v>
                </c:pt>
                <c:pt idx="16459">
                  <c:v>7.1479999999999997</c:v>
                </c:pt>
                <c:pt idx="16460">
                  <c:v>7.1479999999999997</c:v>
                </c:pt>
                <c:pt idx="16461">
                  <c:v>7.1479999999999997</c:v>
                </c:pt>
                <c:pt idx="16462">
                  <c:v>7.1479999999999997</c:v>
                </c:pt>
                <c:pt idx="16463">
                  <c:v>7.1479999999999997</c:v>
                </c:pt>
                <c:pt idx="16464">
                  <c:v>7.1479999999999997</c:v>
                </c:pt>
                <c:pt idx="16465">
                  <c:v>7.1479999999999997</c:v>
                </c:pt>
                <c:pt idx="16466">
                  <c:v>7.1470000000000002</c:v>
                </c:pt>
                <c:pt idx="16467">
                  <c:v>7.1479999999999997</c:v>
                </c:pt>
                <c:pt idx="16468">
                  <c:v>7.1470000000000002</c:v>
                </c:pt>
                <c:pt idx="16469">
                  <c:v>7.1479999999999997</c:v>
                </c:pt>
                <c:pt idx="16470">
                  <c:v>7.1479999999999997</c:v>
                </c:pt>
                <c:pt idx="16471">
                  <c:v>7.1470000000000002</c:v>
                </c:pt>
                <c:pt idx="16472">
                  <c:v>7.1479999999999997</c:v>
                </c:pt>
                <c:pt idx="16473">
                  <c:v>7.1470000000000002</c:v>
                </c:pt>
                <c:pt idx="16474">
                  <c:v>7.1470000000000002</c:v>
                </c:pt>
                <c:pt idx="16475">
                  <c:v>7.1479999999999997</c:v>
                </c:pt>
                <c:pt idx="16476">
                  <c:v>7.1470000000000002</c:v>
                </c:pt>
                <c:pt idx="16477">
                  <c:v>7.1479999999999997</c:v>
                </c:pt>
                <c:pt idx="16478">
                  <c:v>7.1479999999999997</c:v>
                </c:pt>
                <c:pt idx="16479">
                  <c:v>7.1479999999999997</c:v>
                </c:pt>
                <c:pt idx="16480">
                  <c:v>7.1479999999999997</c:v>
                </c:pt>
                <c:pt idx="16481">
                  <c:v>7.1470000000000002</c:v>
                </c:pt>
                <c:pt idx="16482">
                  <c:v>7.1479999999999997</c:v>
                </c:pt>
                <c:pt idx="16483">
                  <c:v>7.1479999999999997</c:v>
                </c:pt>
                <c:pt idx="16484">
                  <c:v>7.1470000000000002</c:v>
                </c:pt>
                <c:pt idx="16485">
                  <c:v>7.1479999999999997</c:v>
                </c:pt>
                <c:pt idx="16486">
                  <c:v>7.1470000000000002</c:v>
                </c:pt>
                <c:pt idx="16487">
                  <c:v>7.1470000000000002</c:v>
                </c:pt>
                <c:pt idx="16488">
                  <c:v>7.1479999999999997</c:v>
                </c:pt>
                <c:pt idx="16489">
                  <c:v>7.1479999999999997</c:v>
                </c:pt>
                <c:pt idx="16490">
                  <c:v>7.1479999999999997</c:v>
                </c:pt>
                <c:pt idx="16491">
                  <c:v>7.1470000000000002</c:v>
                </c:pt>
                <c:pt idx="16492">
                  <c:v>7.1479999999999997</c:v>
                </c:pt>
                <c:pt idx="16493">
                  <c:v>7.1479999999999997</c:v>
                </c:pt>
                <c:pt idx="16494">
                  <c:v>7.1479999999999997</c:v>
                </c:pt>
                <c:pt idx="16495">
                  <c:v>7.1479999999999997</c:v>
                </c:pt>
                <c:pt idx="16496">
                  <c:v>7.1479999999999997</c:v>
                </c:pt>
                <c:pt idx="16497">
                  <c:v>7.1470000000000002</c:v>
                </c:pt>
                <c:pt idx="16498">
                  <c:v>7.1479999999999997</c:v>
                </c:pt>
                <c:pt idx="16499">
                  <c:v>7.1470000000000002</c:v>
                </c:pt>
                <c:pt idx="16500">
                  <c:v>7.1479999999999997</c:v>
                </c:pt>
                <c:pt idx="16501">
                  <c:v>7.1479999999999997</c:v>
                </c:pt>
                <c:pt idx="16502">
                  <c:v>7.1479999999999997</c:v>
                </c:pt>
                <c:pt idx="16503">
                  <c:v>7.1479999999999997</c:v>
                </c:pt>
                <c:pt idx="16504">
                  <c:v>7.1479999999999997</c:v>
                </c:pt>
                <c:pt idx="16505">
                  <c:v>7.1470000000000002</c:v>
                </c:pt>
                <c:pt idx="16506">
                  <c:v>7.1470000000000002</c:v>
                </c:pt>
                <c:pt idx="16507">
                  <c:v>7.1479999999999997</c:v>
                </c:pt>
                <c:pt idx="16508">
                  <c:v>7.1470000000000002</c:v>
                </c:pt>
                <c:pt idx="16509">
                  <c:v>7.1479999999999997</c:v>
                </c:pt>
                <c:pt idx="16510">
                  <c:v>7.1470000000000002</c:v>
                </c:pt>
                <c:pt idx="16511">
                  <c:v>7.1479999999999997</c:v>
                </c:pt>
                <c:pt idx="16512">
                  <c:v>7.1470000000000002</c:v>
                </c:pt>
                <c:pt idx="16513">
                  <c:v>7.1470000000000002</c:v>
                </c:pt>
                <c:pt idx="16514">
                  <c:v>7.1470000000000002</c:v>
                </c:pt>
                <c:pt idx="16515">
                  <c:v>7.1470000000000002</c:v>
                </c:pt>
                <c:pt idx="16516">
                  <c:v>7.1470000000000002</c:v>
                </c:pt>
                <c:pt idx="16517">
                  <c:v>7.1470000000000002</c:v>
                </c:pt>
                <c:pt idx="16518">
                  <c:v>7.1470000000000002</c:v>
                </c:pt>
                <c:pt idx="16519">
                  <c:v>7.1470000000000002</c:v>
                </c:pt>
                <c:pt idx="16520">
                  <c:v>7.1470000000000002</c:v>
                </c:pt>
                <c:pt idx="16521">
                  <c:v>7.1470000000000002</c:v>
                </c:pt>
                <c:pt idx="16522">
                  <c:v>7.1470000000000002</c:v>
                </c:pt>
                <c:pt idx="16523">
                  <c:v>7.1470000000000002</c:v>
                </c:pt>
                <c:pt idx="16524">
                  <c:v>7.1470000000000002</c:v>
                </c:pt>
                <c:pt idx="16525">
                  <c:v>7.1470000000000002</c:v>
                </c:pt>
                <c:pt idx="16526">
                  <c:v>7.1470000000000002</c:v>
                </c:pt>
                <c:pt idx="16527">
                  <c:v>7.1470000000000002</c:v>
                </c:pt>
                <c:pt idx="16528">
                  <c:v>7.1470000000000002</c:v>
                </c:pt>
                <c:pt idx="16529">
                  <c:v>7.1470000000000002</c:v>
                </c:pt>
                <c:pt idx="16530">
                  <c:v>7.1470000000000002</c:v>
                </c:pt>
                <c:pt idx="16531">
                  <c:v>7.1470000000000002</c:v>
                </c:pt>
                <c:pt idx="16532">
                  <c:v>7.1470000000000002</c:v>
                </c:pt>
                <c:pt idx="16533">
                  <c:v>7.1470000000000002</c:v>
                </c:pt>
                <c:pt idx="16534">
                  <c:v>7.1470000000000002</c:v>
                </c:pt>
                <c:pt idx="16535">
                  <c:v>7.1470000000000002</c:v>
                </c:pt>
                <c:pt idx="16536">
                  <c:v>7.1470000000000002</c:v>
                </c:pt>
                <c:pt idx="16537">
                  <c:v>7.1470000000000002</c:v>
                </c:pt>
                <c:pt idx="16538">
                  <c:v>7.1470000000000002</c:v>
                </c:pt>
                <c:pt idx="16539">
                  <c:v>7.1470000000000002</c:v>
                </c:pt>
                <c:pt idx="16540">
                  <c:v>7.1470000000000002</c:v>
                </c:pt>
                <c:pt idx="16541">
                  <c:v>7.1470000000000002</c:v>
                </c:pt>
                <c:pt idx="16542">
                  <c:v>7.1459999999999999</c:v>
                </c:pt>
                <c:pt idx="16543">
                  <c:v>7.1470000000000002</c:v>
                </c:pt>
                <c:pt idx="16544">
                  <c:v>7.1470000000000002</c:v>
                </c:pt>
                <c:pt idx="16545">
                  <c:v>7.1470000000000002</c:v>
                </c:pt>
                <c:pt idx="16546">
                  <c:v>7.1470000000000002</c:v>
                </c:pt>
                <c:pt idx="16547">
                  <c:v>7.1470000000000002</c:v>
                </c:pt>
                <c:pt idx="16548">
                  <c:v>7.1459999999999999</c:v>
                </c:pt>
                <c:pt idx="16549">
                  <c:v>7.1470000000000002</c:v>
                </c:pt>
                <c:pt idx="16550">
                  <c:v>7.1470000000000002</c:v>
                </c:pt>
                <c:pt idx="16551">
                  <c:v>7.1459999999999999</c:v>
                </c:pt>
                <c:pt idx="16552">
                  <c:v>7.1470000000000002</c:v>
                </c:pt>
                <c:pt idx="16553">
                  <c:v>7.1470000000000002</c:v>
                </c:pt>
                <c:pt idx="16554">
                  <c:v>7.1470000000000002</c:v>
                </c:pt>
                <c:pt idx="16555">
                  <c:v>7.1459999999999999</c:v>
                </c:pt>
                <c:pt idx="16556">
                  <c:v>7.1470000000000002</c:v>
                </c:pt>
                <c:pt idx="16557">
                  <c:v>7.1459999999999999</c:v>
                </c:pt>
                <c:pt idx="16558">
                  <c:v>7.1459999999999999</c:v>
                </c:pt>
                <c:pt idx="16559">
                  <c:v>7.1470000000000002</c:v>
                </c:pt>
                <c:pt idx="16560">
                  <c:v>7.1459999999999999</c:v>
                </c:pt>
                <c:pt idx="16561">
                  <c:v>7.1459999999999999</c:v>
                </c:pt>
                <c:pt idx="16562">
                  <c:v>7.1459999999999999</c:v>
                </c:pt>
                <c:pt idx="16563">
                  <c:v>7.1459999999999999</c:v>
                </c:pt>
                <c:pt idx="16564">
                  <c:v>7.1459999999999999</c:v>
                </c:pt>
                <c:pt idx="16565">
                  <c:v>7.1459999999999999</c:v>
                </c:pt>
                <c:pt idx="16566">
                  <c:v>7.1459999999999999</c:v>
                </c:pt>
                <c:pt idx="16567">
                  <c:v>7.1470000000000002</c:v>
                </c:pt>
                <c:pt idx="16568">
                  <c:v>7.1470000000000002</c:v>
                </c:pt>
                <c:pt idx="16569">
                  <c:v>7.1459999999999999</c:v>
                </c:pt>
                <c:pt idx="16570">
                  <c:v>7.1459999999999999</c:v>
                </c:pt>
                <c:pt idx="16571">
                  <c:v>7.1470000000000002</c:v>
                </c:pt>
                <c:pt idx="16572">
                  <c:v>7.1470000000000002</c:v>
                </c:pt>
                <c:pt idx="16573">
                  <c:v>7.1470000000000002</c:v>
                </c:pt>
                <c:pt idx="16574">
                  <c:v>7.1459999999999999</c:v>
                </c:pt>
                <c:pt idx="16575">
                  <c:v>7.1459999999999999</c:v>
                </c:pt>
                <c:pt idx="16576">
                  <c:v>7.1470000000000002</c:v>
                </c:pt>
                <c:pt idx="16577">
                  <c:v>7.1459999999999999</c:v>
                </c:pt>
                <c:pt idx="16578">
                  <c:v>7.1459999999999999</c:v>
                </c:pt>
                <c:pt idx="16579">
                  <c:v>7.1459999999999999</c:v>
                </c:pt>
                <c:pt idx="16580">
                  <c:v>7.1459999999999999</c:v>
                </c:pt>
                <c:pt idx="16581">
                  <c:v>7.1459999999999999</c:v>
                </c:pt>
                <c:pt idx="16582">
                  <c:v>7.1459999999999999</c:v>
                </c:pt>
                <c:pt idx="16583">
                  <c:v>7.1459999999999999</c:v>
                </c:pt>
                <c:pt idx="16584">
                  <c:v>7.1459999999999999</c:v>
                </c:pt>
                <c:pt idx="16585">
                  <c:v>7.1459999999999999</c:v>
                </c:pt>
                <c:pt idx="16586">
                  <c:v>7.1459999999999999</c:v>
                </c:pt>
                <c:pt idx="16587">
                  <c:v>7.1459999999999999</c:v>
                </c:pt>
                <c:pt idx="16588">
                  <c:v>7.1449999999999996</c:v>
                </c:pt>
                <c:pt idx="16589">
                  <c:v>7.1459999999999999</c:v>
                </c:pt>
                <c:pt idx="16590">
                  <c:v>7.1459999999999999</c:v>
                </c:pt>
                <c:pt idx="16591">
                  <c:v>7.1459999999999999</c:v>
                </c:pt>
                <c:pt idx="16592">
                  <c:v>7.1459999999999999</c:v>
                </c:pt>
                <c:pt idx="16593">
                  <c:v>7.1459999999999999</c:v>
                </c:pt>
                <c:pt idx="16594">
                  <c:v>7.1459999999999999</c:v>
                </c:pt>
                <c:pt idx="16595">
                  <c:v>7.1459999999999999</c:v>
                </c:pt>
                <c:pt idx="16596">
                  <c:v>7.1459999999999999</c:v>
                </c:pt>
                <c:pt idx="16597">
                  <c:v>7.1449999999999996</c:v>
                </c:pt>
                <c:pt idx="16598">
                  <c:v>7.1459999999999999</c:v>
                </c:pt>
                <c:pt idx="16599">
                  <c:v>7.1459999999999999</c:v>
                </c:pt>
                <c:pt idx="16600">
                  <c:v>7.1459999999999999</c:v>
                </c:pt>
                <c:pt idx="16601">
                  <c:v>7.1459999999999999</c:v>
                </c:pt>
                <c:pt idx="16602">
                  <c:v>7.1459999999999999</c:v>
                </c:pt>
                <c:pt idx="16603">
                  <c:v>7.1459999999999999</c:v>
                </c:pt>
                <c:pt idx="16604">
                  <c:v>7.1459999999999999</c:v>
                </c:pt>
                <c:pt idx="16605">
                  <c:v>7.1459999999999999</c:v>
                </c:pt>
                <c:pt idx="16606">
                  <c:v>7.1459999999999999</c:v>
                </c:pt>
                <c:pt idx="16607">
                  <c:v>7.1459999999999999</c:v>
                </c:pt>
                <c:pt idx="16608">
                  <c:v>7.1449999999999996</c:v>
                </c:pt>
                <c:pt idx="16609">
                  <c:v>7.1459999999999999</c:v>
                </c:pt>
                <c:pt idx="16610">
                  <c:v>7.1459999999999999</c:v>
                </c:pt>
                <c:pt idx="16611">
                  <c:v>7.1449999999999996</c:v>
                </c:pt>
                <c:pt idx="16612">
                  <c:v>7.1449999999999996</c:v>
                </c:pt>
                <c:pt idx="16613">
                  <c:v>7.1459999999999999</c:v>
                </c:pt>
                <c:pt idx="16614">
                  <c:v>7.1449999999999996</c:v>
                </c:pt>
                <c:pt idx="16615">
                  <c:v>7.1449999999999996</c:v>
                </c:pt>
                <c:pt idx="16616">
                  <c:v>7.1449999999999996</c:v>
                </c:pt>
                <c:pt idx="16617">
                  <c:v>7.1449999999999996</c:v>
                </c:pt>
                <c:pt idx="16618">
                  <c:v>7.1459999999999999</c:v>
                </c:pt>
                <c:pt idx="16619">
                  <c:v>7.1459999999999999</c:v>
                </c:pt>
                <c:pt idx="16620">
                  <c:v>7.1449999999999996</c:v>
                </c:pt>
                <c:pt idx="16621">
                  <c:v>7.1449999999999996</c:v>
                </c:pt>
                <c:pt idx="16622">
                  <c:v>7.1449999999999996</c:v>
                </c:pt>
                <c:pt idx="16623">
                  <c:v>7.1449999999999996</c:v>
                </c:pt>
                <c:pt idx="16624">
                  <c:v>7.1449999999999996</c:v>
                </c:pt>
                <c:pt idx="16625">
                  <c:v>7.1449999999999996</c:v>
                </c:pt>
                <c:pt idx="16626">
                  <c:v>7.1449999999999996</c:v>
                </c:pt>
                <c:pt idx="16627">
                  <c:v>7.1449999999999996</c:v>
                </c:pt>
                <c:pt idx="16628">
                  <c:v>7.1449999999999996</c:v>
                </c:pt>
                <c:pt idx="16629">
                  <c:v>7.1449999999999996</c:v>
                </c:pt>
                <c:pt idx="16630">
                  <c:v>7.1449999999999996</c:v>
                </c:pt>
                <c:pt idx="16631">
                  <c:v>7.1449999999999996</c:v>
                </c:pt>
                <c:pt idx="16632">
                  <c:v>7.1449999999999996</c:v>
                </c:pt>
                <c:pt idx="16633">
                  <c:v>7.1449999999999996</c:v>
                </c:pt>
                <c:pt idx="16634">
                  <c:v>7.1449999999999996</c:v>
                </c:pt>
                <c:pt idx="16635">
                  <c:v>7.1449999999999996</c:v>
                </c:pt>
                <c:pt idx="16636">
                  <c:v>7.1449999999999996</c:v>
                </c:pt>
                <c:pt idx="16637">
                  <c:v>7.1449999999999996</c:v>
                </c:pt>
                <c:pt idx="16638">
                  <c:v>7.1449999999999996</c:v>
                </c:pt>
                <c:pt idx="16639">
                  <c:v>7.1459999999999999</c:v>
                </c:pt>
                <c:pt idx="16640">
                  <c:v>7.1459999999999999</c:v>
                </c:pt>
                <c:pt idx="16641">
                  <c:v>7.1449999999999996</c:v>
                </c:pt>
                <c:pt idx="16642">
                  <c:v>7.1440000000000001</c:v>
                </c:pt>
                <c:pt idx="16643">
                  <c:v>7.1449999999999996</c:v>
                </c:pt>
                <c:pt idx="16644">
                  <c:v>7.1449999999999996</c:v>
                </c:pt>
                <c:pt idx="16645">
                  <c:v>7.1449999999999996</c:v>
                </c:pt>
                <c:pt idx="16646">
                  <c:v>7.1449999999999996</c:v>
                </c:pt>
                <c:pt idx="16647">
                  <c:v>7.1449999999999996</c:v>
                </c:pt>
                <c:pt idx="16648">
                  <c:v>7.1440000000000001</c:v>
                </c:pt>
                <c:pt idx="16649">
                  <c:v>7.1449999999999996</c:v>
                </c:pt>
                <c:pt idx="16650">
                  <c:v>7.1449999999999996</c:v>
                </c:pt>
                <c:pt idx="16651">
                  <c:v>7.1449999999999996</c:v>
                </c:pt>
                <c:pt idx="16652">
                  <c:v>7.1449999999999996</c:v>
                </c:pt>
                <c:pt idx="16653">
                  <c:v>7.1449999999999996</c:v>
                </c:pt>
                <c:pt idx="16654">
                  <c:v>7.1449999999999996</c:v>
                </c:pt>
                <c:pt idx="16655">
                  <c:v>7.1440000000000001</c:v>
                </c:pt>
                <c:pt idx="16656">
                  <c:v>7.1449999999999996</c:v>
                </c:pt>
                <c:pt idx="16657">
                  <c:v>7.1440000000000001</c:v>
                </c:pt>
                <c:pt idx="16658">
                  <c:v>7.1449999999999996</c:v>
                </c:pt>
                <c:pt idx="16659">
                  <c:v>7.1440000000000001</c:v>
                </c:pt>
                <c:pt idx="16660">
                  <c:v>7.1440000000000001</c:v>
                </c:pt>
                <c:pt idx="16661">
                  <c:v>7.1449999999999996</c:v>
                </c:pt>
                <c:pt idx="16662">
                  <c:v>7.1440000000000001</c:v>
                </c:pt>
                <c:pt idx="16663">
                  <c:v>7.1449999999999996</c:v>
                </c:pt>
                <c:pt idx="16664">
                  <c:v>7.1449999999999996</c:v>
                </c:pt>
                <c:pt idx="16665">
                  <c:v>7.1449999999999996</c:v>
                </c:pt>
                <c:pt idx="16666">
                  <c:v>7.1440000000000001</c:v>
                </c:pt>
                <c:pt idx="16667">
                  <c:v>7.1440000000000001</c:v>
                </c:pt>
                <c:pt idx="16668">
                  <c:v>7.1440000000000001</c:v>
                </c:pt>
                <c:pt idx="16669">
                  <c:v>7.1440000000000001</c:v>
                </c:pt>
                <c:pt idx="16670">
                  <c:v>7.1440000000000001</c:v>
                </c:pt>
                <c:pt idx="16671">
                  <c:v>7.1449999999999996</c:v>
                </c:pt>
                <c:pt idx="16672">
                  <c:v>7.1449999999999996</c:v>
                </c:pt>
                <c:pt idx="16673">
                  <c:v>7.1440000000000001</c:v>
                </c:pt>
                <c:pt idx="16674">
                  <c:v>7.1440000000000001</c:v>
                </c:pt>
                <c:pt idx="16675">
                  <c:v>7.1449999999999996</c:v>
                </c:pt>
                <c:pt idx="16676">
                  <c:v>7.1440000000000001</c:v>
                </c:pt>
                <c:pt idx="16677">
                  <c:v>7.1440000000000001</c:v>
                </c:pt>
                <c:pt idx="16678">
                  <c:v>7.1440000000000001</c:v>
                </c:pt>
                <c:pt idx="16679">
                  <c:v>7.1449999999999996</c:v>
                </c:pt>
                <c:pt idx="16680">
                  <c:v>7.1449999999999996</c:v>
                </c:pt>
                <c:pt idx="16681">
                  <c:v>7.1440000000000001</c:v>
                </c:pt>
                <c:pt idx="16682">
                  <c:v>7.1440000000000001</c:v>
                </c:pt>
                <c:pt idx="16683">
                  <c:v>7.1449999999999996</c:v>
                </c:pt>
                <c:pt idx="16684">
                  <c:v>7.1449999999999996</c:v>
                </c:pt>
                <c:pt idx="16685">
                  <c:v>7.1440000000000001</c:v>
                </c:pt>
                <c:pt idx="16686">
                  <c:v>7.1440000000000001</c:v>
                </c:pt>
                <c:pt idx="16687">
                  <c:v>7.1440000000000001</c:v>
                </c:pt>
                <c:pt idx="16688">
                  <c:v>7.1449999999999996</c:v>
                </c:pt>
                <c:pt idx="16689">
                  <c:v>7.1440000000000001</c:v>
                </c:pt>
                <c:pt idx="16690">
                  <c:v>7.1449999999999996</c:v>
                </c:pt>
                <c:pt idx="16691">
                  <c:v>7.1440000000000001</c:v>
                </c:pt>
                <c:pt idx="16692">
                  <c:v>7.1449999999999996</c:v>
                </c:pt>
                <c:pt idx="16693">
                  <c:v>7.1440000000000001</c:v>
                </c:pt>
                <c:pt idx="16694">
                  <c:v>7.1440000000000001</c:v>
                </c:pt>
                <c:pt idx="16695">
                  <c:v>7.1440000000000001</c:v>
                </c:pt>
                <c:pt idx="16696">
                  <c:v>7.1440000000000001</c:v>
                </c:pt>
                <c:pt idx="16697">
                  <c:v>7.1440000000000001</c:v>
                </c:pt>
                <c:pt idx="16698">
                  <c:v>7.1440000000000001</c:v>
                </c:pt>
                <c:pt idx="16699">
                  <c:v>7.1440000000000001</c:v>
                </c:pt>
                <c:pt idx="16700">
                  <c:v>7.1440000000000001</c:v>
                </c:pt>
                <c:pt idx="16701">
                  <c:v>7.1440000000000001</c:v>
                </c:pt>
                <c:pt idx="16702">
                  <c:v>7.1440000000000001</c:v>
                </c:pt>
                <c:pt idx="16703">
                  <c:v>7.1440000000000001</c:v>
                </c:pt>
                <c:pt idx="16704">
                  <c:v>7.1440000000000001</c:v>
                </c:pt>
                <c:pt idx="16705">
                  <c:v>7.1440000000000001</c:v>
                </c:pt>
                <c:pt idx="16706">
                  <c:v>7.1440000000000001</c:v>
                </c:pt>
                <c:pt idx="16707">
                  <c:v>7.1440000000000001</c:v>
                </c:pt>
                <c:pt idx="16708">
                  <c:v>7.1440000000000001</c:v>
                </c:pt>
                <c:pt idx="16709">
                  <c:v>7.1440000000000001</c:v>
                </c:pt>
                <c:pt idx="16710">
                  <c:v>7.1449999999999996</c:v>
                </c:pt>
                <c:pt idx="16711">
                  <c:v>7.1440000000000001</c:v>
                </c:pt>
                <c:pt idx="16712">
                  <c:v>7.1429999999999998</c:v>
                </c:pt>
                <c:pt idx="16713">
                  <c:v>7.1440000000000001</c:v>
                </c:pt>
                <c:pt idx="16714">
                  <c:v>7.1440000000000001</c:v>
                </c:pt>
                <c:pt idx="16715">
                  <c:v>7.1440000000000001</c:v>
                </c:pt>
                <c:pt idx="16716">
                  <c:v>7.1440000000000001</c:v>
                </c:pt>
                <c:pt idx="16717">
                  <c:v>7.1440000000000001</c:v>
                </c:pt>
                <c:pt idx="16718">
                  <c:v>7.1440000000000001</c:v>
                </c:pt>
                <c:pt idx="16719">
                  <c:v>7.1429999999999998</c:v>
                </c:pt>
                <c:pt idx="16720">
                  <c:v>7.1440000000000001</c:v>
                </c:pt>
                <c:pt idx="16721">
                  <c:v>7.1440000000000001</c:v>
                </c:pt>
                <c:pt idx="16722">
                  <c:v>7.1429999999999998</c:v>
                </c:pt>
                <c:pt idx="16723">
                  <c:v>7.1440000000000001</c:v>
                </c:pt>
                <c:pt idx="16724">
                  <c:v>7.1440000000000001</c:v>
                </c:pt>
                <c:pt idx="16725">
                  <c:v>7.1429999999999998</c:v>
                </c:pt>
                <c:pt idx="16726">
                  <c:v>7.1440000000000001</c:v>
                </c:pt>
                <c:pt idx="16727">
                  <c:v>7.1440000000000001</c:v>
                </c:pt>
                <c:pt idx="16728">
                  <c:v>7.1440000000000001</c:v>
                </c:pt>
                <c:pt idx="16729">
                  <c:v>7.1429999999999998</c:v>
                </c:pt>
                <c:pt idx="16730">
                  <c:v>7.1440000000000001</c:v>
                </c:pt>
                <c:pt idx="16731">
                  <c:v>7.1440000000000001</c:v>
                </c:pt>
                <c:pt idx="16732">
                  <c:v>7.1440000000000001</c:v>
                </c:pt>
                <c:pt idx="16733">
                  <c:v>7.1429999999999998</c:v>
                </c:pt>
                <c:pt idx="16734">
                  <c:v>7.1440000000000001</c:v>
                </c:pt>
                <c:pt idx="16735">
                  <c:v>7.1429999999999998</c:v>
                </c:pt>
                <c:pt idx="16736">
                  <c:v>7.1440000000000001</c:v>
                </c:pt>
                <c:pt idx="16737">
                  <c:v>7.1440000000000001</c:v>
                </c:pt>
                <c:pt idx="16738">
                  <c:v>7.1440000000000001</c:v>
                </c:pt>
                <c:pt idx="16739">
                  <c:v>7.1429999999999998</c:v>
                </c:pt>
                <c:pt idx="16740">
                  <c:v>7.1429999999999998</c:v>
                </c:pt>
                <c:pt idx="16741">
                  <c:v>7.1429999999999998</c:v>
                </c:pt>
                <c:pt idx="16742">
                  <c:v>7.1440000000000001</c:v>
                </c:pt>
                <c:pt idx="16743">
                  <c:v>7.1440000000000001</c:v>
                </c:pt>
                <c:pt idx="16744">
                  <c:v>7.1429999999999998</c:v>
                </c:pt>
                <c:pt idx="16745">
                  <c:v>7.1429999999999998</c:v>
                </c:pt>
                <c:pt idx="16746">
                  <c:v>7.1440000000000001</c:v>
                </c:pt>
                <c:pt idx="16747">
                  <c:v>7.1440000000000001</c:v>
                </c:pt>
                <c:pt idx="16748">
                  <c:v>7.1429999999999998</c:v>
                </c:pt>
                <c:pt idx="16749">
                  <c:v>7.1429999999999998</c:v>
                </c:pt>
                <c:pt idx="16750">
                  <c:v>7.1429999999999998</c:v>
                </c:pt>
                <c:pt idx="16751">
                  <c:v>7.1440000000000001</c:v>
                </c:pt>
                <c:pt idx="16752">
                  <c:v>7.1429999999999998</c:v>
                </c:pt>
                <c:pt idx="16753">
                  <c:v>7.1440000000000001</c:v>
                </c:pt>
                <c:pt idx="16754">
                  <c:v>7.1440000000000001</c:v>
                </c:pt>
                <c:pt idx="16755">
                  <c:v>7.1429999999999998</c:v>
                </c:pt>
                <c:pt idx="16756">
                  <c:v>7.1429999999999998</c:v>
                </c:pt>
                <c:pt idx="16757">
                  <c:v>7.1429999999999998</c:v>
                </c:pt>
                <c:pt idx="16758">
                  <c:v>7.1429999999999998</c:v>
                </c:pt>
                <c:pt idx="16759">
                  <c:v>7.1429999999999998</c:v>
                </c:pt>
                <c:pt idx="16760">
                  <c:v>7.1429999999999998</c:v>
                </c:pt>
                <c:pt idx="16761">
                  <c:v>7.1429999999999998</c:v>
                </c:pt>
                <c:pt idx="16762">
                  <c:v>7.1429999999999998</c:v>
                </c:pt>
                <c:pt idx="16763">
                  <c:v>7.1429999999999998</c:v>
                </c:pt>
                <c:pt idx="16764">
                  <c:v>7.1429999999999998</c:v>
                </c:pt>
                <c:pt idx="16765">
                  <c:v>7.1429999999999998</c:v>
                </c:pt>
                <c:pt idx="16766">
                  <c:v>7.1429999999999998</c:v>
                </c:pt>
                <c:pt idx="16767">
                  <c:v>7.1429999999999998</c:v>
                </c:pt>
                <c:pt idx="16768">
                  <c:v>7.1420000000000003</c:v>
                </c:pt>
                <c:pt idx="16769">
                  <c:v>7.1429999999999998</c:v>
                </c:pt>
                <c:pt idx="16770">
                  <c:v>7.1440000000000001</c:v>
                </c:pt>
                <c:pt idx="16771">
                  <c:v>7.1429999999999998</c:v>
                </c:pt>
                <c:pt idx="16772">
                  <c:v>7.1420000000000003</c:v>
                </c:pt>
                <c:pt idx="16773">
                  <c:v>7.1429999999999998</c:v>
                </c:pt>
                <c:pt idx="16774">
                  <c:v>7.1429999999999998</c:v>
                </c:pt>
                <c:pt idx="16775">
                  <c:v>7.1429999999999998</c:v>
                </c:pt>
                <c:pt idx="16776">
                  <c:v>7.1429999999999998</c:v>
                </c:pt>
                <c:pt idx="16777">
                  <c:v>7.1429999999999998</c:v>
                </c:pt>
                <c:pt idx="16778">
                  <c:v>7.1429999999999998</c:v>
                </c:pt>
                <c:pt idx="16779">
                  <c:v>7.1429999999999998</c:v>
                </c:pt>
                <c:pt idx="16780">
                  <c:v>7.1429999999999998</c:v>
                </c:pt>
                <c:pt idx="16781">
                  <c:v>7.1429999999999998</c:v>
                </c:pt>
                <c:pt idx="16782">
                  <c:v>7.1429999999999998</c:v>
                </c:pt>
                <c:pt idx="16783">
                  <c:v>7.1429999999999998</c:v>
                </c:pt>
                <c:pt idx="16784">
                  <c:v>7.1429999999999998</c:v>
                </c:pt>
                <c:pt idx="16785">
                  <c:v>7.1429999999999998</c:v>
                </c:pt>
                <c:pt idx="16786">
                  <c:v>7.1429999999999998</c:v>
                </c:pt>
                <c:pt idx="16787">
                  <c:v>7.1429999999999998</c:v>
                </c:pt>
                <c:pt idx="16788">
                  <c:v>7.1429999999999998</c:v>
                </c:pt>
                <c:pt idx="16789">
                  <c:v>7.1429999999999998</c:v>
                </c:pt>
                <c:pt idx="16790">
                  <c:v>7.1429999999999998</c:v>
                </c:pt>
                <c:pt idx="16791">
                  <c:v>7.1429999999999998</c:v>
                </c:pt>
                <c:pt idx="16792">
                  <c:v>7.1429999999999998</c:v>
                </c:pt>
                <c:pt idx="16793">
                  <c:v>7.1429999999999998</c:v>
                </c:pt>
                <c:pt idx="16794">
                  <c:v>7.1420000000000003</c:v>
                </c:pt>
                <c:pt idx="16795">
                  <c:v>7.1429999999999998</c:v>
                </c:pt>
                <c:pt idx="16796">
                  <c:v>7.1429999999999998</c:v>
                </c:pt>
                <c:pt idx="16797">
                  <c:v>7.1420000000000003</c:v>
                </c:pt>
                <c:pt idx="16798">
                  <c:v>7.1429999999999998</c:v>
                </c:pt>
                <c:pt idx="16799">
                  <c:v>7.1429999999999998</c:v>
                </c:pt>
                <c:pt idx="16800">
                  <c:v>7.1429999999999998</c:v>
                </c:pt>
                <c:pt idx="16801">
                  <c:v>7.1429999999999998</c:v>
                </c:pt>
                <c:pt idx="16802">
                  <c:v>7.1429999999999998</c:v>
                </c:pt>
                <c:pt idx="16803">
                  <c:v>7.1420000000000003</c:v>
                </c:pt>
                <c:pt idx="16804">
                  <c:v>7.1429999999999998</c:v>
                </c:pt>
                <c:pt idx="16805">
                  <c:v>7.1429999999999998</c:v>
                </c:pt>
                <c:pt idx="16806">
                  <c:v>7.1429999999999998</c:v>
                </c:pt>
                <c:pt idx="16807">
                  <c:v>7.1420000000000003</c:v>
                </c:pt>
                <c:pt idx="16808">
                  <c:v>7.1420000000000003</c:v>
                </c:pt>
                <c:pt idx="16809">
                  <c:v>7.1429999999999998</c:v>
                </c:pt>
                <c:pt idx="16810">
                  <c:v>7.1420000000000003</c:v>
                </c:pt>
                <c:pt idx="16811">
                  <c:v>7.1429999999999998</c:v>
                </c:pt>
                <c:pt idx="16812">
                  <c:v>7.1420000000000003</c:v>
                </c:pt>
                <c:pt idx="16813">
                  <c:v>7.1420000000000003</c:v>
                </c:pt>
                <c:pt idx="16814">
                  <c:v>7.1420000000000003</c:v>
                </c:pt>
                <c:pt idx="16815">
                  <c:v>7.1420000000000003</c:v>
                </c:pt>
                <c:pt idx="16816">
                  <c:v>7.1429999999999998</c:v>
                </c:pt>
                <c:pt idx="16817">
                  <c:v>7.1420000000000003</c:v>
                </c:pt>
                <c:pt idx="16818">
                  <c:v>7.1420000000000003</c:v>
                </c:pt>
                <c:pt idx="16819">
                  <c:v>7.1420000000000003</c:v>
                </c:pt>
                <c:pt idx="16820">
                  <c:v>7.1420000000000003</c:v>
                </c:pt>
                <c:pt idx="16821">
                  <c:v>7.1420000000000003</c:v>
                </c:pt>
                <c:pt idx="16822">
                  <c:v>7.1429999999999998</c:v>
                </c:pt>
                <c:pt idx="16823">
                  <c:v>7.1420000000000003</c:v>
                </c:pt>
                <c:pt idx="16824">
                  <c:v>7.1420000000000003</c:v>
                </c:pt>
                <c:pt idx="16825">
                  <c:v>7.1420000000000003</c:v>
                </c:pt>
                <c:pt idx="16826">
                  <c:v>7.1420000000000003</c:v>
                </c:pt>
                <c:pt idx="16827">
                  <c:v>7.1420000000000003</c:v>
                </c:pt>
                <c:pt idx="16828">
                  <c:v>7.1420000000000003</c:v>
                </c:pt>
                <c:pt idx="16829">
                  <c:v>7.1420000000000003</c:v>
                </c:pt>
                <c:pt idx="16830">
                  <c:v>7.1420000000000003</c:v>
                </c:pt>
                <c:pt idx="16831">
                  <c:v>7.1420000000000003</c:v>
                </c:pt>
                <c:pt idx="16832">
                  <c:v>7.1420000000000003</c:v>
                </c:pt>
                <c:pt idx="16833">
                  <c:v>7.1420000000000003</c:v>
                </c:pt>
                <c:pt idx="16834">
                  <c:v>7.1420000000000003</c:v>
                </c:pt>
                <c:pt idx="16835">
                  <c:v>7.1420000000000003</c:v>
                </c:pt>
                <c:pt idx="16836">
                  <c:v>7.1420000000000003</c:v>
                </c:pt>
                <c:pt idx="16837">
                  <c:v>7.1420000000000003</c:v>
                </c:pt>
                <c:pt idx="16838">
                  <c:v>7.1420000000000003</c:v>
                </c:pt>
                <c:pt idx="16839">
                  <c:v>7.1420000000000003</c:v>
                </c:pt>
                <c:pt idx="16840">
                  <c:v>7.1420000000000003</c:v>
                </c:pt>
                <c:pt idx="16841">
                  <c:v>7.141</c:v>
                </c:pt>
                <c:pt idx="16842">
                  <c:v>7.1420000000000003</c:v>
                </c:pt>
                <c:pt idx="16843">
                  <c:v>7.1420000000000003</c:v>
                </c:pt>
                <c:pt idx="16844">
                  <c:v>7.1420000000000003</c:v>
                </c:pt>
                <c:pt idx="16845">
                  <c:v>7.1420000000000003</c:v>
                </c:pt>
                <c:pt idx="16846">
                  <c:v>7.1420000000000003</c:v>
                </c:pt>
                <c:pt idx="16847">
                  <c:v>7.141</c:v>
                </c:pt>
                <c:pt idx="16848">
                  <c:v>7.141</c:v>
                </c:pt>
                <c:pt idx="16849">
                  <c:v>7.141</c:v>
                </c:pt>
                <c:pt idx="16850">
                  <c:v>7.141</c:v>
                </c:pt>
                <c:pt idx="16851">
                  <c:v>7.141</c:v>
                </c:pt>
                <c:pt idx="16852">
                  <c:v>7.1420000000000003</c:v>
                </c:pt>
                <c:pt idx="16853">
                  <c:v>7.141</c:v>
                </c:pt>
                <c:pt idx="16854">
                  <c:v>7.1420000000000003</c:v>
                </c:pt>
                <c:pt idx="16855">
                  <c:v>7.141</c:v>
                </c:pt>
                <c:pt idx="16856">
                  <c:v>7.1420000000000003</c:v>
                </c:pt>
                <c:pt idx="16857">
                  <c:v>7.141</c:v>
                </c:pt>
                <c:pt idx="16858">
                  <c:v>7.141</c:v>
                </c:pt>
                <c:pt idx="16859">
                  <c:v>7.1420000000000003</c:v>
                </c:pt>
                <c:pt idx="16860">
                  <c:v>7.1420000000000003</c:v>
                </c:pt>
                <c:pt idx="16861">
                  <c:v>7.141</c:v>
                </c:pt>
                <c:pt idx="16862">
                  <c:v>7.141</c:v>
                </c:pt>
                <c:pt idx="16863">
                  <c:v>7.141</c:v>
                </c:pt>
                <c:pt idx="16864">
                  <c:v>7.141</c:v>
                </c:pt>
                <c:pt idx="16865">
                  <c:v>7.141</c:v>
                </c:pt>
                <c:pt idx="16866">
                  <c:v>7.141</c:v>
                </c:pt>
                <c:pt idx="16867">
                  <c:v>7.1420000000000003</c:v>
                </c:pt>
                <c:pt idx="16868">
                  <c:v>7.141</c:v>
                </c:pt>
                <c:pt idx="16869">
                  <c:v>7.1420000000000003</c:v>
                </c:pt>
                <c:pt idx="16870">
                  <c:v>7.141</c:v>
                </c:pt>
                <c:pt idx="16871">
                  <c:v>7.141</c:v>
                </c:pt>
                <c:pt idx="16872">
                  <c:v>7.141</c:v>
                </c:pt>
                <c:pt idx="16873">
                  <c:v>7.141</c:v>
                </c:pt>
                <c:pt idx="16874">
                  <c:v>7.141</c:v>
                </c:pt>
                <c:pt idx="16875">
                  <c:v>7.141</c:v>
                </c:pt>
                <c:pt idx="16876">
                  <c:v>7.141</c:v>
                </c:pt>
                <c:pt idx="16877">
                  <c:v>7.141</c:v>
                </c:pt>
                <c:pt idx="16878">
                  <c:v>7.141</c:v>
                </c:pt>
                <c:pt idx="16879">
                  <c:v>7.14</c:v>
                </c:pt>
                <c:pt idx="16880">
                  <c:v>7.141</c:v>
                </c:pt>
                <c:pt idx="16881">
                  <c:v>7.141</c:v>
                </c:pt>
                <c:pt idx="16882">
                  <c:v>7.141</c:v>
                </c:pt>
                <c:pt idx="16883">
                  <c:v>7.14</c:v>
                </c:pt>
                <c:pt idx="16884">
                  <c:v>7.14</c:v>
                </c:pt>
                <c:pt idx="16885">
                  <c:v>7.141</c:v>
                </c:pt>
                <c:pt idx="16886">
                  <c:v>7.14</c:v>
                </c:pt>
                <c:pt idx="16887">
                  <c:v>7.14</c:v>
                </c:pt>
                <c:pt idx="16888">
                  <c:v>7.14</c:v>
                </c:pt>
                <c:pt idx="16889">
                  <c:v>7.14</c:v>
                </c:pt>
                <c:pt idx="16890">
                  <c:v>7.14</c:v>
                </c:pt>
                <c:pt idx="16891">
                  <c:v>7.14</c:v>
                </c:pt>
                <c:pt idx="16892">
                  <c:v>7.14</c:v>
                </c:pt>
                <c:pt idx="16893">
                  <c:v>7.14</c:v>
                </c:pt>
                <c:pt idx="16894">
                  <c:v>7.1390000000000002</c:v>
                </c:pt>
                <c:pt idx="16895">
                  <c:v>7.1390000000000002</c:v>
                </c:pt>
                <c:pt idx="16896">
                  <c:v>7.1390000000000002</c:v>
                </c:pt>
                <c:pt idx="16897">
                  <c:v>7.1390000000000002</c:v>
                </c:pt>
                <c:pt idx="16898">
                  <c:v>7.14</c:v>
                </c:pt>
                <c:pt idx="16899">
                  <c:v>7.1390000000000002</c:v>
                </c:pt>
                <c:pt idx="16900">
                  <c:v>7.14</c:v>
                </c:pt>
                <c:pt idx="16901">
                  <c:v>7.14</c:v>
                </c:pt>
                <c:pt idx="16902">
                  <c:v>7.1390000000000002</c:v>
                </c:pt>
                <c:pt idx="16903">
                  <c:v>7.1390000000000002</c:v>
                </c:pt>
                <c:pt idx="16904">
                  <c:v>7.1390000000000002</c:v>
                </c:pt>
                <c:pt idx="16905">
                  <c:v>7.1390000000000002</c:v>
                </c:pt>
                <c:pt idx="16906">
                  <c:v>7.1390000000000002</c:v>
                </c:pt>
                <c:pt idx="16907">
                  <c:v>7.1390000000000002</c:v>
                </c:pt>
                <c:pt idx="16908">
                  <c:v>7.1390000000000002</c:v>
                </c:pt>
                <c:pt idx="16909">
                  <c:v>7.1390000000000002</c:v>
                </c:pt>
                <c:pt idx="16910">
                  <c:v>7.1390000000000002</c:v>
                </c:pt>
                <c:pt idx="16911">
                  <c:v>7.1390000000000002</c:v>
                </c:pt>
                <c:pt idx="16912">
                  <c:v>7.1390000000000002</c:v>
                </c:pt>
                <c:pt idx="16913">
                  <c:v>7.1390000000000002</c:v>
                </c:pt>
                <c:pt idx="16914">
                  <c:v>7.1390000000000002</c:v>
                </c:pt>
                <c:pt idx="16915">
                  <c:v>7.1390000000000002</c:v>
                </c:pt>
                <c:pt idx="16916">
                  <c:v>7.1390000000000002</c:v>
                </c:pt>
                <c:pt idx="16917">
                  <c:v>7.14</c:v>
                </c:pt>
                <c:pt idx="16918">
                  <c:v>7.1390000000000002</c:v>
                </c:pt>
                <c:pt idx="16919">
                  <c:v>7.1390000000000002</c:v>
                </c:pt>
                <c:pt idx="16920">
                  <c:v>7.1390000000000002</c:v>
                </c:pt>
                <c:pt idx="16921">
                  <c:v>7.1390000000000002</c:v>
                </c:pt>
                <c:pt idx="16922">
                  <c:v>7.1390000000000002</c:v>
                </c:pt>
                <c:pt idx="16923">
                  <c:v>7.1390000000000002</c:v>
                </c:pt>
                <c:pt idx="16924">
                  <c:v>7.1390000000000002</c:v>
                </c:pt>
                <c:pt idx="16925">
                  <c:v>7.1390000000000002</c:v>
                </c:pt>
                <c:pt idx="16926">
                  <c:v>7.1390000000000002</c:v>
                </c:pt>
                <c:pt idx="16927">
                  <c:v>7.1390000000000002</c:v>
                </c:pt>
                <c:pt idx="16928">
                  <c:v>7.1379999999999999</c:v>
                </c:pt>
                <c:pt idx="16929">
                  <c:v>7.1390000000000002</c:v>
                </c:pt>
                <c:pt idx="16930">
                  <c:v>7.1390000000000002</c:v>
                </c:pt>
                <c:pt idx="16931">
                  <c:v>7.1379999999999999</c:v>
                </c:pt>
                <c:pt idx="16932">
                  <c:v>7.1379999999999999</c:v>
                </c:pt>
                <c:pt idx="16933">
                  <c:v>7.1379999999999999</c:v>
                </c:pt>
                <c:pt idx="16934">
                  <c:v>7.1379999999999999</c:v>
                </c:pt>
                <c:pt idx="16935">
                  <c:v>7.1390000000000002</c:v>
                </c:pt>
                <c:pt idx="16936">
                  <c:v>7.1379999999999999</c:v>
                </c:pt>
                <c:pt idx="16937">
                  <c:v>7.1379999999999999</c:v>
                </c:pt>
                <c:pt idx="16938">
                  <c:v>7.1379999999999999</c:v>
                </c:pt>
                <c:pt idx="16939">
                  <c:v>7.1379999999999999</c:v>
                </c:pt>
                <c:pt idx="16940">
                  <c:v>7.1390000000000002</c:v>
                </c:pt>
                <c:pt idx="16941">
                  <c:v>7.1379999999999999</c:v>
                </c:pt>
                <c:pt idx="16942">
                  <c:v>7.1390000000000002</c:v>
                </c:pt>
                <c:pt idx="16943">
                  <c:v>7.1379999999999999</c:v>
                </c:pt>
                <c:pt idx="16944">
                  <c:v>7.1379999999999999</c:v>
                </c:pt>
                <c:pt idx="16945">
                  <c:v>7.1379999999999999</c:v>
                </c:pt>
                <c:pt idx="16946">
                  <c:v>7.1379999999999999</c:v>
                </c:pt>
                <c:pt idx="16947">
                  <c:v>7.1369999999999996</c:v>
                </c:pt>
                <c:pt idx="16948">
                  <c:v>7.1379999999999999</c:v>
                </c:pt>
                <c:pt idx="16949">
                  <c:v>7.1379999999999999</c:v>
                </c:pt>
                <c:pt idx="16950">
                  <c:v>7.1390000000000002</c:v>
                </c:pt>
                <c:pt idx="16951">
                  <c:v>7.1369999999999996</c:v>
                </c:pt>
                <c:pt idx="16952">
                  <c:v>7.1379999999999999</c:v>
                </c:pt>
                <c:pt idx="16953">
                  <c:v>7.1379999999999999</c:v>
                </c:pt>
                <c:pt idx="16954">
                  <c:v>7.1379999999999999</c:v>
                </c:pt>
                <c:pt idx="16955">
                  <c:v>7.1379999999999999</c:v>
                </c:pt>
                <c:pt idx="16956">
                  <c:v>7.1369999999999996</c:v>
                </c:pt>
                <c:pt idx="16957">
                  <c:v>7.1379999999999999</c:v>
                </c:pt>
                <c:pt idx="16958">
                  <c:v>7.1379999999999999</c:v>
                </c:pt>
                <c:pt idx="16959">
                  <c:v>7.1369999999999996</c:v>
                </c:pt>
                <c:pt idx="16960">
                  <c:v>7.1379999999999999</c:v>
                </c:pt>
                <c:pt idx="16961">
                  <c:v>7.1379999999999999</c:v>
                </c:pt>
                <c:pt idx="16962">
                  <c:v>7.1379999999999999</c:v>
                </c:pt>
                <c:pt idx="16963">
                  <c:v>7.1369999999999996</c:v>
                </c:pt>
                <c:pt idx="16964">
                  <c:v>7.1379999999999999</c:v>
                </c:pt>
                <c:pt idx="16965">
                  <c:v>7.1379999999999999</c:v>
                </c:pt>
                <c:pt idx="16966">
                  <c:v>7.1369999999999996</c:v>
                </c:pt>
                <c:pt idx="16967">
                  <c:v>7.1369999999999996</c:v>
                </c:pt>
                <c:pt idx="16968">
                  <c:v>7.1369999999999996</c:v>
                </c:pt>
                <c:pt idx="16969">
                  <c:v>7.1369999999999996</c:v>
                </c:pt>
                <c:pt idx="16970">
                  <c:v>7.1369999999999996</c:v>
                </c:pt>
                <c:pt idx="16971">
                  <c:v>7.1369999999999996</c:v>
                </c:pt>
                <c:pt idx="16972">
                  <c:v>7.1369999999999996</c:v>
                </c:pt>
                <c:pt idx="16973">
                  <c:v>7.1369999999999996</c:v>
                </c:pt>
                <c:pt idx="16974">
                  <c:v>7.1369999999999996</c:v>
                </c:pt>
                <c:pt idx="16975">
                  <c:v>7.1369999999999996</c:v>
                </c:pt>
                <c:pt idx="16976">
                  <c:v>7.1369999999999996</c:v>
                </c:pt>
                <c:pt idx="16977">
                  <c:v>7.1369999999999996</c:v>
                </c:pt>
                <c:pt idx="16978">
                  <c:v>7.1369999999999996</c:v>
                </c:pt>
                <c:pt idx="16979">
                  <c:v>7.1369999999999996</c:v>
                </c:pt>
                <c:pt idx="16980">
                  <c:v>7.1369999999999996</c:v>
                </c:pt>
                <c:pt idx="16981">
                  <c:v>7.1369999999999996</c:v>
                </c:pt>
                <c:pt idx="16982">
                  <c:v>7.1369999999999996</c:v>
                </c:pt>
                <c:pt idx="16983">
                  <c:v>7.1369999999999996</c:v>
                </c:pt>
                <c:pt idx="16984">
                  <c:v>7.1369999999999996</c:v>
                </c:pt>
                <c:pt idx="16985">
                  <c:v>7.1369999999999996</c:v>
                </c:pt>
                <c:pt idx="16986">
                  <c:v>7.1369999999999996</c:v>
                </c:pt>
                <c:pt idx="16987">
                  <c:v>7.1379999999999999</c:v>
                </c:pt>
                <c:pt idx="16988">
                  <c:v>7.1369999999999996</c:v>
                </c:pt>
                <c:pt idx="16989">
                  <c:v>7.1369999999999996</c:v>
                </c:pt>
                <c:pt idx="16990">
                  <c:v>7.1369999999999996</c:v>
                </c:pt>
                <c:pt idx="16991">
                  <c:v>7.1360000000000001</c:v>
                </c:pt>
                <c:pt idx="16992">
                  <c:v>7.1360000000000001</c:v>
                </c:pt>
                <c:pt idx="16993">
                  <c:v>7.1369999999999996</c:v>
                </c:pt>
                <c:pt idx="16994">
                  <c:v>7.1369999999999996</c:v>
                </c:pt>
                <c:pt idx="16995">
                  <c:v>7.1369999999999996</c:v>
                </c:pt>
                <c:pt idx="16996">
                  <c:v>7.1369999999999996</c:v>
                </c:pt>
                <c:pt idx="16997">
                  <c:v>7.1360000000000001</c:v>
                </c:pt>
                <c:pt idx="16998">
                  <c:v>7.1369999999999996</c:v>
                </c:pt>
                <c:pt idx="16999">
                  <c:v>7.1369999999999996</c:v>
                </c:pt>
                <c:pt idx="17000">
                  <c:v>7.1369999999999996</c:v>
                </c:pt>
                <c:pt idx="17001">
                  <c:v>7.1369999999999996</c:v>
                </c:pt>
                <c:pt idx="17002">
                  <c:v>7.1369999999999996</c:v>
                </c:pt>
                <c:pt idx="17003">
                  <c:v>7.1369999999999996</c:v>
                </c:pt>
                <c:pt idx="17004">
                  <c:v>7.1369999999999996</c:v>
                </c:pt>
                <c:pt idx="17005">
                  <c:v>7.1360000000000001</c:v>
                </c:pt>
                <c:pt idx="17006">
                  <c:v>7.1369999999999996</c:v>
                </c:pt>
                <c:pt idx="17007">
                  <c:v>7.1369999999999996</c:v>
                </c:pt>
                <c:pt idx="17008">
                  <c:v>7.1369999999999996</c:v>
                </c:pt>
                <c:pt idx="17009">
                  <c:v>7.1369999999999996</c:v>
                </c:pt>
                <c:pt idx="17010">
                  <c:v>7.1369999999999996</c:v>
                </c:pt>
                <c:pt idx="17011">
                  <c:v>7.1369999999999996</c:v>
                </c:pt>
                <c:pt idx="17012">
                  <c:v>7.1360000000000001</c:v>
                </c:pt>
                <c:pt idx="17013">
                  <c:v>7.1369999999999996</c:v>
                </c:pt>
                <c:pt idx="17014">
                  <c:v>7.1369999999999996</c:v>
                </c:pt>
                <c:pt idx="17015">
                  <c:v>7.1369999999999996</c:v>
                </c:pt>
                <c:pt idx="17016">
                  <c:v>7.1360000000000001</c:v>
                </c:pt>
                <c:pt idx="17017">
                  <c:v>7.1360000000000001</c:v>
                </c:pt>
                <c:pt idx="17018">
                  <c:v>7.1360000000000001</c:v>
                </c:pt>
                <c:pt idx="17019">
                  <c:v>7.1360000000000001</c:v>
                </c:pt>
                <c:pt idx="17020">
                  <c:v>7.1360000000000001</c:v>
                </c:pt>
                <c:pt idx="17021">
                  <c:v>7.1360000000000001</c:v>
                </c:pt>
                <c:pt idx="17022">
                  <c:v>7.1360000000000001</c:v>
                </c:pt>
                <c:pt idx="17023">
                  <c:v>7.1360000000000001</c:v>
                </c:pt>
                <c:pt idx="17024">
                  <c:v>7.1360000000000001</c:v>
                </c:pt>
                <c:pt idx="17025">
                  <c:v>7.1369999999999996</c:v>
                </c:pt>
                <c:pt idx="17026">
                  <c:v>7.1360000000000001</c:v>
                </c:pt>
                <c:pt idx="17027">
                  <c:v>7.1369999999999996</c:v>
                </c:pt>
                <c:pt idx="17028">
                  <c:v>7.1369999999999996</c:v>
                </c:pt>
                <c:pt idx="17029">
                  <c:v>7.1360000000000001</c:v>
                </c:pt>
                <c:pt idx="17030">
                  <c:v>7.1360000000000001</c:v>
                </c:pt>
                <c:pt idx="17031">
                  <c:v>7.1360000000000001</c:v>
                </c:pt>
                <c:pt idx="17032">
                  <c:v>7.1360000000000001</c:v>
                </c:pt>
                <c:pt idx="17033">
                  <c:v>7.1360000000000001</c:v>
                </c:pt>
                <c:pt idx="17034">
                  <c:v>7.1360000000000001</c:v>
                </c:pt>
                <c:pt idx="17035">
                  <c:v>7.1360000000000001</c:v>
                </c:pt>
                <c:pt idx="17036">
                  <c:v>7.1360000000000001</c:v>
                </c:pt>
                <c:pt idx="17037">
                  <c:v>7.1360000000000001</c:v>
                </c:pt>
                <c:pt idx="17038">
                  <c:v>7.1360000000000001</c:v>
                </c:pt>
                <c:pt idx="17039">
                  <c:v>7.1360000000000001</c:v>
                </c:pt>
                <c:pt idx="17040">
                  <c:v>7.1360000000000001</c:v>
                </c:pt>
                <c:pt idx="17041">
                  <c:v>7.1360000000000001</c:v>
                </c:pt>
                <c:pt idx="17042">
                  <c:v>7.1360000000000001</c:v>
                </c:pt>
                <c:pt idx="17043">
                  <c:v>7.1360000000000001</c:v>
                </c:pt>
                <c:pt idx="17044">
                  <c:v>7.1360000000000001</c:v>
                </c:pt>
                <c:pt idx="17045">
                  <c:v>7.1360000000000001</c:v>
                </c:pt>
                <c:pt idx="17046">
                  <c:v>7.1360000000000001</c:v>
                </c:pt>
                <c:pt idx="17047">
                  <c:v>7.1360000000000001</c:v>
                </c:pt>
                <c:pt idx="17048">
                  <c:v>7.1360000000000001</c:v>
                </c:pt>
                <c:pt idx="17049">
                  <c:v>7.1360000000000001</c:v>
                </c:pt>
                <c:pt idx="17050">
                  <c:v>7.1360000000000001</c:v>
                </c:pt>
                <c:pt idx="17051">
                  <c:v>7.1360000000000001</c:v>
                </c:pt>
                <c:pt idx="17052">
                  <c:v>7.1360000000000001</c:v>
                </c:pt>
                <c:pt idx="17053">
                  <c:v>7.1360000000000001</c:v>
                </c:pt>
                <c:pt idx="17054">
                  <c:v>7.1349999999999998</c:v>
                </c:pt>
                <c:pt idx="17055">
                  <c:v>7.1349999999999998</c:v>
                </c:pt>
                <c:pt idx="17056">
                  <c:v>7.1360000000000001</c:v>
                </c:pt>
                <c:pt idx="17057">
                  <c:v>7.1349999999999998</c:v>
                </c:pt>
                <c:pt idx="17058">
                  <c:v>7.1349999999999998</c:v>
                </c:pt>
                <c:pt idx="17059">
                  <c:v>7.1349999999999998</c:v>
                </c:pt>
                <c:pt idx="17060">
                  <c:v>7.1349999999999998</c:v>
                </c:pt>
                <c:pt idx="17061">
                  <c:v>7.1360000000000001</c:v>
                </c:pt>
                <c:pt idx="17062">
                  <c:v>7.1360000000000001</c:v>
                </c:pt>
                <c:pt idx="17063">
                  <c:v>7.1360000000000001</c:v>
                </c:pt>
                <c:pt idx="17064">
                  <c:v>7.1349999999999998</c:v>
                </c:pt>
                <c:pt idx="17065">
                  <c:v>7.1349999999999998</c:v>
                </c:pt>
                <c:pt idx="17066">
                  <c:v>7.1349999999999998</c:v>
                </c:pt>
                <c:pt idx="17067">
                  <c:v>7.1349999999999998</c:v>
                </c:pt>
                <c:pt idx="17068">
                  <c:v>7.1360000000000001</c:v>
                </c:pt>
                <c:pt idx="17069">
                  <c:v>7.1349999999999998</c:v>
                </c:pt>
                <c:pt idx="17070">
                  <c:v>7.1349999999999998</c:v>
                </c:pt>
                <c:pt idx="17071">
                  <c:v>7.1349999999999998</c:v>
                </c:pt>
                <c:pt idx="17072">
                  <c:v>7.1349999999999998</c:v>
                </c:pt>
                <c:pt idx="17073">
                  <c:v>7.1349999999999998</c:v>
                </c:pt>
                <c:pt idx="17074">
                  <c:v>7.1349999999999998</c:v>
                </c:pt>
                <c:pt idx="17075">
                  <c:v>7.1360000000000001</c:v>
                </c:pt>
                <c:pt idx="17076">
                  <c:v>7.1349999999999998</c:v>
                </c:pt>
                <c:pt idx="17077">
                  <c:v>7.1360000000000001</c:v>
                </c:pt>
                <c:pt idx="17078">
                  <c:v>7.1349999999999998</c:v>
                </c:pt>
                <c:pt idx="17079">
                  <c:v>7.1349999999999998</c:v>
                </c:pt>
                <c:pt idx="17080">
                  <c:v>7.1349999999999998</c:v>
                </c:pt>
                <c:pt idx="17081">
                  <c:v>7.1360000000000001</c:v>
                </c:pt>
                <c:pt idx="17082">
                  <c:v>7.1349999999999998</c:v>
                </c:pt>
                <c:pt idx="17083">
                  <c:v>7.1349999999999998</c:v>
                </c:pt>
                <c:pt idx="17084">
                  <c:v>7.1349999999999998</c:v>
                </c:pt>
                <c:pt idx="17085">
                  <c:v>7.1360000000000001</c:v>
                </c:pt>
                <c:pt idx="17086">
                  <c:v>7.1349999999999998</c:v>
                </c:pt>
                <c:pt idx="17087">
                  <c:v>7.1349999999999998</c:v>
                </c:pt>
                <c:pt idx="17088">
                  <c:v>7.1349999999999998</c:v>
                </c:pt>
                <c:pt idx="17089">
                  <c:v>7.1349999999999998</c:v>
                </c:pt>
                <c:pt idx="17090">
                  <c:v>7.1349999999999998</c:v>
                </c:pt>
                <c:pt idx="17091">
                  <c:v>7.1349999999999998</c:v>
                </c:pt>
                <c:pt idx="17092">
                  <c:v>7.1349999999999998</c:v>
                </c:pt>
                <c:pt idx="17093">
                  <c:v>7.1349999999999998</c:v>
                </c:pt>
                <c:pt idx="17094">
                  <c:v>7.1349999999999998</c:v>
                </c:pt>
                <c:pt idx="17095">
                  <c:v>7.1349999999999998</c:v>
                </c:pt>
                <c:pt idx="17096">
                  <c:v>7.1349999999999998</c:v>
                </c:pt>
                <c:pt idx="17097">
                  <c:v>7.1349999999999998</c:v>
                </c:pt>
                <c:pt idx="17098">
                  <c:v>7.1349999999999998</c:v>
                </c:pt>
                <c:pt idx="17099">
                  <c:v>7.1349999999999998</c:v>
                </c:pt>
                <c:pt idx="17100">
                  <c:v>7.1349999999999998</c:v>
                </c:pt>
                <c:pt idx="17101">
                  <c:v>7.1349999999999998</c:v>
                </c:pt>
                <c:pt idx="17102">
                  <c:v>7.1349999999999998</c:v>
                </c:pt>
                <c:pt idx="17103">
                  <c:v>7.1349999999999998</c:v>
                </c:pt>
                <c:pt idx="17104">
                  <c:v>7.1349999999999998</c:v>
                </c:pt>
                <c:pt idx="17105">
                  <c:v>7.1349999999999998</c:v>
                </c:pt>
                <c:pt idx="17106">
                  <c:v>7.1349999999999998</c:v>
                </c:pt>
                <c:pt idx="17107">
                  <c:v>7.1360000000000001</c:v>
                </c:pt>
                <c:pt idx="17108">
                  <c:v>7.1340000000000003</c:v>
                </c:pt>
                <c:pt idx="17109">
                  <c:v>7.1340000000000003</c:v>
                </c:pt>
                <c:pt idx="17110">
                  <c:v>7.1349999999999998</c:v>
                </c:pt>
                <c:pt idx="17111">
                  <c:v>7.1349999999999998</c:v>
                </c:pt>
                <c:pt idx="17112">
                  <c:v>7.1349999999999998</c:v>
                </c:pt>
                <c:pt idx="17113">
                  <c:v>7.1340000000000003</c:v>
                </c:pt>
                <c:pt idx="17114">
                  <c:v>7.1349999999999998</c:v>
                </c:pt>
                <c:pt idx="17115">
                  <c:v>7.1349999999999998</c:v>
                </c:pt>
                <c:pt idx="17116">
                  <c:v>7.1340000000000003</c:v>
                </c:pt>
                <c:pt idx="17117">
                  <c:v>7.1340000000000003</c:v>
                </c:pt>
                <c:pt idx="17118">
                  <c:v>7.1349999999999998</c:v>
                </c:pt>
                <c:pt idx="17119">
                  <c:v>7.1340000000000003</c:v>
                </c:pt>
                <c:pt idx="17120">
                  <c:v>7.1340000000000003</c:v>
                </c:pt>
                <c:pt idx="17121">
                  <c:v>7.1340000000000003</c:v>
                </c:pt>
                <c:pt idx="17122">
                  <c:v>7.1349999999999998</c:v>
                </c:pt>
                <c:pt idx="17123">
                  <c:v>7.1340000000000003</c:v>
                </c:pt>
                <c:pt idx="17124">
                  <c:v>7.1340000000000003</c:v>
                </c:pt>
                <c:pt idx="17125">
                  <c:v>7.1340000000000003</c:v>
                </c:pt>
                <c:pt idx="17126">
                  <c:v>7.1340000000000003</c:v>
                </c:pt>
                <c:pt idx="17127">
                  <c:v>7.1340000000000003</c:v>
                </c:pt>
                <c:pt idx="17128">
                  <c:v>7.1340000000000003</c:v>
                </c:pt>
                <c:pt idx="17129">
                  <c:v>7.1340000000000003</c:v>
                </c:pt>
                <c:pt idx="17130">
                  <c:v>7.1340000000000003</c:v>
                </c:pt>
                <c:pt idx="17131">
                  <c:v>7.1340000000000003</c:v>
                </c:pt>
                <c:pt idx="17132">
                  <c:v>7.133</c:v>
                </c:pt>
                <c:pt idx="17133">
                  <c:v>7.1340000000000003</c:v>
                </c:pt>
                <c:pt idx="17134">
                  <c:v>7.133</c:v>
                </c:pt>
                <c:pt idx="17135">
                  <c:v>7.1340000000000003</c:v>
                </c:pt>
                <c:pt idx="17136">
                  <c:v>7.133</c:v>
                </c:pt>
                <c:pt idx="17137">
                  <c:v>7.1340000000000003</c:v>
                </c:pt>
                <c:pt idx="17138">
                  <c:v>7.133</c:v>
                </c:pt>
                <c:pt idx="17139">
                  <c:v>7.133</c:v>
                </c:pt>
                <c:pt idx="17140">
                  <c:v>7.133</c:v>
                </c:pt>
                <c:pt idx="17141">
                  <c:v>7.1340000000000003</c:v>
                </c:pt>
                <c:pt idx="17142">
                  <c:v>7.133</c:v>
                </c:pt>
                <c:pt idx="17143">
                  <c:v>7.133</c:v>
                </c:pt>
                <c:pt idx="17144">
                  <c:v>7.133</c:v>
                </c:pt>
                <c:pt idx="17145">
                  <c:v>7.133</c:v>
                </c:pt>
                <c:pt idx="17146">
                  <c:v>7.133</c:v>
                </c:pt>
                <c:pt idx="17147">
                  <c:v>7.133</c:v>
                </c:pt>
                <c:pt idx="17148">
                  <c:v>7.133</c:v>
                </c:pt>
                <c:pt idx="17149">
                  <c:v>7.133</c:v>
                </c:pt>
                <c:pt idx="17150">
                  <c:v>7.133</c:v>
                </c:pt>
                <c:pt idx="17151">
                  <c:v>7.1340000000000003</c:v>
                </c:pt>
                <c:pt idx="17152">
                  <c:v>7.133</c:v>
                </c:pt>
                <c:pt idx="17153">
                  <c:v>7.133</c:v>
                </c:pt>
                <c:pt idx="17154">
                  <c:v>7.133</c:v>
                </c:pt>
                <c:pt idx="17155">
                  <c:v>7.133</c:v>
                </c:pt>
                <c:pt idx="17156">
                  <c:v>7.133</c:v>
                </c:pt>
                <c:pt idx="17157">
                  <c:v>7.133</c:v>
                </c:pt>
                <c:pt idx="17158">
                  <c:v>7.133</c:v>
                </c:pt>
                <c:pt idx="17159">
                  <c:v>7.133</c:v>
                </c:pt>
                <c:pt idx="17160">
                  <c:v>7.133</c:v>
                </c:pt>
                <c:pt idx="17161">
                  <c:v>7.133</c:v>
                </c:pt>
                <c:pt idx="17162">
                  <c:v>7.133</c:v>
                </c:pt>
                <c:pt idx="17163">
                  <c:v>7.133</c:v>
                </c:pt>
                <c:pt idx="17164">
                  <c:v>7.133</c:v>
                </c:pt>
                <c:pt idx="17165">
                  <c:v>7.133</c:v>
                </c:pt>
                <c:pt idx="17166">
                  <c:v>7.133</c:v>
                </c:pt>
                <c:pt idx="17167">
                  <c:v>7.133</c:v>
                </c:pt>
                <c:pt idx="17168">
                  <c:v>7.1340000000000003</c:v>
                </c:pt>
                <c:pt idx="17169">
                  <c:v>7.133</c:v>
                </c:pt>
                <c:pt idx="17170">
                  <c:v>7.133</c:v>
                </c:pt>
                <c:pt idx="17171">
                  <c:v>7.133</c:v>
                </c:pt>
                <c:pt idx="17172">
                  <c:v>7.133</c:v>
                </c:pt>
                <c:pt idx="17173">
                  <c:v>7.133</c:v>
                </c:pt>
                <c:pt idx="17174">
                  <c:v>7.133</c:v>
                </c:pt>
                <c:pt idx="17175">
                  <c:v>7.133</c:v>
                </c:pt>
                <c:pt idx="17176">
                  <c:v>7.133</c:v>
                </c:pt>
                <c:pt idx="17177">
                  <c:v>7.133</c:v>
                </c:pt>
                <c:pt idx="17178">
                  <c:v>7.133</c:v>
                </c:pt>
                <c:pt idx="17179">
                  <c:v>7.133</c:v>
                </c:pt>
                <c:pt idx="17180">
                  <c:v>7.1319999999999997</c:v>
                </c:pt>
                <c:pt idx="17181">
                  <c:v>7.133</c:v>
                </c:pt>
                <c:pt idx="17182">
                  <c:v>7.133</c:v>
                </c:pt>
                <c:pt idx="17183">
                  <c:v>7.133</c:v>
                </c:pt>
                <c:pt idx="17184">
                  <c:v>7.1319999999999997</c:v>
                </c:pt>
                <c:pt idx="17185">
                  <c:v>7.133</c:v>
                </c:pt>
                <c:pt idx="17186">
                  <c:v>7.1319999999999997</c:v>
                </c:pt>
                <c:pt idx="17187">
                  <c:v>7.133</c:v>
                </c:pt>
                <c:pt idx="17188">
                  <c:v>7.1319999999999997</c:v>
                </c:pt>
                <c:pt idx="17189">
                  <c:v>7.133</c:v>
                </c:pt>
                <c:pt idx="17190">
                  <c:v>7.1319999999999997</c:v>
                </c:pt>
                <c:pt idx="17191">
                  <c:v>7.1319999999999997</c:v>
                </c:pt>
                <c:pt idx="17192">
                  <c:v>7.1319999999999997</c:v>
                </c:pt>
                <c:pt idx="17193">
                  <c:v>7.133</c:v>
                </c:pt>
                <c:pt idx="17194">
                  <c:v>7.1319999999999997</c:v>
                </c:pt>
                <c:pt idx="17195">
                  <c:v>7.133</c:v>
                </c:pt>
                <c:pt idx="17196">
                  <c:v>7.1319999999999997</c:v>
                </c:pt>
                <c:pt idx="17197">
                  <c:v>7.1319999999999997</c:v>
                </c:pt>
                <c:pt idx="17198">
                  <c:v>7.1319999999999997</c:v>
                </c:pt>
                <c:pt idx="17199">
                  <c:v>7.1319999999999997</c:v>
                </c:pt>
                <c:pt idx="17200">
                  <c:v>7.1319999999999997</c:v>
                </c:pt>
                <c:pt idx="17201">
                  <c:v>7.1319999999999997</c:v>
                </c:pt>
                <c:pt idx="17202">
                  <c:v>7.133</c:v>
                </c:pt>
                <c:pt idx="17203">
                  <c:v>7.1319999999999997</c:v>
                </c:pt>
                <c:pt idx="17204">
                  <c:v>7.1319999999999997</c:v>
                </c:pt>
                <c:pt idx="17205">
                  <c:v>7.1319999999999997</c:v>
                </c:pt>
                <c:pt idx="17206">
                  <c:v>7.1319999999999997</c:v>
                </c:pt>
                <c:pt idx="17207">
                  <c:v>7.1319999999999997</c:v>
                </c:pt>
                <c:pt idx="17208">
                  <c:v>7.1319999999999997</c:v>
                </c:pt>
                <c:pt idx="17209">
                  <c:v>7.1310000000000002</c:v>
                </c:pt>
                <c:pt idx="17210">
                  <c:v>7.1319999999999997</c:v>
                </c:pt>
                <c:pt idx="17211">
                  <c:v>7.1310000000000002</c:v>
                </c:pt>
                <c:pt idx="17212">
                  <c:v>7.1319999999999997</c:v>
                </c:pt>
                <c:pt idx="17213">
                  <c:v>7.1319999999999997</c:v>
                </c:pt>
                <c:pt idx="17214">
                  <c:v>7.1310000000000002</c:v>
                </c:pt>
                <c:pt idx="17215">
                  <c:v>7.1310000000000002</c:v>
                </c:pt>
                <c:pt idx="17216">
                  <c:v>7.1319999999999997</c:v>
                </c:pt>
                <c:pt idx="17217">
                  <c:v>7.1319999999999997</c:v>
                </c:pt>
                <c:pt idx="17218">
                  <c:v>7.1310000000000002</c:v>
                </c:pt>
                <c:pt idx="17219">
                  <c:v>7.1319999999999997</c:v>
                </c:pt>
                <c:pt idx="17220">
                  <c:v>7.1319999999999997</c:v>
                </c:pt>
                <c:pt idx="17221">
                  <c:v>7.1310000000000002</c:v>
                </c:pt>
                <c:pt idx="17222">
                  <c:v>7.1319999999999997</c:v>
                </c:pt>
                <c:pt idx="17223">
                  <c:v>7.1319999999999997</c:v>
                </c:pt>
                <c:pt idx="17224">
                  <c:v>7.1310000000000002</c:v>
                </c:pt>
                <c:pt idx="17225">
                  <c:v>7.1310000000000002</c:v>
                </c:pt>
                <c:pt idx="17226">
                  <c:v>7.1310000000000002</c:v>
                </c:pt>
                <c:pt idx="17227">
                  <c:v>7.1319999999999997</c:v>
                </c:pt>
                <c:pt idx="17228">
                  <c:v>7.1319999999999997</c:v>
                </c:pt>
                <c:pt idx="17229">
                  <c:v>7.1310000000000002</c:v>
                </c:pt>
                <c:pt idx="17230">
                  <c:v>7.1310000000000002</c:v>
                </c:pt>
                <c:pt idx="17231">
                  <c:v>7.1319999999999997</c:v>
                </c:pt>
                <c:pt idx="17232">
                  <c:v>7.1319999999999997</c:v>
                </c:pt>
                <c:pt idx="17233">
                  <c:v>7.1310000000000002</c:v>
                </c:pt>
                <c:pt idx="17234">
                  <c:v>7.1310000000000002</c:v>
                </c:pt>
                <c:pt idx="17235">
                  <c:v>7.1319999999999997</c:v>
                </c:pt>
                <c:pt idx="17236">
                  <c:v>7.13</c:v>
                </c:pt>
                <c:pt idx="17237">
                  <c:v>7.1310000000000002</c:v>
                </c:pt>
                <c:pt idx="17238">
                  <c:v>7.1310000000000002</c:v>
                </c:pt>
                <c:pt idx="17239">
                  <c:v>7.1310000000000002</c:v>
                </c:pt>
                <c:pt idx="17240">
                  <c:v>7.1310000000000002</c:v>
                </c:pt>
                <c:pt idx="17241">
                  <c:v>7.1310000000000002</c:v>
                </c:pt>
                <c:pt idx="17242">
                  <c:v>7.1310000000000002</c:v>
                </c:pt>
                <c:pt idx="17243">
                  <c:v>7.1310000000000002</c:v>
                </c:pt>
                <c:pt idx="17244">
                  <c:v>7.1310000000000002</c:v>
                </c:pt>
                <c:pt idx="17245">
                  <c:v>7.1310000000000002</c:v>
                </c:pt>
                <c:pt idx="17246">
                  <c:v>7.1310000000000002</c:v>
                </c:pt>
                <c:pt idx="17247">
                  <c:v>7.1310000000000002</c:v>
                </c:pt>
                <c:pt idx="17248">
                  <c:v>7.1310000000000002</c:v>
                </c:pt>
                <c:pt idx="17249">
                  <c:v>7.1310000000000002</c:v>
                </c:pt>
                <c:pt idx="17250">
                  <c:v>7.1310000000000002</c:v>
                </c:pt>
                <c:pt idx="17251">
                  <c:v>7.1310000000000002</c:v>
                </c:pt>
                <c:pt idx="17252">
                  <c:v>7.1310000000000002</c:v>
                </c:pt>
                <c:pt idx="17253">
                  <c:v>7.13</c:v>
                </c:pt>
                <c:pt idx="17254">
                  <c:v>7.1310000000000002</c:v>
                </c:pt>
                <c:pt idx="17255">
                  <c:v>7.1310000000000002</c:v>
                </c:pt>
                <c:pt idx="17256">
                  <c:v>7.1310000000000002</c:v>
                </c:pt>
                <c:pt idx="17257">
                  <c:v>7.1310000000000002</c:v>
                </c:pt>
                <c:pt idx="17258">
                  <c:v>7.1310000000000002</c:v>
                </c:pt>
                <c:pt idx="17259">
                  <c:v>7.1310000000000002</c:v>
                </c:pt>
                <c:pt idx="17260">
                  <c:v>7.13</c:v>
                </c:pt>
                <c:pt idx="17261">
                  <c:v>7.13</c:v>
                </c:pt>
                <c:pt idx="17262">
                  <c:v>7.1310000000000002</c:v>
                </c:pt>
                <c:pt idx="17263">
                  <c:v>7.1310000000000002</c:v>
                </c:pt>
                <c:pt idx="17264">
                  <c:v>7.13</c:v>
                </c:pt>
                <c:pt idx="17265">
                  <c:v>7.13</c:v>
                </c:pt>
                <c:pt idx="17266">
                  <c:v>7.1310000000000002</c:v>
                </c:pt>
                <c:pt idx="17267">
                  <c:v>7.1310000000000002</c:v>
                </c:pt>
                <c:pt idx="17268">
                  <c:v>7.1310000000000002</c:v>
                </c:pt>
                <c:pt idx="17269">
                  <c:v>7.13</c:v>
                </c:pt>
                <c:pt idx="17270">
                  <c:v>7.13</c:v>
                </c:pt>
                <c:pt idx="17271">
                  <c:v>7.13</c:v>
                </c:pt>
                <c:pt idx="17272">
                  <c:v>7.1310000000000002</c:v>
                </c:pt>
                <c:pt idx="17273">
                  <c:v>7.13</c:v>
                </c:pt>
                <c:pt idx="17274">
                  <c:v>7.13</c:v>
                </c:pt>
                <c:pt idx="17275">
                  <c:v>7.13</c:v>
                </c:pt>
                <c:pt idx="17276">
                  <c:v>7.13</c:v>
                </c:pt>
                <c:pt idx="17277">
                  <c:v>7.13</c:v>
                </c:pt>
                <c:pt idx="17278">
                  <c:v>7.13</c:v>
                </c:pt>
                <c:pt idx="17279">
                  <c:v>7.13</c:v>
                </c:pt>
                <c:pt idx="17280">
                  <c:v>7.13</c:v>
                </c:pt>
              </c:numCache>
            </c:numRef>
          </c:yVal>
          <c:smooth val="0"/>
          <c:extLst>
            <c:ext xmlns:c16="http://schemas.microsoft.com/office/drawing/2014/chart" uri="{C3380CC4-5D6E-409C-BE32-E72D297353CC}">
              <c16:uniqueId val="{00000001-6268-48F6-B0F7-0778BFCED511}"/>
            </c:ext>
          </c:extLst>
        </c:ser>
        <c:dLbls>
          <c:showLegendKey val="0"/>
          <c:showVal val="0"/>
          <c:showCatName val="0"/>
          <c:showSerName val="0"/>
          <c:showPercent val="0"/>
          <c:showBubbleSize val="0"/>
        </c:dLbls>
        <c:axId val="267068160"/>
        <c:axId val="267070080"/>
      </c:scatterChart>
      <c:valAx>
        <c:axId val="267068160"/>
        <c:scaling>
          <c:orientation val="minMax"/>
          <c:max val="24"/>
          <c:min val="0"/>
        </c:scaling>
        <c:delete val="0"/>
        <c:axPos val="b"/>
        <c:title>
          <c:tx>
            <c:rich>
              <a:bodyPr/>
              <a:lstStyle/>
              <a:p>
                <a:pPr>
                  <a:defRPr/>
                </a:pPr>
                <a:r>
                  <a:rPr lang="en-GB" dirty="0"/>
                  <a:t>Time [hours]</a:t>
                </a:r>
              </a:p>
            </c:rich>
          </c:tx>
          <c:overlay val="0"/>
        </c:title>
        <c:numFmt formatCode="General" sourceLinked="1"/>
        <c:majorTickMark val="out"/>
        <c:minorTickMark val="out"/>
        <c:tickLblPos val="nextTo"/>
        <c:crossAx val="267070080"/>
        <c:crosses val="autoZero"/>
        <c:crossBetween val="midCat"/>
        <c:majorUnit val="6"/>
      </c:valAx>
      <c:valAx>
        <c:axId val="267070080"/>
        <c:scaling>
          <c:orientation val="minMax"/>
          <c:max val="9.5"/>
          <c:min val="7"/>
        </c:scaling>
        <c:delete val="0"/>
        <c:axPos val="l"/>
        <c:title>
          <c:tx>
            <c:rich>
              <a:bodyPr rot="-5400000" vert="horz"/>
              <a:lstStyle/>
              <a:p>
                <a:pPr>
                  <a:defRPr/>
                </a:pPr>
                <a:r>
                  <a:rPr lang="en-GB" dirty="0"/>
                  <a:t>pH- value [-]</a:t>
                </a:r>
              </a:p>
            </c:rich>
          </c:tx>
          <c:overlay val="0"/>
        </c:title>
        <c:numFmt formatCode="#,##0.00" sourceLinked="0"/>
        <c:majorTickMark val="out"/>
        <c:minorTickMark val="out"/>
        <c:tickLblPos val="nextTo"/>
        <c:crossAx val="267068160"/>
        <c:crosses val="autoZero"/>
        <c:crossBetween val="midCat"/>
      </c:valAx>
    </c:plotArea>
    <c:legend>
      <c:legendPos val="r"/>
      <c:legendEntry>
        <c:idx val="0"/>
        <c:delete val="1"/>
      </c:legendEntry>
      <c:layout>
        <c:manualLayout>
          <c:xMode val="edge"/>
          <c:yMode val="edge"/>
          <c:x val="0.88871559981148385"/>
          <c:y val="0.47288894135871773"/>
          <c:w val="0.11003110954442143"/>
          <c:h val="0.16728661698572525"/>
        </c:manualLayout>
      </c:layout>
      <c:overlay val="0"/>
    </c:legend>
    <c:plotVisOnly val="1"/>
    <c:dispBlanksAs val="gap"/>
    <c:showDLblsOverMax val="0"/>
  </c:chart>
  <c:txPr>
    <a:bodyPr/>
    <a:lstStyle/>
    <a:p>
      <a:pPr>
        <a:defRPr>
          <a:latin typeface="Arial" pitchFamily="34" charset="0"/>
          <a:cs typeface="Arial" pitchFamily="34" charset="0"/>
        </a:defRPr>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448115635495948E-2"/>
          <c:y val="0.1139644729595426"/>
          <c:w val="0.87252493791466312"/>
          <c:h val="0.75451232322530792"/>
        </c:manualLayout>
      </c:layout>
      <c:scatterChart>
        <c:scatterStyle val="lineMarker"/>
        <c:varyColors val="0"/>
        <c:ser>
          <c:idx val="1"/>
          <c:order val="0"/>
          <c:tx>
            <c:v>Kollicoat® Smartseal 30 D</c:v>
          </c:tx>
          <c:spPr>
            <a:ln w="25400">
              <a:noFill/>
            </a:ln>
            <a:effectLst/>
          </c:spPr>
          <c:marker>
            <c:symbol val="square"/>
            <c:size val="3"/>
            <c:spPr>
              <a:solidFill>
                <a:schemeClr val="accent1"/>
              </a:solidFill>
              <a:ln>
                <a:solidFill>
                  <a:schemeClr val="accent1"/>
                </a:solidFill>
                <a:prstDash val="solid"/>
              </a:ln>
            </c:spPr>
          </c:marker>
          <c:xVal>
            <c:numRef>
              <c:f>'01'!$A$97:$A$136</c:f>
              <c:numCache>
                <c:formatCode>General</c:formatCode>
                <c:ptCount val="40"/>
                <c:pt idx="0">
                  <c:v>6.66</c:v>
                </c:pt>
                <c:pt idx="1">
                  <c:v>6.63</c:v>
                </c:pt>
                <c:pt idx="2">
                  <c:v>6.14</c:v>
                </c:pt>
                <c:pt idx="3">
                  <c:v>6.14</c:v>
                </c:pt>
                <c:pt idx="4">
                  <c:v>5.71</c:v>
                </c:pt>
                <c:pt idx="5">
                  <c:v>5.73</c:v>
                </c:pt>
                <c:pt idx="6">
                  <c:v>5.29</c:v>
                </c:pt>
                <c:pt idx="7">
                  <c:v>5.34</c:v>
                </c:pt>
                <c:pt idx="8">
                  <c:v>4.9800000000000004</c:v>
                </c:pt>
                <c:pt idx="9">
                  <c:v>5</c:v>
                </c:pt>
                <c:pt idx="10">
                  <c:v>4.5999999999999996</c:v>
                </c:pt>
                <c:pt idx="11">
                  <c:v>4.6100000000000003</c:v>
                </c:pt>
                <c:pt idx="12">
                  <c:v>4.25</c:v>
                </c:pt>
                <c:pt idx="13">
                  <c:v>4.26</c:v>
                </c:pt>
                <c:pt idx="14">
                  <c:v>3.93</c:v>
                </c:pt>
                <c:pt idx="15">
                  <c:v>3.94</c:v>
                </c:pt>
                <c:pt idx="16">
                  <c:v>3.61</c:v>
                </c:pt>
                <c:pt idx="17">
                  <c:v>3.63</c:v>
                </c:pt>
                <c:pt idx="18">
                  <c:v>3.31</c:v>
                </c:pt>
                <c:pt idx="19">
                  <c:v>3.31</c:v>
                </c:pt>
                <c:pt idx="20">
                  <c:v>6.44</c:v>
                </c:pt>
                <c:pt idx="21">
                  <c:v>6.4</c:v>
                </c:pt>
                <c:pt idx="22">
                  <c:v>6.83</c:v>
                </c:pt>
                <c:pt idx="23">
                  <c:v>6.81</c:v>
                </c:pt>
                <c:pt idx="24">
                  <c:v>7.26</c:v>
                </c:pt>
                <c:pt idx="25">
                  <c:v>7.23</c:v>
                </c:pt>
                <c:pt idx="26">
                  <c:v>7.59</c:v>
                </c:pt>
                <c:pt idx="27">
                  <c:v>7.4</c:v>
                </c:pt>
                <c:pt idx="28">
                  <c:v>7.91</c:v>
                </c:pt>
                <c:pt idx="29">
                  <c:v>7.71</c:v>
                </c:pt>
                <c:pt idx="30">
                  <c:v>8.49</c:v>
                </c:pt>
                <c:pt idx="31">
                  <c:v>8.4600000000000009</c:v>
                </c:pt>
                <c:pt idx="32">
                  <c:v>8.8699999999999992</c:v>
                </c:pt>
                <c:pt idx="33">
                  <c:v>8.86</c:v>
                </c:pt>
                <c:pt idx="34">
                  <c:v>9.17</c:v>
                </c:pt>
                <c:pt idx="35">
                  <c:v>9.16</c:v>
                </c:pt>
                <c:pt idx="36">
                  <c:v>9.44</c:v>
                </c:pt>
                <c:pt idx="37">
                  <c:v>9.43</c:v>
                </c:pt>
                <c:pt idx="38">
                  <c:v>9.6999999999999993</c:v>
                </c:pt>
                <c:pt idx="39">
                  <c:v>9.6999999999999993</c:v>
                </c:pt>
              </c:numCache>
            </c:numRef>
          </c:xVal>
          <c:yVal>
            <c:numRef>
              <c:f>'01'!$B$97:$B$136</c:f>
              <c:numCache>
                <c:formatCode>General</c:formatCode>
                <c:ptCount val="40"/>
                <c:pt idx="0">
                  <c:v>1.869</c:v>
                </c:pt>
                <c:pt idx="1">
                  <c:v>1.9730000000000001</c:v>
                </c:pt>
                <c:pt idx="2">
                  <c:v>2.6459999999999999</c:v>
                </c:pt>
                <c:pt idx="3">
                  <c:v>2.6829999999999998</c:v>
                </c:pt>
                <c:pt idx="4">
                  <c:v>3.22</c:v>
                </c:pt>
                <c:pt idx="5">
                  <c:v>3.198</c:v>
                </c:pt>
                <c:pt idx="6">
                  <c:v>2.9159999999999999</c:v>
                </c:pt>
                <c:pt idx="7">
                  <c:v>2.9620000000000002</c:v>
                </c:pt>
                <c:pt idx="8">
                  <c:v>3.43</c:v>
                </c:pt>
                <c:pt idx="9">
                  <c:v>3.194</c:v>
                </c:pt>
                <c:pt idx="10">
                  <c:v>3.419</c:v>
                </c:pt>
                <c:pt idx="11">
                  <c:v>3.42</c:v>
                </c:pt>
                <c:pt idx="12">
                  <c:v>3.4119999999999999</c:v>
                </c:pt>
                <c:pt idx="13">
                  <c:v>3.3159999999999998</c:v>
                </c:pt>
                <c:pt idx="14">
                  <c:v>3.4249999999999998</c:v>
                </c:pt>
                <c:pt idx="15">
                  <c:v>3.4119999999999999</c:v>
                </c:pt>
                <c:pt idx="16">
                  <c:v>3.36</c:v>
                </c:pt>
                <c:pt idx="17">
                  <c:v>3.5139999999999998</c:v>
                </c:pt>
                <c:pt idx="18">
                  <c:v>3.3210000000000002</c:v>
                </c:pt>
                <c:pt idx="19">
                  <c:v>3.379</c:v>
                </c:pt>
                <c:pt idx="20">
                  <c:v>2.3220000000000001</c:v>
                </c:pt>
                <c:pt idx="21">
                  <c:v>2.3439999999999999</c:v>
                </c:pt>
                <c:pt idx="22">
                  <c:v>1.637</c:v>
                </c:pt>
                <c:pt idx="23">
                  <c:v>1.6659999999999999</c:v>
                </c:pt>
                <c:pt idx="24">
                  <c:v>1.01</c:v>
                </c:pt>
                <c:pt idx="25">
                  <c:v>1.036</c:v>
                </c:pt>
                <c:pt idx="26">
                  <c:v>0.2495</c:v>
                </c:pt>
                <c:pt idx="27">
                  <c:v>0.51959999999999995</c:v>
                </c:pt>
                <c:pt idx="28">
                  <c:v>-0.1855</c:v>
                </c:pt>
                <c:pt idx="29">
                  <c:v>-3.4369999999999998E-2</c:v>
                </c:pt>
                <c:pt idx="30">
                  <c:v>-1.2749999999999999</c:v>
                </c:pt>
                <c:pt idx="31">
                  <c:v>-1.175</c:v>
                </c:pt>
                <c:pt idx="32">
                  <c:v>-1.8080000000000001</c:v>
                </c:pt>
                <c:pt idx="33">
                  <c:v>-1.9530000000000001</c:v>
                </c:pt>
                <c:pt idx="34">
                  <c:v>-2.3519999999999999</c:v>
                </c:pt>
                <c:pt idx="35">
                  <c:v>-2.4319999999999999</c:v>
                </c:pt>
                <c:pt idx="36">
                  <c:v>-2.8180000000000001</c:v>
                </c:pt>
                <c:pt idx="37">
                  <c:v>-2.7229999999999999</c:v>
                </c:pt>
                <c:pt idx="38">
                  <c:v>-3.01</c:v>
                </c:pt>
                <c:pt idx="39">
                  <c:v>-3.0830000000000002</c:v>
                </c:pt>
              </c:numCache>
            </c:numRef>
          </c:yVal>
          <c:smooth val="1"/>
          <c:extLst>
            <c:ext xmlns:c16="http://schemas.microsoft.com/office/drawing/2014/chart" uri="{C3380CC4-5D6E-409C-BE32-E72D297353CC}">
              <c16:uniqueId val="{00000000-BE3A-4264-886B-DA07A78310CA}"/>
            </c:ext>
          </c:extLst>
        </c:ser>
        <c:dLbls>
          <c:showLegendKey val="0"/>
          <c:showVal val="0"/>
          <c:showCatName val="0"/>
          <c:showSerName val="0"/>
          <c:showPercent val="0"/>
          <c:showBubbleSize val="0"/>
        </c:dLbls>
        <c:axId val="267108736"/>
        <c:axId val="267111040"/>
      </c:scatterChart>
      <c:valAx>
        <c:axId val="267108736"/>
        <c:scaling>
          <c:orientation val="minMax"/>
          <c:max val="10"/>
          <c:min val="3"/>
        </c:scaling>
        <c:delete val="0"/>
        <c:axPos val="b"/>
        <c:title>
          <c:tx>
            <c:rich>
              <a:bodyPr/>
              <a:lstStyle/>
              <a:p>
                <a:pPr>
                  <a:defRPr b="1"/>
                </a:pPr>
                <a:r>
                  <a:rPr lang="de-DE" b="1"/>
                  <a:t>pH value [-]</a:t>
                </a:r>
              </a:p>
            </c:rich>
          </c:tx>
          <c:layout>
            <c:manualLayout>
              <c:xMode val="edge"/>
              <c:yMode val="edge"/>
              <c:x val="0.45419525568076086"/>
              <c:y val="0.65237929216778567"/>
            </c:manualLayout>
          </c:layout>
          <c:overlay val="0"/>
          <c:spPr>
            <a:noFill/>
            <a:ln w="25400">
              <a:noFill/>
            </a:ln>
            <a:effectLst/>
          </c:spPr>
        </c:title>
        <c:numFmt formatCode="General" sourceLinked="0"/>
        <c:majorTickMark val="out"/>
        <c:minorTickMark val="none"/>
        <c:tickLblPos val="nextTo"/>
        <c:spPr>
          <a:solidFill>
            <a:schemeClr val="bg2"/>
          </a:solidFill>
          <a:ln w="3175">
            <a:solidFill>
              <a:schemeClr val="tx1"/>
            </a:solidFill>
            <a:prstDash val="solid"/>
          </a:ln>
          <a:effectLst/>
        </c:spPr>
        <c:txPr>
          <a:bodyPr rot="0" vert="horz"/>
          <a:lstStyle/>
          <a:p>
            <a:pPr>
              <a:defRPr/>
            </a:pPr>
            <a:endParaRPr lang="en-US"/>
          </a:p>
        </c:txPr>
        <c:crossAx val="267111040"/>
        <c:crossesAt val="0"/>
        <c:crossBetween val="midCat"/>
        <c:minorUnit val="0.1"/>
      </c:valAx>
      <c:valAx>
        <c:axId val="267111040"/>
        <c:scaling>
          <c:orientation val="minMax"/>
        </c:scaling>
        <c:delete val="0"/>
        <c:axPos val="l"/>
        <c:title>
          <c:tx>
            <c:rich>
              <a:bodyPr/>
              <a:lstStyle/>
              <a:p>
                <a:pPr>
                  <a:defRPr b="1"/>
                </a:pPr>
                <a:r>
                  <a:rPr lang="de-DE" b="1"/>
                  <a:t>Mobility [(µm/s)/(V/cm)]</a:t>
                </a:r>
              </a:p>
            </c:rich>
          </c:tx>
          <c:layout>
            <c:manualLayout>
              <c:xMode val="edge"/>
              <c:yMode val="edge"/>
              <c:x val="1.1313363036261254E-2"/>
              <c:y val="0.21312230833392942"/>
            </c:manualLayout>
          </c:layout>
          <c:overlay val="0"/>
          <c:spPr>
            <a:noFill/>
            <a:ln w="25400">
              <a:noFill/>
            </a:ln>
            <a:effectLst/>
          </c:spPr>
        </c:title>
        <c:numFmt formatCode="General" sourceLinked="0"/>
        <c:majorTickMark val="out"/>
        <c:minorTickMark val="none"/>
        <c:tickLblPos val="nextTo"/>
        <c:spPr>
          <a:ln w="3175">
            <a:solidFill>
              <a:schemeClr val="tx1"/>
            </a:solidFill>
            <a:prstDash val="solid"/>
          </a:ln>
          <a:effectLst/>
        </c:spPr>
        <c:txPr>
          <a:bodyPr rot="0" vert="horz"/>
          <a:lstStyle/>
          <a:p>
            <a:pPr>
              <a:defRPr/>
            </a:pPr>
            <a:endParaRPr lang="en-US"/>
          </a:p>
        </c:txPr>
        <c:crossAx val="267108736"/>
        <c:crossesAt val="-4"/>
        <c:crossBetween val="midCat"/>
        <c:majorUnit val="1"/>
        <c:minorUnit val="0.1"/>
      </c:valAx>
      <c:spPr>
        <a:noFill/>
        <a:ln w="25400">
          <a:noFill/>
        </a:ln>
      </c:spPr>
    </c:plotArea>
    <c:plotVisOnly val="1"/>
    <c:dispBlanksAs val="gap"/>
    <c:showDLblsOverMax val="0"/>
  </c:chart>
  <c:spPr>
    <a:noFill/>
    <a:ln w="9525">
      <a:noFill/>
    </a:ln>
  </c:spPr>
  <c:txPr>
    <a:bodyPr/>
    <a:lstStyle/>
    <a:p>
      <a:pPr>
        <a:defRPr sz="1200" b="0" i="0" u="none" strike="noStrike" baseline="0">
          <a:solidFill>
            <a:srgbClr val="000000"/>
          </a:solidFill>
          <a:latin typeface="+mn-lt"/>
          <a:ea typeface="Arial"/>
          <a:cs typeface="Arial"/>
        </a:defRPr>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629815529673866"/>
          <c:y val="2.507053090536035E-2"/>
          <c:w val="0.66731568772304806"/>
          <c:h val="0.85801244736798155"/>
        </c:manualLayout>
      </c:layout>
      <c:barChart>
        <c:barDir val="col"/>
        <c:grouping val="clustered"/>
        <c:varyColors val="0"/>
        <c:ser>
          <c:idx val="0"/>
          <c:order val="0"/>
          <c:tx>
            <c:strRef>
              <c:f>'Data (1)'!$A$2:$A$3</c:f>
              <c:strCache>
                <c:ptCount val="1"/>
                <c:pt idx="0">
                  <c:v>Smartseal
+ 13 % plasticiser</c:v>
                </c:pt>
              </c:strCache>
            </c:strRef>
          </c:tx>
          <c:spPr>
            <a:solidFill>
              <a:schemeClr val="accent1"/>
            </a:solidFill>
          </c:spPr>
          <c:invertIfNegative val="0"/>
          <c:dLbls>
            <c:numFmt formatCode="#,##0" sourceLinked="0"/>
            <c:spPr>
              <a:solidFill>
                <a:schemeClr val="bg1"/>
              </a:solidFill>
              <a:ln>
                <a:noFill/>
              </a:ln>
              <a:effectLst/>
            </c:spPr>
            <c:txPr>
              <a:bodyPr/>
              <a:lstStyle/>
              <a:p>
                <a:pPr>
                  <a:defRPr sz="1100" b="1"/>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Data (1)'!$C$17:$I$17</c:f>
                <c:numCache>
                  <c:formatCode>General</c:formatCode>
                  <c:ptCount val="7"/>
                  <c:pt idx="0">
                    <c:v>0</c:v>
                  </c:pt>
                  <c:pt idx="1">
                    <c:v>7.2</c:v>
                  </c:pt>
                  <c:pt idx="2">
                    <c:v>1.43</c:v>
                  </c:pt>
                  <c:pt idx="3">
                    <c:v>4.5</c:v>
                  </c:pt>
                  <c:pt idx="4">
                    <c:v>0</c:v>
                  </c:pt>
                  <c:pt idx="5">
                    <c:v>1.98</c:v>
                  </c:pt>
                  <c:pt idx="6">
                    <c:v>0.02</c:v>
                  </c:pt>
                </c:numCache>
              </c:numRef>
            </c:plus>
            <c:minus>
              <c:numRef>
                <c:f>'Data (1)'!$C$17:$I$17</c:f>
                <c:numCache>
                  <c:formatCode>General</c:formatCode>
                  <c:ptCount val="7"/>
                  <c:pt idx="0">
                    <c:v>0</c:v>
                  </c:pt>
                  <c:pt idx="1">
                    <c:v>7.2</c:v>
                  </c:pt>
                  <c:pt idx="2">
                    <c:v>1.43</c:v>
                  </c:pt>
                  <c:pt idx="3">
                    <c:v>4.5</c:v>
                  </c:pt>
                  <c:pt idx="4">
                    <c:v>0</c:v>
                  </c:pt>
                  <c:pt idx="5">
                    <c:v>1.98</c:v>
                  </c:pt>
                  <c:pt idx="6">
                    <c:v>0.02</c:v>
                  </c:pt>
                </c:numCache>
              </c:numRef>
            </c:minus>
          </c:errBars>
          <c:cat>
            <c:strRef>
              <c:f>'Data (1)'!$C$1:$I$1</c:f>
              <c:strCache>
                <c:ptCount val="7"/>
                <c:pt idx="0">
                  <c:v>TAC</c:v>
                </c:pt>
                <c:pt idx="1">
                  <c:v>TBC</c:v>
                </c:pt>
                <c:pt idx="2">
                  <c:v>ATBC</c:v>
                </c:pt>
                <c:pt idx="3">
                  <c:v>TEC</c:v>
                </c:pt>
                <c:pt idx="4">
                  <c:v>ATEC</c:v>
                </c:pt>
                <c:pt idx="5">
                  <c:v>DBS</c:v>
                </c:pt>
                <c:pt idx="6">
                  <c:v>P 124</c:v>
                </c:pt>
              </c:strCache>
            </c:strRef>
          </c:cat>
          <c:val>
            <c:numRef>
              <c:f>'Data (1)'!$C$2:$I$2</c:f>
              <c:numCache>
                <c:formatCode>General</c:formatCode>
                <c:ptCount val="7"/>
                <c:pt idx="0">
                  <c:v>1</c:v>
                </c:pt>
                <c:pt idx="1">
                  <c:v>45</c:v>
                </c:pt>
                <c:pt idx="2">
                  <c:v>13</c:v>
                </c:pt>
                <c:pt idx="3">
                  <c:v>18</c:v>
                </c:pt>
                <c:pt idx="4">
                  <c:v>0.5</c:v>
                </c:pt>
                <c:pt idx="5">
                  <c:v>18</c:v>
                </c:pt>
                <c:pt idx="6">
                  <c:v>2</c:v>
                </c:pt>
              </c:numCache>
            </c:numRef>
          </c:val>
          <c:extLst>
            <c:ext xmlns:c16="http://schemas.microsoft.com/office/drawing/2014/chart" uri="{C3380CC4-5D6E-409C-BE32-E72D297353CC}">
              <c16:uniqueId val="{00000000-398F-480B-830B-4BEDE937176C}"/>
            </c:ext>
          </c:extLst>
        </c:ser>
        <c:ser>
          <c:idx val="1"/>
          <c:order val="1"/>
          <c:tx>
            <c:strRef>
              <c:f>'Data (1)'!$A$4:$A$5</c:f>
              <c:strCache>
                <c:ptCount val="1"/>
                <c:pt idx="0">
                  <c:v>Smartseal
+ 13 % plasticiser
+ 2.5 % BHT</c:v>
                </c:pt>
              </c:strCache>
            </c:strRef>
          </c:tx>
          <c:spPr>
            <a:solidFill>
              <a:srgbClr val="F4A134"/>
            </a:solidFill>
          </c:spPr>
          <c:invertIfNegative val="0"/>
          <c:dLbls>
            <c:numFmt formatCode="#,##0" sourceLinked="0"/>
            <c:spPr>
              <a:solidFill>
                <a:schemeClr val="bg1"/>
              </a:solidFill>
              <a:ln>
                <a:noFill/>
              </a:ln>
              <a:effectLst/>
            </c:spPr>
            <c:txPr>
              <a:bodyPr/>
              <a:lstStyle/>
              <a:p>
                <a:pPr>
                  <a:defRPr sz="1100" b="1"/>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Data (1)'!$C$19:$I$19</c:f>
                <c:numCache>
                  <c:formatCode>General</c:formatCode>
                  <c:ptCount val="7"/>
                  <c:pt idx="0">
                    <c:v>15</c:v>
                  </c:pt>
                  <c:pt idx="1">
                    <c:v>10.780000000000001</c:v>
                  </c:pt>
                  <c:pt idx="2">
                    <c:v>7.36</c:v>
                  </c:pt>
                  <c:pt idx="3">
                    <c:v>7.26</c:v>
                  </c:pt>
                  <c:pt idx="4">
                    <c:v>2.85</c:v>
                  </c:pt>
                  <c:pt idx="5">
                    <c:v>1.46</c:v>
                  </c:pt>
                  <c:pt idx="6">
                    <c:v>0.06</c:v>
                  </c:pt>
                </c:numCache>
              </c:numRef>
            </c:plus>
            <c:minus>
              <c:numRef>
                <c:f>'Data (1)'!$C$19:$I$19</c:f>
                <c:numCache>
                  <c:formatCode>General</c:formatCode>
                  <c:ptCount val="7"/>
                  <c:pt idx="0">
                    <c:v>15</c:v>
                  </c:pt>
                  <c:pt idx="1">
                    <c:v>10.780000000000001</c:v>
                  </c:pt>
                  <c:pt idx="2">
                    <c:v>7.36</c:v>
                  </c:pt>
                  <c:pt idx="3">
                    <c:v>7.26</c:v>
                  </c:pt>
                  <c:pt idx="4">
                    <c:v>2.85</c:v>
                  </c:pt>
                  <c:pt idx="5">
                    <c:v>1.46</c:v>
                  </c:pt>
                  <c:pt idx="6">
                    <c:v>0.06</c:v>
                  </c:pt>
                </c:numCache>
              </c:numRef>
            </c:minus>
          </c:errBars>
          <c:val>
            <c:numRef>
              <c:f>'Data (1)'!$C$4:$I$4</c:f>
              <c:numCache>
                <c:formatCode>General</c:formatCode>
                <c:ptCount val="7"/>
                <c:pt idx="0">
                  <c:v>100</c:v>
                </c:pt>
                <c:pt idx="1">
                  <c:v>77</c:v>
                </c:pt>
                <c:pt idx="2">
                  <c:v>32</c:v>
                </c:pt>
                <c:pt idx="3">
                  <c:v>33</c:v>
                </c:pt>
                <c:pt idx="4">
                  <c:v>19</c:v>
                </c:pt>
                <c:pt idx="5">
                  <c:v>73</c:v>
                </c:pt>
                <c:pt idx="6">
                  <c:v>3</c:v>
                </c:pt>
              </c:numCache>
            </c:numRef>
          </c:val>
          <c:extLst>
            <c:ext xmlns:c16="http://schemas.microsoft.com/office/drawing/2014/chart" uri="{C3380CC4-5D6E-409C-BE32-E72D297353CC}">
              <c16:uniqueId val="{00000001-398F-480B-830B-4BEDE937176C}"/>
            </c:ext>
          </c:extLst>
        </c:ser>
        <c:dLbls>
          <c:showLegendKey val="0"/>
          <c:showVal val="0"/>
          <c:showCatName val="0"/>
          <c:showSerName val="0"/>
          <c:showPercent val="0"/>
          <c:showBubbleSize val="0"/>
        </c:dLbls>
        <c:gapWidth val="150"/>
        <c:overlap val="-20"/>
        <c:axId val="264528256"/>
        <c:axId val="264529792"/>
      </c:barChart>
      <c:catAx>
        <c:axId val="264528256"/>
        <c:scaling>
          <c:orientation val="minMax"/>
        </c:scaling>
        <c:delete val="0"/>
        <c:axPos val="b"/>
        <c:numFmt formatCode="General" sourceLinked="0"/>
        <c:majorTickMark val="out"/>
        <c:minorTickMark val="none"/>
        <c:tickLblPos val="nextTo"/>
        <c:spPr>
          <a:ln>
            <a:solidFill>
              <a:schemeClr val="tx1"/>
            </a:solidFill>
          </a:ln>
        </c:spPr>
        <c:txPr>
          <a:bodyPr/>
          <a:lstStyle/>
          <a:p>
            <a:pPr>
              <a:defRPr sz="1600" b="1"/>
            </a:pPr>
            <a:endParaRPr lang="en-US"/>
          </a:p>
        </c:txPr>
        <c:crossAx val="264529792"/>
        <c:crosses val="autoZero"/>
        <c:auto val="1"/>
        <c:lblAlgn val="ctr"/>
        <c:lblOffset val="100"/>
        <c:noMultiLvlLbl val="0"/>
      </c:catAx>
      <c:valAx>
        <c:axId val="264529792"/>
        <c:scaling>
          <c:orientation val="minMax"/>
          <c:max val="120"/>
        </c:scaling>
        <c:delete val="0"/>
        <c:axPos val="l"/>
        <c:title>
          <c:tx>
            <c:rich>
              <a:bodyPr rot="-5400000" vert="horz"/>
              <a:lstStyle/>
              <a:p>
                <a:pPr>
                  <a:defRPr sz="1600"/>
                </a:pPr>
                <a:r>
                  <a:rPr lang="en-GB" sz="1600"/>
                  <a:t>Elongation at break [%]</a:t>
                </a:r>
              </a:p>
            </c:rich>
          </c:tx>
          <c:overlay val="0"/>
        </c:title>
        <c:numFmt formatCode="General" sourceLinked="1"/>
        <c:majorTickMark val="out"/>
        <c:minorTickMark val="out"/>
        <c:tickLblPos val="nextTo"/>
        <c:spPr>
          <a:ln>
            <a:solidFill>
              <a:schemeClr val="tx1"/>
            </a:solidFill>
          </a:ln>
        </c:spPr>
        <c:txPr>
          <a:bodyPr/>
          <a:lstStyle/>
          <a:p>
            <a:pPr>
              <a:defRPr sz="1400"/>
            </a:pPr>
            <a:endParaRPr lang="en-US"/>
          </a:p>
        </c:txPr>
        <c:crossAx val="264528256"/>
        <c:crosses val="autoZero"/>
        <c:crossBetween val="between"/>
      </c:valAx>
    </c:plotArea>
    <c:legend>
      <c:legendPos val="r"/>
      <c:layout>
        <c:manualLayout>
          <c:xMode val="edge"/>
          <c:yMode val="edge"/>
          <c:x val="0.64785317061753189"/>
          <c:y val="0"/>
          <c:w val="0.3427400072884354"/>
          <c:h val="0.34503815291363532"/>
        </c:manualLayout>
      </c:layout>
      <c:overlay val="0"/>
      <c:txPr>
        <a:bodyPr/>
        <a:lstStyle/>
        <a:p>
          <a:pPr>
            <a:defRPr sz="1600"/>
          </a:pPr>
          <a:endParaRPr lang="en-US"/>
        </a:p>
      </c:txPr>
    </c:legend>
    <c:plotVisOnly val="1"/>
    <c:dispBlanksAs val="gap"/>
    <c:showDLblsOverMax val="0"/>
  </c:chart>
  <c:txPr>
    <a:bodyPr/>
    <a:lstStyle/>
    <a:p>
      <a:pPr>
        <a:defRPr>
          <a:latin typeface="Arial" pitchFamily="34" charset="0"/>
          <a:cs typeface="Arial" pitchFamily="34"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915399600700787E-2"/>
          <c:y val="7.5396872303455126E-2"/>
          <c:w val="0.59703776191545743"/>
          <c:h val="0.75682927694180779"/>
        </c:manualLayout>
      </c:layout>
      <c:scatterChart>
        <c:scatterStyle val="smoothMarker"/>
        <c:varyColors val="0"/>
        <c:ser>
          <c:idx val="3"/>
          <c:order val="2"/>
          <c:tx>
            <c:v>Smartseal 30 D, aqu. No curing</c:v>
          </c:tx>
          <c:spPr>
            <a:ln w="15875" cap="rnd">
              <a:solidFill>
                <a:srgbClr val="FF0000"/>
              </a:solidFill>
              <a:round/>
            </a:ln>
            <a:effectLst/>
          </c:spPr>
          <c:marker>
            <c:symbol val="circle"/>
            <c:size val="3"/>
            <c:spPr>
              <a:solidFill>
                <a:srgbClr val="FF0000"/>
              </a:solidFill>
              <a:ln w="9525">
                <a:solidFill>
                  <a:srgbClr val="FF0000"/>
                </a:solidFill>
              </a:ln>
              <a:effectLst/>
            </c:spPr>
          </c:marker>
          <c:xVal>
            <c:numRef>
              <c:f>'04_15%wg PP 6,8_Granu_AGW'!$A$152:$A$212</c:f>
              <c:numCache>
                <c:formatCode>#,#00</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f>'04_15%wg PP 6,8_Granu_AGW'!$B$152:$B$212</c:f>
              <c:numCache>
                <c:formatCode>0.0</c:formatCode>
                <c:ptCount val="61"/>
                <c:pt idx="0">
                  <c:v>-6.2869094653505028E-2</c:v>
                </c:pt>
                <c:pt idx="1">
                  <c:v>5.2610837654147096</c:v>
                </c:pt>
                <c:pt idx="2">
                  <c:v>20.142460436433069</c:v>
                </c:pt>
                <c:pt idx="3">
                  <c:v>38.08637673134016</c:v>
                </c:pt>
                <c:pt idx="4">
                  <c:v>53.679893181111709</c:v>
                </c:pt>
                <c:pt idx="5">
                  <c:v>64.935478947963006</c:v>
                </c:pt>
                <c:pt idx="6">
                  <c:v>72.514273452776294</c:v>
                </c:pt>
                <c:pt idx="7">
                  <c:v>78.183980085433973</c:v>
                </c:pt>
                <c:pt idx="8">
                  <c:v>83.218596251741701</c:v>
                </c:pt>
                <c:pt idx="9">
                  <c:v>86.833907862243237</c:v>
                </c:pt>
                <c:pt idx="10">
                  <c:v>90.084728350302598</c:v>
                </c:pt>
                <c:pt idx="11">
                  <c:v>92.470560237973459</c:v>
                </c:pt>
                <c:pt idx="12">
                  <c:v>94.296284463723467</c:v>
                </c:pt>
                <c:pt idx="13">
                  <c:v>95.786903914125745</c:v>
                </c:pt>
                <c:pt idx="14">
                  <c:v>96.937426819366678</c:v>
                </c:pt>
                <c:pt idx="15">
                  <c:v>97.64039214204945</c:v>
                </c:pt>
                <c:pt idx="16">
                  <c:v>98.226977167093096</c:v>
                </c:pt>
                <c:pt idx="17">
                  <c:v>98.545049980533847</c:v>
                </c:pt>
                <c:pt idx="18">
                  <c:v>98.850237185553752</c:v>
                </c:pt>
                <c:pt idx="19">
                  <c:v>99.017944436084363</c:v>
                </c:pt>
                <c:pt idx="20">
                  <c:v>99.19079565123468</c:v>
                </c:pt>
                <c:pt idx="21">
                  <c:v>99.215061136996169</c:v>
                </c:pt>
                <c:pt idx="22">
                  <c:v>99.276797350187636</c:v>
                </c:pt>
                <c:pt idx="23">
                  <c:v>99.300243455520231</c:v>
                </c:pt>
                <c:pt idx="24">
                  <c:v>99.264053893542268</c:v>
                </c:pt>
                <c:pt idx="25">
                  <c:v>99.344987469864961</c:v>
                </c:pt>
                <c:pt idx="26">
                  <c:v>99.293155330210368</c:v>
                </c:pt>
                <c:pt idx="27">
                  <c:v>99.345957602948943</c:v>
                </c:pt>
                <c:pt idx="28">
                  <c:v>99.347819626782368</c:v>
                </c:pt>
                <c:pt idx="29">
                  <c:v>99.348355792491432</c:v>
                </c:pt>
                <c:pt idx="30">
                  <c:v>99.330130574880855</c:v>
                </c:pt>
                <c:pt idx="31">
                  <c:v>99.355605236320272</c:v>
                </c:pt>
                <c:pt idx="32">
                  <c:v>99.331355046792098</c:v>
                </c:pt>
                <c:pt idx="33">
                  <c:v>99.394214905676549</c:v>
                </c:pt>
                <c:pt idx="34">
                  <c:v>99.350590493284997</c:v>
                </c:pt>
                <c:pt idx="35">
                  <c:v>99.361476253121495</c:v>
                </c:pt>
                <c:pt idx="36">
                  <c:v>99.418007220425963</c:v>
                </c:pt>
                <c:pt idx="37">
                  <c:v>99.39609954112187</c:v>
                </c:pt>
                <c:pt idx="38">
                  <c:v>99.362892112613395</c:v>
                </c:pt>
                <c:pt idx="39">
                  <c:v>99.377508338188662</c:v>
                </c:pt>
                <c:pt idx="40">
                  <c:v>99.422888547775969</c:v>
                </c:pt>
                <c:pt idx="41">
                  <c:v>99.398472229319282</c:v>
                </c:pt>
                <c:pt idx="42">
                  <c:v>99.40439391521501</c:v>
                </c:pt>
                <c:pt idx="43">
                  <c:v>99.441774376287569</c:v>
                </c:pt>
                <c:pt idx="44">
                  <c:v>99.411360788932598</c:v>
                </c:pt>
                <c:pt idx="45">
                  <c:v>99.383865008540212</c:v>
                </c:pt>
                <c:pt idx="46">
                  <c:v>99.408314611955078</c:v>
                </c:pt>
                <c:pt idx="47">
                  <c:v>99.412820406914648</c:v>
                </c:pt>
                <c:pt idx="48">
                  <c:v>99.425754853798708</c:v>
                </c:pt>
                <c:pt idx="49">
                  <c:v>99.397111284762943</c:v>
                </c:pt>
                <c:pt idx="50">
                  <c:v>99.406456559253684</c:v>
                </c:pt>
                <c:pt idx="51">
                  <c:v>99.447243088716789</c:v>
                </c:pt>
                <c:pt idx="52">
                  <c:v>99.426701569438592</c:v>
                </c:pt>
                <c:pt idx="53">
                  <c:v>99.435174551854061</c:v>
                </c:pt>
                <c:pt idx="54">
                  <c:v>99.422916263087146</c:v>
                </c:pt>
                <c:pt idx="55">
                  <c:v>99.409351685140905</c:v>
                </c:pt>
                <c:pt idx="56">
                  <c:v>99.418451590726022</c:v>
                </c:pt>
                <c:pt idx="57">
                  <c:v>99.41731062121265</c:v>
                </c:pt>
                <c:pt idx="58">
                  <c:v>99.422615700249082</c:v>
                </c:pt>
                <c:pt idx="59">
                  <c:v>99.431488440046465</c:v>
                </c:pt>
                <c:pt idx="60">
                  <c:v>99.42920860921862</c:v>
                </c:pt>
              </c:numCache>
            </c:numRef>
          </c:yVal>
          <c:smooth val="1"/>
          <c:extLst>
            <c:ext xmlns:c16="http://schemas.microsoft.com/office/drawing/2014/chart" uri="{C3380CC4-5D6E-409C-BE32-E72D297353CC}">
              <c16:uniqueId val="{00000000-A921-470D-A611-1C4FC8F04A23}"/>
            </c:ext>
          </c:extLst>
        </c:ser>
        <c:ser>
          <c:idx val="5"/>
          <c:order val="3"/>
          <c:tx>
            <c:v>Smartseal 30 D, aqu., 2h 60 °C</c:v>
          </c:tx>
          <c:spPr>
            <a:ln w="15875" cap="rnd">
              <a:solidFill>
                <a:srgbClr val="FFC000"/>
              </a:solidFill>
              <a:round/>
            </a:ln>
            <a:effectLst/>
          </c:spPr>
          <c:marker>
            <c:symbol val="circle"/>
            <c:size val="3"/>
            <c:spPr>
              <a:solidFill>
                <a:srgbClr val="FFC000"/>
              </a:solidFill>
              <a:ln w="9525">
                <a:solidFill>
                  <a:srgbClr val="FFC000"/>
                </a:solidFill>
              </a:ln>
              <a:effectLst/>
            </c:spPr>
          </c:marker>
          <c:xVal>
            <c:numRef>
              <c:f>'04_Granu_15%wg PP 6,8 2h60°C'!$A$152:$A$212</c:f>
              <c:numCache>
                <c:formatCode>#,#00</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f>'04_Granu_15%wg PP 6,8 2h60°C'!$B$152:$B$212</c:f>
              <c:numCache>
                <c:formatCode>0.0</c:formatCode>
                <c:ptCount val="61"/>
                <c:pt idx="0">
                  <c:v>0.13492839000709442</c:v>
                </c:pt>
                <c:pt idx="1">
                  <c:v>3.5474281185174896</c:v>
                </c:pt>
                <c:pt idx="2">
                  <c:v>5.5632200567612964</c:v>
                </c:pt>
                <c:pt idx="3">
                  <c:v>7.3394854647270131</c:v>
                </c:pt>
                <c:pt idx="4">
                  <c:v>8.806325738950509</c:v>
                </c:pt>
                <c:pt idx="5">
                  <c:v>10.008316466320833</c:v>
                </c:pt>
                <c:pt idx="6">
                  <c:v>11.464294656201425</c:v>
                </c:pt>
                <c:pt idx="7">
                  <c:v>12.654933345809335</c:v>
                </c:pt>
                <c:pt idx="8">
                  <c:v>14.040598504636669</c:v>
                </c:pt>
                <c:pt idx="9">
                  <c:v>15.264254435236978</c:v>
                </c:pt>
                <c:pt idx="10">
                  <c:v>16.651871533191606</c:v>
                </c:pt>
                <c:pt idx="11">
                  <c:v>17.929292533275461</c:v>
                </c:pt>
                <c:pt idx="12">
                  <c:v>19.160488122600199</c:v>
                </c:pt>
                <c:pt idx="13">
                  <c:v>20.430023774098121</c:v>
                </c:pt>
                <c:pt idx="14">
                  <c:v>21.569893444715785</c:v>
                </c:pt>
                <c:pt idx="15">
                  <c:v>23.025471589616526</c:v>
                </c:pt>
                <c:pt idx="16">
                  <c:v>24.065711562608325</c:v>
                </c:pt>
                <c:pt idx="17">
                  <c:v>25.04032493074736</c:v>
                </c:pt>
                <c:pt idx="18">
                  <c:v>26.354110228267672</c:v>
                </c:pt>
                <c:pt idx="19">
                  <c:v>27.415518303470254</c:v>
                </c:pt>
                <c:pt idx="20">
                  <c:v>28.420948720823514</c:v>
                </c:pt>
                <c:pt idx="21">
                  <c:v>29.570923075581636</c:v>
                </c:pt>
                <c:pt idx="22">
                  <c:v>30.578213720674697</c:v>
                </c:pt>
                <c:pt idx="23">
                  <c:v>31.787741636489823</c:v>
                </c:pt>
                <c:pt idx="24">
                  <c:v>32.697799675488824</c:v>
                </c:pt>
                <c:pt idx="25">
                  <c:v>33.722858783180847</c:v>
                </c:pt>
                <c:pt idx="26">
                  <c:v>34.756690198761021</c:v>
                </c:pt>
                <c:pt idx="27">
                  <c:v>35.774421299030173</c:v>
                </c:pt>
                <c:pt idx="28">
                  <c:v>36.686100103038072</c:v>
                </c:pt>
                <c:pt idx="29">
                  <c:v>37.551037263545787</c:v>
                </c:pt>
                <c:pt idx="30">
                  <c:v>38.53688820019304</c:v>
                </c:pt>
                <c:pt idx="31">
                  <c:v>39.522408609210693</c:v>
                </c:pt>
                <c:pt idx="32">
                  <c:v>40.400126897793157</c:v>
                </c:pt>
                <c:pt idx="33">
                  <c:v>41.373378053868258</c:v>
                </c:pt>
                <c:pt idx="34">
                  <c:v>42.320062422008064</c:v>
                </c:pt>
                <c:pt idx="35">
                  <c:v>43.273786917834286</c:v>
                </c:pt>
                <c:pt idx="36">
                  <c:v>44.06226625327124</c:v>
                </c:pt>
                <c:pt idx="37">
                  <c:v>44.994160424717272</c:v>
                </c:pt>
                <c:pt idx="38">
                  <c:v>45.857083670107329</c:v>
                </c:pt>
                <c:pt idx="39">
                  <c:v>46.622303475651215</c:v>
                </c:pt>
                <c:pt idx="40">
                  <c:v>47.467188230039028</c:v>
                </c:pt>
                <c:pt idx="41">
                  <c:v>48.319226793371996</c:v>
                </c:pt>
                <c:pt idx="42">
                  <c:v>49.150351233443267</c:v>
                </c:pt>
                <c:pt idx="43">
                  <c:v>49.958576649222522</c:v>
                </c:pt>
                <c:pt idx="44">
                  <c:v>50.730008205356789</c:v>
                </c:pt>
                <c:pt idx="45">
                  <c:v>51.519422130056171</c:v>
                </c:pt>
                <c:pt idx="46">
                  <c:v>52.269063412109347</c:v>
                </c:pt>
                <c:pt idx="47">
                  <c:v>53.013362396964659</c:v>
                </c:pt>
                <c:pt idx="48">
                  <c:v>53.775239391085613</c:v>
                </c:pt>
                <c:pt idx="49">
                  <c:v>54.500793854438506</c:v>
                </c:pt>
                <c:pt idx="50">
                  <c:v>55.25706183366745</c:v>
                </c:pt>
                <c:pt idx="51">
                  <c:v>55.948490685622538</c:v>
                </c:pt>
                <c:pt idx="52">
                  <c:v>56.671979896162249</c:v>
                </c:pt>
                <c:pt idx="53">
                  <c:v>57.404533552114799</c:v>
                </c:pt>
                <c:pt idx="54">
                  <c:v>58.099759287625744</c:v>
                </c:pt>
                <c:pt idx="55">
                  <c:v>58.737222107861932</c:v>
                </c:pt>
                <c:pt idx="56">
                  <c:v>59.320927685719312</c:v>
                </c:pt>
                <c:pt idx="57">
                  <c:v>60.059312101689251</c:v>
                </c:pt>
                <c:pt idx="58">
                  <c:v>60.642578767210942</c:v>
                </c:pt>
                <c:pt idx="59">
                  <c:v>61.33532277958836</c:v>
                </c:pt>
                <c:pt idx="60">
                  <c:v>61.961778612204348</c:v>
                </c:pt>
              </c:numCache>
            </c:numRef>
          </c:yVal>
          <c:smooth val="1"/>
          <c:extLst>
            <c:ext xmlns:c16="http://schemas.microsoft.com/office/drawing/2014/chart" uri="{C3380CC4-5D6E-409C-BE32-E72D297353CC}">
              <c16:uniqueId val="{00000001-A921-470D-A611-1C4FC8F04A23}"/>
            </c:ext>
          </c:extLst>
        </c:ser>
        <c:ser>
          <c:idx val="6"/>
          <c:order val="4"/>
          <c:tx>
            <c:v>Smartseal 30 D, aqu., 4h 60 °C</c:v>
          </c:tx>
          <c:spPr>
            <a:ln w="15875" cap="rnd">
              <a:solidFill>
                <a:srgbClr val="FFFF00"/>
              </a:solidFill>
              <a:round/>
            </a:ln>
            <a:effectLst/>
          </c:spPr>
          <c:marker>
            <c:symbol val="circle"/>
            <c:size val="3"/>
            <c:spPr>
              <a:solidFill>
                <a:srgbClr val="FFFF00"/>
              </a:solidFill>
              <a:ln w="9525">
                <a:solidFill>
                  <a:srgbClr val="FFFF00"/>
                </a:solidFill>
              </a:ln>
              <a:effectLst/>
            </c:spPr>
          </c:marker>
          <c:xVal>
            <c:numRef>
              <c:f>'04_Granu_15%wg PP 6,8 4h60°C'!$A$152:$A$212</c:f>
              <c:numCache>
                <c:formatCode>#,#00</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f>'04_Granu_15%wg PP 6,8 4h60°C'!$B$152:$B$212</c:f>
              <c:numCache>
                <c:formatCode>0.0</c:formatCode>
                <c:ptCount val="61"/>
                <c:pt idx="0">
                  <c:v>-0.23712335679159238</c:v>
                </c:pt>
                <c:pt idx="1">
                  <c:v>0.93503656805520963</c:v>
                </c:pt>
                <c:pt idx="2">
                  <c:v>2.6458265965344538</c:v>
                </c:pt>
                <c:pt idx="3">
                  <c:v>4.1270162934964771</c:v>
                </c:pt>
                <c:pt idx="4">
                  <c:v>5.028531659747693</c:v>
                </c:pt>
                <c:pt idx="5">
                  <c:v>6.1686228708298279</c:v>
                </c:pt>
                <c:pt idx="6">
                  <c:v>7.2435781818551837</c:v>
                </c:pt>
                <c:pt idx="7">
                  <c:v>8.3777182462359665</c:v>
                </c:pt>
                <c:pt idx="8">
                  <c:v>9.5058615719007999</c:v>
                </c:pt>
                <c:pt idx="9">
                  <c:v>10.583789305331299</c:v>
                </c:pt>
                <c:pt idx="10">
                  <c:v>11.755079054638399</c:v>
                </c:pt>
                <c:pt idx="11">
                  <c:v>12.765950566727673</c:v>
                </c:pt>
                <c:pt idx="12">
                  <c:v>13.647211375958312</c:v>
                </c:pt>
                <c:pt idx="13">
                  <c:v>14.723126312965677</c:v>
                </c:pt>
                <c:pt idx="14">
                  <c:v>15.805183180389122</c:v>
                </c:pt>
                <c:pt idx="15">
                  <c:v>16.871656339981474</c:v>
                </c:pt>
                <c:pt idx="16">
                  <c:v>18.000229066865884</c:v>
                </c:pt>
                <c:pt idx="17">
                  <c:v>19.006096269427683</c:v>
                </c:pt>
                <c:pt idx="18">
                  <c:v>19.853566315758929</c:v>
                </c:pt>
                <c:pt idx="19">
                  <c:v>21.012581305730183</c:v>
                </c:pt>
                <c:pt idx="20">
                  <c:v>22.073684434780734</c:v>
                </c:pt>
                <c:pt idx="21">
                  <c:v>22.876318477151802</c:v>
                </c:pt>
                <c:pt idx="22">
                  <c:v>23.850072291359524</c:v>
                </c:pt>
                <c:pt idx="23">
                  <c:v>24.768305425047647</c:v>
                </c:pt>
                <c:pt idx="24">
                  <c:v>25.825440760139823</c:v>
                </c:pt>
                <c:pt idx="25">
                  <c:v>26.774679188956238</c:v>
                </c:pt>
                <c:pt idx="26">
                  <c:v>27.714582918902138</c:v>
                </c:pt>
                <c:pt idx="27">
                  <c:v>28.570271876614061</c:v>
                </c:pt>
                <c:pt idx="28">
                  <c:v>29.493051891518075</c:v>
                </c:pt>
                <c:pt idx="29">
                  <c:v>30.413550264021897</c:v>
                </c:pt>
                <c:pt idx="30">
                  <c:v>31.267526780963209</c:v>
                </c:pt>
                <c:pt idx="31">
                  <c:v>32.205316809381998</c:v>
                </c:pt>
                <c:pt idx="32">
                  <c:v>33.190454642422345</c:v>
                </c:pt>
                <c:pt idx="33">
                  <c:v>34.021070956921754</c:v>
                </c:pt>
                <c:pt idx="34">
                  <c:v>34.913477303745587</c:v>
                </c:pt>
                <c:pt idx="35">
                  <c:v>35.677020093395072</c:v>
                </c:pt>
                <c:pt idx="36">
                  <c:v>36.591163840770655</c:v>
                </c:pt>
                <c:pt idx="37">
                  <c:v>37.503387141162989</c:v>
                </c:pt>
                <c:pt idx="38">
                  <c:v>38.364210385483482</c:v>
                </c:pt>
                <c:pt idx="39">
                  <c:v>39.131343945750864</c:v>
                </c:pt>
                <c:pt idx="40">
                  <c:v>39.973716567804928</c:v>
                </c:pt>
                <c:pt idx="41">
                  <c:v>40.774072830977907</c:v>
                </c:pt>
                <c:pt idx="42">
                  <c:v>41.603803539803444</c:v>
                </c:pt>
                <c:pt idx="43">
                  <c:v>42.381576144880732</c:v>
                </c:pt>
                <c:pt idx="44">
                  <c:v>43.206323133137353</c:v>
                </c:pt>
                <c:pt idx="45">
                  <c:v>44.074188275242072</c:v>
                </c:pt>
                <c:pt idx="46">
                  <c:v>44.906231380739655</c:v>
                </c:pt>
                <c:pt idx="47">
                  <c:v>45.605768817966272</c:v>
                </c:pt>
                <c:pt idx="48">
                  <c:v>46.405325007010681</c:v>
                </c:pt>
                <c:pt idx="49">
                  <c:v>47.179260029217403</c:v>
                </c:pt>
                <c:pt idx="50">
                  <c:v>47.979715333365618</c:v>
                </c:pt>
                <c:pt idx="51">
                  <c:v>48.64841888527193</c:v>
                </c:pt>
                <c:pt idx="52">
                  <c:v>49.361175677452898</c:v>
                </c:pt>
                <c:pt idx="53">
                  <c:v>50.136018771959264</c:v>
                </c:pt>
                <c:pt idx="54">
                  <c:v>50.909163133029033</c:v>
                </c:pt>
                <c:pt idx="55">
                  <c:v>51.569264091149172</c:v>
                </c:pt>
                <c:pt idx="56">
                  <c:v>52.306836079532367</c:v>
                </c:pt>
                <c:pt idx="57">
                  <c:v>52.958777688905535</c:v>
                </c:pt>
                <c:pt idx="58">
                  <c:v>53.593713745950701</c:v>
                </c:pt>
                <c:pt idx="59">
                  <c:v>54.301322057463913</c:v>
                </c:pt>
                <c:pt idx="60">
                  <c:v>54.959477731528828</c:v>
                </c:pt>
              </c:numCache>
            </c:numRef>
          </c:yVal>
          <c:smooth val="1"/>
          <c:extLst>
            <c:ext xmlns:c16="http://schemas.microsoft.com/office/drawing/2014/chart" uri="{C3380CC4-5D6E-409C-BE32-E72D297353CC}">
              <c16:uniqueId val="{00000002-A921-470D-A611-1C4FC8F04A23}"/>
            </c:ext>
          </c:extLst>
        </c:ser>
        <c:ser>
          <c:idx val="9"/>
          <c:order val="7"/>
          <c:tx>
            <c:v>Smartseal 100 P, organ., no curing</c:v>
          </c:tx>
          <c:spPr>
            <a:ln w="15875" cap="rnd">
              <a:solidFill>
                <a:srgbClr val="00B050"/>
              </a:solidFill>
              <a:round/>
            </a:ln>
            <a:effectLst/>
          </c:spPr>
          <c:marker>
            <c:symbol val="circle"/>
            <c:size val="3"/>
            <c:spPr>
              <a:solidFill>
                <a:srgbClr val="00B050"/>
              </a:solidFill>
              <a:ln w="9525">
                <a:solidFill>
                  <a:srgbClr val="00B050"/>
                </a:solidFill>
              </a:ln>
              <a:effectLst/>
            </c:spPr>
          </c:marker>
          <c:xVal>
            <c:numRef>
              <c:f>'03_15%wg_Granu PP 6,8_ungec.'!$A$152:$A$212</c:f>
              <c:numCache>
                <c:formatCode>#,#00</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f>'03_15%wg_Granu PP 6,8_ungec.'!$B$152:$B$212</c:f>
              <c:numCache>
                <c:formatCode>0.0</c:formatCode>
                <c:ptCount val="61"/>
                <c:pt idx="0">
                  <c:v>0.96634688765241117</c:v>
                </c:pt>
                <c:pt idx="1">
                  <c:v>6.1842080454699699</c:v>
                </c:pt>
                <c:pt idx="2">
                  <c:v>8.3804907974225742</c:v>
                </c:pt>
                <c:pt idx="3">
                  <c:v>10.01254225745298</c:v>
                </c:pt>
                <c:pt idx="4">
                  <c:v>11.513421256153727</c:v>
                </c:pt>
                <c:pt idx="5">
                  <c:v>12.751953245714517</c:v>
                </c:pt>
                <c:pt idx="6">
                  <c:v>14.205440407655809</c:v>
                </c:pt>
                <c:pt idx="7">
                  <c:v>15.341036426523109</c:v>
                </c:pt>
                <c:pt idx="8">
                  <c:v>16.08196328370213</c:v>
                </c:pt>
                <c:pt idx="9">
                  <c:v>17.160461992443562</c:v>
                </c:pt>
                <c:pt idx="10">
                  <c:v>18.369236675818076</c:v>
                </c:pt>
                <c:pt idx="11">
                  <c:v>19.112285726113626</c:v>
                </c:pt>
                <c:pt idx="12">
                  <c:v>20.039416361997386</c:v>
                </c:pt>
                <c:pt idx="13">
                  <c:v>21.002038625937047</c:v>
                </c:pt>
                <c:pt idx="14">
                  <c:v>21.629036559347952</c:v>
                </c:pt>
                <c:pt idx="15">
                  <c:v>22.516428542554319</c:v>
                </c:pt>
                <c:pt idx="16">
                  <c:v>23.102644556043202</c:v>
                </c:pt>
                <c:pt idx="17">
                  <c:v>23.882098897538338</c:v>
                </c:pt>
                <c:pt idx="18">
                  <c:v>24.568804126444032</c:v>
                </c:pt>
                <c:pt idx="19">
                  <c:v>25.273076889702462</c:v>
                </c:pt>
                <c:pt idx="20">
                  <c:v>25.748658128526099</c:v>
                </c:pt>
                <c:pt idx="21">
                  <c:v>26.573673009449507</c:v>
                </c:pt>
                <c:pt idx="22">
                  <c:v>27.227087349316225</c:v>
                </c:pt>
                <c:pt idx="23">
                  <c:v>27.643761249324218</c:v>
                </c:pt>
                <c:pt idx="24">
                  <c:v>28.586867165605586</c:v>
                </c:pt>
                <c:pt idx="25">
                  <c:v>29.037791628059736</c:v>
                </c:pt>
                <c:pt idx="26">
                  <c:v>29.428255952419047</c:v>
                </c:pt>
                <c:pt idx="27">
                  <c:v>30.283183144848874</c:v>
                </c:pt>
                <c:pt idx="28">
                  <c:v>30.857922397515736</c:v>
                </c:pt>
                <c:pt idx="29">
                  <c:v>31.406854482613841</c:v>
                </c:pt>
                <c:pt idx="30">
                  <c:v>32.223607963616708</c:v>
                </c:pt>
                <c:pt idx="31">
                  <c:v>32.801088017258309</c:v>
                </c:pt>
                <c:pt idx="32">
                  <c:v>33.152794065619872</c:v>
                </c:pt>
                <c:pt idx="33">
                  <c:v>33.503491630388332</c:v>
                </c:pt>
                <c:pt idx="34">
                  <c:v>34.356561114680353</c:v>
                </c:pt>
                <c:pt idx="35">
                  <c:v>34.723437869580636</c:v>
                </c:pt>
                <c:pt idx="36">
                  <c:v>35.142183429490075</c:v>
                </c:pt>
                <c:pt idx="37">
                  <c:v>35.84522969211978</c:v>
                </c:pt>
                <c:pt idx="38">
                  <c:v>36.209110328120239</c:v>
                </c:pt>
                <c:pt idx="39">
                  <c:v>36.379019312204285</c:v>
                </c:pt>
                <c:pt idx="40">
                  <c:v>36.836562387408748</c:v>
                </c:pt>
                <c:pt idx="41">
                  <c:v>37.368545572934643</c:v>
                </c:pt>
                <c:pt idx="42">
                  <c:v>37.783803641021876</c:v>
                </c:pt>
                <c:pt idx="43">
                  <c:v>38.118307114148344</c:v>
                </c:pt>
                <c:pt idx="44">
                  <c:v>38.752174724506354</c:v>
                </c:pt>
                <c:pt idx="45">
                  <c:v>39.364034742777569</c:v>
                </c:pt>
                <c:pt idx="46">
                  <c:v>39.923323337047869</c:v>
                </c:pt>
                <c:pt idx="47">
                  <c:v>40.209080053267776</c:v>
                </c:pt>
                <c:pt idx="48">
                  <c:v>40.504064748393297</c:v>
                </c:pt>
                <c:pt idx="49">
                  <c:v>41.107975679243573</c:v>
                </c:pt>
                <c:pt idx="50">
                  <c:v>41.299363298918067</c:v>
                </c:pt>
                <c:pt idx="51">
                  <c:v>41.580407476492923</c:v>
                </c:pt>
                <c:pt idx="52">
                  <c:v>42.537241075838033</c:v>
                </c:pt>
                <c:pt idx="53">
                  <c:v>42.571489982560841</c:v>
                </c:pt>
                <c:pt idx="54">
                  <c:v>43.2288549187247</c:v>
                </c:pt>
                <c:pt idx="55">
                  <c:v>43.391154723276543</c:v>
                </c:pt>
                <c:pt idx="56">
                  <c:v>43.866352641952851</c:v>
                </c:pt>
                <c:pt idx="57">
                  <c:v>44.410314259014733</c:v>
                </c:pt>
                <c:pt idx="58">
                  <c:v>44.591879427795057</c:v>
                </c:pt>
                <c:pt idx="59">
                  <c:v>44.989520680202837</c:v>
                </c:pt>
                <c:pt idx="60">
                  <c:v>45.415524352449559</c:v>
                </c:pt>
              </c:numCache>
            </c:numRef>
          </c:yVal>
          <c:smooth val="1"/>
          <c:extLst>
            <c:ext xmlns:c16="http://schemas.microsoft.com/office/drawing/2014/chart" uri="{C3380CC4-5D6E-409C-BE32-E72D297353CC}">
              <c16:uniqueId val="{00000003-A921-470D-A611-1C4FC8F04A23}"/>
            </c:ext>
          </c:extLst>
        </c:ser>
        <c:ser>
          <c:idx val="10"/>
          <c:order val="8"/>
          <c:tx>
            <c:v>Smartseal 100 P, organ. 4h 60 °C</c:v>
          </c:tx>
          <c:spPr>
            <a:ln w="15875" cap="rnd">
              <a:solidFill>
                <a:srgbClr val="92D050"/>
              </a:solidFill>
              <a:round/>
            </a:ln>
            <a:effectLst/>
          </c:spPr>
          <c:marker>
            <c:symbol val="circle"/>
            <c:size val="3"/>
            <c:spPr>
              <a:solidFill>
                <a:srgbClr val="92D050"/>
              </a:solidFill>
              <a:ln w="9525">
                <a:solidFill>
                  <a:srgbClr val="92D050"/>
                </a:solidFill>
              </a:ln>
              <a:effectLst/>
            </c:spPr>
          </c:marker>
          <c:xVal>
            <c:numRef>
              <c:f>'03_15%wg Granu_PP 6,8_4h 60°C'!$A$152:$A$212</c:f>
              <c:numCache>
                <c:formatCode>#,#00</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f>'03_15%wg Granu_PP 6,8_4h 60°C'!$B$152:$B$212</c:f>
              <c:numCache>
                <c:formatCode>0.0</c:formatCode>
                <c:ptCount val="61"/>
                <c:pt idx="0">
                  <c:v>0.76979219477625005</c:v>
                </c:pt>
                <c:pt idx="1">
                  <c:v>5.7059433804974935</c:v>
                </c:pt>
                <c:pt idx="2">
                  <c:v>7.6477556383690226</c:v>
                </c:pt>
                <c:pt idx="3">
                  <c:v>9.2796319940868006</c:v>
                </c:pt>
                <c:pt idx="4">
                  <c:v>10.383094040796472</c:v>
                </c:pt>
                <c:pt idx="5">
                  <c:v>11.377975159024794</c:v>
                </c:pt>
                <c:pt idx="6">
                  <c:v>12.429931028373064</c:v>
                </c:pt>
                <c:pt idx="7">
                  <c:v>13.527806266248776</c:v>
                </c:pt>
                <c:pt idx="8">
                  <c:v>14.2730456855467</c:v>
                </c:pt>
                <c:pt idx="9">
                  <c:v>15.131080683059466</c:v>
                </c:pt>
                <c:pt idx="10">
                  <c:v>15.933345682686806</c:v>
                </c:pt>
                <c:pt idx="11">
                  <c:v>16.759639670190854</c:v>
                </c:pt>
                <c:pt idx="12">
                  <c:v>17.604707496700275</c:v>
                </c:pt>
                <c:pt idx="13">
                  <c:v>18.543209158824947</c:v>
                </c:pt>
                <c:pt idx="14">
                  <c:v>19.271316615529745</c:v>
                </c:pt>
                <c:pt idx="15">
                  <c:v>19.876449645916267</c:v>
                </c:pt>
                <c:pt idx="16">
                  <c:v>20.702334520291096</c:v>
                </c:pt>
                <c:pt idx="17">
                  <c:v>21.32769782243728</c:v>
                </c:pt>
                <c:pt idx="18">
                  <c:v>21.82086402000466</c:v>
                </c:pt>
                <c:pt idx="19">
                  <c:v>22.449101807534763</c:v>
                </c:pt>
                <c:pt idx="20">
                  <c:v>23.050023275156562</c:v>
                </c:pt>
                <c:pt idx="21">
                  <c:v>23.724887877506877</c:v>
                </c:pt>
                <c:pt idx="22">
                  <c:v>24.322279766172102</c:v>
                </c:pt>
                <c:pt idx="23">
                  <c:v>24.769434169022826</c:v>
                </c:pt>
                <c:pt idx="24">
                  <c:v>25.673992547129444</c:v>
                </c:pt>
                <c:pt idx="25">
                  <c:v>26.370083835926049</c:v>
                </c:pt>
                <c:pt idx="26">
                  <c:v>26.818306863753691</c:v>
                </c:pt>
                <c:pt idx="27">
                  <c:v>27.225810583517216</c:v>
                </c:pt>
                <c:pt idx="28">
                  <c:v>28.153301595591127</c:v>
                </c:pt>
                <c:pt idx="29">
                  <c:v>28.424738739198052</c:v>
                </c:pt>
                <c:pt idx="30">
                  <c:v>29.204894773188006</c:v>
                </c:pt>
                <c:pt idx="31">
                  <c:v>29.641195702107485</c:v>
                </c:pt>
                <c:pt idx="32">
                  <c:v>30.294990196916462</c:v>
                </c:pt>
                <c:pt idx="33">
                  <c:v>30.64857417264642</c:v>
                </c:pt>
                <c:pt idx="34">
                  <c:v>31.077194927292283</c:v>
                </c:pt>
                <c:pt idx="35">
                  <c:v>31.845882384527645</c:v>
                </c:pt>
                <c:pt idx="36">
                  <c:v>32.349417519147195</c:v>
                </c:pt>
                <c:pt idx="37">
                  <c:v>32.663877295017869</c:v>
                </c:pt>
                <c:pt idx="38">
                  <c:v>33.404939900165964</c:v>
                </c:pt>
                <c:pt idx="39">
                  <c:v>33.653096763039329</c:v>
                </c:pt>
                <c:pt idx="40">
                  <c:v>34.055643778377295</c:v>
                </c:pt>
                <c:pt idx="41">
                  <c:v>34.683198372832472</c:v>
                </c:pt>
                <c:pt idx="42">
                  <c:v>35.044719177840925</c:v>
                </c:pt>
                <c:pt idx="43">
                  <c:v>35.526500977346707</c:v>
                </c:pt>
                <c:pt idx="44">
                  <c:v>35.990131896453278</c:v>
                </c:pt>
                <c:pt idx="45">
                  <c:v>36.289005670143446</c:v>
                </c:pt>
                <c:pt idx="46">
                  <c:v>36.799825253900288</c:v>
                </c:pt>
                <c:pt idx="47">
                  <c:v>37.263985347780725</c:v>
                </c:pt>
                <c:pt idx="48">
                  <c:v>37.531884540298755</c:v>
                </c:pt>
                <c:pt idx="49">
                  <c:v>38.154342559335852</c:v>
                </c:pt>
                <c:pt idx="50">
                  <c:v>38.591655680535034</c:v>
                </c:pt>
                <c:pt idx="51">
                  <c:v>39.009639655922335</c:v>
                </c:pt>
                <c:pt idx="52">
                  <c:v>39.216339011597476</c:v>
                </c:pt>
                <c:pt idx="53">
                  <c:v>39.689844772105438</c:v>
                </c:pt>
                <c:pt idx="54">
                  <c:v>40.325564458669447</c:v>
                </c:pt>
                <c:pt idx="55">
                  <c:v>40.626044799665522</c:v>
                </c:pt>
                <c:pt idx="56">
                  <c:v>41.257741856562212</c:v>
                </c:pt>
                <c:pt idx="57">
                  <c:v>41.233492158579402</c:v>
                </c:pt>
                <c:pt idx="58">
                  <c:v>42.056149436105187</c:v>
                </c:pt>
                <c:pt idx="59">
                  <c:v>42.336062013077857</c:v>
                </c:pt>
                <c:pt idx="60">
                  <c:v>42.607757697552323</c:v>
                </c:pt>
              </c:numCache>
            </c:numRef>
          </c:yVal>
          <c:smooth val="1"/>
          <c:extLst>
            <c:ext xmlns:c16="http://schemas.microsoft.com/office/drawing/2014/chart" uri="{C3380CC4-5D6E-409C-BE32-E72D297353CC}">
              <c16:uniqueId val="{00000004-A921-470D-A611-1C4FC8F04A23}"/>
            </c:ext>
          </c:extLst>
        </c:ser>
        <c:dLbls>
          <c:showLegendKey val="0"/>
          <c:showVal val="0"/>
          <c:showCatName val="0"/>
          <c:showSerName val="0"/>
          <c:showPercent val="0"/>
          <c:showBubbleSize val="0"/>
        </c:dLbls>
        <c:axId val="163327344"/>
        <c:axId val="163328520"/>
        <c:extLst>
          <c:ext xmlns:c15="http://schemas.microsoft.com/office/drawing/2012/chart" uri="{02D57815-91ED-43cb-92C2-25804820EDAC}">
            <c15:filteredScatterSeries>
              <c15:ser>
                <c:idx val="0"/>
                <c:order val="0"/>
                <c:tx>
                  <c:strRef>
                    <c:extLst>
                      <c:ext uri="{02D57815-91ED-43cb-92C2-25804820EDAC}">
                        <c15:formulaRef>
                          <c15:sqref>'04_15%wg_HCl_Granu_AGW'!$C$6</c15:sqref>
                        </c15:formulaRef>
                      </c:ext>
                    </c:extLst>
                    <c:strCache>
                      <c:ptCount val="1"/>
                      <c:pt idx="0">
                        <c:v>012750-L/04 15% wg; AGW; HCl 0,08N/ 30D</c:v>
                      </c:pt>
                    </c:strCache>
                  </c:strRef>
                </c:tx>
                <c:spPr>
                  <a:ln w="15875" cap="rnd">
                    <a:solidFill>
                      <a:schemeClr val="accent1"/>
                    </a:solidFill>
                    <a:round/>
                  </a:ln>
                  <a:effectLst/>
                </c:spPr>
                <c:marker>
                  <c:symbol val="circle"/>
                  <c:size val="3"/>
                  <c:spPr>
                    <a:solidFill>
                      <a:schemeClr val="accent1"/>
                    </a:solidFill>
                    <a:ln w="9525">
                      <a:solidFill>
                        <a:schemeClr val="accent1"/>
                      </a:solidFill>
                    </a:ln>
                    <a:effectLst/>
                  </c:spPr>
                </c:marker>
                <c:xVal>
                  <c:numRef>
                    <c:extLst>
                      <c:ext uri="{02D57815-91ED-43cb-92C2-25804820EDAC}">
                        <c15:formulaRef>
                          <c15:sqref>'04_15%wg_HCl_Granu_AGW'!$A$152:$A$192</c15:sqref>
                        </c15:formulaRef>
                      </c:ext>
                    </c:extLst>
                    <c:numCache>
                      <c:formatCode>#,#00</c:formatCode>
                      <c:ptCount val="4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numCache>
                  </c:numRef>
                </c:xVal>
                <c:yVal>
                  <c:numRef>
                    <c:extLst>
                      <c:ext uri="{02D57815-91ED-43cb-92C2-25804820EDAC}">
                        <c15:formulaRef>
                          <c15:sqref>'04_15%wg_HCl_Granu_AGW'!$B$152:$B$192</c15:sqref>
                        </c15:formulaRef>
                      </c:ext>
                    </c:extLst>
                    <c:numCache>
                      <c:formatCode>0.0</c:formatCode>
                      <c:ptCount val="41"/>
                      <c:pt idx="0">
                        <c:v>-0.32357436627846764</c:v>
                      </c:pt>
                      <c:pt idx="1">
                        <c:v>21.703962406404546</c:v>
                      </c:pt>
                      <c:pt idx="2">
                        <c:v>87.959702006627808</c:v>
                      </c:pt>
                      <c:pt idx="3">
                        <c:v>101.46174821509675</c:v>
                      </c:pt>
                      <c:pt idx="4">
                        <c:v>104.04768322928317</c:v>
                      </c:pt>
                      <c:pt idx="5">
                        <c:v>104.53174118236602</c:v>
                      </c:pt>
                      <c:pt idx="6">
                        <c:v>104.63030355631044</c:v>
                      </c:pt>
                      <c:pt idx="7">
                        <c:v>104.66889424341007</c:v>
                      </c:pt>
                      <c:pt idx="8">
                        <c:v>104.67816610902427</c:v>
                      </c:pt>
                      <c:pt idx="9">
                        <c:v>104.73120522841839</c:v>
                      </c:pt>
                      <c:pt idx="10">
                        <c:v>104.71124630249909</c:v>
                      </c:pt>
                      <c:pt idx="11">
                        <c:v>104.70663895720652</c:v>
                      </c:pt>
                      <c:pt idx="12">
                        <c:v>104.70736013749092</c:v>
                      </c:pt>
                      <c:pt idx="13">
                        <c:v>104.71005838027922</c:v>
                      </c:pt>
                      <c:pt idx="14">
                        <c:v>104.6893922604324</c:v>
                      </c:pt>
                      <c:pt idx="15">
                        <c:v>104.72037204790117</c:v>
                      </c:pt>
                      <c:pt idx="16">
                        <c:v>104.75195296462898</c:v>
                      </c:pt>
                      <c:pt idx="17">
                        <c:v>104.75422540717494</c:v>
                      </c:pt>
                      <c:pt idx="18">
                        <c:v>104.73268398024136</c:v>
                      </c:pt>
                      <c:pt idx="19">
                        <c:v>104.74311232935626</c:v>
                      </c:pt>
                      <c:pt idx="20">
                        <c:v>104.70362988432237</c:v>
                      </c:pt>
                      <c:pt idx="21">
                        <c:v>104.70983482737687</c:v>
                      </c:pt>
                      <c:pt idx="22">
                        <c:v>104.73293156012483</c:v>
                      </c:pt>
                      <c:pt idx="23">
                        <c:v>104.74683922058851</c:v>
                      </c:pt>
                      <c:pt idx="24">
                        <c:v>104.69863190212256</c:v>
                      </c:pt>
                      <c:pt idx="25">
                        <c:v>104.73560526135485</c:v>
                      </c:pt>
                      <c:pt idx="26">
                        <c:v>104.74852282844864</c:v>
                      </c:pt>
                      <c:pt idx="27">
                        <c:v>104.72754448354756</c:v>
                      </c:pt>
                      <c:pt idx="28">
                        <c:v>104.72948861984133</c:v>
                      </c:pt>
                      <c:pt idx="29">
                        <c:v>104.72702155319645</c:v>
                      </c:pt>
                      <c:pt idx="30">
                        <c:v>104.76314484846533</c:v>
                      </c:pt>
                      <c:pt idx="31">
                        <c:v>104.74469258194945</c:v>
                      </c:pt>
                      <c:pt idx="32">
                        <c:v>104.74337576427369</c:v>
                      </c:pt>
                      <c:pt idx="33">
                        <c:v>104.76983114542843</c:v>
                      </c:pt>
                      <c:pt idx="34">
                        <c:v>104.74358144156741</c:v>
                      </c:pt>
                      <c:pt idx="35">
                        <c:v>104.74838125891584</c:v>
                      </c:pt>
                      <c:pt idx="36">
                        <c:v>104.76869216428163</c:v>
                      </c:pt>
                      <c:pt idx="37">
                        <c:v>104.78101348206745</c:v>
                      </c:pt>
                      <c:pt idx="38">
                        <c:v>104.75953615952994</c:v>
                      </c:pt>
                      <c:pt idx="39">
                        <c:v>104.75506370412093</c:v>
                      </c:pt>
                      <c:pt idx="40">
                        <c:v>104.77387612972144</c:v>
                      </c:pt>
                    </c:numCache>
                  </c:numRef>
                </c:yVal>
                <c:smooth val="1"/>
                <c:extLst>
                  <c:ext xmlns:c16="http://schemas.microsoft.com/office/drawing/2014/chart" uri="{C3380CC4-5D6E-409C-BE32-E72D297353CC}">
                    <c16:uniqueId val="{00000005-A921-470D-A611-1C4FC8F04A23}"/>
                  </c:ext>
                </c:extLst>
              </c15:ser>
            </c15:filteredScatterSeries>
            <c15:filteredScatterSeries>
              <c15:ser>
                <c:idx val="2"/>
                <c:order val="1"/>
                <c:tx>
                  <c:strRef>
                    <c:extLst xmlns:c15="http://schemas.microsoft.com/office/drawing/2012/chart">
                      <c:ext xmlns:c15="http://schemas.microsoft.com/office/drawing/2012/chart" uri="{02D57815-91ED-43cb-92C2-25804820EDAC}">
                        <c15:formulaRef>
                          <c15:sqref>'04_15%wg_HCl_Granu_ 4h60°C'!$C$6</c15:sqref>
                        </c15:formulaRef>
                      </c:ext>
                    </c:extLst>
                    <c:strCache>
                      <c:ptCount val="1"/>
                      <c:pt idx="0">
                        <c:v>012750-L/04 15% wg; 4h 60°C; HCl 0,08N/ 30D</c:v>
                      </c:pt>
                    </c:strCache>
                  </c:strRef>
                </c:tx>
                <c:spPr>
                  <a:ln w="15875" cap="rnd">
                    <a:solidFill>
                      <a:schemeClr val="accent3"/>
                    </a:solidFill>
                    <a:round/>
                  </a:ln>
                  <a:effectLst/>
                </c:spPr>
                <c:marker>
                  <c:symbol val="circle"/>
                  <c:size val="3"/>
                  <c:spPr>
                    <a:solidFill>
                      <a:schemeClr val="accent3"/>
                    </a:solidFill>
                    <a:ln w="9525">
                      <a:solidFill>
                        <a:schemeClr val="accent3"/>
                      </a:solidFill>
                    </a:ln>
                    <a:effectLst/>
                  </c:spPr>
                </c:marker>
                <c:xVal>
                  <c:numRef>
                    <c:extLst xmlns:c15="http://schemas.microsoft.com/office/drawing/2012/chart">
                      <c:ext xmlns:c15="http://schemas.microsoft.com/office/drawing/2012/chart" uri="{02D57815-91ED-43cb-92C2-25804820EDAC}">
                        <c15:formulaRef>
                          <c15:sqref>'04_15%wg_HCl_Granu_ 4h60°C'!$A$152:$A$212</c15:sqref>
                        </c15:formulaRef>
                      </c:ext>
                    </c:extLst>
                    <c:numCache>
                      <c:formatCode>#,#00</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04_15%wg_HCl_Granu_ 4h60°C'!$B$152:$B$212</c15:sqref>
                        </c15:formulaRef>
                      </c:ext>
                    </c:extLst>
                    <c:numCache>
                      <c:formatCode>0.0</c:formatCode>
                      <c:ptCount val="61"/>
                      <c:pt idx="0">
                        <c:v>-0.15582378561057816</c:v>
                      </c:pt>
                      <c:pt idx="1">
                        <c:v>23.390418165951228</c:v>
                      </c:pt>
                      <c:pt idx="2">
                        <c:v>85.959996658437547</c:v>
                      </c:pt>
                      <c:pt idx="3">
                        <c:v>99.345243105628967</c:v>
                      </c:pt>
                      <c:pt idx="4">
                        <c:v>101.60318574378249</c:v>
                      </c:pt>
                      <c:pt idx="5">
                        <c:v>102.41951774874526</c:v>
                      </c:pt>
                      <c:pt idx="6">
                        <c:v>102.607068932708</c:v>
                      </c:pt>
                      <c:pt idx="7">
                        <c:v>102.64985828923402</c:v>
                      </c:pt>
                      <c:pt idx="8">
                        <c:v>102.66613157142778</c:v>
                      </c:pt>
                      <c:pt idx="9">
                        <c:v>102.67050851679848</c:v>
                      </c:pt>
                      <c:pt idx="10">
                        <c:v>102.67548592810958</c:v>
                      </c:pt>
                      <c:pt idx="11">
                        <c:v>102.66883822898586</c:v>
                      </c:pt>
                      <c:pt idx="12">
                        <c:v>102.67732654820242</c:v>
                      </c:pt>
                      <c:pt idx="13">
                        <c:v>102.67382163342064</c:v>
                      </c:pt>
                      <c:pt idx="14">
                        <c:v>102.66170144068708</c:v>
                      </c:pt>
                      <c:pt idx="15">
                        <c:v>102.65706094766529</c:v>
                      </c:pt>
                      <c:pt idx="16">
                        <c:v>102.69272169633184</c:v>
                      </c:pt>
                      <c:pt idx="17">
                        <c:v>102.69213940392085</c:v>
                      </c:pt>
                      <c:pt idx="18">
                        <c:v>102.67194914063413</c:v>
                      </c:pt>
                      <c:pt idx="19">
                        <c:v>102.72007853416669</c:v>
                      </c:pt>
                      <c:pt idx="20">
                        <c:v>102.69400888763141</c:v>
                      </c:pt>
                      <c:pt idx="21">
                        <c:v>102.68280765228214</c:v>
                      </c:pt>
                      <c:pt idx="22">
                        <c:v>102.66889397595736</c:v>
                      </c:pt>
                      <c:pt idx="23">
                        <c:v>102.68516460705472</c:v>
                      </c:pt>
                      <c:pt idx="24">
                        <c:v>102.72152675786259</c:v>
                      </c:pt>
                      <c:pt idx="25">
                        <c:v>102.69871631069334</c:v>
                      </c:pt>
                      <c:pt idx="26">
                        <c:v>102.68956181467445</c:v>
                      </c:pt>
                      <c:pt idx="27">
                        <c:v>102.67089207216246</c:v>
                      </c:pt>
                      <c:pt idx="28">
                        <c:v>102.69198134495419</c:v>
                      </c:pt>
                      <c:pt idx="29">
                        <c:v>102.70826698578502</c:v>
                      </c:pt>
                      <c:pt idx="30">
                        <c:v>102.70559976210086</c:v>
                      </c:pt>
                      <c:pt idx="31">
                        <c:v>102.73266484129694</c:v>
                      </c:pt>
                      <c:pt idx="32">
                        <c:v>102.71988546411787</c:v>
                      </c:pt>
                      <c:pt idx="33">
                        <c:v>102.66422328372039</c:v>
                      </c:pt>
                      <c:pt idx="34">
                        <c:v>102.7086303873556</c:v>
                      </c:pt>
                      <c:pt idx="35">
                        <c:v>102.70723216589379</c:v>
                      </c:pt>
                      <c:pt idx="36">
                        <c:v>102.73061452255035</c:v>
                      </c:pt>
                      <c:pt idx="37">
                        <c:v>102.70447935324408</c:v>
                      </c:pt>
                      <c:pt idx="38">
                        <c:v>102.73466486733032</c:v>
                      </c:pt>
                      <c:pt idx="39">
                        <c:v>102.72360320266937</c:v>
                      </c:pt>
                      <c:pt idx="40">
                        <c:v>102.73793051525799</c:v>
                      </c:pt>
                      <c:pt idx="41">
                        <c:v>102.71529584438844</c:v>
                      </c:pt>
                      <c:pt idx="42">
                        <c:v>102.74559368214143</c:v>
                      </c:pt>
                      <c:pt idx="43">
                        <c:v>102.74058195257508</c:v>
                      </c:pt>
                      <c:pt idx="44">
                        <c:v>102.72759823430054</c:v>
                      </c:pt>
                      <c:pt idx="45">
                        <c:v>102.75020610069322</c:v>
                      </c:pt>
                      <c:pt idx="46">
                        <c:v>102.73006036300858</c:v>
                      </c:pt>
                      <c:pt idx="47">
                        <c:v>102.74011183669518</c:v>
                      </c:pt>
                      <c:pt idx="48">
                        <c:v>102.75455438305124</c:v>
                      </c:pt>
                      <c:pt idx="49">
                        <c:v>102.72055164319549</c:v>
                      </c:pt>
                      <c:pt idx="50">
                        <c:v>102.72472223800715</c:v>
                      </c:pt>
                      <c:pt idx="51">
                        <c:v>102.72598527554699</c:v>
                      </c:pt>
                      <c:pt idx="52">
                        <c:v>102.76047681068566</c:v>
                      </c:pt>
                      <c:pt idx="53">
                        <c:v>102.75749658470373</c:v>
                      </c:pt>
                      <c:pt idx="54">
                        <c:v>102.70997630171085</c:v>
                      </c:pt>
                      <c:pt idx="55">
                        <c:v>102.72942260841698</c:v>
                      </c:pt>
                      <c:pt idx="56">
                        <c:v>102.75710432482441</c:v>
                      </c:pt>
                      <c:pt idx="57">
                        <c:v>102.79246536421756</c:v>
                      </c:pt>
                      <c:pt idx="58">
                        <c:v>102.75857473073803</c:v>
                      </c:pt>
                      <c:pt idx="59">
                        <c:v>102.76781089387453</c:v>
                      </c:pt>
                      <c:pt idx="60">
                        <c:v>102.76291793691576</c:v>
                      </c:pt>
                    </c:numCache>
                  </c:numRef>
                </c:yVal>
                <c:smooth val="1"/>
                <c:extLst xmlns:c15="http://schemas.microsoft.com/office/drawing/2012/chart">
                  <c:ext xmlns:c16="http://schemas.microsoft.com/office/drawing/2014/chart" uri="{C3380CC4-5D6E-409C-BE32-E72D297353CC}">
                    <c16:uniqueId val="{00000006-A921-470D-A611-1C4FC8F04A23}"/>
                  </c:ext>
                </c:extLst>
              </c15:ser>
            </c15:filteredScatterSeries>
            <c15:filteredScatterSeries>
              <c15:ser>
                <c:idx val="7"/>
                <c:order val="5"/>
                <c:tx>
                  <c:strRef>
                    <c:extLst xmlns:c15="http://schemas.microsoft.com/office/drawing/2012/chart">
                      <c:ext xmlns:c15="http://schemas.microsoft.com/office/drawing/2012/chart" uri="{02D57815-91ED-43cb-92C2-25804820EDAC}">
                        <c15:formulaRef>
                          <c15:sqref>'03_15%wg_Granu_HCl_ungec.'!$C$6</c15:sqref>
                        </c15:formulaRef>
                      </c:ext>
                    </c:extLst>
                    <c:strCache>
                      <c:ptCount val="1"/>
                      <c:pt idx="0">
                        <c:v>012796-L/03 15% wg; AGW; HCl 0,08N/ 100P organ.</c:v>
                      </c:pt>
                    </c:strCache>
                  </c:strRef>
                </c:tx>
                <c:spPr>
                  <a:ln w="15875" cap="rnd">
                    <a:solidFill>
                      <a:schemeClr val="accent2">
                        <a:lumMod val="60000"/>
                      </a:schemeClr>
                    </a:solidFill>
                    <a:round/>
                  </a:ln>
                  <a:effectLst/>
                </c:spPr>
                <c:marker>
                  <c:symbol val="circle"/>
                  <c:size val="3"/>
                  <c:spPr>
                    <a:solidFill>
                      <a:schemeClr val="accent2">
                        <a:lumMod val="60000"/>
                      </a:schemeClr>
                    </a:solidFill>
                    <a:ln w="9525">
                      <a:solidFill>
                        <a:schemeClr val="accent2">
                          <a:lumMod val="60000"/>
                        </a:schemeClr>
                      </a:solidFill>
                    </a:ln>
                    <a:effectLst/>
                  </c:spPr>
                </c:marker>
                <c:xVal>
                  <c:numRef>
                    <c:extLst xmlns:c15="http://schemas.microsoft.com/office/drawing/2012/chart">
                      <c:ext xmlns:c15="http://schemas.microsoft.com/office/drawing/2012/chart" uri="{02D57815-91ED-43cb-92C2-25804820EDAC}">
                        <c15:formulaRef>
                          <c15:sqref>'03_15%wg_Granu_HCl_ungec.'!$A$152:$A$212</c15:sqref>
                        </c15:formulaRef>
                      </c:ext>
                    </c:extLst>
                    <c:numCache>
                      <c:formatCode>#,#00</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03_15%wg_Granu_HCl_ungec.'!$B$152:$B$212</c15:sqref>
                        </c15:formulaRef>
                      </c:ext>
                    </c:extLst>
                    <c:numCache>
                      <c:formatCode>0.0</c:formatCode>
                      <c:ptCount val="61"/>
                      <c:pt idx="0">
                        <c:v>1.2985554853300376</c:v>
                      </c:pt>
                      <c:pt idx="1">
                        <c:v>70.757928295242806</c:v>
                      </c:pt>
                      <c:pt idx="2">
                        <c:v>96.257586056029069</c:v>
                      </c:pt>
                      <c:pt idx="3">
                        <c:v>101.42737569910717</c:v>
                      </c:pt>
                      <c:pt idx="4">
                        <c:v>101.32982311134229</c:v>
                      </c:pt>
                      <c:pt idx="5">
                        <c:v>101.68117959353147</c:v>
                      </c:pt>
                      <c:pt idx="6">
                        <c:v>101.26650440119705</c:v>
                      </c:pt>
                      <c:pt idx="7">
                        <c:v>101.33685270408712</c:v>
                      </c:pt>
                      <c:pt idx="8">
                        <c:v>101.5981000077162</c:v>
                      </c:pt>
                      <c:pt idx="9">
                        <c:v>101.31156918579995</c:v>
                      </c:pt>
                      <c:pt idx="10">
                        <c:v>101.7126492739521</c:v>
                      </c:pt>
                      <c:pt idx="11">
                        <c:v>101.27531829543919</c:v>
                      </c:pt>
                      <c:pt idx="12">
                        <c:v>101.37112916417966</c:v>
                      </c:pt>
                      <c:pt idx="13">
                        <c:v>101.5959473851813</c:v>
                      </c:pt>
                      <c:pt idx="14">
                        <c:v>101.27962957523191</c:v>
                      </c:pt>
                      <c:pt idx="15">
                        <c:v>101.21981097788834</c:v>
                      </c:pt>
                      <c:pt idx="16">
                        <c:v>101.83961780399891</c:v>
                      </c:pt>
                      <c:pt idx="17">
                        <c:v>101.53486152838521</c:v>
                      </c:pt>
                      <c:pt idx="18">
                        <c:v>101.39555272827947</c:v>
                      </c:pt>
                      <c:pt idx="19">
                        <c:v>101.33969472032891</c:v>
                      </c:pt>
                      <c:pt idx="20">
                        <c:v>101.42070500796164</c:v>
                      </c:pt>
                      <c:pt idx="21">
                        <c:v>101.48813456204084</c:v>
                      </c:pt>
                      <c:pt idx="22">
                        <c:v>101.59597259819348</c:v>
                      </c:pt>
                      <c:pt idx="23">
                        <c:v>101.44660287856782</c:v>
                      </c:pt>
                      <c:pt idx="24">
                        <c:v>101.93347092840054</c:v>
                      </c:pt>
                      <c:pt idx="25">
                        <c:v>101.40411444357589</c:v>
                      </c:pt>
                      <c:pt idx="26">
                        <c:v>101.87551554218832</c:v>
                      </c:pt>
                      <c:pt idx="27">
                        <c:v>101.47414381262628</c:v>
                      </c:pt>
                      <c:pt idx="28">
                        <c:v>101.40421543562509</c:v>
                      </c:pt>
                      <c:pt idx="29">
                        <c:v>101.42766913169851</c:v>
                      </c:pt>
                      <c:pt idx="30">
                        <c:v>101.59424604509418</c:v>
                      </c:pt>
                      <c:pt idx="31">
                        <c:v>101.43285080511977</c:v>
                      </c:pt>
                      <c:pt idx="32">
                        <c:v>101.55676890363178</c:v>
                      </c:pt>
                      <c:pt idx="33">
                        <c:v>101.51954147463756</c:v>
                      </c:pt>
                      <c:pt idx="34">
                        <c:v>101.68385614930715</c:v>
                      </c:pt>
                      <c:pt idx="35">
                        <c:v>101.48149009861628</c:v>
                      </c:pt>
                      <c:pt idx="36">
                        <c:v>101.74259604243535</c:v>
                      </c:pt>
                      <c:pt idx="37">
                        <c:v>101.83149967642275</c:v>
                      </c:pt>
                      <c:pt idx="38">
                        <c:v>101.79982639542855</c:v>
                      </c:pt>
                      <c:pt idx="39">
                        <c:v>101.7717865540822</c:v>
                      </c:pt>
                      <c:pt idx="40">
                        <c:v>101.64364109483741</c:v>
                      </c:pt>
                      <c:pt idx="41">
                        <c:v>101.32562099421</c:v>
                      </c:pt>
                      <c:pt idx="42">
                        <c:v>101.60765937817614</c:v>
                      </c:pt>
                      <c:pt idx="43">
                        <c:v>101.41299864507494</c:v>
                      </c:pt>
                      <c:pt idx="44">
                        <c:v>101.88927554977631</c:v>
                      </c:pt>
                      <c:pt idx="45">
                        <c:v>101.51374058476598</c:v>
                      </c:pt>
                      <c:pt idx="46">
                        <c:v>101.56965652817389</c:v>
                      </c:pt>
                      <c:pt idx="47">
                        <c:v>101.43833086291107</c:v>
                      </c:pt>
                      <c:pt idx="48">
                        <c:v>101.47000528979085</c:v>
                      </c:pt>
                      <c:pt idx="49">
                        <c:v>101.68906643751488</c:v>
                      </c:pt>
                      <c:pt idx="50">
                        <c:v>101.76258876228796</c:v>
                      </c:pt>
                      <c:pt idx="51">
                        <c:v>101.68353446487147</c:v>
                      </c:pt>
                      <c:pt idx="52">
                        <c:v>101.71735942310382</c:v>
                      </c:pt>
                      <c:pt idx="53">
                        <c:v>101.53989534256641</c:v>
                      </c:pt>
                      <c:pt idx="54">
                        <c:v>101.8802942374155</c:v>
                      </c:pt>
                      <c:pt idx="55">
                        <c:v>102.01325404081138</c:v>
                      </c:pt>
                      <c:pt idx="56">
                        <c:v>101.66856510270001</c:v>
                      </c:pt>
                      <c:pt idx="57">
                        <c:v>101.45146792286175</c:v>
                      </c:pt>
                      <c:pt idx="58">
                        <c:v>101.74170955582031</c:v>
                      </c:pt>
                      <c:pt idx="59">
                        <c:v>101.40595072698436</c:v>
                      </c:pt>
                      <c:pt idx="60">
                        <c:v>101.93788438083403</c:v>
                      </c:pt>
                    </c:numCache>
                  </c:numRef>
                </c:yVal>
                <c:smooth val="1"/>
                <c:extLst xmlns:c15="http://schemas.microsoft.com/office/drawing/2012/chart">
                  <c:ext xmlns:c16="http://schemas.microsoft.com/office/drawing/2014/chart" uri="{C3380CC4-5D6E-409C-BE32-E72D297353CC}">
                    <c16:uniqueId val="{00000007-A921-470D-A611-1C4FC8F04A23}"/>
                  </c:ext>
                </c:extLst>
              </c15:ser>
            </c15:filteredScatterSeries>
            <c15:filteredScatterSeries>
              <c15:ser>
                <c:idx val="8"/>
                <c:order val="6"/>
                <c:tx>
                  <c:strRef>
                    <c:extLst xmlns:c15="http://schemas.microsoft.com/office/drawing/2012/chart">
                      <c:ext xmlns:c15="http://schemas.microsoft.com/office/drawing/2012/chart" uri="{02D57815-91ED-43cb-92C2-25804820EDAC}">
                        <c15:formulaRef>
                          <c15:sqref>'03_15%wg_Granu_HCl_4h 60°C'!$C$6</c15:sqref>
                        </c15:formulaRef>
                      </c:ext>
                    </c:extLst>
                    <c:strCache>
                      <c:ptCount val="1"/>
                      <c:pt idx="0">
                        <c:v>012796-L/03 15% wg; 4h 60°C; HCl 0,08N/ 100P organ.</c:v>
                      </c:pt>
                    </c:strCache>
                  </c:strRef>
                </c:tx>
                <c:spPr>
                  <a:ln w="15875" cap="rnd">
                    <a:solidFill>
                      <a:schemeClr val="accent3">
                        <a:lumMod val="60000"/>
                      </a:schemeClr>
                    </a:solidFill>
                    <a:round/>
                  </a:ln>
                  <a:effectLst/>
                </c:spPr>
                <c:marker>
                  <c:symbol val="circle"/>
                  <c:size val="3"/>
                  <c:spPr>
                    <a:solidFill>
                      <a:schemeClr val="accent3">
                        <a:lumMod val="60000"/>
                      </a:schemeClr>
                    </a:solidFill>
                    <a:ln w="9525">
                      <a:solidFill>
                        <a:schemeClr val="accent3">
                          <a:lumMod val="60000"/>
                        </a:schemeClr>
                      </a:solidFill>
                    </a:ln>
                    <a:effectLst/>
                  </c:spPr>
                </c:marker>
                <c:xVal>
                  <c:numRef>
                    <c:extLst xmlns:c15="http://schemas.microsoft.com/office/drawing/2012/chart">
                      <c:ext xmlns:c15="http://schemas.microsoft.com/office/drawing/2012/chart" uri="{02D57815-91ED-43cb-92C2-25804820EDAC}">
                        <c15:formulaRef>
                          <c15:sqref>'03_15%wg_Granu_HCl_4h 60°C'!$A$152:$A$212</c15:sqref>
                        </c15:formulaRef>
                      </c:ext>
                    </c:extLst>
                    <c:numCache>
                      <c:formatCode>#,#00</c:formatCode>
                      <c:ptCount val="6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pt idx="51">
                        <c:v>102</c:v>
                      </c:pt>
                      <c:pt idx="52">
                        <c:v>104</c:v>
                      </c:pt>
                      <c:pt idx="53">
                        <c:v>106</c:v>
                      </c:pt>
                      <c:pt idx="54">
                        <c:v>108</c:v>
                      </c:pt>
                      <c:pt idx="55">
                        <c:v>110</c:v>
                      </c:pt>
                      <c:pt idx="56">
                        <c:v>112</c:v>
                      </c:pt>
                      <c:pt idx="57">
                        <c:v>114</c:v>
                      </c:pt>
                      <c:pt idx="58">
                        <c:v>116</c:v>
                      </c:pt>
                      <c:pt idx="59">
                        <c:v>118</c:v>
                      </c:pt>
                      <c:pt idx="60">
                        <c:v>120</c:v>
                      </c:pt>
                    </c:numCache>
                  </c:numRef>
                </c:xVal>
                <c:yVal>
                  <c:numRef>
                    <c:extLst xmlns:c15="http://schemas.microsoft.com/office/drawing/2012/chart">
                      <c:ext xmlns:c15="http://schemas.microsoft.com/office/drawing/2012/chart" uri="{02D57815-91ED-43cb-92C2-25804820EDAC}">
                        <c15:formulaRef>
                          <c15:sqref>'03_15%wg_Granu_HCl_4h 60°C'!$B$152:$B$212</c15:sqref>
                        </c15:formulaRef>
                      </c:ext>
                    </c:extLst>
                    <c:numCache>
                      <c:formatCode>0.0</c:formatCode>
                      <c:ptCount val="61"/>
                      <c:pt idx="0">
                        <c:v>2.4750225593775692</c:v>
                      </c:pt>
                      <c:pt idx="1">
                        <c:v>78.327032372510487</c:v>
                      </c:pt>
                      <c:pt idx="2">
                        <c:v>98.483277001789546</c:v>
                      </c:pt>
                      <c:pt idx="3">
                        <c:v>102.9957996251987</c:v>
                      </c:pt>
                      <c:pt idx="4">
                        <c:v>102.53956330016543</c:v>
                      </c:pt>
                      <c:pt idx="5">
                        <c:v>102.61541674556538</c:v>
                      </c:pt>
                      <c:pt idx="6">
                        <c:v>102.93708680687875</c:v>
                      </c:pt>
                      <c:pt idx="7">
                        <c:v>102.82423306960472</c:v>
                      </c:pt>
                      <c:pt idx="8">
                        <c:v>102.56737976668659</c:v>
                      </c:pt>
                      <c:pt idx="9">
                        <c:v>102.575364193317</c:v>
                      </c:pt>
                      <c:pt idx="10">
                        <c:v>102.74860588539973</c:v>
                      </c:pt>
                      <c:pt idx="11">
                        <c:v>102.63263818905143</c:v>
                      </c:pt>
                      <c:pt idx="12">
                        <c:v>102.53460186880658</c:v>
                      </c:pt>
                      <c:pt idx="13">
                        <c:v>102.83223446463808</c:v>
                      </c:pt>
                      <c:pt idx="14">
                        <c:v>102.81850817054222</c:v>
                      </c:pt>
                      <c:pt idx="15">
                        <c:v>102.45250767633583</c:v>
                      </c:pt>
                      <c:pt idx="16">
                        <c:v>102.2027368030043</c:v>
                      </c:pt>
                      <c:pt idx="17">
                        <c:v>102.96021775880422</c:v>
                      </c:pt>
                      <c:pt idx="18">
                        <c:v>102.5091230440745</c:v>
                      </c:pt>
                      <c:pt idx="19">
                        <c:v>102.34279842271719</c:v>
                      </c:pt>
                      <c:pt idx="20">
                        <c:v>102.71246007348292</c:v>
                      </c:pt>
                      <c:pt idx="21">
                        <c:v>102.65540072793503</c:v>
                      </c:pt>
                      <c:pt idx="22">
                        <c:v>102.54255787539726</c:v>
                      </c:pt>
                      <c:pt idx="23">
                        <c:v>102.76002216728277</c:v>
                      </c:pt>
                      <c:pt idx="24">
                        <c:v>102.68814116487992</c:v>
                      </c:pt>
                      <c:pt idx="25">
                        <c:v>102.53377769847556</c:v>
                      </c:pt>
                      <c:pt idx="26">
                        <c:v>102.55681819496424</c:v>
                      </c:pt>
                      <c:pt idx="27">
                        <c:v>102.8729103162802</c:v>
                      </c:pt>
                      <c:pt idx="28">
                        <c:v>102.67650758178176</c:v>
                      </c:pt>
                      <c:pt idx="29">
                        <c:v>102.68239860286911</c:v>
                      </c:pt>
                      <c:pt idx="30">
                        <c:v>102.70941456426682</c:v>
                      </c:pt>
                      <c:pt idx="31">
                        <c:v>102.7668492151866</c:v>
                      </c:pt>
                      <c:pt idx="32">
                        <c:v>102.784651852482</c:v>
                      </c:pt>
                      <c:pt idx="33">
                        <c:v>103.10592426393424</c:v>
                      </c:pt>
                      <c:pt idx="34">
                        <c:v>102.89632945067973</c:v>
                      </c:pt>
                      <c:pt idx="35">
                        <c:v>102.84561175730101</c:v>
                      </c:pt>
                      <c:pt idx="36">
                        <c:v>102.92795747284173</c:v>
                      </c:pt>
                      <c:pt idx="37">
                        <c:v>103.03424938533715</c:v>
                      </c:pt>
                      <c:pt idx="38">
                        <c:v>102.93792128643747</c:v>
                      </c:pt>
                      <c:pt idx="39">
                        <c:v>102.82993575354446</c:v>
                      </c:pt>
                      <c:pt idx="40">
                        <c:v>102.96297489838298</c:v>
                      </c:pt>
                      <c:pt idx="41">
                        <c:v>102.71371193989542</c:v>
                      </c:pt>
                      <c:pt idx="42">
                        <c:v>103.04083315174893</c:v>
                      </c:pt>
                      <c:pt idx="43">
                        <c:v>102.84690367296155</c:v>
                      </c:pt>
                      <c:pt idx="44">
                        <c:v>102.23746787417203</c:v>
                      </c:pt>
                      <c:pt idx="45">
                        <c:v>102.94503266189173</c:v>
                      </c:pt>
                      <c:pt idx="46">
                        <c:v>102.47761480861097</c:v>
                      </c:pt>
                      <c:pt idx="47">
                        <c:v>102.75352813520043</c:v>
                      </c:pt>
                      <c:pt idx="48">
                        <c:v>102.85539395072122</c:v>
                      </c:pt>
                      <c:pt idx="49">
                        <c:v>102.51561124089342</c:v>
                      </c:pt>
                      <c:pt idx="50">
                        <c:v>103.21429434427655</c:v>
                      </c:pt>
                      <c:pt idx="51">
                        <c:v>102.92386322296348</c:v>
                      </c:pt>
                      <c:pt idx="52">
                        <c:v>102.81709779406651</c:v>
                      </c:pt>
                      <c:pt idx="53">
                        <c:v>102.86747458740221</c:v>
                      </c:pt>
                      <c:pt idx="54">
                        <c:v>102.43106458849253</c:v>
                      </c:pt>
                      <c:pt idx="55">
                        <c:v>102.3804358153692</c:v>
                      </c:pt>
                      <c:pt idx="56">
                        <c:v>102.9542302866613</c:v>
                      </c:pt>
                      <c:pt idx="57">
                        <c:v>102.67051732284925</c:v>
                      </c:pt>
                      <c:pt idx="58">
                        <c:v>102.83420829376468</c:v>
                      </c:pt>
                      <c:pt idx="59">
                        <c:v>102.97433449095008</c:v>
                      </c:pt>
                      <c:pt idx="60">
                        <c:v>102.46534605121292</c:v>
                      </c:pt>
                    </c:numCache>
                  </c:numRef>
                </c:yVal>
                <c:smooth val="1"/>
                <c:extLst xmlns:c15="http://schemas.microsoft.com/office/drawing/2012/chart">
                  <c:ext xmlns:c16="http://schemas.microsoft.com/office/drawing/2014/chart" uri="{C3380CC4-5D6E-409C-BE32-E72D297353CC}">
                    <c16:uniqueId val="{00000008-A921-470D-A611-1C4FC8F04A23}"/>
                  </c:ext>
                </c:extLst>
              </c15:ser>
            </c15:filteredScatterSeries>
            <c15:filteredScatterSeries>
              <c15:ser>
                <c:idx val="4"/>
                <c:order val="9"/>
                <c:tx>
                  <c:strRef>
                    <c:extLst xmlns:c15="http://schemas.microsoft.com/office/drawing/2012/chart">
                      <c:ext xmlns:c15="http://schemas.microsoft.com/office/drawing/2012/chart" uri="{02D57815-91ED-43cb-92C2-25804820EDAC}">
                        <c15:formulaRef>
                          <c15:sqref>'01_15%wg_HCl_Granu_4h 60°C'!$C$6</c15:sqref>
                        </c15:formulaRef>
                      </c:ext>
                    </c:extLst>
                    <c:strCache>
                      <c:ptCount val="1"/>
                      <c:pt idx="0">
                        <c:v>012846-L/01 15% wg; 4h 60°C; HCl/ 100P wässrig</c:v>
                      </c:pt>
                    </c:strCache>
                  </c:strRef>
                </c:tx>
                <c:spPr>
                  <a:ln w="15875" cap="rnd">
                    <a:solidFill>
                      <a:srgbClr val="00B0F0"/>
                    </a:solidFill>
                    <a:round/>
                  </a:ln>
                  <a:effectLst/>
                </c:spPr>
                <c:marker>
                  <c:symbol val="circle"/>
                  <c:size val="3"/>
                  <c:spPr>
                    <a:solidFill>
                      <a:srgbClr val="00B0F0"/>
                    </a:solidFill>
                    <a:ln w="9525">
                      <a:solidFill>
                        <a:schemeClr val="accent5"/>
                      </a:solidFill>
                    </a:ln>
                    <a:effectLst/>
                  </c:spPr>
                </c:marker>
                <c:xVal>
                  <c:numRef>
                    <c:extLst xmlns:c15="http://schemas.microsoft.com/office/drawing/2012/chart">
                      <c:ext xmlns:c15="http://schemas.microsoft.com/office/drawing/2012/chart" uri="{02D57815-91ED-43cb-92C2-25804820EDAC}">
                        <c15:formulaRef>
                          <c15:sqref>'01_15%wg_HCl_Granu_4h 60°C'!$A$152:$A$202</c15:sqref>
                        </c15:formulaRef>
                      </c:ext>
                    </c:extLst>
                    <c:numCache>
                      <c:formatCode>#,#00</c:formatCode>
                      <c:ptCount val="51"/>
                      <c:pt idx="0">
                        <c:v>0</c:v>
                      </c:pt>
                      <c:pt idx="1">
                        <c:v>2</c:v>
                      </c:pt>
                      <c:pt idx="2">
                        <c:v>4</c:v>
                      </c:pt>
                      <c:pt idx="3">
                        <c:v>6</c:v>
                      </c:pt>
                      <c:pt idx="4">
                        <c:v>8</c:v>
                      </c:pt>
                      <c:pt idx="5">
                        <c:v>10</c:v>
                      </c:pt>
                      <c:pt idx="6">
                        <c:v>12</c:v>
                      </c:pt>
                      <c:pt idx="7">
                        <c:v>14</c:v>
                      </c:pt>
                      <c:pt idx="8">
                        <c:v>16</c:v>
                      </c:pt>
                      <c:pt idx="9">
                        <c:v>18</c:v>
                      </c:pt>
                      <c:pt idx="10">
                        <c:v>20</c:v>
                      </c:pt>
                      <c:pt idx="11">
                        <c:v>22</c:v>
                      </c:pt>
                      <c:pt idx="12">
                        <c:v>24</c:v>
                      </c:pt>
                      <c:pt idx="13">
                        <c:v>26</c:v>
                      </c:pt>
                      <c:pt idx="14">
                        <c:v>28</c:v>
                      </c:pt>
                      <c:pt idx="15">
                        <c:v>30</c:v>
                      </c:pt>
                      <c:pt idx="16">
                        <c:v>32</c:v>
                      </c:pt>
                      <c:pt idx="17">
                        <c:v>34</c:v>
                      </c:pt>
                      <c:pt idx="18">
                        <c:v>36</c:v>
                      </c:pt>
                      <c:pt idx="19">
                        <c:v>38</c:v>
                      </c:pt>
                      <c:pt idx="20">
                        <c:v>40</c:v>
                      </c:pt>
                      <c:pt idx="21">
                        <c:v>42</c:v>
                      </c:pt>
                      <c:pt idx="22">
                        <c:v>44</c:v>
                      </c:pt>
                      <c:pt idx="23">
                        <c:v>46</c:v>
                      </c:pt>
                      <c:pt idx="24">
                        <c:v>48</c:v>
                      </c:pt>
                      <c:pt idx="25">
                        <c:v>50</c:v>
                      </c:pt>
                      <c:pt idx="26">
                        <c:v>52</c:v>
                      </c:pt>
                      <c:pt idx="27">
                        <c:v>54</c:v>
                      </c:pt>
                      <c:pt idx="28">
                        <c:v>56</c:v>
                      </c:pt>
                      <c:pt idx="29">
                        <c:v>58</c:v>
                      </c:pt>
                      <c:pt idx="30">
                        <c:v>60</c:v>
                      </c:pt>
                      <c:pt idx="31">
                        <c:v>62</c:v>
                      </c:pt>
                      <c:pt idx="32">
                        <c:v>64</c:v>
                      </c:pt>
                      <c:pt idx="33">
                        <c:v>66</c:v>
                      </c:pt>
                      <c:pt idx="34">
                        <c:v>68</c:v>
                      </c:pt>
                      <c:pt idx="35">
                        <c:v>70</c:v>
                      </c:pt>
                      <c:pt idx="36">
                        <c:v>72</c:v>
                      </c:pt>
                      <c:pt idx="37">
                        <c:v>74</c:v>
                      </c:pt>
                      <c:pt idx="38">
                        <c:v>76</c:v>
                      </c:pt>
                      <c:pt idx="39">
                        <c:v>78</c:v>
                      </c:pt>
                      <c:pt idx="40">
                        <c:v>80</c:v>
                      </c:pt>
                      <c:pt idx="41">
                        <c:v>82</c:v>
                      </c:pt>
                      <c:pt idx="42">
                        <c:v>84</c:v>
                      </c:pt>
                      <c:pt idx="43">
                        <c:v>86</c:v>
                      </c:pt>
                      <c:pt idx="44">
                        <c:v>88</c:v>
                      </c:pt>
                      <c:pt idx="45">
                        <c:v>90</c:v>
                      </c:pt>
                      <c:pt idx="46">
                        <c:v>92</c:v>
                      </c:pt>
                      <c:pt idx="47">
                        <c:v>94</c:v>
                      </c:pt>
                      <c:pt idx="48">
                        <c:v>96</c:v>
                      </c:pt>
                      <c:pt idx="49">
                        <c:v>98</c:v>
                      </c:pt>
                      <c:pt idx="50">
                        <c:v>100</c:v>
                      </c:pt>
                    </c:numCache>
                  </c:numRef>
                </c:xVal>
                <c:yVal>
                  <c:numRef>
                    <c:extLst xmlns:c15="http://schemas.microsoft.com/office/drawing/2012/chart">
                      <c:ext xmlns:c15="http://schemas.microsoft.com/office/drawing/2012/chart" uri="{02D57815-91ED-43cb-92C2-25804820EDAC}">
                        <c15:formulaRef>
                          <c15:sqref>'01_15%wg_HCl_Granu_4h 60°C'!$B$152:$B$202</c15:sqref>
                        </c15:formulaRef>
                      </c:ext>
                    </c:extLst>
                    <c:numCache>
                      <c:formatCode>0.0</c:formatCode>
                      <c:ptCount val="51"/>
                      <c:pt idx="0">
                        <c:v>0</c:v>
                      </c:pt>
                      <c:pt idx="1">
                        <c:v>62.295339279622453</c:v>
                      </c:pt>
                      <c:pt idx="2">
                        <c:v>101.66544949077577</c:v>
                      </c:pt>
                      <c:pt idx="3">
                        <c:v>105.30927032626562</c:v>
                      </c:pt>
                      <c:pt idx="4">
                        <c:v>105.19097868123605</c:v>
                      </c:pt>
                      <c:pt idx="5">
                        <c:v>105.15838033463001</c:v>
                      </c:pt>
                      <c:pt idx="6">
                        <c:v>105.12690216847959</c:v>
                      </c:pt>
                      <c:pt idx="7">
                        <c:v>105.11769374560895</c:v>
                      </c:pt>
                      <c:pt idx="8">
                        <c:v>105.1552089908259</c:v>
                      </c:pt>
                      <c:pt idx="9">
                        <c:v>105.12751094875422</c:v>
                      </c:pt>
                      <c:pt idx="10">
                        <c:v>105.15237226624755</c:v>
                      </c:pt>
                      <c:pt idx="11">
                        <c:v>105.11979905065448</c:v>
                      </c:pt>
                      <c:pt idx="12">
                        <c:v>105.16714646321452</c:v>
                      </c:pt>
                      <c:pt idx="13">
                        <c:v>105.13110090255401</c:v>
                      </c:pt>
                      <c:pt idx="14">
                        <c:v>105.14669994690858</c:v>
                      </c:pt>
                      <c:pt idx="15">
                        <c:v>105.15181188188888</c:v>
                      </c:pt>
                      <c:pt idx="16">
                        <c:v>105.18496640585569</c:v>
                      </c:pt>
                      <c:pt idx="17">
                        <c:v>105.1573985828952</c:v>
                      </c:pt>
                      <c:pt idx="18">
                        <c:v>105.15790068128371</c:v>
                      </c:pt>
                      <c:pt idx="19">
                        <c:v>105.13713405678754</c:v>
                      </c:pt>
                      <c:pt idx="20">
                        <c:v>105.13089069296863</c:v>
                      </c:pt>
                      <c:pt idx="21">
                        <c:v>105.16732202537935</c:v>
                      </c:pt>
                      <c:pt idx="22">
                        <c:v>105.12313913178349</c:v>
                      </c:pt>
                      <c:pt idx="23">
                        <c:v>105.12621036957228</c:v>
                      </c:pt>
                      <c:pt idx="24">
                        <c:v>105.13666355199227</c:v>
                      </c:pt>
                      <c:pt idx="25">
                        <c:v>105.11698732855155</c:v>
                      </c:pt>
                      <c:pt idx="26">
                        <c:v>105.14637154978602</c:v>
                      </c:pt>
                      <c:pt idx="27">
                        <c:v>105.14438794409226</c:v>
                      </c:pt>
                      <c:pt idx="28">
                        <c:v>105.14693150375633</c:v>
                      </c:pt>
                      <c:pt idx="29">
                        <c:v>105.16440851913255</c:v>
                      </c:pt>
                      <c:pt idx="30">
                        <c:v>105.17607866476912</c:v>
                      </c:pt>
                      <c:pt idx="31">
                        <c:v>105.16443242903914</c:v>
                      </c:pt>
                      <c:pt idx="32">
                        <c:v>105.18139174512446</c:v>
                      </c:pt>
                      <c:pt idx="33">
                        <c:v>105.16726363866354</c:v>
                      </c:pt>
                      <c:pt idx="34">
                        <c:v>105.17394906053748</c:v>
                      </c:pt>
                      <c:pt idx="35">
                        <c:v>105.13546592498574</c:v>
                      </c:pt>
                      <c:pt idx="36">
                        <c:v>105.15974315086301</c:v>
                      </c:pt>
                      <c:pt idx="37">
                        <c:v>105.16344906711147</c:v>
                      </c:pt>
                      <c:pt idx="38">
                        <c:v>105.18660189897328</c:v>
                      </c:pt>
                      <c:pt idx="39">
                        <c:v>105.18012370503912</c:v>
                      </c:pt>
                      <c:pt idx="40">
                        <c:v>105.15339389780593</c:v>
                      </c:pt>
                      <c:pt idx="41">
                        <c:v>105.13962816444366</c:v>
                      </c:pt>
                      <c:pt idx="42">
                        <c:v>105.1873883561057</c:v>
                      </c:pt>
                      <c:pt idx="43">
                        <c:v>105.15878236174308</c:v>
                      </c:pt>
                      <c:pt idx="44">
                        <c:v>105.16528778690815</c:v>
                      </c:pt>
                      <c:pt idx="45">
                        <c:v>105.23275896638897</c:v>
                      </c:pt>
                      <c:pt idx="46">
                        <c:v>105.20311942855352</c:v>
                      </c:pt>
                      <c:pt idx="47">
                        <c:v>105.20782097086776</c:v>
                      </c:pt>
                      <c:pt idx="48">
                        <c:v>105.19983658907569</c:v>
                      </c:pt>
                      <c:pt idx="49">
                        <c:v>105.1767954740648</c:v>
                      </c:pt>
                      <c:pt idx="50">
                        <c:v>105.18065974427786</c:v>
                      </c:pt>
                    </c:numCache>
                  </c:numRef>
                </c:yVal>
                <c:smooth val="1"/>
                <c:extLst xmlns:c15="http://schemas.microsoft.com/office/drawing/2012/chart">
                  <c:ext xmlns:c16="http://schemas.microsoft.com/office/drawing/2014/chart" uri="{C3380CC4-5D6E-409C-BE32-E72D297353CC}">
                    <c16:uniqueId val="{00000009-A921-470D-A611-1C4FC8F04A23}"/>
                  </c:ext>
                </c:extLst>
              </c15:ser>
            </c15:filteredScatterSeries>
          </c:ext>
        </c:extLst>
      </c:scatterChart>
      <c:valAx>
        <c:axId val="163327344"/>
        <c:scaling>
          <c:orientation val="minMax"/>
          <c:max val="120"/>
          <c:min val="0"/>
        </c:scaling>
        <c:delete val="0"/>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sz="1200" b="1" dirty="0">
                    <a:solidFill>
                      <a:schemeClr val="tx1"/>
                    </a:solidFill>
                  </a:rPr>
                  <a:t>Time [min]</a:t>
                </a:r>
              </a:p>
              <a:p>
                <a:pPr>
                  <a:defRPr>
                    <a:solidFill>
                      <a:schemeClr val="tx1"/>
                    </a:solidFill>
                  </a:defRPr>
                </a:pPr>
                <a:endParaRPr lang="en-US" dirty="0">
                  <a:solidFill>
                    <a:schemeClr val="tx1"/>
                  </a:solidFill>
                </a:endParaRPr>
              </a:p>
            </c:rich>
          </c:tx>
          <c:layout>
            <c:manualLayout>
              <c:xMode val="edge"/>
              <c:yMode val="edge"/>
              <c:x val="0.33022063691333237"/>
              <c:y val="0.8981060650835116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63328520"/>
        <c:crosses val="autoZero"/>
        <c:crossBetween val="midCat"/>
        <c:majorUnit val="10"/>
      </c:valAx>
      <c:valAx>
        <c:axId val="163328520"/>
        <c:scaling>
          <c:orientation val="minMax"/>
          <c:max val="105"/>
          <c:min val="0"/>
        </c:scaling>
        <c:delete val="0"/>
        <c:axPos val="l"/>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de-DE" sz="1200" b="1" dirty="0">
                    <a:solidFill>
                      <a:schemeClr val="tx1"/>
                    </a:solidFill>
                  </a:rPr>
                  <a:t>Caffeine (dissolved)   [%]</a:t>
                </a:r>
              </a:p>
            </c:rich>
          </c:tx>
          <c:layout>
            <c:manualLayout>
              <c:xMode val="edge"/>
              <c:yMode val="edge"/>
              <c:x val="7.2014900382795623E-3"/>
              <c:y val="0.13772444118724808"/>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63327344"/>
        <c:crosses val="autoZero"/>
        <c:crossBetween val="midCat"/>
        <c:majorUnit val="10"/>
      </c:valAx>
      <c:spPr>
        <a:noFill/>
        <a:ln>
          <a:noFill/>
        </a:ln>
        <a:effectLst/>
      </c:spPr>
    </c:plotArea>
    <c:legend>
      <c:legendPos val="r"/>
      <c:layout>
        <c:manualLayout>
          <c:xMode val="edge"/>
          <c:yMode val="edge"/>
          <c:x val="0.69830751631007304"/>
          <c:y val="9.129693592322892E-2"/>
          <c:w val="0.23544862324393787"/>
          <c:h val="0.79172545711894882"/>
        </c:manualLayout>
      </c:layout>
      <c:overlay val="0"/>
      <c:spPr>
        <a:noFill/>
        <a:ln w="9525">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tx1"/>
                </a:solidFill>
                <a:latin typeface="+mn-lt"/>
                <a:ea typeface="+mn-ea"/>
                <a:cs typeface="+mn-cs"/>
              </a:defRPr>
            </a:pPr>
            <a:r>
              <a:rPr lang="en-US" sz="1800" b="1" i="0" baseline="0" dirty="0">
                <a:solidFill>
                  <a:schemeClr val="tx1"/>
                </a:solidFill>
                <a:effectLst/>
              </a:rPr>
              <a:t>Vardenafil pellets coated with Smartseal. Dissolution in Phosphate Buffer, pH 6.8, 900 ml, paddle at 50 rpm </a:t>
            </a:r>
            <a:endParaRPr lang="en-US" sz="1800" dirty="0">
              <a:solidFill>
                <a:schemeClr val="tx1"/>
              </a:solidFill>
              <a:effectLst/>
            </a:endParaRPr>
          </a:p>
        </c:rich>
      </c:tx>
      <c:layout>
        <c:manualLayout>
          <c:xMode val="edge"/>
          <c:yMode val="edge"/>
          <c:x val="0.16440838683440179"/>
          <c:y val="5.205051045181E-2"/>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0447911305247012"/>
          <c:y val="0.17452061214679063"/>
          <c:w val="0.86841132998891624"/>
          <c:h val="0.62468327300553006"/>
        </c:manualLayout>
      </c:layout>
      <c:scatterChart>
        <c:scatterStyle val="lineMarker"/>
        <c:varyColors val="0"/>
        <c:ser>
          <c:idx val="0"/>
          <c:order val="0"/>
          <c:tx>
            <c:v>25% Uncured</c:v>
          </c:tx>
          <c:spPr>
            <a:ln w="19050" cap="rnd">
              <a:solidFill>
                <a:schemeClr val="accent1"/>
              </a:solidFill>
              <a:round/>
            </a:ln>
            <a:effectLst/>
          </c:spPr>
          <c:marker>
            <c:symbol val="circle"/>
            <c:size val="5"/>
            <c:spPr>
              <a:solidFill>
                <a:schemeClr val="accent1"/>
              </a:solidFill>
              <a:ln w="9525">
                <a:solidFill>
                  <a:schemeClr val="accent1"/>
                </a:solidFill>
              </a:ln>
              <a:effectLst/>
            </c:spPr>
          </c:marker>
          <c:errBars>
            <c:errDir val="y"/>
            <c:errBarType val="both"/>
            <c:errValType val="cust"/>
            <c:noEndCap val="0"/>
            <c:plus>
              <c:numRef>
                <c:f>Sheet2!$K$6:$K$18</c:f>
                <c:numCache>
                  <c:formatCode>General</c:formatCode>
                  <c:ptCount val="13"/>
                  <c:pt idx="0">
                    <c:v>0</c:v>
                  </c:pt>
                  <c:pt idx="1">
                    <c:v>0.45972628521484277</c:v>
                  </c:pt>
                  <c:pt idx="2">
                    <c:v>1.5221197576298067</c:v>
                  </c:pt>
                  <c:pt idx="3">
                    <c:v>1.9517904109816695</c:v>
                  </c:pt>
                  <c:pt idx="4">
                    <c:v>2.2773899864241152</c:v>
                  </c:pt>
                  <c:pt idx="5">
                    <c:v>2.4799970259196935</c:v>
                  </c:pt>
                  <c:pt idx="6">
                    <c:v>2.3241474247619869</c:v>
                  </c:pt>
                  <c:pt idx="7">
                    <c:v>2.2171858047815944</c:v>
                  </c:pt>
                  <c:pt idx="8">
                    <c:v>2.1851123957735092</c:v>
                  </c:pt>
                  <c:pt idx="9">
                    <c:v>2.0163281085383802</c:v>
                  </c:pt>
                  <c:pt idx="10">
                    <c:v>2.0604420481132748</c:v>
                  </c:pt>
                  <c:pt idx="11">
                    <c:v>1.8721871873069469</c:v>
                  </c:pt>
                  <c:pt idx="12">
                    <c:v>1.8483943873144784</c:v>
                  </c:pt>
                </c:numCache>
              </c:numRef>
            </c:plus>
            <c:minus>
              <c:numRef>
                <c:f>Sheet2!$K$6:$K$18</c:f>
                <c:numCache>
                  <c:formatCode>General</c:formatCode>
                  <c:ptCount val="13"/>
                  <c:pt idx="0">
                    <c:v>0</c:v>
                  </c:pt>
                  <c:pt idx="1">
                    <c:v>0.45972628521484277</c:v>
                  </c:pt>
                  <c:pt idx="2">
                    <c:v>1.5221197576298067</c:v>
                  </c:pt>
                  <c:pt idx="3">
                    <c:v>1.9517904109816695</c:v>
                  </c:pt>
                  <c:pt idx="4">
                    <c:v>2.2773899864241152</c:v>
                  </c:pt>
                  <c:pt idx="5">
                    <c:v>2.4799970259196935</c:v>
                  </c:pt>
                  <c:pt idx="6">
                    <c:v>2.3241474247619869</c:v>
                  </c:pt>
                  <c:pt idx="7">
                    <c:v>2.2171858047815944</c:v>
                  </c:pt>
                  <c:pt idx="8">
                    <c:v>2.1851123957735092</c:v>
                  </c:pt>
                  <c:pt idx="9">
                    <c:v>2.0163281085383802</c:v>
                  </c:pt>
                  <c:pt idx="10">
                    <c:v>2.0604420481132748</c:v>
                  </c:pt>
                  <c:pt idx="11">
                    <c:v>1.8721871873069469</c:v>
                  </c:pt>
                  <c:pt idx="12">
                    <c:v>1.8483943873144784</c:v>
                  </c:pt>
                </c:numCache>
              </c:numRef>
            </c:minus>
            <c:spPr>
              <a:noFill/>
              <a:ln w="9525" cap="flat" cmpd="sng" algn="ctr">
                <a:solidFill>
                  <a:schemeClr val="tx1">
                    <a:lumMod val="65000"/>
                    <a:lumOff val="35000"/>
                  </a:schemeClr>
                </a:solidFill>
                <a:round/>
              </a:ln>
              <a:effectLst/>
            </c:spPr>
          </c:errBars>
          <c:xVal>
            <c:numRef>
              <c:f>Sheet2!$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I$6:$I$18</c:f>
              <c:numCache>
                <c:formatCode>0.00</c:formatCode>
                <c:ptCount val="13"/>
                <c:pt idx="0" formatCode="0">
                  <c:v>0</c:v>
                </c:pt>
                <c:pt idx="1">
                  <c:v>7.328071840924931</c:v>
                </c:pt>
                <c:pt idx="2">
                  <c:v>14.065115572089672</c:v>
                </c:pt>
                <c:pt idx="3">
                  <c:v>18.747413940798523</c:v>
                </c:pt>
                <c:pt idx="4">
                  <c:v>21.720630072344715</c:v>
                </c:pt>
                <c:pt idx="5">
                  <c:v>23.56348937628756</c:v>
                </c:pt>
                <c:pt idx="6">
                  <c:v>26.402442697105766</c:v>
                </c:pt>
                <c:pt idx="7">
                  <c:v>28.345248991316158</c:v>
                </c:pt>
                <c:pt idx="8">
                  <c:v>29.874234323449333</c:v>
                </c:pt>
                <c:pt idx="9">
                  <c:v>31.340764188032882</c:v>
                </c:pt>
                <c:pt idx="10">
                  <c:v>33.643996627487688</c:v>
                </c:pt>
                <c:pt idx="11">
                  <c:v>35.783655897704826</c:v>
                </c:pt>
                <c:pt idx="12">
                  <c:v>37.578219541202323</c:v>
                </c:pt>
              </c:numCache>
            </c:numRef>
          </c:yVal>
          <c:smooth val="0"/>
          <c:extLst>
            <c:ext xmlns:c16="http://schemas.microsoft.com/office/drawing/2014/chart" uri="{C3380CC4-5D6E-409C-BE32-E72D297353CC}">
              <c16:uniqueId val="{00000000-14B5-4B6A-9CEE-EDF198C369AB}"/>
            </c:ext>
          </c:extLst>
        </c:ser>
        <c:ser>
          <c:idx val="1"/>
          <c:order val="1"/>
          <c:tx>
            <c:v>30% Uncured</c:v>
          </c:tx>
          <c:spPr>
            <a:ln w="19050" cap="rnd">
              <a:solidFill>
                <a:srgbClr val="00B050"/>
              </a:solidFill>
              <a:round/>
            </a:ln>
            <a:effectLst/>
          </c:spPr>
          <c:marker>
            <c:symbol val="diamond"/>
            <c:size val="5"/>
            <c:spPr>
              <a:solidFill>
                <a:srgbClr val="00B050"/>
              </a:solidFill>
              <a:ln w="9525">
                <a:solidFill>
                  <a:srgbClr val="00B050"/>
                </a:solidFill>
              </a:ln>
              <a:effectLst/>
            </c:spPr>
          </c:marker>
          <c:errBars>
            <c:errDir val="y"/>
            <c:errBarType val="both"/>
            <c:errValType val="cust"/>
            <c:noEndCap val="0"/>
            <c:plus>
              <c:numRef>
                <c:f>Sheet2!$L$6:$L$18</c:f>
                <c:numCache>
                  <c:formatCode>General</c:formatCode>
                  <c:ptCount val="13"/>
                  <c:pt idx="0">
                    <c:v>0</c:v>
                  </c:pt>
                  <c:pt idx="1">
                    <c:v>0.44904751121248326</c:v>
                  </c:pt>
                  <c:pt idx="2">
                    <c:v>0.22454631846666534</c:v>
                  </c:pt>
                  <c:pt idx="3">
                    <c:v>0.36221779016016153</c:v>
                  </c:pt>
                  <c:pt idx="4">
                    <c:v>0.52372522364426699</c:v>
                  </c:pt>
                  <c:pt idx="5">
                    <c:v>0.4714641119155335</c:v>
                  </c:pt>
                  <c:pt idx="6">
                    <c:v>0.56278757875849195</c:v>
                  </c:pt>
                  <c:pt idx="7">
                    <c:v>1.3387625625054196</c:v>
                  </c:pt>
                  <c:pt idx="8">
                    <c:v>1.3889140178845678</c:v>
                  </c:pt>
                  <c:pt idx="9">
                    <c:v>0.94618449371497682</c:v>
                  </c:pt>
                  <c:pt idx="10">
                    <c:v>0.82183648721460889</c:v>
                  </c:pt>
                  <c:pt idx="11">
                    <c:v>0.61984642894910502</c:v>
                  </c:pt>
                  <c:pt idx="12">
                    <c:v>0.62160557216682444</c:v>
                  </c:pt>
                </c:numCache>
              </c:numRef>
            </c:plus>
            <c:minus>
              <c:numRef>
                <c:f>Sheet2!$L$6:$L$18</c:f>
                <c:numCache>
                  <c:formatCode>General</c:formatCode>
                  <c:ptCount val="13"/>
                  <c:pt idx="0">
                    <c:v>0</c:v>
                  </c:pt>
                  <c:pt idx="1">
                    <c:v>0.44904751121248326</c:v>
                  </c:pt>
                  <c:pt idx="2">
                    <c:v>0.22454631846666534</c:v>
                  </c:pt>
                  <c:pt idx="3">
                    <c:v>0.36221779016016153</c:v>
                  </c:pt>
                  <c:pt idx="4">
                    <c:v>0.52372522364426699</c:v>
                  </c:pt>
                  <c:pt idx="5">
                    <c:v>0.4714641119155335</c:v>
                  </c:pt>
                  <c:pt idx="6">
                    <c:v>0.56278757875849195</c:v>
                  </c:pt>
                  <c:pt idx="7">
                    <c:v>1.3387625625054196</c:v>
                  </c:pt>
                  <c:pt idx="8">
                    <c:v>1.3889140178845678</c:v>
                  </c:pt>
                  <c:pt idx="9">
                    <c:v>0.94618449371497682</c:v>
                  </c:pt>
                  <c:pt idx="10">
                    <c:v>0.82183648721460889</c:v>
                  </c:pt>
                  <c:pt idx="11">
                    <c:v>0.61984642894910502</c:v>
                  </c:pt>
                  <c:pt idx="12">
                    <c:v>0.62160557216682444</c:v>
                  </c:pt>
                </c:numCache>
              </c:numRef>
            </c:minus>
            <c:spPr>
              <a:noFill/>
              <a:ln w="9525" cap="flat" cmpd="sng" algn="ctr">
                <a:solidFill>
                  <a:schemeClr val="tx1">
                    <a:lumMod val="65000"/>
                    <a:lumOff val="35000"/>
                  </a:schemeClr>
                </a:solidFill>
                <a:round/>
              </a:ln>
              <a:effectLst/>
            </c:spPr>
          </c:errBars>
          <c:xVal>
            <c:numRef>
              <c:f>Sheet2!$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J$6:$J$18</c:f>
              <c:numCache>
                <c:formatCode>0.00</c:formatCode>
                <c:ptCount val="13"/>
                <c:pt idx="0" formatCode="0">
                  <c:v>0</c:v>
                </c:pt>
                <c:pt idx="1">
                  <c:v>1.3104676579918337</c:v>
                </c:pt>
                <c:pt idx="2">
                  <c:v>4.7542170984243093</c:v>
                </c:pt>
                <c:pt idx="3">
                  <c:v>9.403390543794826</c:v>
                </c:pt>
                <c:pt idx="4">
                  <c:v>13.338383668537759</c:v>
                </c:pt>
                <c:pt idx="5">
                  <c:v>16.157190976233384</c:v>
                </c:pt>
                <c:pt idx="6">
                  <c:v>22.063219770396643</c:v>
                </c:pt>
                <c:pt idx="7">
                  <c:v>24.903170522168114</c:v>
                </c:pt>
                <c:pt idx="8">
                  <c:v>26.910009943342317</c:v>
                </c:pt>
                <c:pt idx="9">
                  <c:v>28.686785007800093</c:v>
                </c:pt>
                <c:pt idx="10">
                  <c:v>31.287214938470953</c:v>
                </c:pt>
                <c:pt idx="11">
                  <c:v>33.549777492331266</c:v>
                </c:pt>
                <c:pt idx="12">
                  <c:v>35.447581398142525</c:v>
                </c:pt>
              </c:numCache>
            </c:numRef>
          </c:yVal>
          <c:smooth val="0"/>
          <c:extLst>
            <c:ext xmlns:c16="http://schemas.microsoft.com/office/drawing/2014/chart" uri="{C3380CC4-5D6E-409C-BE32-E72D297353CC}">
              <c16:uniqueId val="{00000001-14B5-4B6A-9CEE-EDF198C369AB}"/>
            </c:ext>
          </c:extLst>
        </c:ser>
        <c:dLbls>
          <c:showLegendKey val="0"/>
          <c:showVal val="0"/>
          <c:showCatName val="0"/>
          <c:showSerName val="0"/>
          <c:showPercent val="0"/>
          <c:showBubbleSize val="0"/>
        </c:dLbls>
        <c:axId val="500909551"/>
        <c:axId val="500906223"/>
      </c:scatterChart>
      <c:valAx>
        <c:axId val="500909551"/>
        <c:scaling>
          <c:orientation val="minMax"/>
          <c:max val="60"/>
        </c:scaling>
        <c:delete val="0"/>
        <c:axPos val="b"/>
        <c:title>
          <c:tx>
            <c:rich>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Time (min)</a:t>
                </a:r>
              </a:p>
            </c:rich>
          </c:tx>
          <c:layout>
            <c:manualLayout>
              <c:xMode val="edge"/>
              <c:yMode val="edge"/>
              <c:x val="0.42432592448999673"/>
              <c:y val="0.89775317305601332"/>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6223"/>
        <c:crosses val="autoZero"/>
        <c:crossBetween val="midCat"/>
        <c:majorUnit val="5"/>
      </c:valAx>
      <c:valAx>
        <c:axId val="500906223"/>
        <c:scaling>
          <c:orientation val="minMax"/>
          <c:max val="100"/>
        </c:scaling>
        <c:delete val="0"/>
        <c:axPos val="l"/>
        <c:title>
          <c:tx>
            <c:rich>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 drug released</a:t>
                </a:r>
              </a:p>
            </c:rich>
          </c:tx>
          <c:overlay val="0"/>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ysClr val="windowText" lastClr="000000"/>
                </a:solidFill>
                <a:latin typeface="+mn-lt"/>
                <a:ea typeface="+mn-ea"/>
                <a:cs typeface="+mn-cs"/>
              </a:defRPr>
            </a:pPr>
            <a:endParaRPr lang="en-US"/>
          </a:p>
        </c:txPr>
        <c:crossAx val="500909551"/>
        <c:crosses val="autoZero"/>
        <c:crossBetween val="midCat"/>
        <c:majorUnit val="20"/>
      </c:valAx>
      <c:spPr>
        <a:noFill/>
        <a:ln>
          <a:noFill/>
        </a:ln>
        <a:effectLst/>
      </c:spPr>
    </c:plotArea>
    <c:legend>
      <c:legendPos val="b"/>
      <c:layout>
        <c:manualLayout>
          <c:xMode val="edge"/>
          <c:yMode val="edge"/>
          <c:x val="0.45630803653146662"/>
          <c:y val="0.30088618465177752"/>
          <c:w val="0.49893659601538076"/>
          <c:h val="7.7569484658961879E-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9050">
      <a:solidFill>
        <a:srgbClr val="000000"/>
      </a:solid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tx1"/>
                </a:solidFill>
                <a:latin typeface="+mn-lt"/>
                <a:ea typeface="+mn-ea"/>
                <a:cs typeface="+mn-cs"/>
              </a:defRPr>
            </a:pPr>
            <a:r>
              <a:rPr lang="en-US" sz="1800" b="1" i="0" baseline="0" dirty="0">
                <a:solidFill>
                  <a:schemeClr val="tx1"/>
                </a:solidFill>
                <a:effectLst/>
              </a:rPr>
              <a:t>Vardenafil pellets coated with Smartseal. Dissolution in Phosphate Buffer </a:t>
            </a:r>
            <a:r>
              <a:rPr lang="en-US" sz="1800" b="1" i="0" u="none" strike="noStrike" baseline="0" dirty="0">
                <a:effectLst/>
              </a:rPr>
              <a:t>pH 6.8 </a:t>
            </a:r>
            <a:r>
              <a:rPr lang="en-US" sz="1800" b="1" i="0" baseline="0" dirty="0">
                <a:solidFill>
                  <a:schemeClr val="tx1"/>
                </a:solidFill>
                <a:effectLst/>
              </a:rPr>
              <a:t>, 900ml, Paddle at 50 rpm </a:t>
            </a:r>
            <a:endParaRPr lang="en-US" sz="1800" dirty="0">
              <a:solidFill>
                <a:schemeClr val="tx1"/>
              </a:solidFill>
              <a:effectLst/>
            </a:endParaRPr>
          </a:p>
        </c:rich>
      </c:tx>
      <c:layout>
        <c:manualLayout>
          <c:xMode val="edge"/>
          <c:yMode val="edge"/>
          <c:x val="0.1683831066865214"/>
          <c:y val="2.3723917117600111E-2"/>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2742877722694793"/>
          <c:y val="0.2000149946905164"/>
          <c:w val="0.81862729658792655"/>
          <c:h val="0.54507655293088364"/>
        </c:manualLayout>
      </c:layout>
      <c:scatterChart>
        <c:scatterStyle val="lineMarker"/>
        <c:varyColors val="0"/>
        <c:ser>
          <c:idx val="0"/>
          <c:order val="0"/>
          <c:tx>
            <c:v>30% Uncured</c:v>
          </c:tx>
          <c:spPr>
            <a:ln w="19050" cap="rnd">
              <a:solidFill>
                <a:schemeClr val="accent1"/>
              </a:solidFill>
              <a:round/>
            </a:ln>
            <a:effectLst/>
          </c:spPr>
          <c:marker>
            <c:symbol val="circle"/>
            <c:size val="5"/>
            <c:spPr>
              <a:solidFill>
                <a:schemeClr val="accent1"/>
              </a:solidFill>
              <a:ln w="9525">
                <a:solidFill>
                  <a:schemeClr val="accent1"/>
                </a:solidFill>
              </a:ln>
              <a:effectLst/>
            </c:spPr>
          </c:marker>
          <c:errBars>
            <c:errDir val="y"/>
            <c:errBarType val="both"/>
            <c:errValType val="cust"/>
            <c:noEndCap val="0"/>
            <c:plus>
              <c:numRef>
                <c:f>Sheet2!$K$6:$K$18</c:f>
                <c:numCache>
                  <c:formatCode>General</c:formatCode>
                  <c:ptCount val="13"/>
                  <c:pt idx="0">
                    <c:v>0</c:v>
                  </c:pt>
                  <c:pt idx="1">
                    <c:v>0.19385134021910538</c:v>
                  </c:pt>
                  <c:pt idx="2">
                    <c:v>0.32618567232973927</c:v>
                  </c:pt>
                  <c:pt idx="3">
                    <c:v>0.23514744717414618</c:v>
                  </c:pt>
                  <c:pt idx="4">
                    <c:v>0.2969805346543925</c:v>
                  </c:pt>
                  <c:pt idx="5">
                    <c:v>0.1712691269724185</c:v>
                  </c:pt>
                  <c:pt idx="6">
                    <c:v>0.49809024121265588</c:v>
                  </c:pt>
                  <c:pt idx="7">
                    <c:v>0.63084130929382143</c:v>
                  </c:pt>
                  <c:pt idx="8">
                    <c:v>0.6421439274623042</c:v>
                  </c:pt>
                  <c:pt idx="9">
                    <c:v>0.60734635126217074</c:v>
                  </c:pt>
                  <c:pt idx="10">
                    <c:v>0.59511968733385368</c:v>
                  </c:pt>
                  <c:pt idx="11">
                    <c:v>0.54330943798700382</c:v>
                  </c:pt>
                  <c:pt idx="12">
                    <c:v>0.58326687053273962</c:v>
                  </c:pt>
                </c:numCache>
              </c:numRef>
            </c:plus>
            <c:minus>
              <c:numRef>
                <c:f>Sheet2!$K$6:$K$18</c:f>
                <c:numCache>
                  <c:formatCode>General</c:formatCode>
                  <c:ptCount val="13"/>
                  <c:pt idx="0">
                    <c:v>0</c:v>
                  </c:pt>
                  <c:pt idx="1">
                    <c:v>0.19385134021910538</c:v>
                  </c:pt>
                  <c:pt idx="2">
                    <c:v>0.32618567232973927</c:v>
                  </c:pt>
                  <c:pt idx="3">
                    <c:v>0.23514744717414618</c:v>
                  </c:pt>
                  <c:pt idx="4">
                    <c:v>0.2969805346543925</c:v>
                  </c:pt>
                  <c:pt idx="5">
                    <c:v>0.1712691269724185</c:v>
                  </c:pt>
                  <c:pt idx="6">
                    <c:v>0.49809024121265588</c:v>
                  </c:pt>
                  <c:pt idx="7">
                    <c:v>0.63084130929382143</c:v>
                  </c:pt>
                  <c:pt idx="8">
                    <c:v>0.6421439274623042</c:v>
                  </c:pt>
                  <c:pt idx="9">
                    <c:v>0.60734635126217074</c:v>
                  </c:pt>
                  <c:pt idx="10">
                    <c:v>0.59511968733385368</c:v>
                  </c:pt>
                  <c:pt idx="11">
                    <c:v>0.54330943798700382</c:v>
                  </c:pt>
                  <c:pt idx="12">
                    <c:v>0.58326687053273962</c:v>
                  </c:pt>
                </c:numCache>
              </c:numRef>
            </c:minus>
            <c:spPr>
              <a:noFill/>
              <a:ln w="9525" cap="flat" cmpd="sng" algn="ctr">
                <a:solidFill>
                  <a:schemeClr val="tx1">
                    <a:lumMod val="65000"/>
                    <a:lumOff val="35000"/>
                  </a:schemeClr>
                </a:solidFill>
                <a:round/>
              </a:ln>
              <a:effectLst/>
            </c:spPr>
          </c:errBars>
          <c:xVal>
            <c:numRef>
              <c:f>Sheet2!$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I$6:$I$18</c:f>
              <c:numCache>
                <c:formatCode>0.00</c:formatCode>
                <c:ptCount val="13"/>
                <c:pt idx="0">
                  <c:v>0</c:v>
                </c:pt>
                <c:pt idx="1">
                  <c:v>2.2738915297054478</c:v>
                </c:pt>
                <c:pt idx="2">
                  <c:v>5.7319865547577296</c:v>
                </c:pt>
                <c:pt idx="3">
                  <c:v>9.5009385257582668</c:v>
                </c:pt>
                <c:pt idx="4">
                  <c:v>12.829974095917931</c:v>
                </c:pt>
                <c:pt idx="5">
                  <c:v>15.713606087782253</c:v>
                </c:pt>
                <c:pt idx="6">
                  <c:v>20.950093801529906</c:v>
                </c:pt>
                <c:pt idx="7">
                  <c:v>24.034465238566003</c:v>
                </c:pt>
                <c:pt idx="8">
                  <c:v>25.813535810794637</c:v>
                </c:pt>
                <c:pt idx="9">
                  <c:v>27.204259665077597</c:v>
                </c:pt>
                <c:pt idx="10">
                  <c:v>29.549456263548219</c:v>
                </c:pt>
                <c:pt idx="11">
                  <c:v>31.297615230166343</c:v>
                </c:pt>
                <c:pt idx="12">
                  <c:v>32.977220877861818</c:v>
                </c:pt>
              </c:numCache>
            </c:numRef>
          </c:yVal>
          <c:smooth val="0"/>
          <c:extLst>
            <c:ext xmlns:c16="http://schemas.microsoft.com/office/drawing/2014/chart" uri="{C3380CC4-5D6E-409C-BE32-E72D297353CC}">
              <c16:uniqueId val="{00000000-2FE6-4357-AF77-AD070BA4F32B}"/>
            </c:ext>
          </c:extLst>
        </c:ser>
        <c:ser>
          <c:idx val="1"/>
          <c:order val="1"/>
          <c:tx>
            <c:v>30% Cured</c:v>
          </c:tx>
          <c:spPr>
            <a:ln w="19050" cap="rnd">
              <a:solidFill>
                <a:srgbClr val="00B050"/>
              </a:solidFill>
              <a:round/>
            </a:ln>
            <a:effectLst/>
          </c:spPr>
          <c:marker>
            <c:symbol val="diamond"/>
            <c:size val="5"/>
            <c:spPr>
              <a:solidFill>
                <a:srgbClr val="00B050"/>
              </a:solidFill>
              <a:ln w="9525">
                <a:solidFill>
                  <a:srgbClr val="00B050"/>
                </a:solidFill>
              </a:ln>
              <a:effectLst/>
            </c:spPr>
          </c:marker>
          <c:errBars>
            <c:errDir val="y"/>
            <c:errBarType val="both"/>
            <c:errValType val="cust"/>
            <c:noEndCap val="0"/>
            <c:plus>
              <c:numRef>
                <c:f>Sheet2!$L$6:$L$18</c:f>
                <c:numCache>
                  <c:formatCode>General</c:formatCode>
                  <c:ptCount val="13"/>
                  <c:pt idx="0">
                    <c:v>0</c:v>
                  </c:pt>
                  <c:pt idx="1">
                    <c:v>0.206877461475307</c:v>
                  </c:pt>
                  <c:pt idx="2">
                    <c:v>0.27198861377215167</c:v>
                  </c:pt>
                  <c:pt idx="3">
                    <c:v>1.1098469404976687</c:v>
                  </c:pt>
                  <c:pt idx="4">
                    <c:v>1.0551724554413608</c:v>
                  </c:pt>
                  <c:pt idx="5">
                    <c:v>1.1203218525616945</c:v>
                  </c:pt>
                  <c:pt idx="6">
                    <c:v>0.10510000420271948</c:v>
                  </c:pt>
                  <c:pt idx="7">
                    <c:v>8.4518343292781128E-2</c:v>
                  </c:pt>
                  <c:pt idx="8">
                    <c:v>0.11988169354790632</c:v>
                  </c:pt>
                  <c:pt idx="9">
                    <c:v>4.7921928789875369E-2</c:v>
                  </c:pt>
                  <c:pt idx="10">
                    <c:v>6.5568833402457213E-2</c:v>
                  </c:pt>
                  <c:pt idx="11">
                    <c:v>0.10704906246580788</c:v>
                  </c:pt>
                  <c:pt idx="12">
                    <c:v>8.4603328439331535E-2</c:v>
                  </c:pt>
                </c:numCache>
              </c:numRef>
            </c:plus>
            <c:minus>
              <c:numRef>
                <c:f>Sheet2!$L$6:$L$18</c:f>
                <c:numCache>
                  <c:formatCode>General</c:formatCode>
                  <c:ptCount val="13"/>
                  <c:pt idx="0">
                    <c:v>0</c:v>
                  </c:pt>
                  <c:pt idx="1">
                    <c:v>0.206877461475307</c:v>
                  </c:pt>
                  <c:pt idx="2">
                    <c:v>0.27198861377215167</c:v>
                  </c:pt>
                  <c:pt idx="3">
                    <c:v>1.1098469404976687</c:v>
                  </c:pt>
                  <c:pt idx="4">
                    <c:v>1.0551724554413608</c:v>
                  </c:pt>
                  <c:pt idx="5">
                    <c:v>1.1203218525616945</c:v>
                  </c:pt>
                  <c:pt idx="6">
                    <c:v>0.10510000420271948</c:v>
                  </c:pt>
                  <c:pt idx="7">
                    <c:v>8.4518343292781128E-2</c:v>
                  </c:pt>
                  <c:pt idx="8">
                    <c:v>0.11988169354790632</c:v>
                  </c:pt>
                  <c:pt idx="9">
                    <c:v>4.7921928789875369E-2</c:v>
                  </c:pt>
                  <c:pt idx="10">
                    <c:v>6.5568833402457213E-2</c:v>
                  </c:pt>
                  <c:pt idx="11">
                    <c:v>0.10704906246580788</c:v>
                  </c:pt>
                  <c:pt idx="12">
                    <c:v>8.4603328439331535E-2</c:v>
                  </c:pt>
                </c:numCache>
              </c:numRef>
            </c:minus>
            <c:spPr>
              <a:noFill/>
              <a:ln w="9525" cap="flat" cmpd="sng" algn="ctr">
                <a:solidFill>
                  <a:schemeClr val="tx1">
                    <a:lumMod val="65000"/>
                    <a:lumOff val="35000"/>
                  </a:schemeClr>
                </a:solidFill>
                <a:round/>
              </a:ln>
              <a:effectLst/>
            </c:spPr>
          </c:errBars>
          <c:xVal>
            <c:numRef>
              <c:f>Sheet2!$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J$6:$J$18</c:f>
              <c:numCache>
                <c:formatCode>0.00</c:formatCode>
                <c:ptCount val="13"/>
                <c:pt idx="0">
                  <c:v>0</c:v>
                </c:pt>
                <c:pt idx="1">
                  <c:v>0.64137128871176863</c:v>
                </c:pt>
                <c:pt idx="2">
                  <c:v>1.1913659142987127</c:v>
                </c:pt>
                <c:pt idx="3">
                  <c:v>2.2148222598160308</c:v>
                </c:pt>
                <c:pt idx="4">
                  <c:v>2.5715111145736258</c:v>
                </c:pt>
                <c:pt idx="5">
                  <c:v>3.1462248014241414</c:v>
                </c:pt>
                <c:pt idx="6">
                  <c:v>3.3813034195877463</c:v>
                </c:pt>
                <c:pt idx="7">
                  <c:v>4.2897567048048755</c:v>
                </c:pt>
                <c:pt idx="8">
                  <c:v>5.0787432850306287</c:v>
                </c:pt>
                <c:pt idx="9">
                  <c:v>5.762058743668014</c:v>
                </c:pt>
                <c:pt idx="10">
                  <c:v>6.8268822874330821</c:v>
                </c:pt>
                <c:pt idx="11">
                  <c:v>7.674652294308558</c:v>
                </c:pt>
                <c:pt idx="12">
                  <c:v>8.4116575944396264</c:v>
                </c:pt>
              </c:numCache>
            </c:numRef>
          </c:yVal>
          <c:smooth val="0"/>
          <c:extLst>
            <c:ext xmlns:c16="http://schemas.microsoft.com/office/drawing/2014/chart" uri="{C3380CC4-5D6E-409C-BE32-E72D297353CC}">
              <c16:uniqueId val="{00000001-2FE6-4357-AF77-AD070BA4F32B}"/>
            </c:ext>
          </c:extLst>
        </c:ser>
        <c:dLbls>
          <c:showLegendKey val="0"/>
          <c:showVal val="0"/>
          <c:showCatName val="0"/>
          <c:showSerName val="0"/>
          <c:showPercent val="0"/>
          <c:showBubbleSize val="0"/>
        </c:dLbls>
        <c:axId val="500909551"/>
        <c:axId val="500906223"/>
      </c:scatterChart>
      <c:valAx>
        <c:axId val="500909551"/>
        <c:scaling>
          <c:orientation val="minMax"/>
          <c:max val="60"/>
        </c:scaling>
        <c:delete val="0"/>
        <c:axPos val="b"/>
        <c:title>
          <c:tx>
            <c:rich>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Time (min)</a:t>
                </a:r>
              </a:p>
            </c:rich>
          </c:tx>
          <c:layout>
            <c:manualLayout>
              <c:xMode val="edge"/>
              <c:yMode val="edge"/>
              <c:x val="0.42996175093691796"/>
              <c:y val="0.84054118551402679"/>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6223"/>
        <c:crosses val="autoZero"/>
        <c:crossBetween val="midCat"/>
        <c:majorUnit val="5"/>
      </c:valAx>
      <c:valAx>
        <c:axId val="500906223"/>
        <c:scaling>
          <c:orientation val="minMax"/>
          <c:max val="100"/>
        </c:scaling>
        <c:delete val="0"/>
        <c:axPos val="l"/>
        <c:title>
          <c:tx>
            <c:rich>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 drug released</a:t>
                </a:r>
              </a:p>
            </c:rich>
          </c:tx>
          <c:layout>
            <c:manualLayout>
              <c:xMode val="edge"/>
              <c:yMode val="edge"/>
              <c:x val="1.0784760768821766E-2"/>
              <c:y val="0.28715093034648592"/>
            </c:manualLayout>
          </c:layout>
          <c:overlay val="0"/>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9551"/>
        <c:crosses val="autoZero"/>
        <c:crossBetween val="midCat"/>
        <c:majorUnit val="20"/>
      </c:valAx>
      <c:spPr>
        <a:noFill/>
        <a:ln>
          <a:noFill/>
        </a:ln>
        <a:effectLst/>
      </c:spPr>
    </c:plotArea>
    <c:legend>
      <c:legendPos val="b"/>
      <c:layout>
        <c:manualLayout>
          <c:xMode val="edge"/>
          <c:yMode val="edge"/>
          <c:x val="0.26302231657236785"/>
          <c:y val="0.92487037074224565"/>
          <c:w val="0.47780177756603176"/>
          <c:h val="7.5129629257754293E-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9050">
      <a:solidFill>
        <a:srgbClr val="000000"/>
      </a:solid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i="0" baseline="0" dirty="0">
                <a:solidFill>
                  <a:schemeClr val="tx1"/>
                </a:solidFill>
                <a:effectLst/>
              </a:rPr>
              <a:t>Vardenafil pellets and Vardenafil MUPS. Dissolution in Phosphate Buffer pH 6.8, 900ml, paddle at 50 rpm </a:t>
            </a:r>
            <a:endParaRPr lang="en-US" sz="1600" dirty="0">
              <a:solidFill>
                <a:schemeClr val="tx1"/>
              </a:solidFill>
              <a:effectLst/>
            </a:endParaRPr>
          </a:p>
        </c:rich>
      </c:tx>
      <c:layout>
        <c:manualLayout>
          <c:xMode val="edge"/>
          <c:yMode val="edge"/>
          <c:x val="0.18668634695902256"/>
          <c:y val="4.4025168133800856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4431674912644427"/>
          <c:y val="0.14807882634547279"/>
          <c:w val="0.81862729658792655"/>
          <c:h val="0.51554140556958017"/>
        </c:manualLayout>
      </c:layout>
      <c:scatterChart>
        <c:scatterStyle val="lineMarker"/>
        <c:varyColors val="0"/>
        <c:ser>
          <c:idx val="0"/>
          <c:order val="0"/>
          <c:tx>
            <c:v>30% wt. gain Cured pellets</c:v>
          </c:tx>
          <c:spPr>
            <a:ln w="19050" cap="rnd">
              <a:solidFill>
                <a:schemeClr val="accent1"/>
              </a:solidFill>
              <a:round/>
            </a:ln>
            <a:effectLst/>
          </c:spPr>
          <c:marker>
            <c:symbol val="circle"/>
            <c:size val="5"/>
            <c:spPr>
              <a:solidFill>
                <a:schemeClr val="accent1"/>
              </a:solidFill>
              <a:ln w="9525">
                <a:solidFill>
                  <a:schemeClr val="accent1"/>
                </a:solidFill>
              </a:ln>
              <a:effectLst/>
            </c:spPr>
          </c:marker>
          <c:errBars>
            <c:errDir val="y"/>
            <c:errBarType val="both"/>
            <c:errValType val="cust"/>
            <c:noEndCap val="0"/>
            <c:plus>
              <c:numRef>
                <c:f>Sheet2!$K$6:$K$18</c:f>
                <c:numCache>
                  <c:formatCode>General</c:formatCode>
                  <c:ptCount val="13"/>
                  <c:pt idx="0">
                    <c:v>0</c:v>
                  </c:pt>
                  <c:pt idx="1">
                    <c:v>3.6670843261644798E-2</c:v>
                  </c:pt>
                  <c:pt idx="2">
                    <c:v>0.16685563912238435</c:v>
                  </c:pt>
                  <c:pt idx="3">
                    <c:v>9.6268790287290004E-2</c:v>
                  </c:pt>
                  <c:pt idx="4">
                    <c:v>3.1369056115448372E-2</c:v>
                  </c:pt>
                  <c:pt idx="5">
                    <c:v>6.9894508591484134E-2</c:v>
                  </c:pt>
                  <c:pt idx="6">
                    <c:v>8.6761919576701541E-2</c:v>
                  </c:pt>
                  <c:pt idx="7">
                    <c:v>0.21760614779554918</c:v>
                  </c:pt>
                  <c:pt idx="8">
                    <c:v>0.2647964706535394</c:v>
                  </c:pt>
                  <c:pt idx="9">
                    <c:v>0.38735933262749012</c:v>
                  </c:pt>
                  <c:pt idx="10">
                    <c:v>0.60408290252154784</c:v>
                  </c:pt>
                  <c:pt idx="11">
                    <c:v>0.67754844795199909</c:v>
                  </c:pt>
                  <c:pt idx="12">
                    <c:v>0.75717854462465317</c:v>
                  </c:pt>
                </c:numCache>
              </c:numRef>
            </c:plus>
            <c:minus>
              <c:numRef>
                <c:f>Sheet2!$K$6:$K$18</c:f>
                <c:numCache>
                  <c:formatCode>General</c:formatCode>
                  <c:ptCount val="13"/>
                  <c:pt idx="0">
                    <c:v>0</c:v>
                  </c:pt>
                  <c:pt idx="1">
                    <c:v>3.6670843261644798E-2</c:v>
                  </c:pt>
                  <c:pt idx="2">
                    <c:v>0.16685563912238435</c:v>
                  </c:pt>
                  <c:pt idx="3">
                    <c:v>9.6268790287290004E-2</c:v>
                  </c:pt>
                  <c:pt idx="4">
                    <c:v>3.1369056115448372E-2</c:v>
                  </c:pt>
                  <c:pt idx="5">
                    <c:v>6.9894508591484134E-2</c:v>
                  </c:pt>
                  <c:pt idx="6">
                    <c:v>8.6761919576701541E-2</c:v>
                  </c:pt>
                  <c:pt idx="7">
                    <c:v>0.21760614779554918</c:v>
                  </c:pt>
                  <c:pt idx="8">
                    <c:v>0.2647964706535394</c:v>
                  </c:pt>
                  <c:pt idx="9">
                    <c:v>0.38735933262749012</c:v>
                  </c:pt>
                  <c:pt idx="10">
                    <c:v>0.60408290252154784</c:v>
                  </c:pt>
                  <c:pt idx="11">
                    <c:v>0.67754844795199909</c:v>
                  </c:pt>
                  <c:pt idx="12">
                    <c:v>0.75717854462465317</c:v>
                  </c:pt>
                </c:numCache>
              </c:numRef>
            </c:minus>
            <c:spPr>
              <a:noFill/>
              <a:ln w="9525" cap="flat" cmpd="sng" algn="ctr">
                <a:solidFill>
                  <a:schemeClr val="tx1">
                    <a:lumMod val="65000"/>
                    <a:lumOff val="35000"/>
                  </a:schemeClr>
                </a:solidFill>
                <a:round/>
              </a:ln>
              <a:effectLst/>
            </c:spPr>
          </c:errBars>
          <c:xVal>
            <c:numRef>
              <c:f>Sheet2!$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I$6:$I$18</c:f>
              <c:numCache>
                <c:formatCode>0.00</c:formatCode>
                <c:ptCount val="13"/>
                <c:pt idx="0">
                  <c:v>0</c:v>
                </c:pt>
                <c:pt idx="1">
                  <c:v>0.59782747687153159</c:v>
                </c:pt>
                <c:pt idx="2">
                  <c:v>1.0519383213001026</c:v>
                </c:pt>
                <c:pt idx="3">
                  <c:v>1.5707356914967179</c:v>
                </c:pt>
                <c:pt idx="4">
                  <c:v>1.9750965426606124</c:v>
                </c:pt>
                <c:pt idx="5">
                  <c:v>2.3799410305671334</c:v>
                </c:pt>
                <c:pt idx="6">
                  <c:v>3.3080521938102527</c:v>
                </c:pt>
                <c:pt idx="7">
                  <c:v>4.1681279887928335</c:v>
                </c:pt>
                <c:pt idx="8">
                  <c:v>4.9942918142849591</c:v>
                </c:pt>
                <c:pt idx="9">
                  <c:v>5.672326450102581</c:v>
                </c:pt>
                <c:pt idx="10">
                  <c:v>6.745926565422252</c:v>
                </c:pt>
                <c:pt idx="11">
                  <c:v>7.7053785204378498</c:v>
                </c:pt>
                <c:pt idx="12">
                  <c:v>8.5227710707841986</c:v>
                </c:pt>
              </c:numCache>
            </c:numRef>
          </c:yVal>
          <c:smooth val="0"/>
          <c:extLst>
            <c:ext xmlns:c16="http://schemas.microsoft.com/office/drawing/2014/chart" uri="{C3380CC4-5D6E-409C-BE32-E72D297353CC}">
              <c16:uniqueId val="{00000000-41D7-430D-8064-FCFF3F567D6F}"/>
            </c:ext>
          </c:extLst>
        </c:ser>
        <c:ser>
          <c:idx val="1"/>
          <c:order val="1"/>
          <c:tx>
            <c:v>30% wt. gain cured pellets compressed in to Tablets with Ludiflash</c:v>
          </c:tx>
          <c:spPr>
            <a:ln w="19050" cap="rnd">
              <a:solidFill>
                <a:srgbClr val="00B050"/>
              </a:solidFill>
              <a:round/>
            </a:ln>
            <a:effectLst/>
          </c:spPr>
          <c:marker>
            <c:symbol val="diamond"/>
            <c:size val="5"/>
            <c:spPr>
              <a:solidFill>
                <a:srgbClr val="00B050"/>
              </a:solidFill>
              <a:ln w="9525">
                <a:solidFill>
                  <a:srgbClr val="00B050"/>
                </a:solidFill>
              </a:ln>
              <a:effectLst/>
            </c:spPr>
          </c:marker>
          <c:errBars>
            <c:errDir val="y"/>
            <c:errBarType val="both"/>
            <c:errValType val="cust"/>
            <c:noEndCap val="0"/>
            <c:plus>
              <c:numRef>
                <c:f>Sheet2!$L$6:$L$18</c:f>
                <c:numCache>
                  <c:formatCode>General</c:formatCode>
                  <c:ptCount val="13"/>
                  <c:pt idx="0">
                    <c:v>0</c:v>
                  </c:pt>
                  <c:pt idx="1">
                    <c:v>0.1403194249616779</c:v>
                  </c:pt>
                  <c:pt idx="2">
                    <c:v>0.86639135208218232</c:v>
                  </c:pt>
                  <c:pt idx="3">
                    <c:v>0.99511222239363761</c:v>
                  </c:pt>
                  <c:pt idx="4">
                    <c:v>0.58466058473277016</c:v>
                  </c:pt>
                  <c:pt idx="5">
                    <c:v>1.0690763311786164</c:v>
                  </c:pt>
                  <c:pt idx="6">
                    <c:v>1.5190545038552834</c:v>
                  </c:pt>
                  <c:pt idx="7">
                    <c:v>0.86955474990830262</c:v>
                  </c:pt>
                  <c:pt idx="8">
                    <c:v>0.73287378991831365</c:v>
                  </c:pt>
                  <c:pt idx="9">
                    <c:v>0.38817174359871026</c:v>
                  </c:pt>
                  <c:pt idx="10">
                    <c:v>0.28211116193761804</c:v>
                  </c:pt>
                  <c:pt idx="11">
                    <c:v>0.23041041354342942</c:v>
                  </c:pt>
                  <c:pt idx="12">
                    <c:v>0.47847623169610159</c:v>
                  </c:pt>
                </c:numCache>
              </c:numRef>
            </c:plus>
            <c:minus>
              <c:numRef>
                <c:f>Sheet2!$L$6:$L$18</c:f>
                <c:numCache>
                  <c:formatCode>General</c:formatCode>
                  <c:ptCount val="13"/>
                  <c:pt idx="0">
                    <c:v>0</c:v>
                  </c:pt>
                  <c:pt idx="1">
                    <c:v>0.1403194249616779</c:v>
                  </c:pt>
                  <c:pt idx="2">
                    <c:v>0.86639135208218232</c:v>
                  </c:pt>
                  <c:pt idx="3">
                    <c:v>0.99511222239363761</c:v>
                  </c:pt>
                  <c:pt idx="4">
                    <c:v>0.58466058473277016</c:v>
                  </c:pt>
                  <c:pt idx="5">
                    <c:v>1.0690763311786164</c:v>
                  </c:pt>
                  <c:pt idx="6">
                    <c:v>1.5190545038552834</c:v>
                  </c:pt>
                  <c:pt idx="7">
                    <c:v>0.86955474990830262</c:v>
                  </c:pt>
                  <c:pt idx="8">
                    <c:v>0.73287378991831365</c:v>
                  </c:pt>
                  <c:pt idx="9">
                    <c:v>0.38817174359871026</c:v>
                  </c:pt>
                  <c:pt idx="10">
                    <c:v>0.28211116193761804</c:v>
                  </c:pt>
                  <c:pt idx="11">
                    <c:v>0.23041041354342942</c:v>
                  </c:pt>
                  <c:pt idx="12">
                    <c:v>0.47847623169610159</c:v>
                  </c:pt>
                </c:numCache>
              </c:numRef>
            </c:minus>
            <c:spPr>
              <a:noFill/>
              <a:ln w="9525" cap="flat" cmpd="sng" algn="ctr">
                <a:solidFill>
                  <a:schemeClr val="tx1">
                    <a:lumMod val="65000"/>
                    <a:lumOff val="35000"/>
                  </a:schemeClr>
                </a:solidFill>
                <a:round/>
              </a:ln>
              <a:effectLst/>
            </c:spPr>
          </c:errBars>
          <c:xVal>
            <c:numRef>
              <c:f>Sheet2!$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J$6:$J$18</c:f>
              <c:numCache>
                <c:formatCode>0.00</c:formatCode>
                <c:ptCount val="13"/>
                <c:pt idx="0">
                  <c:v>0</c:v>
                </c:pt>
                <c:pt idx="1">
                  <c:v>2.3524673147895663</c:v>
                </c:pt>
                <c:pt idx="2">
                  <c:v>3.8652375662810976</c:v>
                </c:pt>
                <c:pt idx="3">
                  <c:v>4.3568091079966988</c:v>
                </c:pt>
                <c:pt idx="4">
                  <c:v>5.1567566532879576</c:v>
                </c:pt>
                <c:pt idx="5">
                  <c:v>6.0145628943636851</c:v>
                </c:pt>
                <c:pt idx="6">
                  <c:v>7.6271200711676199</c:v>
                </c:pt>
                <c:pt idx="7">
                  <c:v>8.089329352223805</c:v>
                </c:pt>
                <c:pt idx="8">
                  <c:v>8.5124219544080386</c:v>
                </c:pt>
                <c:pt idx="9">
                  <c:v>8.8315303258352014</c:v>
                </c:pt>
                <c:pt idx="10">
                  <c:v>9.7575400579030109</c:v>
                </c:pt>
                <c:pt idx="11">
                  <c:v>10.683785714230979</c:v>
                </c:pt>
                <c:pt idx="12">
                  <c:v>11.703717947165885</c:v>
                </c:pt>
              </c:numCache>
            </c:numRef>
          </c:yVal>
          <c:smooth val="0"/>
          <c:extLst>
            <c:ext xmlns:c16="http://schemas.microsoft.com/office/drawing/2014/chart" uri="{C3380CC4-5D6E-409C-BE32-E72D297353CC}">
              <c16:uniqueId val="{00000001-41D7-430D-8064-FCFF3F567D6F}"/>
            </c:ext>
          </c:extLst>
        </c:ser>
        <c:dLbls>
          <c:showLegendKey val="0"/>
          <c:showVal val="0"/>
          <c:showCatName val="0"/>
          <c:showSerName val="0"/>
          <c:showPercent val="0"/>
          <c:showBubbleSize val="0"/>
        </c:dLbls>
        <c:axId val="500909551"/>
        <c:axId val="500906223"/>
      </c:scatterChart>
      <c:valAx>
        <c:axId val="500909551"/>
        <c:scaling>
          <c:orientation val="minMax"/>
          <c:max val="60"/>
        </c:scaling>
        <c:delete val="0"/>
        <c:axPos val="b"/>
        <c:title>
          <c:tx>
            <c:rich>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Time (min)</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6223"/>
        <c:crosses val="autoZero"/>
        <c:crossBetween val="midCat"/>
        <c:majorUnit val="5"/>
      </c:valAx>
      <c:valAx>
        <c:axId val="500906223"/>
        <c:scaling>
          <c:orientation val="minMax"/>
          <c:max val="100"/>
        </c:scaling>
        <c:delete val="0"/>
        <c:axPos val="l"/>
        <c:title>
          <c:tx>
            <c:rich>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 drug released</a:t>
                </a:r>
              </a:p>
            </c:rich>
          </c:tx>
          <c:overlay val="0"/>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9551"/>
        <c:crosses val="autoZero"/>
        <c:crossBetween val="midCat"/>
        <c:majorUnit val="20"/>
      </c:valAx>
      <c:spPr>
        <a:noFill/>
        <a:ln>
          <a:noFill/>
        </a:ln>
        <a:effectLst/>
      </c:spPr>
    </c:plotArea>
    <c:legend>
      <c:legendPos val="b"/>
      <c:layout>
        <c:manualLayout>
          <c:xMode val="edge"/>
          <c:yMode val="edge"/>
          <c:x val="4.5291316025533878E-5"/>
          <c:y val="0.84084211304572853"/>
          <c:w val="0.97714955355470046"/>
          <c:h val="0.13411876608297973"/>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9050">
      <a:solidFill>
        <a:srgbClr val="000000"/>
      </a:solid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sz="1800" b="1" i="0" baseline="0" dirty="0">
                <a:solidFill>
                  <a:schemeClr val="tx1"/>
                </a:solidFill>
                <a:effectLst/>
              </a:rPr>
              <a:t>Vardenafil pellets coated with Kollicoat</a:t>
            </a:r>
            <a:r>
              <a:rPr lang="en-US" sz="1800" b="0" i="0" baseline="30000" dirty="0">
                <a:effectLst/>
              </a:rPr>
              <a:t>® </a:t>
            </a:r>
            <a:r>
              <a:rPr lang="en-US" sz="1800" b="1" i="0" baseline="0" dirty="0">
                <a:solidFill>
                  <a:schemeClr val="tx1"/>
                </a:solidFill>
                <a:effectLst/>
              </a:rPr>
              <a:t>Smartseal (30% w/g and 2 h cured). Dissolution in Phosphate Buffer pH 6.8, 900 ml - Basket 100 rpm Vs Paddle 50 rpm </a:t>
            </a:r>
            <a:endParaRPr lang="en-US" sz="1800" dirty="0">
              <a:solidFill>
                <a:schemeClr val="tx1"/>
              </a:solidFill>
              <a:effectLst/>
            </a:endParaRPr>
          </a:p>
        </c:rich>
      </c:tx>
      <c:layout>
        <c:manualLayout>
          <c:xMode val="edge"/>
          <c:yMode val="edge"/>
          <c:x val="0.16760927374435516"/>
          <c:y val="3.6248373568664956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endParaRPr lang="en-US"/>
        </a:p>
      </c:txPr>
    </c:title>
    <c:autoTitleDeleted val="0"/>
    <c:plotArea>
      <c:layout>
        <c:manualLayout>
          <c:layoutTarget val="inner"/>
          <c:xMode val="edge"/>
          <c:yMode val="edge"/>
          <c:x val="0.11711336439754201"/>
          <c:y val="0.20043338185786824"/>
          <c:w val="0.8053162021010265"/>
          <c:h val="0.52145356690934741"/>
        </c:manualLayout>
      </c:layout>
      <c:scatterChart>
        <c:scatterStyle val="lineMarker"/>
        <c:varyColors val="0"/>
        <c:ser>
          <c:idx val="0"/>
          <c:order val="0"/>
          <c:tx>
            <c:v>Basket 100 rpm</c:v>
          </c:tx>
          <c:spPr>
            <a:ln w="19050" cap="rnd">
              <a:solidFill>
                <a:srgbClr val="00B050"/>
              </a:solidFill>
              <a:round/>
            </a:ln>
            <a:effectLst/>
          </c:spPr>
          <c:marker>
            <c:symbol val="circle"/>
            <c:size val="5"/>
            <c:spPr>
              <a:solidFill>
                <a:srgbClr val="00B050"/>
              </a:solidFill>
              <a:ln w="9525">
                <a:solidFill>
                  <a:srgbClr val="00B050"/>
                </a:solidFill>
              </a:ln>
              <a:effectLst/>
            </c:spPr>
          </c:marker>
          <c:errBars>
            <c:errDir val="y"/>
            <c:errBarType val="both"/>
            <c:errValType val="cust"/>
            <c:noEndCap val="0"/>
            <c:plus>
              <c:numRef>
                <c:f>Sheet2!$K$6:$K$18</c:f>
                <c:numCache>
                  <c:formatCode>General</c:formatCode>
                  <c:ptCount val="13"/>
                  <c:pt idx="0">
                    <c:v>0</c:v>
                  </c:pt>
                  <c:pt idx="1">
                    <c:v>0.95713345928765503</c:v>
                  </c:pt>
                  <c:pt idx="2">
                    <c:v>0.89888564918179237</c:v>
                  </c:pt>
                  <c:pt idx="3">
                    <c:v>0.91427540750540892</c:v>
                  </c:pt>
                  <c:pt idx="4">
                    <c:v>0.80420973241464122</c:v>
                  </c:pt>
                  <c:pt idx="5">
                    <c:v>0.79486722962979295</c:v>
                  </c:pt>
                  <c:pt idx="6">
                    <c:v>0.78023229796690319</c:v>
                  </c:pt>
                  <c:pt idx="7">
                    <c:v>0.74460236056193241</c:v>
                  </c:pt>
                  <c:pt idx="8">
                    <c:v>0.806249975375807</c:v>
                  </c:pt>
                  <c:pt idx="9">
                    <c:v>0.82892181781739205</c:v>
                  </c:pt>
                  <c:pt idx="10">
                    <c:v>0.84879008800606848</c:v>
                  </c:pt>
                  <c:pt idx="11">
                    <c:v>0.88526085914905361</c:v>
                  </c:pt>
                  <c:pt idx="12">
                    <c:v>0.90482845028240122</c:v>
                  </c:pt>
                </c:numCache>
              </c:numRef>
            </c:plus>
            <c:minus>
              <c:numRef>
                <c:f>Sheet2!$K$6:$K$18</c:f>
                <c:numCache>
                  <c:formatCode>General</c:formatCode>
                  <c:ptCount val="13"/>
                  <c:pt idx="0">
                    <c:v>0</c:v>
                  </c:pt>
                  <c:pt idx="1">
                    <c:v>0.95713345928765503</c:v>
                  </c:pt>
                  <c:pt idx="2">
                    <c:v>0.89888564918179237</c:v>
                  </c:pt>
                  <c:pt idx="3">
                    <c:v>0.91427540750540892</c:v>
                  </c:pt>
                  <c:pt idx="4">
                    <c:v>0.80420973241464122</c:v>
                  </c:pt>
                  <c:pt idx="5">
                    <c:v>0.79486722962979295</c:v>
                  </c:pt>
                  <c:pt idx="6">
                    <c:v>0.78023229796690319</c:v>
                  </c:pt>
                  <c:pt idx="7">
                    <c:v>0.74460236056193241</c:v>
                  </c:pt>
                  <c:pt idx="8">
                    <c:v>0.806249975375807</c:v>
                  </c:pt>
                  <c:pt idx="9">
                    <c:v>0.82892181781739205</c:v>
                  </c:pt>
                  <c:pt idx="10">
                    <c:v>0.84879008800606848</c:v>
                  </c:pt>
                  <c:pt idx="11">
                    <c:v>0.88526085914905361</c:v>
                  </c:pt>
                  <c:pt idx="12">
                    <c:v>0.90482845028240122</c:v>
                  </c:pt>
                </c:numCache>
              </c:numRef>
            </c:minus>
            <c:spPr>
              <a:noFill/>
              <a:ln w="9525" cap="flat" cmpd="sng" algn="ctr">
                <a:solidFill>
                  <a:schemeClr val="tx1">
                    <a:lumMod val="65000"/>
                    <a:lumOff val="35000"/>
                  </a:schemeClr>
                </a:solidFill>
                <a:round/>
              </a:ln>
              <a:effectLst/>
            </c:spPr>
          </c:errBars>
          <c:xVal>
            <c:numRef>
              <c:f>Sheet2!$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I$6:$I$18</c:f>
              <c:numCache>
                <c:formatCode>0.00</c:formatCode>
                <c:ptCount val="13"/>
                <c:pt idx="0">
                  <c:v>0</c:v>
                </c:pt>
                <c:pt idx="1">
                  <c:v>1.0378289421190219</c:v>
                </c:pt>
                <c:pt idx="2">
                  <c:v>1.2308133431101909</c:v>
                </c:pt>
                <c:pt idx="3">
                  <c:v>1.4200234899324682</c:v>
                </c:pt>
                <c:pt idx="4">
                  <c:v>1.778724346237049</c:v>
                </c:pt>
                <c:pt idx="5">
                  <c:v>2.0310978691409449</c:v>
                </c:pt>
                <c:pt idx="6">
                  <c:v>2.7520757346541909</c:v>
                </c:pt>
                <c:pt idx="7">
                  <c:v>3.23930548962027</c:v>
                </c:pt>
                <c:pt idx="8">
                  <c:v>3.5307334140519711</c:v>
                </c:pt>
                <c:pt idx="9">
                  <c:v>3.860417176712216</c:v>
                </c:pt>
                <c:pt idx="10">
                  <c:v>4.4205259043616785</c:v>
                </c:pt>
                <c:pt idx="11">
                  <c:v>4.8406623280308612</c:v>
                </c:pt>
                <c:pt idx="12">
                  <c:v>5.2979776820959614</c:v>
                </c:pt>
              </c:numCache>
            </c:numRef>
          </c:yVal>
          <c:smooth val="0"/>
          <c:extLst>
            <c:ext xmlns:c16="http://schemas.microsoft.com/office/drawing/2014/chart" uri="{C3380CC4-5D6E-409C-BE32-E72D297353CC}">
              <c16:uniqueId val="{00000000-017B-43A7-B8A5-9963256DC5A6}"/>
            </c:ext>
          </c:extLst>
        </c:ser>
        <c:ser>
          <c:idx val="1"/>
          <c:order val="1"/>
          <c:tx>
            <c:v>Paddle 50 rpm</c:v>
          </c:tx>
          <c:spPr>
            <a:ln w="19050" cap="rnd">
              <a:solidFill>
                <a:srgbClr val="4472C4"/>
              </a:solidFill>
              <a:round/>
            </a:ln>
            <a:effectLst/>
          </c:spPr>
          <c:marker>
            <c:symbol val="diamond"/>
            <c:size val="5"/>
            <c:spPr>
              <a:solidFill>
                <a:srgbClr val="4472C4"/>
              </a:solidFill>
              <a:ln w="9525">
                <a:solidFill>
                  <a:srgbClr val="0070C0"/>
                </a:solidFill>
              </a:ln>
              <a:effectLst/>
            </c:spPr>
          </c:marker>
          <c:errBars>
            <c:errDir val="y"/>
            <c:errBarType val="both"/>
            <c:errValType val="cust"/>
            <c:noEndCap val="0"/>
            <c:plus>
              <c:numRef>
                <c:f>Sheet2!$L$6:$L$18</c:f>
                <c:numCache>
                  <c:formatCode>General</c:formatCode>
                  <c:ptCount val="13"/>
                  <c:pt idx="0">
                    <c:v>0</c:v>
                  </c:pt>
                  <c:pt idx="1">
                    <c:v>0.206877461475307</c:v>
                  </c:pt>
                  <c:pt idx="2">
                    <c:v>0.27198861377215167</c:v>
                  </c:pt>
                  <c:pt idx="3">
                    <c:v>1.1098469404976687</c:v>
                  </c:pt>
                  <c:pt idx="4">
                    <c:v>1.0551724554413608</c:v>
                  </c:pt>
                  <c:pt idx="5">
                    <c:v>1.1203218525616945</c:v>
                  </c:pt>
                  <c:pt idx="6">
                    <c:v>0.10510000420271948</c:v>
                  </c:pt>
                  <c:pt idx="7">
                    <c:v>8.4518343292781128E-2</c:v>
                  </c:pt>
                  <c:pt idx="8">
                    <c:v>0.11988169354790632</c:v>
                  </c:pt>
                  <c:pt idx="9">
                    <c:v>4.7921928789875369E-2</c:v>
                  </c:pt>
                  <c:pt idx="10">
                    <c:v>6.5568833402457213E-2</c:v>
                  </c:pt>
                  <c:pt idx="11">
                    <c:v>0.10704906246580788</c:v>
                  </c:pt>
                  <c:pt idx="12">
                    <c:v>8.4603328439331535E-2</c:v>
                  </c:pt>
                </c:numCache>
              </c:numRef>
            </c:plus>
            <c:minus>
              <c:numRef>
                <c:f>Sheet2!$L$6:$L$18</c:f>
                <c:numCache>
                  <c:formatCode>General</c:formatCode>
                  <c:ptCount val="13"/>
                  <c:pt idx="0">
                    <c:v>0</c:v>
                  </c:pt>
                  <c:pt idx="1">
                    <c:v>0.206877461475307</c:v>
                  </c:pt>
                  <c:pt idx="2">
                    <c:v>0.27198861377215167</c:v>
                  </c:pt>
                  <c:pt idx="3">
                    <c:v>1.1098469404976687</c:v>
                  </c:pt>
                  <c:pt idx="4">
                    <c:v>1.0551724554413608</c:v>
                  </c:pt>
                  <c:pt idx="5">
                    <c:v>1.1203218525616945</c:v>
                  </c:pt>
                  <c:pt idx="6">
                    <c:v>0.10510000420271948</c:v>
                  </c:pt>
                  <c:pt idx="7">
                    <c:v>8.4518343292781128E-2</c:v>
                  </c:pt>
                  <c:pt idx="8">
                    <c:v>0.11988169354790632</c:v>
                  </c:pt>
                  <c:pt idx="9">
                    <c:v>4.7921928789875369E-2</c:v>
                  </c:pt>
                  <c:pt idx="10">
                    <c:v>6.5568833402457213E-2</c:v>
                  </c:pt>
                  <c:pt idx="11">
                    <c:v>0.10704906246580788</c:v>
                  </c:pt>
                  <c:pt idx="12">
                    <c:v>8.4603328439331535E-2</c:v>
                  </c:pt>
                </c:numCache>
              </c:numRef>
            </c:minus>
            <c:spPr>
              <a:noFill/>
              <a:ln w="9525" cap="flat" cmpd="sng" algn="ctr">
                <a:solidFill>
                  <a:schemeClr val="tx1">
                    <a:lumMod val="65000"/>
                    <a:lumOff val="35000"/>
                  </a:schemeClr>
                </a:solidFill>
                <a:round/>
              </a:ln>
              <a:effectLst/>
            </c:spPr>
          </c:errBars>
          <c:xVal>
            <c:numRef>
              <c:f>Sheet2!$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J$6:$J$18</c:f>
              <c:numCache>
                <c:formatCode>0.00</c:formatCode>
                <c:ptCount val="13"/>
                <c:pt idx="0">
                  <c:v>0</c:v>
                </c:pt>
                <c:pt idx="1">
                  <c:v>0.64137128871176863</c:v>
                </c:pt>
                <c:pt idx="2">
                  <c:v>1.1913659142987127</c:v>
                </c:pt>
                <c:pt idx="3">
                  <c:v>2.2148222598160308</c:v>
                </c:pt>
                <c:pt idx="4">
                  <c:v>2.5715111145736258</c:v>
                </c:pt>
                <c:pt idx="5">
                  <c:v>3.1462248014241414</c:v>
                </c:pt>
                <c:pt idx="6">
                  <c:v>3.3813034195877463</c:v>
                </c:pt>
                <c:pt idx="7">
                  <c:v>4.2897567048048755</c:v>
                </c:pt>
                <c:pt idx="8">
                  <c:v>5.0787432850306287</c:v>
                </c:pt>
                <c:pt idx="9">
                  <c:v>5.762058743668014</c:v>
                </c:pt>
                <c:pt idx="10">
                  <c:v>6.8268822874330821</c:v>
                </c:pt>
                <c:pt idx="11">
                  <c:v>7.674652294308558</c:v>
                </c:pt>
                <c:pt idx="12">
                  <c:v>8.4116575944396264</c:v>
                </c:pt>
              </c:numCache>
            </c:numRef>
          </c:yVal>
          <c:smooth val="0"/>
          <c:extLst>
            <c:ext xmlns:c16="http://schemas.microsoft.com/office/drawing/2014/chart" uri="{C3380CC4-5D6E-409C-BE32-E72D297353CC}">
              <c16:uniqueId val="{00000001-017B-43A7-B8A5-9963256DC5A6}"/>
            </c:ext>
          </c:extLst>
        </c:ser>
        <c:dLbls>
          <c:showLegendKey val="0"/>
          <c:showVal val="0"/>
          <c:showCatName val="0"/>
          <c:showSerName val="0"/>
          <c:showPercent val="0"/>
          <c:showBubbleSize val="0"/>
        </c:dLbls>
        <c:axId val="500909551"/>
        <c:axId val="500906223"/>
      </c:scatterChart>
      <c:valAx>
        <c:axId val="500909551"/>
        <c:scaling>
          <c:orientation val="minMax"/>
          <c:max val="60"/>
        </c:scaling>
        <c:delete val="0"/>
        <c:axPos val="b"/>
        <c:title>
          <c:tx>
            <c:rich>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Time (min)</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6223"/>
        <c:crossesAt val="0"/>
        <c:crossBetween val="midCat"/>
        <c:majorUnit val="5"/>
      </c:valAx>
      <c:valAx>
        <c:axId val="500906223"/>
        <c:scaling>
          <c:orientation val="minMax"/>
          <c:max val="100"/>
        </c:scaling>
        <c:delete val="0"/>
        <c:axPos val="l"/>
        <c:title>
          <c:tx>
            <c:rich>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 drug released</a:t>
                </a:r>
              </a:p>
            </c:rich>
          </c:tx>
          <c:overlay val="0"/>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9551"/>
        <c:crosses val="autoZero"/>
        <c:crossBetween val="midCat"/>
        <c:majorUnit val="20"/>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9050">
      <a:solidFill>
        <a:srgbClr val="000000"/>
      </a:solid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r>
              <a:rPr lang="en-US" sz="1800" b="1" i="0" baseline="0" dirty="0">
                <a:effectLst/>
              </a:rPr>
              <a:t>Vardenafil pellets coated with Kollicoat</a:t>
            </a:r>
            <a:r>
              <a:rPr lang="en-US" sz="1800" b="0" i="0" baseline="30000" dirty="0">
                <a:effectLst/>
              </a:rPr>
              <a:t>® </a:t>
            </a:r>
            <a:r>
              <a:rPr lang="en-US" sz="1800" b="1" i="0" baseline="0" dirty="0">
                <a:effectLst/>
              </a:rPr>
              <a:t>Smartseal. </a:t>
            </a:r>
          </a:p>
          <a:p>
            <a:pPr marL="0" marR="0" lvl="0" indent="0" algn="ctr" defTabSz="914400" rtl="0" eaLnBrk="1" fontAlgn="auto" latinLnBrk="0" hangingPunct="1">
              <a:lnSpc>
                <a:spcPct val="100000"/>
              </a:lnSpc>
              <a:spcBef>
                <a:spcPts val="0"/>
              </a:spcBef>
              <a:spcAft>
                <a:spcPts val="0"/>
              </a:spcAft>
              <a:buClrTx/>
              <a:buSzTx/>
              <a:buFontTx/>
              <a:buNone/>
              <a:tabLst/>
              <a:defRPr sz="1800" b="1">
                <a:solidFill>
                  <a:prstClr val="black"/>
                </a:solidFill>
              </a:defRPr>
            </a:pPr>
            <a:r>
              <a:rPr lang="en-US" sz="1800" b="1" i="0" baseline="0" dirty="0">
                <a:effectLst/>
              </a:rPr>
              <a:t>Dissolution in Phosphate Buffer, pH 6.8, 900 ml, b</a:t>
            </a:r>
            <a:r>
              <a:rPr lang="en-US" sz="1800" b="1" i="0" baseline="0" dirty="0">
                <a:solidFill>
                  <a:schemeClr val="tx1"/>
                </a:solidFill>
                <a:effectLst/>
              </a:rPr>
              <a:t>asket at 100 rpm </a:t>
            </a:r>
            <a:endParaRPr lang="en-US" sz="1800" b="1" dirty="0">
              <a:solidFill>
                <a:schemeClr val="tx1"/>
              </a:solidFill>
              <a:effectLst/>
            </a:endParaRPr>
          </a:p>
        </c:rich>
      </c:tx>
      <c:layout>
        <c:manualLayout>
          <c:xMode val="edge"/>
          <c:yMode val="edge"/>
          <c:x val="0.20794410668323424"/>
          <c:y val="6.0267029167528595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1" i="0" u="none" strike="noStrike" kern="1200" spc="0" baseline="0">
              <a:solidFill>
                <a:prstClr val="black"/>
              </a:solidFill>
              <a:latin typeface="+mn-lt"/>
              <a:ea typeface="+mn-ea"/>
              <a:cs typeface="+mn-cs"/>
            </a:defRPr>
          </a:pPr>
          <a:endParaRPr lang="en-US"/>
        </a:p>
      </c:txPr>
    </c:title>
    <c:autoTitleDeleted val="0"/>
    <c:plotArea>
      <c:layout>
        <c:manualLayout>
          <c:layoutTarget val="inner"/>
          <c:xMode val="edge"/>
          <c:yMode val="edge"/>
          <c:x val="0.12137090063903434"/>
          <c:y val="0.10793040476216934"/>
          <c:w val="0.82919463366468449"/>
          <c:h val="0.60892181780754573"/>
        </c:manualLayout>
      </c:layout>
      <c:scatterChart>
        <c:scatterStyle val="lineMarker"/>
        <c:varyColors val="0"/>
        <c:ser>
          <c:idx val="0"/>
          <c:order val="0"/>
          <c:tx>
            <c:strRef>
              <c:f>Sheet2!$I$4</c:f>
              <c:strCache>
                <c:ptCount val="1"/>
                <c:pt idx="0">
                  <c:v>30% wt. gain 1 Hr Cured</c:v>
                </c:pt>
              </c:strCache>
            </c:strRef>
          </c:tx>
          <c:spPr>
            <a:ln w="19050" cap="rnd">
              <a:solidFill>
                <a:srgbClr val="FF0000"/>
              </a:solidFill>
              <a:round/>
            </a:ln>
            <a:effectLst/>
          </c:spPr>
          <c:marker>
            <c:symbol val="circle"/>
            <c:size val="5"/>
            <c:spPr>
              <a:solidFill>
                <a:srgbClr val="FF0000"/>
              </a:solidFill>
              <a:ln w="9525">
                <a:solidFill>
                  <a:srgbClr val="FF0000"/>
                </a:solidFill>
              </a:ln>
              <a:effectLst/>
            </c:spPr>
          </c:marker>
          <c:errBars>
            <c:errDir val="y"/>
            <c:errBarType val="both"/>
            <c:errValType val="cust"/>
            <c:noEndCap val="0"/>
            <c:plus>
              <c:numRef>
                <c:f>Sheet2!$L$6:$L$18</c:f>
                <c:numCache>
                  <c:formatCode>General</c:formatCode>
                  <c:ptCount val="13"/>
                  <c:pt idx="0">
                    <c:v>0</c:v>
                  </c:pt>
                  <c:pt idx="1">
                    <c:v>0.17026576178342062</c:v>
                  </c:pt>
                  <c:pt idx="2">
                    <c:v>0.23210580339051415</c:v>
                  </c:pt>
                  <c:pt idx="3">
                    <c:v>0.64288131360822232</c:v>
                  </c:pt>
                  <c:pt idx="4">
                    <c:v>0.76181571736141518</c:v>
                  </c:pt>
                  <c:pt idx="5">
                    <c:v>1.1755806030201115</c:v>
                  </c:pt>
                  <c:pt idx="6">
                    <c:v>1.734834270556179</c:v>
                  </c:pt>
                  <c:pt idx="7">
                    <c:v>0.60302134887143066</c:v>
                  </c:pt>
                  <c:pt idx="8">
                    <c:v>0.77493160219992563</c:v>
                  </c:pt>
                  <c:pt idx="9">
                    <c:v>0.92761162242857231</c:v>
                  </c:pt>
                  <c:pt idx="10">
                    <c:v>1.1164564885617241</c:v>
                  </c:pt>
                  <c:pt idx="11">
                    <c:v>1.1853669364570143</c:v>
                  </c:pt>
                  <c:pt idx="12">
                    <c:v>0.31827452286631341</c:v>
                  </c:pt>
                </c:numCache>
              </c:numRef>
            </c:plus>
            <c:minus>
              <c:numRef>
                <c:f>Sheet2!$L$6:$L$18</c:f>
                <c:numCache>
                  <c:formatCode>General</c:formatCode>
                  <c:ptCount val="13"/>
                  <c:pt idx="0">
                    <c:v>0</c:v>
                  </c:pt>
                  <c:pt idx="1">
                    <c:v>0.17026576178342062</c:v>
                  </c:pt>
                  <c:pt idx="2">
                    <c:v>0.23210580339051415</c:v>
                  </c:pt>
                  <c:pt idx="3">
                    <c:v>0.64288131360822232</c:v>
                  </c:pt>
                  <c:pt idx="4">
                    <c:v>0.76181571736141518</c:v>
                  </c:pt>
                  <c:pt idx="5">
                    <c:v>1.1755806030201115</c:v>
                  </c:pt>
                  <c:pt idx="6">
                    <c:v>1.734834270556179</c:v>
                  </c:pt>
                  <c:pt idx="7">
                    <c:v>0.60302134887143066</c:v>
                  </c:pt>
                  <c:pt idx="8">
                    <c:v>0.77493160219992563</c:v>
                  </c:pt>
                  <c:pt idx="9">
                    <c:v>0.92761162242857231</c:v>
                  </c:pt>
                  <c:pt idx="10">
                    <c:v>1.1164564885617241</c:v>
                  </c:pt>
                  <c:pt idx="11">
                    <c:v>1.1853669364570143</c:v>
                  </c:pt>
                  <c:pt idx="12">
                    <c:v>0.31827452286631341</c:v>
                  </c:pt>
                </c:numCache>
              </c:numRef>
            </c:minus>
            <c:spPr>
              <a:noFill/>
              <a:ln w="9525" cap="flat" cmpd="sng" algn="ctr">
                <a:solidFill>
                  <a:schemeClr val="tx1">
                    <a:lumMod val="65000"/>
                    <a:lumOff val="35000"/>
                  </a:schemeClr>
                </a:solidFill>
                <a:round/>
              </a:ln>
              <a:effectLst/>
            </c:spPr>
          </c:errBars>
          <c:xVal>
            <c:numRef>
              <c:f>Sheet2!$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I$6:$I$18</c:f>
              <c:numCache>
                <c:formatCode>0.00</c:formatCode>
                <c:ptCount val="13"/>
                <c:pt idx="0" formatCode="General">
                  <c:v>0</c:v>
                </c:pt>
                <c:pt idx="1">
                  <c:v>1.5779302487770337</c:v>
                </c:pt>
                <c:pt idx="2">
                  <c:v>1.8966960650134164</c:v>
                </c:pt>
                <c:pt idx="3">
                  <c:v>2.4124608702927417</c:v>
                </c:pt>
                <c:pt idx="4">
                  <c:v>2.8717826078068303</c:v>
                </c:pt>
                <c:pt idx="5">
                  <c:v>3.2866219605636608</c:v>
                </c:pt>
                <c:pt idx="6">
                  <c:v>4.3718244575130498</c:v>
                </c:pt>
                <c:pt idx="7">
                  <c:v>4.0632512961438758</c:v>
                </c:pt>
                <c:pt idx="8">
                  <c:v>4.4504542497683106</c:v>
                </c:pt>
                <c:pt idx="9">
                  <c:v>4.7825919384133933</c:v>
                </c:pt>
                <c:pt idx="10">
                  <c:v>5.4877609116784898</c:v>
                </c:pt>
                <c:pt idx="11">
                  <c:v>6.1538665184141239</c:v>
                </c:pt>
                <c:pt idx="12">
                  <c:v>7.3045256934810139</c:v>
                </c:pt>
              </c:numCache>
            </c:numRef>
          </c:yVal>
          <c:smooth val="0"/>
          <c:extLst>
            <c:ext xmlns:c16="http://schemas.microsoft.com/office/drawing/2014/chart" uri="{C3380CC4-5D6E-409C-BE32-E72D297353CC}">
              <c16:uniqueId val="{00000000-EC4A-4B51-83A0-5E75782A4BFE}"/>
            </c:ext>
          </c:extLst>
        </c:ser>
        <c:ser>
          <c:idx val="1"/>
          <c:order val="1"/>
          <c:tx>
            <c:strRef>
              <c:f>Sheet2!$J$4</c:f>
              <c:strCache>
                <c:ptCount val="1"/>
                <c:pt idx="0">
                  <c:v>30% wt. gain 3 Hr Cured </c:v>
                </c:pt>
              </c:strCache>
            </c:strRef>
          </c:tx>
          <c:spPr>
            <a:ln w="19050" cap="rnd">
              <a:solidFill>
                <a:srgbClr val="00B050"/>
              </a:solidFill>
              <a:round/>
            </a:ln>
            <a:effectLst/>
          </c:spPr>
          <c:marker>
            <c:symbol val="circle"/>
            <c:size val="5"/>
            <c:spPr>
              <a:solidFill>
                <a:srgbClr val="00B050"/>
              </a:solidFill>
              <a:ln w="9525">
                <a:solidFill>
                  <a:srgbClr val="00B050"/>
                </a:solidFill>
              </a:ln>
              <a:effectLst/>
            </c:spPr>
          </c:marker>
          <c:errBars>
            <c:errDir val="y"/>
            <c:errBarType val="both"/>
            <c:errValType val="cust"/>
            <c:noEndCap val="0"/>
            <c:plus>
              <c:numRef>
                <c:f>Sheet2!$M$6:$M$18</c:f>
                <c:numCache>
                  <c:formatCode>General</c:formatCode>
                  <c:ptCount val="13"/>
                  <c:pt idx="0">
                    <c:v>0</c:v>
                  </c:pt>
                  <c:pt idx="1">
                    <c:v>0.18100769419999405</c:v>
                  </c:pt>
                  <c:pt idx="2">
                    <c:v>0.19172880549840648</c:v>
                  </c:pt>
                  <c:pt idx="3">
                    <c:v>0.18164716685779844</c:v>
                  </c:pt>
                  <c:pt idx="4">
                    <c:v>0.18015538764067865</c:v>
                  </c:pt>
                  <c:pt idx="5">
                    <c:v>0.53647924337563269</c:v>
                  </c:pt>
                  <c:pt idx="6">
                    <c:v>0.81878944923545771</c:v>
                  </c:pt>
                  <c:pt idx="7">
                    <c:v>0.36937325788774289</c:v>
                  </c:pt>
                  <c:pt idx="8">
                    <c:v>0.37955868330870368</c:v>
                  </c:pt>
                  <c:pt idx="9">
                    <c:v>0.42771871697630182</c:v>
                  </c:pt>
                  <c:pt idx="10">
                    <c:v>0.48247582624845975</c:v>
                  </c:pt>
                  <c:pt idx="11">
                    <c:v>0.91543896615273679</c:v>
                  </c:pt>
                  <c:pt idx="12">
                    <c:v>0.89547952971906453</c:v>
                  </c:pt>
                </c:numCache>
              </c:numRef>
            </c:plus>
            <c:minus>
              <c:numRef>
                <c:f>Sheet2!$M$6:$M$18</c:f>
                <c:numCache>
                  <c:formatCode>General</c:formatCode>
                  <c:ptCount val="13"/>
                  <c:pt idx="0">
                    <c:v>0</c:v>
                  </c:pt>
                  <c:pt idx="1">
                    <c:v>0.18100769419999405</c:v>
                  </c:pt>
                  <c:pt idx="2">
                    <c:v>0.19172880549840648</c:v>
                  </c:pt>
                  <c:pt idx="3">
                    <c:v>0.18164716685779844</c:v>
                  </c:pt>
                  <c:pt idx="4">
                    <c:v>0.18015538764067865</c:v>
                  </c:pt>
                  <c:pt idx="5">
                    <c:v>0.53647924337563269</c:v>
                  </c:pt>
                  <c:pt idx="6">
                    <c:v>0.81878944923545771</c:v>
                  </c:pt>
                  <c:pt idx="7">
                    <c:v>0.36937325788774289</c:v>
                  </c:pt>
                  <c:pt idx="8">
                    <c:v>0.37955868330870368</c:v>
                  </c:pt>
                  <c:pt idx="9">
                    <c:v>0.42771871697630182</c:v>
                  </c:pt>
                  <c:pt idx="10">
                    <c:v>0.48247582624845975</c:v>
                  </c:pt>
                  <c:pt idx="11">
                    <c:v>0.91543896615273679</c:v>
                  </c:pt>
                  <c:pt idx="12">
                    <c:v>0.89547952971906453</c:v>
                  </c:pt>
                </c:numCache>
              </c:numRef>
            </c:minus>
            <c:spPr>
              <a:noFill/>
              <a:ln w="9525" cap="flat" cmpd="sng" algn="ctr">
                <a:solidFill>
                  <a:schemeClr val="tx1">
                    <a:lumMod val="65000"/>
                    <a:lumOff val="35000"/>
                  </a:schemeClr>
                </a:solidFill>
                <a:round/>
              </a:ln>
              <a:effectLst/>
            </c:spPr>
          </c:errBars>
          <c:xVal>
            <c:numRef>
              <c:f>Sheet2!$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J$6:$J$18</c:f>
              <c:numCache>
                <c:formatCode>0.00</c:formatCode>
                <c:ptCount val="13"/>
                <c:pt idx="0" formatCode="General">
                  <c:v>0</c:v>
                </c:pt>
                <c:pt idx="1">
                  <c:v>1.0199914273630586</c:v>
                </c:pt>
                <c:pt idx="2">
                  <c:v>1.1998430144595871</c:v>
                </c:pt>
                <c:pt idx="3">
                  <c:v>1.4020705512754426</c:v>
                </c:pt>
                <c:pt idx="4">
                  <c:v>1.7604153789762529</c:v>
                </c:pt>
                <c:pt idx="5">
                  <c:v>2.3314049941333206</c:v>
                </c:pt>
                <c:pt idx="6">
                  <c:v>3.3854863851360348</c:v>
                </c:pt>
                <c:pt idx="7">
                  <c:v>3.0536087266306891</c:v>
                </c:pt>
                <c:pt idx="8">
                  <c:v>3.4154221627778583</c:v>
                </c:pt>
                <c:pt idx="9">
                  <c:v>3.6884159135183627</c:v>
                </c:pt>
                <c:pt idx="10">
                  <c:v>4.2722592548730223</c:v>
                </c:pt>
                <c:pt idx="11">
                  <c:v>4.4381918491723571</c:v>
                </c:pt>
                <c:pt idx="12">
                  <c:v>4.9921878139712952</c:v>
                </c:pt>
              </c:numCache>
            </c:numRef>
          </c:yVal>
          <c:smooth val="0"/>
          <c:extLst>
            <c:ext xmlns:c16="http://schemas.microsoft.com/office/drawing/2014/chart" uri="{C3380CC4-5D6E-409C-BE32-E72D297353CC}">
              <c16:uniqueId val="{00000001-EC4A-4B51-83A0-5E75782A4BFE}"/>
            </c:ext>
          </c:extLst>
        </c:ser>
        <c:ser>
          <c:idx val="2"/>
          <c:order val="2"/>
          <c:tx>
            <c:strRef>
              <c:f>Sheet2!$K$4</c:f>
              <c:strCache>
                <c:ptCount val="1"/>
                <c:pt idx="0">
                  <c:v>30% wt. gain 2 Hr Cured </c:v>
                </c:pt>
              </c:strCache>
            </c:strRef>
          </c:tx>
          <c:spPr>
            <a:ln w="19050" cap="rnd">
              <a:solidFill>
                <a:srgbClr val="0070C0"/>
              </a:solidFill>
              <a:round/>
            </a:ln>
            <a:effectLst/>
          </c:spPr>
          <c:marker>
            <c:symbol val="circle"/>
            <c:size val="5"/>
            <c:spPr>
              <a:solidFill>
                <a:srgbClr val="4472C4"/>
              </a:solidFill>
              <a:ln w="9525">
                <a:solidFill>
                  <a:srgbClr val="0070C0"/>
                </a:solidFill>
              </a:ln>
              <a:effectLst/>
            </c:spPr>
          </c:marker>
          <c:errBars>
            <c:errDir val="y"/>
            <c:errBarType val="both"/>
            <c:errValType val="cust"/>
            <c:noEndCap val="0"/>
            <c:plus>
              <c:numRef>
                <c:f>Sheet2!$N$6:$N$18</c:f>
                <c:numCache>
                  <c:formatCode>General</c:formatCode>
                  <c:ptCount val="13"/>
                  <c:pt idx="0">
                    <c:v>0</c:v>
                  </c:pt>
                  <c:pt idx="1">
                    <c:v>0.95713345928765503</c:v>
                  </c:pt>
                  <c:pt idx="2">
                    <c:v>0.89888564918179237</c:v>
                  </c:pt>
                  <c:pt idx="3">
                    <c:v>0.91427540750540892</c:v>
                  </c:pt>
                  <c:pt idx="4">
                    <c:v>0.80420973241464122</c:v>
                  </c:pt>
                  <c:pt idx="5">
                    <c:v>0.79486722962979295</c:v>
                  </c:pt>
                  <c:pt idx="6">
                    <c:v>0.78023229796690319</c:v>
                  </c:pt>
                  <c:pt idx="7">
                    <c:v>0.74460236056193241</c:v>
                  </c:pt>
                  <c:pt idx="8">
                    <c:v>0.806249975375807</c:v>
                  </c:pt>
                  <c:pt idx="9">
                    <c:v>0.82892181781739205</c:v>
                  </c:pt>
                  <c:pt idx="10">
                    <c:v>0.84879008800606848</c:v>
                  </c:pt>
                  <c:pt idx="11">
                    <c:v>0.88526085914905361</c:v>
                  </c:pt>
                  <c:pt idx="12">
                    <c:v>0.90482845028240122</c:v>
                  </c:pt>
                </c:numCache>
              </c:numRef>
            </c:plus>
            <c:minus>
              <c:numRef>
                <c:f>Sheet2!$N$6:$N$18</c:f>
                <c:numCache>
                  <c:formatCode>General</c:formatCode>
                  <c:ptCount val="13"/>
                  <c:pt idx="0">
                    <c:v>0</c:v>
                  </c:pt>
                  <c:pt idx="1">
                    <c:v>0.95713345928765503</c:v>
                  </c:pt>
                  <c:pt idx="2">
                    <c:v>0.89888564918179237</c:v>
                  </c:pt>
                  <c:pt idx="3">
                    <c:v>0.91427540750540892</c:v>
                  </c:pt>
                  <c:pt idx="4">
                    <c:v>0.80420973241464122</c:v>
                  </c:pt>
                  <c:pt idx="5">
                    <c:v>0.79486722962979295</c:v>
                  </c:pt>
                  <c:pt idx="6">
                    <c:v>0.78023229796690319</c:v>
                  </c:pt>
                  <c:pt idx="7">
                    <c:v>0.74460236056193241</c:v>
                  </c:pt>
                  <c:pt idx="8">
                    <c:v>0.806249975375807</c:v>
                  </c:pt>
                  <c:pt idx="9">
                    <c:v>0.82892181781739205</c:v>
                  </c:pt>
                  <c:pt idx="10">
                    <c:v>0.84879008800606848</c:v>
                  </c:pt>
                  <c:pt idx="11">
                    <c:v>0.88526085914905361</c:v>
                  </c:pt>
                  <c:pt idx="12">
                    <c:v>0.90482845028240122</c:v>
                  </c:pt>
                </c:numCache>
              </c:numRef>
            </c:minus>
            <c:spPr>
              <a:noFill/>
              <a:ln w="9525" cap="flat" cmpd="sng" algn="ctr">
                <a:solidFill>
                  <a:schemeClr val="tx1">
                    <a:lumMod val="65000"/>
                    <a:lumOff val="35000"/>
                  </a:schemeClr>
                </a:solidFill>
                <a:round/>
              </a:ln>
              <a:effectLst/>
            </c:spPr>
          </c:errBars>
          <c:xVal>
            <c:numRef>
              <c:f>Sheet2!$B$6:$B$18</c:f>
              <c:numCache>
                <c:formatCode>General</c:formatCode>
                <c:ptCount val="13"/>
                <c:pt idx="0">
                  <c:v>0</c:v>
                </c:pt>
                <c:pt idx="1">
                  <c:v>2</c:v>
                </c:pt>
                <c:pt idx="2">
                  <c:v>4</c:v>
                </c:pt>
                <c:pt idx="3">
                  <c:v>6</c:v>
                </c:pt>
                <c:pt idx="4">
                  <c:v>8</c:v>
                </c:pt>
                <c:pt idx="5">
                  <c:v>10</c:v>
                </c:pt>
                <c:pt idx="6">
                  <c:v>15</c:v>
                </c:pt>
                <c:pt idx="7">
                  <c:v>20</c:v>
                </c:pt>
                <c:pt idx="8">
                  <c:v>25</c:v>
                </c:pt>
                <c:pt idx="9">
                  <c:v>30</c:v>
                </c:pt>
                <c:pt idx="10">
                  <c:v>40</c:v>
                </c:pt>
                <c:pt idx="11">
                  <c:v>50</c:v>
                </c:pt>
                <c:pt idx="12">
                  <c:v>60</c:v>
                </c:pt>
              </c:numCache>
            </c:numRef>
          </c:xVal>
          <c:yVal>
            <c:numRef>
              <c:f>Sheet2!$K$6:$K$18</c:f>
              <c:numCache>
                <c:formatCode>0.00</c:formatCode>
                <c:ptCount val="13"/>
                <c:pt idx="0" formatCode="General">
                  <c:v>0</c:v>
                </c:pt>
                <c:pt idx="1">
                  <c:v>1.0378289421190219</c:v>
                </c:pt>
                <c:pt idx="2">
                  <c:v>1.2308133431101909</c:v>
                </c:pt>
                <c:pt idx="3">
                  <c:v>1.4200234899324682</c:v>
                </c:pt>
                <c:pt idx="4">
                  <c:v>1.778724346237049</c:v>
                </c:pt>
                <c:pt idx="5">
                  <c:v>2.0310978691409449</c:v>
                </c:pt>
                <c:pt idx="6">
                  <c:v>2.7520757346541909</c:v>
                </c:pt>
                <c:pt idx="7">
                  <c:v>3.23930548962027</c:v>
                </c:pt>
                <c:pt idx="8">
                  <c:v>3.5307334140519711</c:v>
                </c:pt>
                <c:pt idx="9">
                  <c:v>3.860417176712216</c:v>
                </c:pt>
                <c:pt idx="10">
                  <c:v>4.4205259043616785</c:v>
                </c:pt>
                <c:pt idx="11">
                  <c:v>4.8406623280308612</c:v>
                </c:pt>
                <c:pt idx="12">
                  <c:v>5.2979776820959614</c:v>
                </c:pt>
              </c:numCache>
            </c:numRef>
          </c:yVal>
          <c:smooth val="0"/>
          <c:extLst>
            <c:ext xmlns:c16="http://schemas.microsoft.com/office/drawing/2014/chart" uri="{C3380CC4-5D6E-409C-BE32-E72D297353CC}">
              <c16:uniqueId val="{00000002-EC4A-4B51-83A0-5E75782A4BFE}"/>
            </c:ext>
          </c:extLst>
        </c:ser>
        <c:dLbls>
          <c:showLegendKey val="0"/>
          <c:showVal val="0"/>
          <c:showCatName val="0"/>
          <c:showSerName val="0"/>
          <c:showPercent val="0"/>
          <c:showBubbleSize val="0"/>
        </c:dLbls>
        <c:axId val="500909551"/>
        <c:axId val="500906223"/>
      </c:scatterChart>
      <c:valAx>
        <c:axId val="500909551"/>
        <c:scaling>
          <c:orientation val="minMax"/>
          <c:max val="60"/>
        </c:scaling>
        <c:delete val="0"/>
        <c:axPos val="b"/>
        <c:title>
          <c:tx>
            <c:rich>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Time (min)</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6223"/>
        <c:crosses val="autoZero"/>
        <c:crossBetween val="midCat"/>
        <c:majorUnit val="5"/>
      </c:valAx>
      <c:valAx>
        <c:axId val="500906223"/>
        <c:scaling>
          <c:orientation val="minMax"/>
          <c:max val="100"/>
        </c:scaling>
        <c:delete val="0"/>
        <c:axPos val="l"/>
        <c:title>
          <c:tx>
            <c:rich>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dirty="0">
                    <a:solidFill>
                      <a:schemeClr val="tx1"/>
                    </a:solidFill>
                  </a:rPr>
                  <a:t>% drug released</a:t>
                </a:r>
              </a:p>
            </c:rich>
          </c:tx>
          <c:overlay val="0"/>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19050" cap="flat" cmpd="sng" algn="ctr">
            <a:solidFill>
              <a:srgbClr val="000000"/>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500909551"/>
        <c:crosses val="autoZero"/>
        <c:crossBetween val="midCat"/>
        <c:majorUnit val="20"/>
      </c:valAx>
      <c:spPr>
        <a:noFill/>
        <a:ln>
          <a:noFill/>
        </a:ln>
        <a:effectLst/>
      </c:spPr>
    </c:plotArea>
    <c:legend>
      <c:legendPos val="b"/>
      <c:layout>
        <c:manualLayout>
          <c:xMode val="edge"/>
          <c:yMode val="edge"/>
          <c:x val="1.0514666725836516E-3"/>
          <c:y val="0.87343436379963879"/>
          <c:w val="0.99894855903130564"/>
          <c:h val="0.1261282714381495"/>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9050">
      <a:solidFill>
        <a:srgbClr val="000000"/>
      </a:solid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2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D69BF4-8510-4864-951D-AAFAFE040776}"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119B2807-5D32-48F0-8F22-EFCD2113183A}">
      <dgm:prSet phldrT="[Text]"/>
      <dgm:spPr>
        <a:solidFill>
          <a:schemeClr val="accent1">
            <a:lumMod val="60000"/>
            <a:lumOff val="40000"/>
          </a:schemeClr>
        </a:solidFill>
        <a:ln>
          <a:noFill/>
        </a:ln>
      </dgm:spPr>
      <dgm:t>
        <a:bodyPr/>
        <a:lstStyle/>
        <a:p>
          <a:r>
            <a:rPr lang="en-US" dirty="0"/>
            <a:t>Chewable dosage forms</a:t>
          </a:r>
        </a:p>
        <a:p>
          <a:r>
            <a:rPr lang="en-US" dirty="0"/>
            <a:t>(forced disintegration)</a:t>
          </a:r>
        </a:p>
      </dgm:t>
    </dgm:pt>
    <dgm:pt modelId="{001802C5-68CD-4F1D-8F1C-9426C4CDFAFB}" type="parTrans" cxnId="{DDA494E3-426F-4865-B0D1-C766B262ECCB}">
      <dgm:prSet/>
      <dgm:spPr/>
      <dgm:t>
        <a:bodyPr/>
        <a:lstStyle/>
        <a:p>
          <a:endParaRPr lang="en-US"/>
        </a:p>
      </dgm:t>
    </dgm:pt>
    <dgm:pt modelId="{557A5F3C-3B8A-4E17-A376-36EF22334D63}" type="sibTrans" cxnId="{DDA494E3-426F-4865-B0D1-C766B262ECCB}">
      <dgm:prSet/>
      <dgm:spPr/>
      <dgm:t>
        <a:bodyPr/>
        <a:lstStyle/>
        <a:p>
          <a:endParaRPr lang="en-US"/>
        </a:p>
      </dgm:t>
    </dgm:pt>
    <dgm:pt modelId="{4A63AFDD-4A90-4D30-B0F8-15FF9F31B7F1}">
      <dgm:prSet phldrT="[Text]"/>
      <dgm:spPr/>
      <dgm:t>
        <a:bodyPr/>
        <a:lstStyle/>
        <a:p>
          <a:r>
            <a:rPr lang="en-US" dirty="0"/>
            <a:t>Orally disintegrating products </a:t>
          </a:r>
        </a:p>
        <a:p>
          <a:r>
            <a:rPr lang="en-US" dirty="0"/>
            <a:t>(fast disintegration) </a:t>
          </a:r>
        </a:p>
      </dgm:t>
    </dgm:pt>
    <dgm:pt modelId="{95FBBDEA-9548-4270-AB8E-49173717BF1C}" type="parTrans" cxnId="{7B9B1A2F-9491-4629-AB00-CEBA392A8FCE}">
      <dgm:prSet/>
      <dgm:spPr/>
      <dgm:t>
        <a:bodyPr/>
        <a:lstStyle/>
        <a:p>
          <a:endParaRPr lang="en-US"/>
        </a:p>
      </dgm:t>
    </dgm:pt>
    <dgm:pt modelId="{A9E27691-3A52-41A8-9072-B5E156A634C8}" type="sibTrans" cxnId="{7B9B1A2F-9491-4629-AB00-CEBA392A8FCE}">
      <dgm:prSet/>
      <dgm:spPr/>
      <dgm:t>
        <a:bodyPr/>
        <a:lstStyle/>
        <a:p>
          <a:endParaRPr lang="en-US"/>
        </a:p>
      </dgm:t>
    </dgm:pt>
    <dgm:pt modelId="{2AAA74E6-3B41-4C6A-8505-1811CEAE676B}">
      <dgm:prSet phldrT="[Text]"/>
      <dgm:spPr>
        <a:solidFill>
          <a:schemeClr val="accent2">
            <a:lumMod val="75000"/>
          </a:schemeClr>
        </a:solidFill>
      </dgm:spPr>
      <dgm:t>
        <a:bodyPr/>
        <a:lstStyle/>
        <a:p>
          <a:r>
            <a:rPr lang="en-US" dirty="0"/>
            <a:t>Other dosage forms</a:t>
          </a:r>
        </a:p>
        <a:p>
          <a:r>
            <a:rPr lang="en-US" dirty="0"/>
            <a:t>(slow disintegration)</a:t>
          </a:r>
        </a:p>
      </dgm:t>
    </dgm:pt>
    <dgm:pt modelId="{1FE793BA-3924-49A7-826B-50F457D2E9C3}" type="parTrans" cxnId="{CB8F63FC-3DF6-4B58-ADAC-0BFC9EC1D562}">
      <dgm:prSet/>
      <dgm:spPr/>
      <dgm:t>
        <a:bodyPr/>
        <a:lstStyle/>
        <a:p>
          <a:endParaRPr lang="en-US"/>
        </a:p>
      </dgm:t>
    </dgm:pt>
    <dgm:pt modelId="{C6BC029C-A32F-45BA-BEFC-5F62248DACEA}" type="sibTrans" cxnId="{CB8F63FC-3DF6-4B58-ADAC-0BFC9EC1D562}">
      <dgm:prSet/>
      <dgm:spPr/>
      <dgm:t>
        <a:bodyPr/>
        <a:lstStyle/>
        <a:p>
          <a:endParaRPr lang="en-US"/>
        </a:p>
      </dgm:t>
    </dgm:pt>
    <dgm:pt modelId="{A3865F9C-50C5-45F3-A485-E8443B9FAF31}">
      <dgm:prSet phldrT="[Text]"/>
      <dgm:spPr>
        <a:solidFill>
          <a:schemeClr val="accent1">
            <a:lumMod val="60000"/>
            <a:lumOff val="40000"/>
          </a:schemeClr>
        </a:solidFill>
        <a:ln>
          <a:solidFill>
            <a:schemeClr val="accent2">
              <a:lumMod val="75000"/>
            </a:schemeClr>
          </a:solidFill>
        </a:ln>
      </dgm:spPr>
      <dgm:t>
        <a:bodyPr/>
        <a:lstStyle/>
        <a:p>
          <a:r>
            <a:rPr lang="en-US" dirty="0"/>
            <a:t>Chewable tablets</a:t>
          </a:r>
        </a:p>
      </dgm:t>
    </dgm:pt>
    <dgm:pt modelId="{05B29BD8-38D7-4D12-A2F9-E304A5434268}" type="parTrans" cxnId="{02AC026E-10C3-49D6-BEAD-94A4068EBF14}">
      <dgm:prSet/>
      <dgm:spPr>
        <a:ln>
          <a:solidFill>
            <a:schemeClr val="accent2"/>
          </a:solidFill>
        </a:ln>
      </dgm:spPr>
      <dgm:t>
        <a:bodyPr/>
        <a:lstStyle/>
        <a:p>
          <a:endParaRPr lang="en-US"/>
        </a:p>
      </dgm:t>
    </dgm:pt>
    <dgm:pt modelId="{12432287-DA0D-41BB-BD64-88F78C69289A}" type="sibTrans" cxnId="{02AC026E-10C3-49D6-BEAD-94A4068EBF14}">
      <dgm:prSet/>
      <dgm:spPr/>
      <dgm:t>
        <a:bodyPr/>
        <a:lstStyle/>
        <a:p>
          <a:endParaRPr lang="en-US"/>
        </a:p>
      </dgm:t>
    </dgm:pt>
    <dgm:pt modelId="{DBFFA61D-8BC7-4AF2-BC06-9BD1F05413CA}">
      <dgm:prSet phldrT="[Text]"/>
      <dgm:spPr>
        <a:solidFill>
          <a:schemeClr val="accent1">
            <a:lumMod val="60000"/>
            <a:lumOff val="40000"/>
          </a:schemeClr>
        </a:solidFill>
        <a:ln>
          <a:noFill/>
        </a:ln>
      </dgm:spPr>
      <dgm:t>
        <a:bodyPr/>
        <a:lstStyle/>
        <a:p>
          <a:r>
            <a:rPr lang="en-US" dirty="0"/>
            <a:t>Medicated chewing gums</a:t>
          </a:r>
        </a:p>
      </dgm:t>
    </dgm:pt>
    <dgm:pt modelId="{6EFB3148-4371-46D4-81BB-2FEC8C1830EB}" type="parTrans" cxnId="{A4383840-5621-4F43-99F2-FBBDD06F7783}">
      <dgm:prSet/>
      <dgm:spPr>
        <a:ln>
          <a:solidFill>
            <a:schemeClr val="accent2"/>
          </a:solidFill>
        </a:ln>
      </dgm:spPr>
      <dgm:t>
        <a:bodyPr/>
        <a:lstStyle/>
        <a:p>
          <a:endParaRPr lang="en-US"/>
        </a:p>
      </dgm:t>
    </dgm:pt>
    <dgm:pt modelId="{23B6DFDC-31B8-4E0C-ACE2-F62D5E38E252}" type="sibTrans" cxnId="{A4383840-5621-4F43-99F2-FBBDD06F7783}">
      <dgm:prSet/>
      <dgm:spPr/>
      <dgm:t>
        <a:bodyPr/>
        <a:lstStyle/>
        <a:p>
          <a:endParaRPr lang="en-US"/>
        </a:p>
      </dgm:t>
    </dgm:pt>
    <dgm:pt modelId="{B4AA2FAB-2B15-46C3-9AD2-73356BEE74D7}">
      <dgm:prSet phldrT="[Text]"/>
      <dgm:spPr>
        <a:solidFill>
          <a:schemeClr val="accent1">
            <a:lumMod val="60000"/>
            <a:lumOff val="40000"/>
          </a:schemeClr>
        </a:solidFill>
        <a:ln>
          <a:noFill/>
        </a:ln>
      </dgm:spPr>
      <dgm:t>
        <a:bodyPr/>
        <a:lstStyle/>
        <a:p>
          <a:r>
            <a:rPr lang="en-US" dirty="0"/>
            <a:t>Soft lozenges</a:t>
          </a:r>
        </a:p>
      </dgm:t>
    </dgm:pt>
    <dgm:pt modelId="{536606B6-C7FD-47C3-8192-7E1ED1E30CD3}" type="parTrans" cxnId="{BC7A3560-F288-474E-81F3-486051DAB066}">
      <dgm:prSet/>
      <dgm:spPr>
        <a:ln>
          <a:solidFill>
            <a:schemeClr val="accent2"/>
          </a:solidFill>
        </a:ln>
      </dgm:spPr>
      <dgm:t>
        <a:bodyPr/>
        <a:lstStyle/>
        <a:p>
          <a:endParaRPr lang="en-US"/>
        </a:p>
      </dgm:t>
    </dgm:pt>
    <dgm:pt modelId="{DA49C9DC-99A8-452E-A2AD-F5D9E3F24130}" type="sibTrans" cxnId="{BC7A3560-F288-474E-81F3-486051DAB066}">
      <dgm:prSet/>
      <dgm:spPr/>
      <dgm:t>
        <a:bodyPr/>
        <a:lstStyle/>
        <a:p>
          <a:endParaRPr lang="en-US"/>
        </a:p>
      </dgm:t>
    </dgm:pt>
    <dgm:pt modelId="{B7D512D1-5C6E-4AED-B7E4-E4EA0A73C3F7}">
      <dgm:prSet phldrT="[Text]"/>
      <dgm:spPr/>
      <dgm:t>
        <a:bodyPr/>
        <a:lstStyle/>
        <a:p>
          <a:r>
            <a:rPr lang="en-US" dirty="0"/>
            <a:t>Orally disintegrating tablets (ODTs)</a:t>
          </a:r>
        </a:p>
      </dgm:t>
    </dgm:pt>
    <dgm:pt modelId="{8DD2E7AA-5C96-4DB0-B924-59F562166D77}" type="parTrans" cxnId="{6424F56B-5B92-4435-AEC6-6EC1BDFF8E57}">
      <dgm:prSet/>
      <dgm:spPr/>
      <dgm:t>
        <a:bodyPr/>
        <a:lstStyle/>
        <a:p>
          <a:endParaRPr lang="en-US"/>
        </a:p>
      </dgm:t>
    </dgm:pt>
    <dgm:pt modelId="{90307663-57F7-4FEC-8C2A-EE52F0731552}" type="sibTrans" cxnId="{6424F56B-5B92-4435-AEC6-6EC1BDFF8E57}">
      <dgm:prSet/>
      <dgm:spPr/>
      <dgm:t>
        <a:bodyPr/>
        <a:lstStyle/>
        <a:p>
          <a:endParaRPr lang="en-US"/>
        </a:p>
      </dgm:t>
    </dgm:pt>
    <dgm:pt modelId="{CB4C3C7D-A6BD-4D5D-8E6C-168965CA6EA6}">
      <dgm:prSet phldrT="[Text]"/>
      <dgm:spPr/>
      <dgm:t>
        <a:bodyPr/>
        <a:lstStyle/>
        <a:p>
          <a:r>
            <a:rPr lang="en-US" dirty="0"/>
            <a:t>Oral lyophilized forms</a:t>
          </a:r>
        </a:p>
      </dgm:t>
    </dgm:pt>
    <dgm:pt modelId="{04CDE7A6-89AA-459C-91F5-CB8C6C13812B}" type="parTrans" cxnId="{7C11D82B-1124-4989-BD8C-A5FBB20B291A}">
      <dgm:prSet/>
      <dgm:spPr/>
      <dgm:t>
        <a:bodyPr/>
        <a:lstStyle/>
        <a:p>
          <a:endParaRPr lang="en-US"/>
        </a:p>
      </dgm:t>
    </dgm:pt>
    <dgm:pt modelId="{797A670C-B052-462C-A931-C6EB4F2FCAC8}" type="sibTrans" cxnId="{7C11D82B-1124-4989-BD8C-A5FBB20B291A}">
      <dgm:prSet/>
      <dgm:spPr/>
      <dgm:t>
        <a:bodyPr/>
        <a:lstStyle/>
        <a:p>
          <a:endParaRPr lang="en-US"/>
        </a:p>
      </dgm:t>
    </dgm:pt>
    <dgm:pt modelId="{150DC71D-980C-4D8E-B5DB-606477471FCF}">
      <dgm:prSet phldrT="[Text]"/>
      <dgm:spPr/>
      <dgm:t>
        <a:bodyPr/>
        <a:lstStyle/>
        <a:p>
          <a:r>
            <a:rPr lang="en-US" dirty="0"/>
            <a:t>Oral films</a:t>
          </a:r>
        </a:p>
      </dgm:t>
    </dgm:pt>
    <dgm:pt modelId="{09B907A7-FE19-448E-BFB7-BA6E53475BF9}" type="parTrans" cxnId="{0FCE44BC-4070-483F-80EE-D52D00E49F21}">
      <dgm:prSet/>
      <dgm:spPr/>
      <dgm:t>
        <a:bodyPr/>
        <a:lstStyle/>
        <a:p>
          <a:endParaRPr lang="en-US"/>
        </a:p>
      </dgm:t>
    </dgm:pt>
    <dgm:pt modelId="{44CD751E-9B72-4040-BA7C-BC11B3A638AC}" type="sibTrans" cxnId="{0FCE44BC-4070-483F-80EE-D52D00E49F21}">
      <dgm:prSet/>
      <dgm:spPr/>
      <dgm:t>
        <a:bodyPr/>
        <a:lstStyle/>
        <a:p>
          <a:endParaRPr lang="en-US"/>
        </a:p>
      </dgm:t>
    </dgm:pt>
    <dgm:pt modelId="{D3CA6D71-135C-4F48-A64E-890BF701D369}">
      <dgm:prSet phldrT="[Text]"/>
      <dgm:spPr/>
      <dgm:t>
        <a:bodyPr/>
        <a:lstStyle/>
        <a:p>
          <a:r>
            <a:rPr lang="en-US" dirty="0"/>
            <a:t>Orally dissolving granules (ODG)</a:t>
          </a:r>
        </a:p>
      </dgm:t>
    </dgm:pt>
    <dgm:pt modelId="{C706A3BC-6046-46BA-9312-523961032D46}" type="parTrans" cxnId="{628A7C84-0CB5-4171-B9FA-2C6904CC4602}">
      <dgm:prSet/>
      <dgm:spPr/>
      <dgm:t>
        <a:bodyPr/>
        <a:lstStyle/>
        <a:p>
          <a:endParaRPr lang="en-US"/>
        </a:p>
      </dgm:t>
    </dgm:pt>
    <dgm:pt modelId="{C033101F-9011-4843-9F0A-475F8470407C}" type="sibTrans" cxnId="{628A7C84-0CB5-4171-B9FA-2C6904CC4602}">
      <dgm:prSet/>
      <dgm:spPr/>
      <dgm:t>
        <a:bodyPr/>
        <a:lstStyle/>
        <a:p>
          <a:endParaRPr lang="en-US"/>
        </a:p>
      </dgm:t>
    </dgm:pt>
    <dgm:pt modelId="{F5BCA8CE-4E02-47C7-B574-3438D825E62E}">
      <dgm:prSet phldrT="[Text]"/>
      <dgm:spPr>
        <a:solidFill>
          <a:schemeClr val="accent2">
            <a:lumMod val="75000"/>
          </a:schemeClr>
        </a:solidFill>
      </dgm:spPr>
      <dgm:t>
        <a:bodyPr/>
        <a:lstStyle/>
        <a:p>
          <a:r>
            <a:rPr lang="en-US" dirty="0"/>
            <a:t>Hard lozenges</a:t>
          </a:r>
        </a:p>
      </dgm:t>
    </dgm:pt>
    <dgm:pt modelId="{EE183087-2FAB-455C-B1D2-3F1507FEA0B7}" type="parTrans" cxnId="{7D5D0510-F490-41E2-B4A4-CF4B866F12C8}">
      <dgm:prSet/>
      <dgm:spPr>
        <a:ln>
          <a:solidFill>
            <a:schemeClr val="bg1">
              <a:lumMod val="50000"/>
            </a:schemeClr>
          </a:solidFill>
        </a:ln>
      </dgm:spPr>
      <dgm:t>
        <a:bodyPr/>
        <a:lstStyle/>
        <a:p>
          <a:endParaRPr lang="en-US"/>
        </a:p>
      </dgm:t>
    </dgm:pt>
    <dgm:pt modelId="{9181F20E-E1D3-4184-8B7B-421EE219BB45}" type="sibTrans" cxnId="{7D5D0510-F490-41E2-B4A4-CF4B866F12C8}">
      <dgm:prSet/>
      <dgm:spPr/>
      <dgm:t>
        <a:bodyPr/>
        <a:lstStyle/>
        <a:p>
          <a:endParaRPr lang="en-US"/>
        </a:p>
      </dgm:t>
    </dgm:pt>
    <dgm:pt modelId="{19C08772-7262-419C-B041-20C6143093F4}">
      <dgm:prSet phldrT="[Text]"/>
      <dgm:spPr>
        <a:solidFill>
          <a:schemeClr val="accent2">
            <a:lumMod val="75000"/>
          </a:schemeClr>
        </a:solidFill>
      </dgm:spPr>
      <dgm:t>
        <a:bodyPr/>
        <a:lstStyle/>
        <a:p>
          <a:r>
            <a:rPr lang="en-US" dirty="0"/>
            <a:t>Buccal tablets</a:t>
          </a:r>
        </a:p>
      </dgm:t>
    </dgm:pt>
    <dgm:pt modelId="{E6122382-FB7B-4C67-A612-33B77DD0559A}" type="parTrans" cxnId="{DE46586F-CB5C-4B90-99F9-49360BCBAAC7}">
      <dgm:prSet/>
      <dgm:spPr>
        <a:ln>
          <a:solidFill>
            <a:schemeClr val="bg1">
              <a:lumMod val="50000"/>
            </a:schemeClr>
          </a:solidFill>
        </a:ln>
      </dgm:spPr>
      <dgm:t>
        <a:bodyPr/>
        <a:lstStyle/>
        <a:p>
          <a:endParaRPr lang="en-US"/>
        </a:p>
      </dgm:t>
    </dgm:pt>
    <dgm:pt modelId="{B969389F-0D04-4747-BDC9-C6BFD17798A6}" type="sibTrans" cxnId="{DE46586F-CB5C-4B90-99F9-49360BCBAAC7}">
      <dgm:prSet/>
      <dgm:spPr/>
      <dgm:t>
        <a:bodyPr/>
        <a:lstStyle/>
        <a:p>
          <a:endParaRPr lang="en-US"/>
        </a:p>
      </dgm:t>
    </dgm:pt>
    <dgm:pt modelId="{BA63A92A-34EF-4C09-AE30-7B4881D776C3}">
      <dgm:prSet phldrT="[Text]"/>
      <dgm:spPr>
        <a:solidFill>
          <a:schemeClr val="accent2">
            <a:lumMod val="75000"/>
          </a:schemeClr>
        </a:solidFill>
      </dgm:spPr>
      <dgm:t>
        <a:bodyPr/>
        <a:lstStyle/>
        <a:p>
          <a:r>
            <a:rPr lang="en-US" dirty="0"/>
            <a:t>Sublingual tablets</a:t>
          </a:r>
        </a:p>
      </dgm:t>
    </dgm:pt>
    <dgm:pt modelId="{46817DB8-DB78-4831-A922-86FBC0BF06B6}" type="parTrans" cxnId="{0EF2D08E-FD60-4F7A-AA11-7985943BA903}">
      <dgm:prSet/>
      <dgm:spPr>
        <a:ln>
          <a:solidFill>
            <a:schemeClr val="bg1">
              <a:lumMod val="50000"/>
            </a:schemeClr>
          </a:solidFill>
        </a:ln>
      </dgm:spPr>
      <dgm:t>
        <a:bodyPr/>
        <a:lstStyle/>
        <a:p>
          <a:endParaRPr lang="en-US"/>
        </a:p>
      </dgm:t>
    </dgm:pt>
    <dgm:pt modelId="{6D419855-99CB-4A60-8DC6-2D7220DE2EDF}" type="sibTrans" cxnId="{0EF2D08E-FD60-4F7A-AA11-7985943BA903}">
      <dgm:prSet/>
      <dgm:spPr/>
      <dgm:t>
        <a:bodyPr/>
        <a:lstStyle/>
        <a:p>
          <a:endParaRPr lang="en-US"/>
        </a:p>
      </dgm:t>
    </dgm:pt>
    <dgm:pt modelId="{CD56FFF8-3481-4120-B443-F7396A3D571B}">
      <dgm:prSet phldrT="[Text]" custT="1"/>
      <dgm:spPr>
        <a:solidFill>
          <a:schemeClr val="accent5"/>
        </a:solidFill>
        <a:ln>
          <a:solidFill>
            <a:schemeClr val="accent5"/>
          </a:solidFill>
        </a:ln>
      </dgm:spPr>
      <dgm:t>
        <a:bodyPr/>
        <a:lstStyle/>
        <a:p>
          <a:r>
            <a:rPr lang="en-US" sz="1600" b="1" dirty="0">
              <a:solidFill>
                <a:schemeClr val="tx1"/>
              </a:solidFill>
            </a:rPr>
            <a:t>Solid single-unit dosage forms that disintegrate in the oral cavity</a:t>
          </a:r>
        </a:p>
      </dgm:t>
    </dgm:pt>
    <dgm:pt modelId="{E3A389AF-040F-4D72-9C5A-5E641F72E8AD}" type="sibTrans" cxnId="{CFEFAFA6-188F-4C6E-87F9-5659FB51E184}">
      <dgm:prSet/>
      <dgm:spPr/>
      <dgm:t>
        <a:bodyPr/>
        <a:lstStyle/>
        <a:p>
          <a:endParaRPr lang="en-US"/>
        </a:p>
      </dgm:t>
    </dgm:pt>
    <dgm:pt modelId="{E1B71A96-2191-481D-B7AC-340157F20229}" type="parTrans" cxnId="{CFEFAFA6-188F-4C6E-87F9-5659FB51E184}">
      <dgm:prSet/>
      <dgm:spPr/>
      <dgm:t>
        <a:bodyPr/>
        <a:lstStyle/>
        <a:p>
          <a:endParaRPr lang="en-US"/>
        </a:p>
      </dgm:t>
    </dgm:pt>
    <dgm:pt modelId="{E3A96A76-D58C-4451-A6FB-0BDD19044C3A}">
      <dgm:prSet/>
      <dgm:spPr>
        <a:solidFill>
          <a:schemeClr val="accent1">
            <a:lumMod val="60000"/>
            <a:lumOff val="40000"/>
          </a:schemeClr>
        </a:solidFill>
        <a:ln>
          <a:noFill/>
        </a:ln>
      </dgm:spPr>
      <dgm:t>
        <a:bodyPr/>
        <a:lstStyle/>
        <a:p>
          <a:r>
            <a:rPr lang="en-US" dirty="0"/>
            <a:t> Gummies</a:t>
          </a:r>
        </a:p>
      </dgm:t>
    </dgm:pt>
    <dgm:pt modelId="{7C130B74-5493-48FD-9B7B-0B4783EAE4B3}" type="parTrans" cxnId="{11711C11-E68C-4A4C-80C9-DD3C6068096E}">
      <dgm:prSet/>
      <dgm:spPr>
        <a:solidFill>
          <a:schemeClr val="accent2"/>
        </a:solidFill>
        <a:ln>
          <a:solidFill>
            <a:schemeClr val="accent2"/>
          </a:solidFill>
        </a:ln>
      </dgm:spPr>
      <dgm:t>
        <a:bodyPr/>
        <a:lstStyle/>
        <a:p>
          <a:endParaRPr lang="en-US"/>
        </a:p>
      </dgm:t>
    </dgm:pt>
    <dgm:pt modelId="{E86BFDD3-94D6-4BFF-AE2B-082EAD1C9728}" type="sibTrans" cxnId="{11711C11-E68C-4A4C-80C9-DD3C6068096E}">
      <dgm:prSet/>
      <dgm:spPr/>
      <dgm:t>
        <a:bodyPr/>
        <a:lstStyle/>
        <a:p>
          <a:endParaRPr lang="en-US"/>
        </a:p>
      </dgm:t>
    </dgm:pt>
    <dgm:pt modelId="{48B3E0C0-20A5-4957-B36F-CEBB037351F8}">
      <dgm:prSet/>
      <dgm:spPr>
        <a:solidFill>
          <a:schemeClr val="accent1">
            <a:lumMod val="60000"/>
            <a:lumOff val="40000"/>
          </a:schemeClr>
        </a:solidFill>
        <a:ln>
          <a:noFill/>
        </a:ln>
      </dgm:spPr>
      <dgm:t>
        <a:bodyPr/>
        <a:lstStyle/>
        <a:p>
          <a:r>
            <a:rPr lang="en-US" dirty="0"/>
            <a:t>Effervescent tablets</a:t>
          </a:r>
        </a:p>
      </dgm:t>
    </dgm:pt>
    <dgm:pt modelId="{7797D132-EA5D-4F45-B7C6-1CAEAC17E530}" type="parTrans" cxnId="{602CD97C-4018-4494-B132-4DBF39746866}">
      <dgm:prSet/>
      <dgm:spPr>
        <a:ln>
          <a:solidFill>
            <a:schemeClr val="accent2"/>
          </a:solidFill>
        </a:ln>
      </dgm:spPr>
      <dgm:t>
        <a:bodyPr/>
        <a:lstStyle/>
        <a:p>
          <a:endParaRPr lang="en-US"/>
        </a:p>
      </dgm:t>
    </dgm:pt>
    <dgm:pt modelId="{29FD4066-6B32-4572-B3A0-2CF1AD403533}" type="sibTrans" cxnId="{602CD97C-4018-4494-B132-4DBF39746866}">
      <dgm:prSet/>
      <dgm:spPr/>
      <dgm:t>
        <a:bodyPr/>
        <a:lstStyle/>
        <a:p>
          <a:endParaRPr lang="en-US"/>
        </a:p>
      </dgm:t>
    </dgm:pt>
    <dgm:pt modelId="{AB1A8EB1-E7E2-440F-A3F9-644540BD11B2}">
      <dgm:prSet/>
      <dgm:spPr>
        <a:solidFill>
          <a:schemeClr val="tx2">
            <a:lumMod val="40000"/>
            <a:lumOff val="60000"/>
          </a:schemeClr>
        </a:solidFill>
        <a:ln>
          <a:solidFill>
            <a:schemeClr val="tx2">
              <a:lumMod val="40000"/>
              <a:lumOff val="60000"/>
            </a:schemeClr>
          </a:solidFill>
        </a:ln>
      </dgm:spPr>
      <dgm:t>
        <a:bodyPr/>
        <a:lstStyle/>
        <a:p>
          <a:r>
            <a:rPr lang="en-US" dirty="0"/>
            <a:t>Differentiated forms</a:t>
          </a:r>
        </a:p>
      </dgm:t>
    </dgm:pt>
    <dgm:pt modelId="{BF4AD3BD-A301-4DF3-B220-67F614756E00}" type="parTrans" cxnId="{D1683D67-0594-4B60-B39C-3246EA26BA84}">
      <dgm:prSet/>
      <dgm:spPr/>
      <dgm:t>
        <a:bodyPr/>
        <a:lstStyle/>
        <a:p>
          <a:endParaRPr lang="en-US"/>
        </a:p>
      </dgm:t>
    </dgm:pt>
    <dgm:pt modelId="{61AC344B-05CA-4D45-8ECF-AF51FF6B10AA}" type="sibTrans" cxnId="{D1683D67-0594-4B60-B39C-3246EA26BA84}">
      <dgm:prSet/>
      <dgm:spPr/>
      <dgm:t>
        <a:bodyPr/>
        <a:lstStyle/>
        <a:p>
          <a:endParaRPr lang="en-US"/>
        </a:p>
      </dgm:t>
    </dgm:pt>
    <dgm:pt modelId="{B42631FE-8898-4835-AD06-A660371FF110}">
      <dgm:prSet/>
      <dgm:spPr>
        <a:solidFill>
          <a:schemeClr val="tx2">
            <a:lumMod val="40000"/>
            <a:lumOff val="60000"/>
          </a:schemeClr>
        </a:solidFill>
        <a:ln>
          <a:solidFill>
            <a:schemeClr val="tx2">
              <a:lumMod val="40000"/>
              <a:lumOff val="60000"/>
            </a:schemeClr>
          </a:solidFill>
        </a:ln>
      </dgm:spPr>
      <dgm:t>
        <a:bodyPr/>
        <a:lstStyle/>
        <a:p>
          <a:r>
            <a:rPr lang="en-US" dirty="0"/>
            <a:t>Sprinkles </a:t>
          </a:r>
        </a:p>
      </dgm:t>
    </dgm:pt>
    <dgm:pt modelId="{3EDD0221-1D17-48C9-9D7B-F9B6251FEA0A}" type="parTrans" cxnId="{84B1C3A7-B2B9-4DF1-A36D-21F8D3048324}">
      <dgm:prSet/>
      <dgm:spPr>
        <a:ln>
          <a:solidFill>
            <a:schemeClr val="tx2">
              <a:lumMod val="40000"/>
              <a:lumOff val="60000"/>
            </a:schemeClr>
          </a:solidFill>
        </a:ln>
      </dgm:spPr>
      <dgm:t>
        <a:bodyPr/>
        <a:lstStyle/>
        <a:p>
          <a:endParaRPr lang="en-US"/>
        </a:p>
      </dgm:t>
    </dgm:pt>
    <dgm:pt modelId="{A971B292-C8B2-4C77-AF8F-05CEFBAF41CB}" type="sibTrans" cxnId="{84B1C3A7-B2B9-4DF1-A36D-21F8D3048324}">
      <dgm:prSet/>
      <dgm:spPr/>
      <dgm:t>
        <a:bodyPr/>
        <a:lstStyle/>
        <a:p>
          <a:endParaRPr lang="en-US"/>
        </a:p>
      </dgm:t>
    </dgm:pt>
    <dgm:pt modelId="{D34D52BF-6B19-40B7-A7A7-3BB4243A1F4D}">
      <dgm:prSet/>
      <dgm:spPr>
        <a:solidFill>
          <a:schemeClr val="tx2">
            <a:lumMod val="40000"/>
            <a:lumOff val="60000"/>
          </a:schemeClr>
        </a:solidFill>
        <a:ln>
          <a:solidFill>
            <a:schemeClr val="tx2">
              <a:lumMod val="40000"/>
              <a:lumOff val="60000"/>
            </a:schemeClr>
          </a:solidFill>
        </a:ln>
      </dgm:spPr>
      <dgm:t>
        <a:bodyPr/>
        <a:lstStyle/>
        <a:p>
          <a:r>
            <a:rPr lang="en-US" dirty="0"/>
            <a:t>Minitablets</a:t>
          </a:r>
        </a:p>
      </dgm:t>
    </dgm:pt>
    <dgm:pt modelId="{00814C60-90C9-4028-9730-7FC7487C8247}" type="parTrans" cxnId="{A36A5A51-2FA7-44B0-A09E-736EFA6488AE}">
      <dgm:prSet/>
      <dgm:spPr>
        <a:ln>
          <a:solidFill>
            <a:schemeClr val="tx2">
              <a:lumMod val="40000"/>
              <a:lumOff val="60000"/>
            </a:schemeClr>
          </a:solidFill>
        </a:ln>
      </dgm:spPr>
      <dgm:t>
        <a:bodyPr/>
        <a:lstStyle/>
        <a:p>
          <a:endParaRPr lang="en-US"/>
        </a:p>
      </dgm:t>
    </dgm:pt>
    <dgm:pt modelId="{5820FB82-D3F9-4F43-9BE7-EA8E4FE93591}" type="sibTrans" cxnId="{A36A5A51-2FA7-44B0-A09E-736EFA6488AE}">
      <dgm:prSet/>
      <dgm:spPr/>
      <dgm:t>
        <a:bodyPr/>
        <a:lstStyle/>
        <a:p>
          <a:endParaRPr lang="en-US"/>
        </a:p>
      </dgm:t>
    </dgm:pt>
    <dgm:pt modelId="{E0319F92-D8D4-4979-BA52-847E83899F3B}">
      <dgm:prSet/>
      <dgm:spPr>
        <a:solidFill>
          <a:schemeClr val="tx2">
            <a:lumMod val="40000"/>
            <a:lumOff val="60000"/>
          </a:schemeClr>
        </a:solidFill>
        <a:ln>
          <a:solidFill>
            <a:schemeClr val="tx2">
              <a:lumMod val="40000"/>
              <a:lumOff val="60000"/>
            </a:schemeClr>
          </a:solidFill>
        </a:ln>
      </dgm:spPr>
      <dgm:t>
        <a:bodyPr/>
        <a:lstStyle/>
        <a:p>
          <a:r>
            <a:rPr lang="en-US" dirty="0"/>
            <a:t>Dispersible Pellets</a:t>
          </a:r>
        </a:p>
      </dgm:t>
    </dgm:pt>
    <dgm:pt modelId="{0AD4C1F8-0D11-44B8-A4CF-31C5FF9C2D6A}" type="parTrans" cxnId="{07B48D57-7738-43F9-AEE0-AADBB926874C}">
      <dgm:prSet/>
      <dgm:spPr>
        <a:ln>
          <a:solidFill>
            <a:schemeClr val="tx2">
              <a:lumMod val="40000"/>
              <a:lumOff val="60000"/>
            </a:schemeClr>
          </a:solidFill>
        </a:ln>
      </dgm:spPr>
      <dgm:t>
        <a:bodyPr/>
        <a:lstStyle/>
        <a:p>
          <a:endParaRPr lang="en-US"/>
        </a:p>
      </dgm:t>
    </dgm:pt>
    <dgm:pt modelId="{4087E4F8-731E-4C30-BAEE-C4C47FF53EBE}" type="sibTrans" cxnId="{07B48D57-7738-43F9-AEE0-AADBB926874C}">
      <dgm:prSet/>
      <dgm:spPr/>
      <dgm:t>
        <a:bodyPr/>
        <a:lstStyle/>
        <a:p>
          <a:endParaRPr lang="en-US"/>
        </a:p>
      </dgm:t>
    </dgm:pt>
    <dgm:pt modelId="{D98B938F-CA66-46D5-9639-5C0A57C091BF}" type="pres">
      <dgm:prSet presAssocID="{FCD69BF4-8510-4864-951D-AAFAFE040776}" presName="hierChild1" presStyleCnt="0">
        <dgm:presLayoutVars>
          <dgm:orgChart val="1"/>
          <dgm:chPref val="1"/>
          <dgm:dir/>
          <dgm:animOne val="branch"/>
          <dgm:animLvl val="lvl"/>
          <dgm:resizeHandles/>
        </dgm:presLayoutVars>
      </dgm:prSet>
      <dgm:spPr/>
    </dgm:pt>
    <dgm:pt modelId="{804B14DD-2E09-4103-A0E8-96F25F7CA157}" type="pres">
      <dgm:prSet presAssocID="{CD56FFF8-3481-4120-B443-F7396A3D571B}" presName="hierRoot1" presStyleCnt="0">
        <dgm:presLayoutVars>
          <dgm:hierBranch val="init"/>
        </dgm:presLayoutVars>
      </dgm:prSet>
      <dgm:spPr/>
    </dgm:pt>
    <dgm:pt modelId="{F2BD1F7A-9CF7-48B3-ADF7-6C79DCC4EA11}" type="pres">
      <dgm:prSet presAssocID="{CD56FFF8-3481-4120-B443-F7396A3D571B}" presName="rootComposite1" presStyleCnt="0"/>
      <dgm:spPr/>
    </dgm:pt>
    <dgm:pt modelId="{38DDC9BF-C083-4770-9129-ED2EBCB05D34}" type="pres">
      <dgm:prSet presAssocID="{CD56FFF8-3481-4120-B443-F7396A3D571B}" presName="rootText1" presStyleLbl="node0" presStyleIdx="0" presStyleCnt="1" custScaleX="671654" custScaleY="67737" custLinFactNeighborX="-5560">
        <dgm:presLayoutVars>
          <dgm:chPref val="3"/>
        </dgm:presLayoutVars>
      </dgm:prSet>
      <dgm:spPr/>
    </dgm:pt>
    <dgm:pt modelId="{326D6250-5F93-43F5-BC5D-A39E9831DFDF}" type="pres">
      <dgm:prSet presAssocID="{CD56FFF8-3481-4120-B443-F7396A3D571B}" presName="rootConnector1" presStyleLbl="node1" presStyleIdx="0" presStyleCnt="0"/>
      <dgm:spPr/>
    </dgm:pt>
    <dgm:pt modelId="{28F3C03C-1468-49DE-9363-B40CFCF80869}" type="pres">
      <dgm:prSet presAssocID="{CD56FFF8-3481-4120-B443-F7396A3D571B}" presName="hierChild2" presStyleCnt="0"/>
      <dgm:spPr/>
    </dgm:pt>
    <dgm:pt modelId="{3F123880-5673-4A01-AA49-5B897E5FF97D}" type="pres">
      <dgm:prSet presAssocID="{001802C5-68CD-4F1D-8F1C-9426C4CDFAFB}" presName="Name37" presStyleLbl="parChTrans1D2" presStyleIdx="0" presStyleCnt="4"/>
      <dgm:spPr/>
    </dgm:pt>
    <dgm:pt modelId="{3B9EE5DA-4DD5-4723-86E7-A650A669ADEF}" type="pres">
      <dgm:prSet presAssocID="{119B2807-5D32-48F0-8F22-EFCD2113183A}" presName="hierRoot2" presStyleCnt="0">
        <dgm:presLayoutVars>
          <dgm:hierBranch val="init"/>
        </dgm:presLayoutVars>
      </dgm:prSet>
      <dgm:spPr/>
    </dgm:pt>
    <dgm:pt modelId="{1DFE4126-BF71-47E7-9FF5-DBB6775053C2}" type="pres">
      <dgm:prSet presAssocID="{119B2807-5D32-48F0-8F22-EFCD2113183A}" presName="rootComposite" presStyleCnt="0"/>
      <dgm:spPr/>
    </dgm:pt>
    <dgm:pt modelId="{D385046F-A1A9-41AD-A931-8D3497E0CAB5}" type="pres">
      <dgm:prSet presAssocID="{119B2807-5D32-48F0-8F22-EFCD2113183A}" presName="rootText" presStyleLbl="node2" presStyleIdx="0" presStyleCnt="4" custScaleX="162005" custLinFactX="-27963" custLinFactNeighborX="-100000" custLinFactNeighborY="0">
        <dgm:presLayoutVars>
          <dgm:chPref val="3"/>
        </dgm:presLayoutVars>
      </dgm:prSet>
      <dgm:spPr/>
    </dgm:pt>
    <dgm:pt modelId="{DA8AFDFE-03DB-4505-9255-A834AD3501A2}" type="pres">
      <dgm:prSet presAssocID="{119B2807-5D32-48F0-8F22-EFCD2113183A}" presName="rootConnector" presStyleLbl="node2" presStyleIdx="0" presStyleCnt="4"/>
      <dgm:spPr/>
    </dgm:pt>
    <dgm:pt modelId="{8158DDE7-ADFE-4352-9025-5340B51816E4}" type="pres">
      <dgm:prSet presAssocID="{119B2807-5D32-48F0-8F22-EFCD2113183A}" presName="hierChild4" presStyleCnt="0"/>
      <dgm:spPr/>
    </dgm:pt>
    <dgm:pt modelId="{3C8272EA-5186-401E-891E-8B46BCA958B5}" type="pres">
      <dgm:prSet presAssocID="{05B29BD8-38D7-4D12-A2F9-E304A5434268}" presName="Name37" presStyleLbl="parChTrans1D3" presStyleIdx="0" presStyleCnt="15"/>
      <dgm:spPr/>
    </dgm:pt>
    <dgm:pt modelId="{34149122-63CD-4A04-BCCD-573237C41338}" type="pres">
      <dgm:prSet presAssocID="{A3865F9C-50C5-45F3-A485-E8443B9FAF31}" presName="hierRoot2" presStyleCnt="0">
        <dgm:presLayoutVars>
          <dgm:hierBranch val="init"/>
        </dgm:presLayoutVars>
      </dgm:prSet>
      <dgm:spPr/>
    </dgm:pt>
    <dgm:pt modelId="{25F368EA-0D88-4396-833C-FCA66D0A57B7}" type="pres">
      <dgm:prSet presAssocID="{A3865F9C-50C5-45F3-A485-E8443B9FAF31}" presName="rootComposite" presStyleCnt="0"/>
      <dgm:spPr/>
    </dgm:pt>
    <dgm:pt modelId="{2D21AE9A-7D98-4BCD-B18B-BEBEE6CC510D}" type="pres">
      <dgm:prSet presAssocID="{A3865F9C-50C5-45F3-A485-E8443B9FAF31}" presName="rootText" presStyleLbl="node3" presStyleIdx="0" presStyleCnt="15" custLinFactNeighborX="-89695" custLinFactNeighborY="-19057">
        <dgm:presLayoutVars>
          <dgm:chPref val="3"/>
        </dgm:presLayoutVars>
      </dgm:prSet>
      <dgm:spPr/>
    </dgm:pt>
    <dgm:pt modelId="{D4E643C0-CE69-4839-930A-DE8F69CB668E}" type="pres">
      <dgm:prSet presAssocID="{A3865F9C-50C5-45F3-A485-E8443B9FAF31}" presName="rootConnector" presStyleLbl="node3" presStyleIdx="0" presStyleCnt="15"/>
      <dgm:spPr/>
    </dgm:pt>
    <dgm:pt modelId="{8043B9A0-58E7-40E4-946B-9DE9BBE8AEAF}" type="pres">
      <dgm:prSet presAssocID="{A3865F9C-50C5-45F3-A485-E8443B9FAF31}" presName="hierChild4" presStyleCnt="0"/>
      <dgm:spPr/>
    </dgm:pt>
    <dgm:pt modelId="{9056F5EB-AEAB-4F3B-A6DF-CC6921BB589D}" type="pres">
      <dgm:prSet presAssocID="{A3865F9C-50C5-45F3-A485-E8443B9FAF31}" presName="hierChild5" presStyleCnt="0"/>
      <dgm:spPr/>
    </dgm:pt>
    <dgm:pt modelId="{A13E033C-54A7-44A2-8FB7-DF58DA613CE5}" type="pres">
      <dgm:prSet presAssocID="{6EFB3148-4371-46D4-81BB-2FEC8C1830EB}" presName="Name37" presStyleLbl="parChTrans1D3" presStyleIdx="1" presStyleCnt="15"/>
      <dgm:spPr/>
    </dgm:pt>
    <dgm:pt modelId="{ACE55350-8A4C-4F52-9781-C5ECBC5475D7}" type="pres">
      <dgm:prSet presAssocID="{DBFFA61D-8BC7-4AF2-BC06-9BD1F05413CA}" presName="hierRoot2" presStyleCnt="0">
        <dgm:presLayoutVars>
          <dgm:hierBranch val="init"/>
        </dgm:presLayoutVars>
      </dgm:prSet>
      <dgm:spPr/>
    </dgm:pt>
    <dgm:pt modelId="{DA3C5CA1-38EF-4019-89AD-16C4A84DE117}" type="pres">
      <dgm:prSet presAssocID="{DBFFA61D-8BC7-4AF2-BC06-9BD1F05413CA}" presName="rootComposite" presStyleCnt="0"/>
      <dgm:spPr/>
    </dgm:pt>
    <dgm:pt modelId="{2231C5AC-A912-443E-8195-4F3A8699C2B2}" type="pres">
      <dgm:prSet presAssocID="{DBFFA61D-8BC7-4AF2-BC06-9BD1F05413CA}" presName="rootText" presStyleLbl="node3" presStyleIdx="1" presStyleCnt="15" custLinFactNeighborX="-89695" custLinFactNeighborY="-34408">
        <dgm:presLayoutVars>
          <dgm:chPref val="3"/>
        </dgm:presLayoutVars>
      </dgm:prSet>
      <dgm:spPr/>
    </dgm:pt>
    <dgm:pt modelId="{BDF86D59-C421-432A-8D1C-5618279F8DE1}" type="pres">
      <dgm:prSet presAssocID="{DBFFA61D-8BC7-4AF2-BC06-9BD1F05413CA}" presName="rootConnector" presStyleLbl="node3" presStyleIdx="1" presStyleCnt="15"/>
      <dgm:spPr/>
    </dgm:pt>
    <dgm:pt modelId="{64D0C2F8-8EE9-40C0-AE0B-1FDE0150001E}" type="pres">
      <dgm:prSet presAssocID="{DBFFA61D-8BC7-4AF2-BC06-9BD1F05413CA}" presName="hierChild4" presStyleCnt="0"/>
      <dgm:spPr/>
    </dgm:pt>
    <dgm:pt modelId="{70C60A17-4029-41C3-A4E8-4C4FE500E01C}" type="pres">
      <dgm:prSet presAssocID="{DBFFA61D-8BC7-4AF2-BC06-9BD1F05413CA}" presName="hierChild5" presStyleCnt="0"/>
      <dgm:spPr/>
    </dgm:pt>
    <dgm:pt modelId="{BA218884-AFDA-4B03-A5CF-51716E3031C3}" type="pres">
      <dgm:prSet presAssocID="{536606B6-C7FD-47C3-8192-7E1ED1E30CD3}" presName="Name37" presStyleLbl="parChTrans1D3" presStyleIdx="2" presStyleCnt="15"/>
      <dgm:spPr/>
    </dgm:pt>
    <dgm:pt modelId="{447FD21E-8A24-4572-A871-5D5E5E9A2EB8}" type="pres">
      <dgm:prSet presAssocID="{B4AA2FAB-2B15-46C3-9AD2-73356BEE74D7}" presName="hierRoot2" presStyleCnt="0">
        <dgm:presLayoutVars>
          <dgm:hierBranch val="init"/>
        </dgm:presLayoutVars>
      </dgm:prSet>
      <dgm:spPr/>
    </dgm:pt>
    <dgm:pt modelId="{B1ECED2C-B77D-4D42-9873-FF18CB4014D7}" type="pres">
      <dgm:prSet presAssocID="{B4AA2FAB-2B15-46C3-9AD2-73356BEE74D7}" presName="rootComposite" presStyleCnt="0"/>
      <dgm:spPr/>
    </dgm:pt>
    <dgm:pt modelId="{35013184-0BA1-4BA5-8CAD-8890D6CE3CDF}" type="pres">
      <dgm:prSet presAssocID="{B4AA2FAB-2B15-46C3-9AD2-73356BEE74D7}" presName="rootText" presStyleLbl="node3" presStyleIdx="2" presStyleCnt="15" custLinFactNeighborX="-89582" custLinFactNeighborY="-51641">
        <dgm:presLayoutVars>
          <dgm:chPref val="3"/>
        </dgm:presLayoutVars>
      </dgm:prSet>
      <dgm:spPr/>
    </dgm:pt>
    <dgm:pt modelId="{AED94FBB-AD91-4B2F-B47F-3F1BAC0C1F22}" type="pres">
      <dgm:prSet presAssocID="{B4AA2FAB-2B15-46C3-9AD2-73356BEE74D7}" presName="rootConnector" presStyleLbl="node3" presStyleIdx="2" presStyleCnt="15"/>
      <dgm:spPr/>
    </dgm:pt>
    <dgm:pt modelId="{A22A1CFB-EADC-41D7-AC2A-F7D5788CD175}" type="pres">
      <dgm:prSet presAssocID="{B4AA2FAB-2B15-46C3-9AD2-73356BEE74D7}" presName="hierChild4" presStyleCnt="0"/>
      <dgm:spPr/>
    </dgm:pt>
    <dgm:pt modelId="{FD1D0DA5-2837-496B-8B4D-EDC251B61F17}" type="pres">
      <dgm:prSet presAssocID="{B4AA2FAB-2B15-46C3-9AD2-73356BEE74D7}" presName="hierChild5" presStyleCnt="0"/>
      <dgm:spPr/>
    </dgm:pt>
    <dgm:pt modelId="{F8C10BB2-9869-40F3-9A4F-F98A550F9E0C}" type="pres">
      <dgm:prSet presAssocID="{7797D132-EA5D-4F45-B7C6-1CAEAC17E530}" presName="Name37" presStyleLbl="parChTrans1D3" presStyleIdx="3" presStyleCnt="15"/>
      <dgm:spPr/>
    </dgm:pt>
    <dgm:pt modelId="{D35A349B-1F0E-4111-B14D-E23786DCB18D}" type="pres">
      <dgm:prSet presAssocID="{48B3E0C0-20A5-4957-B36F-CEBB037351F8}" presName="hierRoot2" presStyleCnt="0">
        <dgm:presLayoutVars>
          <dgm:hierBranch val="init"/>
        </dgm:presLayoutVars>
      </dgm:prSet>
      <dgm:spPr/>
    </dgm:pt>
    <dgm:pt modelId="{42C56499-C912-49C9-B411-F63218B2D84A}" type="pres">
      <dgm:prSet presAssocID="{48B3E0C0-20A5-4957-B36F-CEBB037351F8}" presName="rootComposite" presStyleCnt="0"/>
      <dgm:spPr/>
    </dgm:pt>
    <dgm:pt modelId="{C6663363-2C4F-4872-834F-DFA994A5579F}" type="pres">
      <dgm:prSet presAssocID="{48B3E0C0-20A5-4957-B36F-CEBB037351F8}" presName="rootText" presStyleLbl="node3" presStyleIdx="3" presStyleCnt="15" custLinFactNeighborX="-89646" custLinFactNeighborY="-57620">
        <dgm:presLayoutVars>
          <dgm:chPref val="3"/>
        </dgm:presLayoutVars>
      </dgm:prSet>
      <dgm:spPr/>
    </dgm:pt>
    <dgm:pt modelId="{44159222-717F-4691-A5B1-5B40D412883F}" type="pres">
      <dgm:prSet presAssocID="{48B3E0C0-20A5-4957-B36F-CEBB037351F8}" presName="rootConnector" presStyleLbl="node3" presStyleIdx="3" presStyleCnt="15"/>
      <dgm:spPr/>
    </dgm:pt>
    <dgm:pt modelId="{2F7B6F10-386D-4871-957C-A19B9C1AF282}" type="pres">
      <dgm:prSet presAssocID="{48B3E0C0-20A5-4957-B36F-CEBB037351F8}" presName="hierChild4" presStyleCnt="0"/>
      <dgm:spPr/>
    </dgm:pt>
    <dgm:pt modelId="{7CBBD39C-958A-4DFD-91DB-8CF895292A23}" type="pres">
      <dgm:prSet presAssocID="{48B3E0C0-20A5-4957-B36F-CEBB037351F8}" presName="hierChild5" presStyleCnt="0"/>
      <dgm:spPr/>
    </dgm:pt>
    <dgm:pt modelId="{9A9BBC5F-9B90-4AFF-85EF-42C81AAA04F3}" type="pres">
      <dgm:prSet presAssocID="{7C130B74-5493-48FD-9B7B-0B4783EAE4B3}" presName="Name37" presStyleLbl="parChTrans1D3" presStyleIdx="4" presStyleCnt="15"/>
      <dgm:spPr/>
    </dgm:pt>
    <dgm:pt modelId="{1BA48C90-AAAD-4922-9686-1261FB1E38BB}" type="pres">
      <dgm:prSet presAssocID="{E3A96A76-D58C-4451-A6FB-0BDD19044C3A}" presName="hierRoot2" presStyleCnt="0">
        <dgm:presLayoutVars>
          <dgm:hierBranch val="init"/>
        </dgm:presLayoutVars>
      </dgm:prSet>
      <dgm:spPr/>
    </dgm:pt>
    <dgm:pt modelId="{B275032F-1375-4D9B-BE82-C32285818DB6}" type="pres">
      <dgm:prSet presAssocID="{E3A96A76-D58C-4451-A6FB-0BDD19044C3A}" presName="rootComposite" presStyleCnt="0"/>
      <dgm:spPr/>
    </dgm:pt>
    <dgm:pt modelId="{90A790FE-C213-4CBD-A9A3-51F3476152D1}" type="pres">
      <dgm:prSet presAssocID="{E3A96A76-D58C-4451-A6FB-0BDD19044C3A}" presName="rootText" presStyleLbl="node3" presStyleIdx="4" presStyleCnt="15" custLinFactNeighborX="-89036" custLinFactNeighborY="-69539">
        <dgm:presLayoutVars>
          <dgm:chPref val="3"/>
        </dgm:presLayoutVars>
      </dgm:prSet>
      <dgm:spPr/>
    </dgm:pt>
    <dgm:pt modelId="{1B630E95-9B49-4A10-99A5-5E9300393CFC}" type="pres">
      <dgm:prSet presAssocID="{E3A96A76-D58C-4451-A6FB-0BDD19044C3A}" presName="rootConnector" presStyleLbl="node3" presStyleIdx="4" presStyleCnt="15"/>
      <dgm:spPr/>
    </dgm:pt>
    <dgm:pt modelId="{D614B6D6-AFC5-40EA-9247-D9703A87A7CE}" type="pres">
      <dgm:prSet presAssocID="{E3A96A76-D58C-4451-A6FB-0BDD19044C3A}" presName="hierChild4" presStyleCnt="0"/>
      <dgm:spPr/>
    </dgm:pt>
    <dgm:pt modelId="{85F9AEB2-69AC-4B31-8839-818A4E2EF911}" type="pres">
      <dgm:prSet presAssocID="{E3A96A76-D58C-4451-A6FB-0BDD19044C3A}" presName="hierChild5" presStyleCnt="0"/>
      <dgm:spPr/>
    </dgm:pt>
    <dgm:pt modelId="{6A36F910-32BC-4696-92BD-B0941AE4DBFA}" type="pres">
      <dgm:prSet presAssocID="{119B2807-5D32-48F0-8F22-EFCD2113183A}" presName="hierChild5" presStyleCnt="0"/>
      <dgm:spPr/>
    </dgm:pt>
    <dgm:pt modelId="{666AEB06-2A27-4DA5-B441-AE47C1C1DA37}" type="pres">
      <dgm:prSet presAssocID="{BF4AD3BD-A301-4DF3-B220-67F614756E00}" presName="Name37" presStyleLbl="parChTrans1D2" presStyleIdx="1" presStyleCnt="4"/>
      <dgm:spPr/>
    </dgm:pt>
    <dgm:pt modelId="{399EB6BF-FACF-4AE2-ACBF-0BAB2784ED9E}" type="pres">
      <dgm:prSet presAssocID="{AB1A8EB1-E7E2-440F-A3F9-644540BD11B2}" presName="hierRoot2" presStyleCnt="0">
        <dgm:presLayoutVars>
          <dgm:hierBranch val="init"/>
        </dgm:presLayoutVars>
      </dgm:prSet>
      <dgm:spPr/>
    </dgm:pt>
    <dgm:pt modelId="{A973F2E2-5BC4-4E6F-BC50-928F1618C291}" type="pres">
      <dgm:prSet presAssocID="{AB1A8EB1-E7E2-440F-A3F9-644540BD11B2}" presName="rootComposite" presStyleCnt="0"/>
      <dgm:spPr/>
    </dgm:pt>
    <dgm:pt modelId="{C06785D6-56FE-4DAB-9DDD-7BD72476C859}" type="pres">
      <dgm:prSet presAssocID="{AB1A8EB1-E7E2-440F-A3F9-644540BD11B2}" presName="rootText" presStyleLbl="node2" presStyleIdx="1" presStyleCnt="4" custLinFactNeighborX="-71509" custLinFactNeighborY="0">
        <dgm:presLayoutVars>
          <dgm:chPref val="3"/>
        </dgm:presLayoutVars>
      </dgm:prSet>
      <dgm:spPr/>
    </dgm:pt>
    <dgm:pt modelId="{55DCE63C-5EFD-4033-B587-403992E660A9}" type="pres">
      <dgm:prSet presAssocID="{AB1A8EB1-E7E2-440F-A3F9-644540BD11B2}" presName="rootConnector" presStyleLbl="node2" presStyleIdx="1" presStyleCnt="4"/>
      <dgm:spPr/>
    </dgm:pt>
    <dgm:pt modelId="{53BDA412-3C89-4F9D-93BA-4D11CDCDA467}" type="pres">
      <dgm:prSet presAssocID="{AB1A8EB1-E7E2-440F-A3F9-644540BD11B2}" presName="hierChild4" presStyleCnt="0"/>
      <dgm:spPr/>
    </dgm:pt>
    <dgm:pt modelId="{DCA3724C-6695-4F3C-9484-2118B83406C9}" type="pres">
      <dgm:prSet presAssocID="{00814C60-90C9-4028-9730-7FC7487C8247}" presName="Name37" presStyleLbl="parChTrans1D3" presStyleIdx="5" presStyleCnt="15"/>
      <dgm:spPr/>
    </dgm:pt>
    <dgm:pt modelId="{FC2E152B-2B46-496C-8326-058A323771A5}" type="pres">
      <dgm:prSet presAssocID="{D34D52BF-6B19-40B7-A7A7-3BB4243A1F4D}" presName="hierRoot2" presStyleCnt="0">
        <dgm:presLayoutVars>
          <dgm:hierBranch val="init"/>
        </dgm:presLayoutVars>
      </dgm:prSet>
      <dgm:spPr/>
    </dgm:pt>
    <dgm:pt modelId="{7EA5F877-23CD-481C-B7E4-DC21B8F7FB80}" type="pres">
      <dgm:prSet presAssocID="{D34D52BF-6B19-40B7-A7A7-3BB4243A1F4D}" presName="rootComposite" presStyleCnt="0"/>
      <dgm:spPr/>
    </dgm:pt>
    <dgm:pt modelId="{EB200D51-1D1C-486D-BC0F-48085CD7BEA3}" type="pres">
      <dgm:prSet presAssocID="{D34D52BF-6B19-40B7-A7A7-3BB4243A1F4D}" presName="rootText" presStyleLbl="node3" presStyleIdx="5" presStyleCnt="15" custLinFactNeighborX="-30645" custLinFactNeighborY="5925">
        <dgm:presLayoutVars>
          <dgm:chPref val="3"/>
        </dgm:presLayoutVars>
      </dgm:prSet>
      <dgm:spPr/>
    </dgm:pt>
    <dgm:pt modelId="{3A55B61E-E42B-4B25-A712-5D090E4DF887}" type="pres">
      <dgm:prSet presAssocID="{D34D52BF-6B19-40B7-A7A7-3BB4243A1F4D}" presName="rootConnector" presStyleLbl="node3" presStyleIdx="5" presStyleCnt="15"/>
      <dgm:spPr/>
    </dgm:pt>
    <dgm:pt modelId="{8CFE05E5-2B07-4C2E-AA3C-3D79727DA55D}" type="pres">
      <dgm:prSet presAssocID="{D34D52BF-6B19-40B7-A7A7-3BB4243A1F4D}" presName="hierChild4" presStyleCnt="0"/>
      <dgm:spPr/>
    </dgm:pt>
    <dgm:pt modelId="{7414920A-D44E-49BB-9AD4-7B3C47A036F5}" type="pres">
      <dgm:prSet presAssocID="{D34D52BF-6B19-40B7-A7A7-3BB4243A1F4D}" presName="hierChild5" presStyleCnt="0"/>
      <dgm:spPr/>
    </dgm:pt>
    <dgm:pt modelId="{D1036AF2-F58C-4AEC-A041-DD629499F167}" type="pres">
      <dgm:prSet presAssocID="{0AD4C1F8-0D11-44B8-A4CF-31C5FF9C2D6A}" presName="Name37" presStyleLbl="parChTrans1D3" presStyleIdx="6" presStyleCnt="15"/>
      <dgm:spPr/>
    </dgm:pt>
    <dgm:pt modelId="{0C720F1E-61E9-4FEE-811C-B1A37C3B58C0}" type="pres">
      <dgm:prSet presAssocID="{E0319F92-D8D4-4979-BA52-847E83899F3B}" presName="hierRoot2" presStyleCnt="0">
        <dgm:presLayoutVars>
          <dgm:hierBranch val="init"/>
        </dgm:presLayoutVars>
      </dgm:prSet>
      <dgm:spPr/>
    </dgm:pt>
    <dgm:pt modelId="{F100AE3C-DBFF-474B-8FAF-4BD6A7188C65}" type="pres">
      <dgm:prSet presAssocID="{E0319F92-D8D4-4979-BA52-847E83899F3B}" presName="rootComposite" presStyleCnt="0"/>
      <dgm:spPr/>
    </dgm:pt>
    <dgm:pt modelId="{9B1846BF-9078-4BAB-824F-E25604C101E3}" type="pres">
      <dgm:prSet presAssocID="{E0319F92-D8D4-4979-BA52-847E83899F3B}" presName="rootText" presStyleLbl="node3" presStyleIdx="6" presStyleCnt="15" custLinFactNeighborX="-30645">
        <dgm:presLayoutVars>
          <dgm:chPref val="3"/>
        </dgm:presLayoutVars>
      </dgm:prSet>
      <dgm:spPr/>
    </dgm:pt>
    <dgm:pt modelId="{ED94842E-EC9E-4C61-886B-955B82014E6D}" type="pres">
      <dgm:prSet presAssocID="{E0319F92-D8D4-4979-BA52-847E83899F3B}" presName="rootConnector" presStyleLbl="node3" presStyleIdx="6" presStyleCnt="15"/>
      <dgm:spPr/>
    </dgm:pt>
    <dgm:pt modelId="{8B3E1B00-1148-48EC-A15D-3E316B5FF5E5}" type="pres">
      <dgm:prSet presAssocID="{E0319F92-D8D4-4979-BA52-847E83899F3B}" presName="hierChild4" presStyleCnt="0"/>
      <dgm:spPr/>
    </dgm:pt>
    <dgm:pt modelId="{1F80E577-9B55-4353-9FE4-CB063D89B209}" type="pres">
      <dgm:prSet presAssocID="{E0319F92-D8D4-4979-BA52-847E83899F3B}" presName="hierChild5" presStyleCnt="0"/>
      <dgm:spPr/>
    </dgm:pt>
    <dgm:pt modelId="{21FB6DD2-638E-4470-8B82-CB4C836208D0}" type="pres">
      <dgm:prSet presAssocID="{3EDD0221-1D17-48C9-9D7B-F9B6251FEA0A}" presName="Name37" presStyleLbl="parChTrans1D3" presStyleIdx="7" presStyleCnt="15"/>
      <dgm:spPr/>
    </dgm:pt>
    <dgm:pt modelId="{65325FD9-B9C3-44AC-82FB-1A04136171A3}" type="pres">
      <dgm:prSet presAssocID="{B42631FE-8898-4835-AD06-A660371FF110}" presName="hierRoot2" presStyleCnt="0">
        <dgm:presLayoutVars>
          <dgm:hierBranch val="init"/>
        </dgm:presLayoutVars>
      </dgm:prSet>
      <dgm:spPr/>
    </dgm:pt>
    <dgm:pt modelId="{BF1A247B-1946-4E47-825A-F49563084A06}" type="pres">
      <dgm:prSet presAssocID="{B42631FE-8898-4835-AD06-A660371FF110}" presName="rootComposite" presStyleCnt="0"/>
      <dgm:spPr/>
    </dgm:pt>
    <dgm:pt modelId="{8D97F495-2C03-4983-8E4F-FE56EAD287F9}" type="pres">
      <dgm:prSet presAssocID="{B42631FE-8898-4835-AD06-A660371FF110}" presName="rootText" presStyleLbl="node3" presStyleIdx="7" presStyleCnt="15" custLinFactNeighborX="-30645" custLinFactNeighborY="-6908">
        <dgm:presLayoutVars>
          <dgm:chPref val="3"/>
        </dgm:presLayoutVars>
      </dgm:prSet>
      <dgm:spPr/>
    </dgm:pt>
    <dgm:pt modelId="{62BE1C9E-ABA4-4F40-B962-F47C04AE11C4}" type="pres">
      <dgm:prSet presAssocID="{B42631FE-8898-4835-AD06-A660371FF110}" presName="rootConnector" presStyleLbl="node3" presStyleIdx="7" presStyleCnt="15"/>
      <dgm:spPr/>
    </dgm:pt>
    <dgm:pt modelId="{C892FD3D-BB38-475F-810A-0E4A1070A32C}" type="pres">
      <dgm:prSet presAssocID="{B42631FE-8898-4835-AD06-A660371FF110}" presName="hierChild4" presStyleCnt="0"/>
      <dgm:spPr/>
    </dgm:pt>
    <dgm:pt modelId="{A57D9923-8C05-42D5-B6AC-554CACE1AEEF}" type="pres">
      <dgm:prSet presAssocID="{B42631FE-8898-4835-AD06-A660371FF110}" presName="hierChild5" presStyleCnt="0"/>
      <dgm:spPr/>
    </dgm:pt>
    <dgm:pt modelId="{0D7A1300-9D86-4CFE-895C-AFF51E02C47C}" type="pres">
      <dgm:prSet presAssocID="{AB1A8EB1-E7E2-440F-A3F9-644540BD11B2}" presName="hierChild5" presStyleCnt="0"/>
      <dgm:spPr/>
    </dgm:pt>
    <dgm:pt modelId="{26B89488-378F-4A73-98C2-5EE64758ECA3}" type="pres">
      <dgm:prSet presAssocID="{95FBBDEA-9548-4270-AB8E-49173717BF1C}" presName="Name37" presStyleLbl="parChTrans1D2" presStyleIdx="2" presStyleCnt="4"/>
      <dgm:spPr/>
    </dgm:pt>
    <dgm:pt modelId="{557E449D-883C-4B07-8DF5-6E9A67807F33}" type="pres">
      <dgm:prSet presAssocID="{4A63AFDD-4A90-4D30-B0F8-15FF9F31B7F1}" presName="hierRoot2" presStyleCnt="0">
        <dgm:presLayoutVars>
          <dgm:hierBranch val="init"/>
        </dgm:presLayoutVars>
      </dgm:prSet>
      <dgm:spPr/>
    </dgm:pt>
    <dgm:pt modelId="{3F9F9341-96F0-4AD9-998E-6CDBC4E89A7F}" type="pres">
      <dgm:prSet presAssocID="{4A63AFDD-4A90-4D30-B0F8-15FF9F31B7F1}" presName="rootComposite" presStyleCnt="0"/>
      <dgm:spPr/>
    </dgm:pt>
    <dgm:pt modelId="{8AF22F37-BE32-479E-9A89-A758B09D7619}" type="pres">
      <dgm:prSet presAssocID="{4A63AFDD-4A90-4D30-B0F8-15FF9F31B7F1}" presName="rootText" presStyleLbl="node2" presStyleIdx="2" presStyleCnt="4" custScaleX="221705" custScaleY="109920" custLinFactNeighborX="29978" custLinFactNeighborY="-128">
        <dgm:presLayoutVars>
          <dgm:chPref val="3"/>
        </dgm:presLayoutVars>
      </dgm:prSet>
      <dgm:spPr/>
    </dgm:pt>
    <dgm:pt modelId="{1D48A19C-B5C2-4332-A38B-13F28E54FB1B}" type="pres">
      <dgm:prSet presAssocID="{4A63AFDD-4A90-4D30-B0F8-15FF9F31B7F1}" presName="rootConnector" presStyleLbl="node2" presStyleIdx="2" presStyleCnt="4"/>
      <dgm:spPr/>
    </dgm:pt>
    <dgm:pt modelId="{FC70638D-161B-4F36-868C-5F54BA8FE0E6}" type="pres">
      <dgm:prSet presAssocID="{4A63AFDD-4A90-4D30-B0F8-15FF9F31B7F1}" presName="hierChild4" presStyleCnt="0"/>
      <dgm:spPr/>
    </dgm:pt>
    <dgm:pt modelId="{20E9B0BA-5007-408F-8AA8-5E1626293A74}" type="pres">
      <dgm:prSet presAssocID="{8DD2E7AA-5C96-4DB0-B924-59F562166D77}" presName="Name37" presStyleLbl="parChTrans1D3" presStyleIdx="8" presStyleCnt="15"/>
      <dgm:spPr/>
    </dgm:pt>
    <dgm:pt modelId="{8B9884EC-3806-4AAB-80C4-EE79AFF4EC91}" type="pres">
      <dgm:prSet presAssocID="{B7D512D1-5C6E-4AED-B7E4-E4EA0A73C3F7}" presName="hierRoot2" presStyleCnt="0">
        <dgm:presLayoutVars>
          <dgm:hierBranch val="init"/>
        </dgm:presLayoutVars>
      </dgm:prSet>
      <dgm:spPr/>
    </dgm:pt>
    <dgm:pt modelId="{368E119F-1156-4A37-88A4-6C4C0563B91E}" type="pres">
      <dgm:prSet presAssocID="{B7D512D1-5C6E-4AED-B7E4-E4EA0A73C3F7}" presName="rootComposite" presStyleCnt="0"/>
      <dgm:spPr/>
    </dgm:pt>
    <dgm:pt modelId="{57AA6A52-00DA-4D81-97D7-51671B5ED3AE}" type="pres">
      <dgm:prSet presAssocID="{B7D512D1-5C6E-4AED-B7E4-E4EA0A73C3F7}" presName="rootText" presStyleLbl="node3" presStyleIdx="8" presStyleCnt="15" custLinFactNeighborX="41599" custLinFactNeighborY="-18802">
        <dgm:presLayoutVars>
          <dgm:chPref val="3"/>
        </dgm:presLayoutVars>
      </dgm:prSet>
      <dgm:spPr/>
    </dgm:pt>
    <dgm:pt modelId="{048920A7-7648-4DE5-8285-3DC6EAA5312C}" type="pres">
      <dgm:prSet presAssocID="{B7D512D1-5C6E-4AED-B7E4-E4EA0A73C3F7}" presName="rootConnector" presStyleLbl="node3" presStyleIdx="8" presStyleCnt="15"/>
      <dgm:spPr/>
    </dgm:pt>
    <dgm:pt modelId="{2605A27C-C351-46E2-9E00-5E4EAD088A8E}" type="pres">
      <dgm:prSet presAssocID="{B7D512D1-5C6E-4AED-B7E4-E4EA0A73C3F7}" presName="hierChild4" presStyleCnt="0"/>
      <dgm:spPr/>
    </dgm:pt>
    <dgm:pt modelId="{E8C79E69-8BAE-4819-BBCE-8362DA96923D}" type="pres">
      <dgm:prSet presAssocID="{B7D512D1-5C6E-4AED-B7E4-E4EA0A73C3F7}" presName="hierChild5" presStyleCnt="0"/>
      <dgm:spPr/>
    </dgm:pt>
    <dgm:pt modelId="{7457313C-7C79-4E34-A80D-AB15AF3B02FE}" type="pres">
      <dgm:prSet presAssocID="{C706A3BC-6046-46BA-9312-523961032D46}" presName="Name37" presStyleLbl="parChTrans1D3" presStyleIdx="9" presStyleCnt="15"/>
      <dgm:spPr/>
    </dgm:pt>
    <dgm:pt modelId="{A89E1CE6-B632-4121-A8A1-2D1A90D99245}" type="pres">
      <dgm:prSet presAssocID="{D3CA6D71-135C-4F48-A64E-890BF701D369}" presName="hierRoot2" presStyleCnt="0">
        <dgm:presLayoutVars>
          <dgm:hierBranch val="init"/>
        </dgm:presLayoutVars>
      </dgm:prSet>
      <dgm:spPr/>
    </dgm:pt>
    <dgm:pt modelId="{57A805DE-8557-426C-87C4-4005C5BC6F07}" type="pres">
      <dgm:prSet presAssocID="{D3CA6D71-135C-4F48-A64E-890BF701D369}" presName="rootComposite" presStyleCnt="0"/>
      <dgm:spPr/>
    </dgm:pt>
    <dgm:pt modelId="{26CD0D8A-9D83-4807-A8ED-D9D524982A29}" type="pres">
      <dgm:prSet presAssocID="{D3CA6D71-135C-4F48-A64E-890BF701D369}" presName="rootText" presStyleLbl="node3" presStyleIdx="9" presStyleCnt="15" custLinFactNeighborX="39499" custLinFactNeighborY="-29558">
        <dgm:presLayoutVars>
          <dgm:chPref val="3"/>
        </dgm:presLayoutVars>
      </dgm:prSet>
      <dgm:spPr/>
    </dgm:pt>
    <dgm:pt modelId="{7AE8B584-51D0-473F-911F-79FA93B99B9C}" type="pres">
      <dgm:prSet presAssocID="{D3CA6D71-135C-4F48-A64E-890BF701D369}" presName="rootConnector" presStyleLbl="node3" presStyleIdx="9" presStyleCnt="15"/>
      <dgm:spPr/>
    </dgm:pt>
    <dgm:pt modelId="{8572612D-FD08-48E1-821C-56CA12B4454F}" type="pres">
      <dgm:prSet presAssocID="{D3CA6D71-135C-4F48-A64E-890BF701D369}" presName="hierChild4" presStyleCnt="0"/>
      <dgm:spPr/>
    </dgm:pt>
    <dgm:pt modelId="{D8B667FB-2DEB-4305-82BE-19E8E0F83D54}" type="pres">
      <dgm:prSet presAssocID="{D3CA6D71-135C-4F48-A64E-890BF701D369}" presName="hierChild5" presStyleCnt="0"/>
      <dgm:spPr/>
    </dgm:pt>
    <dgm:pt modelId="{0F73490D-DAD4-4CDB-870C-3625F7CEB9AF}" type="pres">
      <dgm:prSet presAssocID="{04CDE7A6-89AA-459C-91F5-CB8C6C13812B}" presName="Name37" presStyleLbl="parChTrans1D3" presStyleIdx="10" presStyleCnt="15"/>
      <dgm:spPr/>
    </dgm:pt>
    <dgm:pt modelId="{B20A7AB3-8773-4209-9C6C-32F293A38815}" type="pres">
      <dgm:prSet presAssocID="{CB4C3C7D-A6BD-4D5D-8E6C-168965CA6EA6}" presName="hierRoot2" presStyleCnt="0">
        <dgm:presLayoutVars>
          <dgm:hierBranch val="init"/>
        </dgm:presLayoutVars>
      </dgm:prSet>
      <dgm:spPr/>
    </dgm:pt>
    <dgm:pt modelId="{B44F32B9-BD79-4E9A-B059-BE05B781D7E1}" type="pres">
      <dgm:prSet presAssocID="{CB4C3C7D-A6BD-4D5D-8E6C-168965CA6EA6}" presName="rootComposite" presStyleCnt="0"/>
      <dgm:spPr/>
    </dgm:pt>
    <dgm:pt modelId="{BF0E3698-726A-4F9C-8270-BB6B1FD5C4A9}" type="pres">
      <dgm:prSet presAssocID="{CB4C3C7D-A6BD-4D5D-8E6C-168965CA6EA6}" presName="rootText" presStyleLbl="node3" presStyleIdx="10" presStyleCnt="15" custLinFactNeighborX="36537" custLinFactNeighborY="-36570">
        <dgm:presLayoutVars>
          <dgm:chPref val="3"/>
        </dgm:presLayoutVars>
      </dgm:prSet>
      <dgm:spPr/>
    </dgm:pt>
    <dgm:pt modelId="{9B2A94E8-2F3E-4B69-A363-8E9468E1F0FD}" type="pres">
      <dgm:prSet presAssocID="{CB4C3C7D-A6BD-4D5D-8E6C-168965CA6EA6}" presName="rootConnector" presStyleLbl="node3" presStyleIdx="10" presStyleCnt="15"/>
      <dgm:spPr/>
    </dgm:pt>
    <dgm:pt modelId="{A3F56CA6-C4F5-46FE-BFED-B27422D293FE}" type="pres">
      <dgm:prSet presAssocID="{CB4C3C7D-A6BD-4D5D-8E6C-168965CA6EA6}" presName="hierChild4" presStyleCnt="0"/>
      <dgm:spPr/>
    </dgm:pt>
    <dgm:pt modelId="{2BB43C87-06BF-42DE-A894-5143AC7CCC83}" type="pres">
      <dgm:prSet presAssocID="{CB4C3C7D-A6BD-4D5D-8E6C-168965CA6EA6}" presName="hierChild5" presStyleCnt="0"/>
      <dgm:spPr/>
    </dgm:pt>
    <dgm:pt modelId="{0EB74BBA-8080-461E-A06E-C2967E4E5DBA}" type="pres">
      <dgm:prSet presAssocID="{09B907A7-FE19-448E-BFB7-BA6E53475BF9}" presName="Name37" presStyleLbl="parChTrans1D3" presStyleIdx="11" presStyleCnt="15"/>
      <dgm:spPr/>
    </dgm:pt>
    <dgm:pt modelId="{AD26F847-9CE7-45E6-9035-07FD1E306F3C}" type="pres">
      <dgm:prSet presAssocID="{150DC71D-980C-4D8E-B5DB-606477471FCF}" presName="hierRoot2" presStyleCnt="0">
        <dgm:presLayoutVars>
          <dgm:hierBranch val="init"/>
        </dgm:presLayoutVars>
      </dgm:prSet>
      <dgm:spPr/>
    </dgm:pt>
    <dgm:pt modelId="{72CEEF79-C99C-46C0-A7F1-B32E2FC8A157}" type="pres">
      <dgm:prSet presAssocID="{150DC71D-980C-4D8E-B5DB-606477471FCF}" presName="rootComposite" presStyleCnt="0"/>
      <dgm:spPr/>
    </dgm:pt>
    <dgm:pt modelId="{80A6E7B5-D446-4FD3-B993-09EC86F587B5}" type="pres">
      <dgm:prSet presAssocID="{150DC71D-980C-4D8E-B5DB-606477471FCF}" presName="rootText" presStyleLbl="node3" presStyleIdx="11" presStyleCnt="15" custLinFactNeighborX="38636" custLinFactNeighborY="-51272">
        <dgm:presLayoutVars>
          <dgm:chPref val="3"/>
        </dgm:presLayoutVars>
      </dgm:prSet>
      <dgm:spPr/>
    </dgm:pt>
    <dgm:pt modelId="{2191360B-191E-429D-B02B-57CC58AEAF54}" type="pres">
      <dgm:prSet presAssocID="{150DC71D-980C-4D8E-B5DB-606477471FCF}" presName="rootConnector" presStyleLbl="node3" presStyleIdx="11" presStyleCnt="15"/>
      <dgm:spPr/>
    </dgm:pt>
    <dgm:pt modelId="{3D62A570-D8C5-4EB2-AE2B-5540AA8D967D}" type="pres">
      <dgm:prSet presAssocID="{150DC71D-980C-4D8E-B5DB-606477471FCF}" presName="hierChild4" presStyleCnt="0"/>
      <dgm:spPr/>
    </dgm:pt>
    <dgm:pt modelId="{728B4FB2-C497-4B30-A63B-0BACFDFFF867}" type="pres">
      <dgm:prSet presAssocID="{150DC71D-980C-4D8E-B5DB-606477471FCF}" presName="hierChild5" presStyleCnt="0"/>
      <dgm:spPr/>
    </dgm:pt>
    <dgm:pt modelId="{22428ABC-E7AC-4457-8EE0-25E8445ADA29}" type="pres">
      <dgm:prSet presAssocID="{4A63AFDD-4A90-4D30-B0F8-15FF9F31B7F1}" presName="hierChild5" presStyleCnt="0"/>
      <dgm:spPr/>
    </dgm:pt>
    <dgm:pt modelId="{7E6308F7-62A4-4031-8272-DEA95603ED01}" type="pres">
      <dgm:prSet presAssocID="{1FE793BA-3924-49A7-826B-50F457D2E9C3}" presName="Name37" presStyleLbl="parChTrans1D2" presStyleIdx="3" presStyleCnt="4"/>
      <dgm:spPr/>
    </dgm:pt>
    <dgm:pt modelId="{23A73E3C-A5DE-4B43-A039-D46C8ED4E1BB}" type="pres">
      <dgm:prSet presAssocID="{2AAA74E6-3B41-4C6A-8505-1811CEAE676B}" presName="hierRoot2" presStyleCnt="0">
        <dgm:presLayoutVars>
          <dgm:hierBranch val="init"/>
        </dgm:presLayoutVars>
      </dgm:prSet>
      <dgm:spPr/>
    </dgm:pt>
    <dgm:pt modelId="{055F5605-D579-45B9-BB55-E1EED34BB356}" type="pres">
      <dgm:prSet presAssocID="{2AAA74E6-3B41-4C6A-8505-1811CEAE676B}" presName="rootComposite" presStyleCnt="0"/>
      <dgm:spPr/>
    </dgm:pt>
    <dgm:pt modelId="{5B752291-517A-4078-9C4B-5EA4A13C421A}" type="pres">
      <dgm:prSet presAssocID="{2AAA74E6-3B41-4C6A-8505-1811CEAE676B}" presName="rootText" presStyleLbl="node2" presStyleIdx="3" presStyleCnt="4" custScaleX="148110" custScaleY="127110" custLinFactNeighborX="84584" custLinFactNeighborY="-237">
        <dgm:presLayoutVars>
          <dgm:chPref val="3"/>
        </dgm:presLayoutVars>
      </dgm:prSet>
      <dgm:spPr/>
    </dgm:pt>
    <dgm:pt modelId="{447739F5-90AC-4E27-B41B-F4D2CE5081E3}" type="pres">
      <dgm:prSet presAssocID="{2AAA74E6-3B41-4C6A-8505-1811CEAE676B}" presName="rootConnector" presStyleLbl="node2" presStyleIdx="3" presStyleCnt="4"/>
      <dgm:spPr/>
    </dgm:pt>
    <dgm:pt modelId="{972FF757-23C0-46CF-9D96-79BDAA995D22}" type="pres">
      <dgm:prSet presAssocID="{2AAA74E6-3B41-4C6A-8505-1811CEAE676B}" presName="hierChild4" presStyleCnt="0"/>
      <dgm:spPr/>
    </dgm:pt>
    <dgm:pt modelId="{B42A6584-8384-4F51-B187-E8EE256320E6}" type="pres">
      <dgm:prSet presAssocID="{EE183087-2FAB-455C-B1D2-3F1507FEA0B7}" presName="Name37" presStyleLbl="parChTrans1D3" presStyleIdx="12" presStyleCnt="15"/>
      <dgm:spPr/>
    </dgm:pt>
    <dgm:pt modelId="{90166F0E-DC2F-496C-84C4-7F14C98FBEBD}" type="pres">
      <dgm:prSet presAssocID="{F5BCA8CE-4E02-47C7-B574-3438D825E62E}" presName="hierRoot2" presStyleCnt="0">
        <dgm:presLayoutVars>
          <dgm:hierBranch val="init"/>
        </dgm:presLayoutVars>
      </dgm:prSet>
      <dgm:spPr/>
    </dgm:pt>
    <dgm:pt modelId="{0A005DD3-16A7-40FE-8A79-F3305BB2EE64}" type="pres">
      <dgm:prSet presAssocID="{F5BCA8CE-4E02-47C7-B574-3438D825E62E}" presName="rootComposite" presStyleCnt="0"/>
      <dgm:spPr/>
    </dgm:pt>
    <dgm:pt modelId="{53194357-D1F0-4A9D-9903-33484884A9E8}" type="pres">
      <dgm:prSet presAssocID="{F5BCA8CE-4E02-47C7-B574-3438D825E62E}" presName="rootText" presStyleLbl="node3" presStyleIdx="12" presStyleCnt="15" custLinFactX="15142" custLinFactNeighborX="100000" custLinFactNeighborY="-16951">
        <dgm:presLayoutVars>
          <dgm:chPref val="3"/>
        </dgm:presLayoutVars>
      </dgm:prSet>
      <dgm:spPr/>
    </dgm:pt>
    <dgm:pt modelId="{ABE2151A-A661-40B2-BBAE-C878343C2DE3}" type="pres">
      <dgm:prSet presAssocID="{F5BCA8CE-4E02-47C7-B574-3438D825E62E}" presName="rootConnector" presStyleLbl="node3" presStyleIdx="12" presStyleCnt="15"/>
      <dgm:spPr/>
    </dgm:pt>
    <dgm:pt modelId="{1A9CF5EB-5B6A-420A-B626-813B836DB6CA}" type="pres">
      <dgm:prSet presAssocID="{F5BCA8CE-4E02-47C7-B574-3438D825E62E}" presName="hierChild4" presStyleCnt="0"/>
      <dgm:spPr/>
    </dgm:pt>
    <dgm:pt modelId="{0E2F3D06-B052-4720-A058-231C7DF6A6C9}" type="pres">
      <dgm:prSet presAssocID="{F5BCA8CE-4E02-47C7-B574-3438D825E62E}" presName="hierChild5" presStyleCnt="0"/>
      <dgm:spPr/>
    </dgm:pt>
    <dgm:pt modelId="{B37216AA-00E5-4A32-81BF-7993B0AEC736}" type="pres">
      <dgm:prSet presAssocID="{E6122382-FB7B-4C67-A612-33B77DD0559A}" presName="Name37" presStyleLbl="parChTrans1D3" presStyleIdx="13" presStyleCnt="15"/>
      <dgm:spPr/>
    </dgm:pt>
    <dgm:pt modelId="{146294E7-C5A4-4167-BB3D-F0009C5B7AF5}" type="pres">
      <dgm:prSet presAssocID="{19C08772-7262-419C-B041-20C6143093F4}" presName="hierRoot2" presStyleCnt="0">
        <dgm:presLayoutVars>
          <dgm:hierBranch val="init"/>
        </dgm:presLayoutVars>
      </dgm:prSet>
      <dgm:spPr/>
    </dgm:pt>
    <dgm:pt modelId="{88E0AC5D-7F01-4B3B-9ABB-46BC27A53E92}" type="pres">
      <dgm:prSet presAssocID="{19C08772-7262-419C-B041-20C6143093F4}" presName="rootComposite" presStyleCnt="0"/>
      <dgm:spPr/>
    </dgm:pt>
    <dgm:pt modelId="{5516AD33-14C2-414D-9A63-A6225E885FB5}" type="pres">
      <dgm:prSet presAssocID="{19C08772-7262-419C-B041-20C6143093F4}" presName="rootText" presStyleLbl="node3" presStyleIdx="13" presStyleCnt="15" custLinFactX="13975" custLinFactNeighborX="100000" custLinFactNeighborY="-30242">
        <dgm:presLayoutVars>
          <dgm:chPref val="3"/>
        </dgm:presLayoutVars>
      </dgm:prSet>
      <dgm:spPr/>
    </dgm:pt>
    <dgm:pt modelId="{B30C8584-0B16-477F-A651-D3A88C4DE89F}" type="pres">
      <dgm:prSet presAssocID="{19C08772-7262-419C-B041-20C6143093F4}" presName="rootConnector" presStyleLbl="node3" presStyleIdx="13" presStyleCnt="15"/>
      <dgm:spPr/>
    </dgm:pt>
    <dgm:pt modelId="{BC4B3269-DE9D-4D1A-88AA-7DB46C769B1C}" type="pres">
      <dgm:prSet presAssocID="{19C08772-7262-419C-B041-20C6143093F4}" presName="hierChild4" presStyleCnt="0"/>
      <dgm:spPr/>
    </dgm:pt>
    <dgm:pt modelId="{DDB3BBDA-EA3F-4ADA-BE07-A7F9B66CCB7A}" type="pres">
      <dgm:prSet presAssocID="{19C08772-7262-419C-B041-20C6143093F4}" presName="hierChild5" presStyleCnt="0"/>
      <dgm:spPr/>
    </dgm:pt>
    <dgm:pt modelId="{5DDCECDE-1BAE-429C-B657-4E2E0118E2B1}" type="pres">
      <dgm:prSet presAssocID="{46817DB8-DB78-4831-A922-86FBC0BF06B6}" presName="Name37" presStyleLbl="parChTrans1D3" presStyleIdx="14" presStyleCnt="15"/>
      <dgm:spPr/>
    </dgm:pt>
    <dgm:pt modelId="{9FE958C1-7871-4175-A99E-7DEDD1360037}" type="pres">
      <dgm:prSet presAssocID="{BA63A92A-34EF-4C09-AE30-7B4881D776C3}" presName="hierRoot2" presStyleCnt="0">
        <dgm:presLayoutVars>
          <dgm:hierBranch val="init"/>
        </dgm:presLayoutVars>
      </dgm:prSet>
      <dgm:spPr/>
    </dgm:pt>
    <dgm:pt modelId="{65173364-DDCC-4EDC-803A-A879B9A1559F}" type="pres">
      <dgm:prSet presAssocID="{BA63A92A-34EF-4C09-AE30-7B4881D776C3}" presName="rootComposite" presStyleCnt="0"/>
      <dgm:spPr/>
    </dgm:pt>
    <dgm:pt modelId="{3EE583D6-7E02-463C-B888-7CE458A7C0AD}" type="pres">
      <dgm:prSet presAssocID="{BA63A92A-34EF-4C09-AE30-7B4881D776C3}" presName="rootText" presStyleLbl="node3" presStyleIdx="14" presStyleCnt="15" custLinFactX="13491" custLinFactNeighborX="100000" custLinFactNeighborY="-45948">
        <dgm:presLayoutVars>
          <dgm:chPref val="3"/>
        </dgm:presLayoutVars>
      </dgm:prSet>
      <dgm:spPr/>
    </dgm:pt>
    <dgm:pt modelId="{8A1E5FD2-E70E-45E2-BE38-B3BE94868D48}" type="pres">
      <dgm:prSet presAssocID="{BA63A92A-34EF-4C09-AE30-7B4881D776C3}" presName="rootConnector" presStyleLbl="node3" presStyleIdx="14" presStyleCnt="15"/>
      <dgm:spPr/>
    </dgm:pt>
    <dgm:pt modelId="{53E6317C-4464-4615-8E7A-E52C664977BE}" type="pres">
      <dgm:prSet presAssocID="{BA63A92A-34EF-4C09-AE30-7B4881D776C3}" presName="hierChild4" presStyleCnt="0"/>
      <dgm:spPr/>
    </dgm:pt>
    <dgm:pt modelId="{861B45D0-4043-4EC9-89ED-422055A2AD5F}" type="pres">
      <dgm:prSet presAssocID="{BA63A92A-34EF-4C09-AE30-7B4881D776C3}" presName="hierChild5" presStyleCnt="0"/>
      <dgm:spPr/>
    </dgm:pt>
    <dgm:pt modelId="{771C760C-B2F3-4830-B362-C1A58BA32D55}" type="pres">
      <dgm:prSet presAssocID="{2AAA74E6-3B41-4C6A-8505-1811CEAE676B}" presName="hierChild5" presStyleCnt="0"/>
      <dgm:spPr/>
    </dgm:pt>
    <dgm:pt modelId="{1FD22DC7-9F37-4966-BF9E-BD78AD04FDD9}" type="pres">
      <dgm:prSet presAssocID="{CD56FFF8-3481-4120-B443-F7396A3D571B}" presName="hierChild3" presStyleCnt="0"/>
      <dgm:spPr/>
    </dgm:pt>
  </dgm:ptLst>
  <dgm:cxnLst>
    <dgm:cxn modelId="{89322103-1691-4724-BC76-B65DE1345279}" type="presOf" srcId="{19C08772-7262-419C-B041-20C6143093F4}" destId="{B30C8584-0B16-477F-A651-D3A88C4DE89F}" srcOrd="1" destOrd="0" presId="urn:microsoft.com/office/officeart/2005/8/layout/orgChart1"/>
    <dgm:cxn modelId="{B35BA206-9F43-431B-818B-2CD89EBA9310}" type="presOf" srcId="{E0319F92-D8D4-4979-BA52-847E83899F3B}" destId="{ED94842E-EC9E-4C61-886B-955B82014E6D}" srcOrd="1" destOrd="0" presId="urn:microsoft.com/office/officeart/2005/8/layout/orgChart1"/>
    <dgm:cxn modelId="{C2E70507-C3BA-437B-BFDC-1E3644C352FD}" type="presOf" srcId="{B7D512D1-5C6E-4AED-B7E4-E4EA0A73C3F7}" destId="{57AA6A52-00DA-4D81-97D7-51671B5ED3AE}" srcOrd="0" destOrd="0" presId="urn:microsoft.com/office/officeart/2005/8/layout/orgChart1"/>
    <dgm:cxn modelId="{F1E14D09-B5D0-4D64-AA34-9C90D508490F}" type="presOf" srcId="{AB1A8EB1-E7E2-440F-A3F9-644540BD11B2}" destId="{55DCE63C-5EFD-4033-B587-403992E660A9}" srcOrd="1" destOrd="0" presId="urn:microsoft.com/office/officeart/2005/8/layout/orgChart1"/>
    <dgm:cxn modelId="{4F2AD20B-B9CB-4884-B23A-DCCFDF5580FB}" type="presOf" srcId="{A3865F9C-50C5-45F3-A485-E8443B9FAF31}" destId="{2D21AE9A-7D98-4BCD-B18B-BEBEE6CC510D}" srcOrd="0" destOrd="0" presId="urn:microsoft.com/office/officeart/2005/8/layout/orgChart1"/>
    <dgm:cxn modelId="{BAAD160D-F7B8-47CB-A442-D5F014D55861}" type="presOf" srcId="{48B3E0C0-20A5-4957-B36F-CEBB037351F8}" destId="{44159222-717F-4691-A5B1-5B40D412883F}" srcOrd="1" destOrd="0" presId="urn:microsoft.com/office/officeart/2005/8/layout/orgChart1"/>
    <dgm:cxn modelId="{7D5D0510-F490-41E2-B4A4-CF4B866F12C8}" srcId="{2AAA74E6-3B41-4C6A-8505-1811CEAE676B}" destId="{F5BCA8CE-4E02-47C7-B574-3438D825E62E}" srcOrd="0" destOrd="0" parTransId="{EE183087-2FAB-455C-B1D2-3F1507FEA0B7}" sibTransId="{9181F20E-E1D3-4184-8B7B-421EE219BB45}"/>
    <dgm:cxn modelId="{11711C11-E68C-4A4C-80C9-DD3C6068096E}" srcId="{119B2807-5D32-48F0-8F22-EFCD2113183A}" destId="{E3A96A76-D58C-4451-A6FB-0BDD19044C3A}" srcOrd="4" destOrd="0" parTransId="{7C130B74-5493-48FD-9B7B-0B4783EAE4B3}" sibTransId="{E86BFDD3-94D6-4BFF-AE2B-082EAD1C9728}"/>
    <dgm:cxn modelId="{A3949A11-2C09-4605-8962-F33717BE2697}" type="presOf" srcId="{19C08772-7262-419C-B041-20C6143093F4}" destId="{5516AD33-14C2-414D-9A63-A6225E885FB5}" srcOrd="0" destOrd="0" presId="urn:microsoft.com/office/officeart/2005/8/layout/orgChart1"/>
    <dgm:cxn modelId="{B632BB14-0F3B-4089-8A9F-96E7AD1836F4}" type="presOf" srcId="{E3A96A76-D58C-4451-A6FB-0BDD19044C3A}" destId="{1B630E95-9B49-4A10-99A5-5E9300393CFC}" srcOrd="1" destOrd="0" presId="urn:microsoft.com/office/officeart/2005/8/layout/orgChart1"/>
    <dgm:cxn modelId="{AF20DF14-D33A-48E1-A60A-F9ED32F0F047}" type="presOf" srcId="{04CDE7A6-89AA-459C-91F5-CB8C6C13812B}" destId="{0F73490D-DAD4-4CDB-870C-3625F7CEB9AF}" srcOrd="0" destOrd="0" presId="urn:microsoft.com/office/officeart/2005/8/layout/orgChart1"/>
    <dgm:cxn modelId="{186B8F15-9B6E-432A-BA9D-CD0E85EE64B6}" type="presOf" srcId="{EE183087-2FAB-455C-B1D2-3F1507FEA0B7}" destId="{B42A6584-8384-4F51-B187-E8EE256320E6}" srcOrd="0" destOrd="0" presId="urn:microsoft.com/office/officeart/2005/8/layout/orgChart1"/>
    <dgm:cxn modelId="{E5CDBD1B-214B-4ACB-BB6A-972708530EEE}" type="presOf" srcId="{D34D52BF-6B19-40B7-A7A7-3BB4243A1F4D}" destId="{3A55B61E-E42B-4B25-A712-5D090E4DF887}" srcOrd="1" destOrd="0" presId="urn:microsoft.com/office/officeart/2005/8/layout/orgChart1"/>
    <dgm:cxn modelId="{4C06911F-E752-4B79-B4B8-7727D21D1897}" type="presOf" srcId="{05B29BD8-38D7-4D12-A2F9-E304A5434268}" destId="{3C8272EA-5186-401E-891E-8B46BCA958B5}" srcOrd="0" destOrd="0" presId="urn:microsoft.com/office/officeart/2005/8/layout/orgChart1"/>
    <dgm:cxn modelId="{20A74E25-55FF-4C5B-AC5F-16176ED892C9}" type="presOf" srcId="{FCD69BF4-8510-4864-951D-AAFAFE040776}" destId="{D98B938F-CA66-46D5-9639-5C0A57C091BF}" srcOrd="0" destOrd="0" presId="urn:microsoft.com/office/officeart/2005/8/layout/orgChart1"/>
    <dgm:cxn modelId="{D78AF328-E788-4B65-803E-720C03F665B6}" type="presOf" srcId="{2AAA74E6-3B41-4C6A-8505-1811CEAE676B}" destId="{447739F5-90AC-4E27-B41B-F4D2CE5081E3}" srcOrd="1" destOrd="0" presId="urn:microsoft.com/office/officeart/2005/8/layout/orgChart1"/>
    <dgm:cxn modelId="{7C11D82B-1124-4989-BD8C-A5FBB20B291A}" srcId="{4A63AFDD-4A90-4D30-B0F8-15FF9F31B7F1}" destId="{CB4C3C7D-A6BD-4D5D-8E6C-168965CA6EA6}" srcOrd="2" destOrd="0" parTransId="{04CDE7A6-89AA-459C-91F5-CB8C6C13812B}" sibTransId="{797A670C-B052-462C-A931-C6EB4F2FCAC8}"/>
    <dgm:cxn modelId="{7B9B1A2F-9491-4629-AB00-CEBA392A8FCE}" srcId="{CD56FFF8-3481-4120-B443-F7396A3D571B}" destId="{4A63AFDD-4A90-4D30-B0F8-15FF9F31B7F1}" srcOrd="2" destOrd="0" parTransId="{95FBBDEA-9548-4270-AB8E-49173717BF1C}" sibTransId="{A9E27691-3A52-41A8-9072-B5E156A634C8}"/>
    <dgm:cxn modelId="{1EA61C33-3C96-4F2A-B688-582172018ADD}" type="presOf" srcId="{BA63A92A-34EF-4C09-AE30-7B4881D776C3}" destId="{8A1E5FD2-E70E-45E2-BE38-B3BE94868D48}" srcOrd="1" destOrd="0" presId="urn:microsoft.com/office/officeart/2005/8/layout/orgChart1"/>
    <dgm:cxn modelId="{8C329D34-0F50-4605-94FC-3687F7B5F679}" type="presOf" srcId="{119B2807-5D32-48F0-8F22-EFCD2113183A}" destId="{DA8AFDFE-03DB-4505-9255-A834AD3501A2}" srcOrd="1" destOrd="0" presId="urn:microsoft.com/office/officeart/2005/8/layout/orgChart1"/>
    <dgm:cxn modelId="{EDD9E136-EBDB-42C2-A030-A2D9D4733961}" type="presOf" srcId="{D3CA6D71-135C-4F48-A64E-890BF701D369}" destId="{26CD0D8A-9D83-4807-A8ED-D9D524982A29}" srcOrd="0" destOrd="0" presId="urn:microsoft.com/office/officeart/2005/8/layout/orgChart1"/>
    <dgm:cxn modelId="{A4383840-5621-4F43-99F2-FBBDD06F7783}" srcId="{119B2807-5D32-48F0-8F22-EFCD2113183A}" destId="{DBFFA61D-8BC7-4AF2-BC06-9BD1F05413CA}" srcOrd="1" destOrd="0" parTransId="{6EFB3148-4371-46D4-81BB-2FEC8C1830EB}" sibTransId="{23B6DFDC-31B8-4E0C-ACE2-F62D5E38E252}"/>
    <dgm:cxn modelId="{26A82060-E0CC-486E-BBD2-29BB7F27C16E}" type="presOf" srcId="{B4AA2FAB-2B15-46C3-9AD2-73356BEE74D7}" destId="{AED94FBB-AD91-4B2F-B47F-3F1BAC0C1F22}" srcOrd="1" destOrd="0" presId="urn:microsoft.com/office/officeart/2005/8/layout/orgChart1"/>
    <dgm:cxn modelId="{BC7A3560-F288-474E-81F3-486051DAB066}" srcId="{119B2807-5D32-48F0-8F22-EFCD2113183A}" destId="{B4AA2FAB-2B15-46C3-9AD2-73356BEE74D7}" srcOrd="2" destOrd="0" parTransId="{536606B6-C7FD-47C3-8192-7E1ED1E30CD3}" sibTransId="{DA49C9DC-99A8-452E-A2AD-F5D9E3F24130}"/>
    <dgm:cxn modelId="{2227AB42-4760-4B2D-B281-DF05DF2F7F95}" type="presOf" srcId="{4A63AFDD-4A90-4D30-B0F8-15FF9F31B7F1}" destId="{1D48A19C-B5C2-4332-A38B-13F28E54FB1B}" srcOrd="1" destOrd="0" presId="urn:microsoft.com/office/officeart/2005/8/layout/orgChart1"/>
    <dgm:cxn modelId="{D1683D67-0594-4B60-B39C-3246EA26BA84}" srcId="{CD56FFF8-3481-4120-B443-F7396A3D571B}" destId="{AB1A8EB1-E7E2-440F-A3F9-644540BD11B2}" srcOrd="1" destOrd="0" parTransId="{BF4AD3BD-A301-4DF3-B220-67F614756E00}" sibTransId="{61AC344B-05CA-4D45-8ECF-AF51FF6B10AA}"/>
    <dgm:cxn modelId="{FB958D6A-4BCF-4639-AF5D-3851EBEBD014}" type="presOf" srcId="{B4AA2FAB-2B15-46C3-9AD2-73356BEE74D7}" destId="{35013184-0BA1-4BA5-8CAD-8890D6CE3CDF}" srcOrd="0" destOrd="0" presId="urn:microsoft.com/office/officeart/2005/8/layout/orgChart1"/>
    <dgm:cxn modelId="{6424F56B-5B92-4435-AEC6-6EC1BDFF8E57}" srcId="{4A63AFDD-4A90-4D30-B0F8-15FF9F31B7F1}" destId="{B7D512D1-5C6E-4AED-B7E4-E4EA0A73C3F7}" srcOrd="0" destOrd="0" parTransId="{8DD2E7AA-5C96-4DB0-B924-59F562166D77}" sibTransId="{90307663-57F7-4FEC-8C2A-EE52F0731552}"/>
    <dgm:cxn modelId="{02AC026E-10C3-49D6-BEAD-94A4068EBF14}" srcId="{119B2807-5D32-48F0-8F22-EFCD2113183A}" destId="{A3865F9C-50C5-45F3-A485-E8443B9FAF31}" srcOrd="0" destOrd="0" parTransId="{05B29BD8-38D7-4D12-A2F9-E304A5434268}" sibTransId="{12432287-DA0D-41BB-BD64-88F78C69289A}"/>
    <dgm:cxn modelId="{DE46586F-CB5C-4B90-99F9-49360BCBAAC7}" srcId="{2AAA74E6-3B41-4C6A-8505-1811CEAE676B}" destId="{19C08772-7262-419C-B041-20C6143093F4}" srcOrd="1" destOrd="0" parTransId="{E6122382-FB7B-4C67-A612-33B77DD0559A}" sibTransId="{B969389F-0D04-4747-BDC9-C6BFD17798A6}"/>
    <dgm:cxn modelId="{D6D15150-6C83-4D36-A57C-C517368E76F2}" type="presOf" srcId="{6EFB3148-4371-46D4-81BB-2FEC8C1830EB}" destId="{A13E033C-54A7-44A2-8FB7-DF58DA613CE5}" srcOrd="0" destOrd="0" presId="urn:microsoft.com/office/officeart/2005/8/layout/orgChart1"/>
    <dgm:cxn modelId="{ABD7CF70-474B-4615-BC90-2D4A26551BFA}" type="presOf" srcId="{DBFFA61D-8BC7-4AF2-BC06-9BD1F05413CA}" destId="{2231C5AC-A912-443E-8195-4F3A8699C2B2}" srcOrd="0" destOrd="0" presId="urn:microsoft.com/office/officeart/2005/8/layout/orgChart1"/>
    <dgm:cxn modelId="{A36A5A51-2FA7-44B0-A09E-736EFA6488AE}" srcId="{AB1A8EB1-E7E2-440F-A3F9-644540BD11B2}" destId="{D34D52BF-6B19-40B7-A7A7-3BB4243A1F4D}" srcOrd="0" destOrd="0" parTransId="{00814C60-90C9-4028-9730-7FC7487C8247}" sibTransId="{5820FB82-D3F9-4F43-9BE7-EA8E4FE93591}"/>
    <dgm:cxn modelId="{BF2F1772-5A3A-450D-AE4F-706142F932C5}" type="presOf" srcId="{B7D512D1-5C6E-4AED-B7E4-E4EA0A73C3F7}" destId="{048920A7-7648-4DE5-8285-3DC6EAA5312C}" srcOrd="1" destOrd="0" presId="urn:microsoft.com/office/officeart/2005/8/layout/orgChart1"/>
    <dgm:cxn modelId="{6398BF75-C311-488E-A169-20D24D66C2A3}" type="presOf" srcId="{CD56FFF8-3481-4120-B443-F7396A3D571B}" destId="{326D6250-5F93-43F5-BC5D-A39E9831DFDF}" srcOrd="1" destOrd="0" presId="urn:microsoft.com/office/officeart/2005/8/layout/orgChart1"/>
    <dgm:cxn modelId="{07B48D57-7738-43F9-AEE0-AADBB926874C}" srcId="{AB1A8EB1-E7E2-440F-A3F9-644540BD11B2}" destId="{E0319F92-D8D4-4979-BA52-847E83899F3B}" srcOrd="1" destOrd="0" parTransId="{0AD4C1F8-0D11-44B8-A4CF-31C5FF9C2D6A}" sibTransId="{4087E4F8-731E-4C30-BAEE-C4C47FF53EBE}"/>
    <dgm:cxn modelId="{D9C61B78-5A32-45B0-A36C-FC1C2B09B5FD}" type="presOf" srcId="{E0319F92-D8D4-4979-BA52-847E83899F3B}" destId="{9B1846BF-9078-4BAB-824F-E25604C101E3}" srcOrd="0" destOrd="0" presId="urn:microsoft.com/office/officeart/2005/8/layout/orgChart1"/>
    <dgm:cxn modelId="{7EF5A878-0B27-43AE-AEC3-96C0176C2234}" type="presOf" srcId="{BF4AD3BD-A301-4DF3-B220-67F614756E00}" destId="{666AEB06-2A27-4DA5-B441-AE47C1C1DA37}" srcOrd="0" destOrd="0" presId="urn:microsoft.com/office/officeart/2005/8/layout/orgChart1"/>
    <dgm:cxn modelId="{AF42907A-EAC1-41D4-86F9-211B60A91182}" type="presOf" srcId="{7797D132-EA5D-4F45-B7C6-1CAEAC17E530}" destId="{F8C10BB2-9869-40F3-9A4F-F98A550F9E0C}" srcOrd="0" destOrd="0" presId="urn:microsoft.com/office/officeart/2005/8/layout/orgChart1"/>
    <dgm:cxn modelId="{284AF37A-E4B4-413C-B530-2621915600FB}" type="presOf" srcId="{AB1A8EB1-E7E2-440F-A3F9-644540BD11B2}" destId="{C06785D6-56FE-4DAB-9DDD-7BD72476C859}" srcOrd="0" destOrd="0" presId="urn:microsoft.com/office/officeart/2005/8/layout/orgChart1"/>
    <dgm:cxn modelId="{602CD97C-4018-4494-B132-4DBF39746866}" srcId="{119B2807-5D32-48F0-8F22-EFCD2113183A}" destId="{48B3E0C0-20A5-4957-B36F-CEBB037351F8}" srcOrd="3" destOrd="0" parTransId="{7797D132-EA5D-4F45-B7C6-1CAEAC17E530}" sibTransId="{29FD4066-6B32-4572-B3A0-2CF1AD403533}"/>
    <dgm:cxn modelId="{2760A77D-78E0-4ED1-B4BC-5B19EEB50EE2}" type="presOf" srcId="{119B2807-5D32-48F0-8F22-EFCD2113183A}" destId="{D385046F-A1A9-41AD-A931-8D3497E0CAB5}" srcOrd="0" destOrd="0" presId="urn:microsoft.com/office/officeart/2005/8/layout/orgChart1"/>
    <dgm:cxn modelId="{628A7C84-0CB5-4171-B9FA-2C6904CC4602}" srcId="{4A63AFDD-4A90-4D30-B0F8-15FF9F31B7F1}" destId="{D3CA6D71-135C-4F48-A64E-890BF701D369}" srcOrd="1" destOrd="0" parTransId="{C706A3BC-6046-46BA-9312-523961032D46}" sibTransId="{C033101F-9011-4843-9F0A-475F8470407C}"/>
    <dgm:cxn modelId="{B654518C-C8C3-42AB-9758-2B7BA0BC5748}" type="presOf" srcId="{150DC71D-980C-4D8E-B5DB-606477471FCF}" destId="{80A6E7B5-D446-4FD3-B993-09EC86F587B5}" srcOrd="0" destOrd="0" presId="urn:microsoft.com/office/officeart/2005/8/layout/orgChart1"/>
    <dgm:cxn modelId="{0EF2D08E-FD60-4F7A-AA11-7985943BA903}" srcId="{2AAA74E6-3B41-4C6A-8505-1811CEAE676B}" destId="{BA63A92A-34EF-4C09-AE30-7B4881D776C3}" srcOrd="2" destOrd="0" parTransId="{46817DB8-DB78-4831-A922-86FBC0BF06B6}" sibTransId="{6D419855-99CB-4A60-8DC6-2D7220DE2EDF}"/>
    <dgm:cxn modelId="{A4EC5494-04D3-4BF3-B06E-E86C8DEE1C2D}" type="presOf" srcId="{48B3E0C0-20A5-4957-B36F-CEBB037351F8}" destId="{C6663363-2C4F-4872-834F-DFA994A5579F}" srcOrd="0" destOrd="0" presId="urn:microsoft.com/office/officeart/2005/8/layout/orgChart1"/>
    <dgm:cxn modelId="{2327A896-B960-4CD3-BFC7-840A302028CC}" type="presOf" srcId="{1FE793BA-3924-49A7-826B-50F457D2E9C3}" destId="{7E6308F7-62A4-4031-8272-DEA95603ED01}" srcOrd="0" destOrd="0" presId="urn:microsoft.com/office/officeart/2005/8/layout/orgChart1"/>
    <dgm:cxn modelId="{222B2B98-8D74-4EED-9403-D5284B7AAE8E}" type="presOf" srcId="{CB4C3C7D-A6BD-4D5D-8E6C-168965CA6EA6}" destId="{9B2A94E8-2F3E-4B69-A363-8E9468E1F0FD}" srcOrd="1" destOrd="0" presId="urn:microsoft.com/office/officeart/2005/8/layout/orgChart1"/>
    <dgm:cxn modelId="{3781129B-A000-4379-976D-2BF4F8CB09E1}" type="presOf" srcId="{CD56FFF8-3481-4120-B443-F7396A3D571B}" destId="{38DDC9BF-C083-4770-9129-ED2EBCB05D34}" srcOrd="0" destOrd="0" presId="urn:microsoft.com/office/officeart/2005/8/layout/orgChart1"/>
    <dgm:cxn modelId="{5666E6A1-76DD-4E93-8CC1-EFC2CA90CAB1}" type="presOf" srcId="{E6122382-FB7B-4C67-A612-33B77DD0559A}" destId="{B37216AA-00E5-4A32-81BF-7993B0AEC736}" srcOrd="0" destOrd="0" presId="urn:microsoft.com/office/officeart/2005/8/layout/orgChart1"/>
    <dgm:cxn modelId="{53347AA6-C204-4E93-9D23-457EDDBAF7F2}" type="presOf" srcId="{B42631FE-8898-4835-AD06-A660371FF110}" destId="{62BE1C9E-ABA4-4F40-B962-F47C04AE11C4}" srcOrd="1" destOrd="0" presId="urn:microsoft.com/office/officeart/2005/8/layout/orgChart1"/>
    <dgm:cxn modelId="{CFEFAFA6-188F-4C6E-87F9-5659FB51E184}" srcId="{FCD69BF4-8510-4864-951D-AAFAFE040776}" destId="{CD56FFF8-3481-4120-B443-F7396A3D571B}" srcOrd="0" destOrd="0" parTransId="{E1B71A96-2191-481D-B7AC-340157F20229}" sibTransId="{E3A389AF-040F-4D72-9C5A-5E641F72E8AD}"/>
    <dgm:cxn modelId="{84B1C3A7-B2B9-4DF1-A36D-21F8D3048324}" srcId="{AB1A8EB1-E7E2-440F-A3F9-644540BD11B2}" destId="{B42631FE-8898-4835-AD06-A660371FF110}" srcOrd="2" destOrd="0" parTransId="{3EDD0221-1D17-48C9-9D7B-F9B6251FEA0A}" sibTransId="{A971B292-C8B2-4C77-AF8F-05CEFBAF41CB}"/>
    <dgm:cxn modelId="{E8EE64AA-EC41-4E9C-B413-E376DF92102A}" type="presOf" srcId="{8DD2E7AA-5C96-4DB0-B924-59F562166D77}" destId="{20E9B0BA-5007-408F-8AA8-5E1626293A74}" srcOrd="0" destOrd="0" presId="urn:microsoft.com/office/officeart/2005/8/layout/orgChart1"/>
    <dgm:cxn modelId="{2403F2AA-4CAD-4443-88C8-A0D4D5243862}" type="presOf" srcId="{F5BCA8CE-4E02-47C7-B574-3438D825E62E}" destId="{ABE2151A-A661-40B2-BBAE-C878343C2DE3}" srcOrd="1" destOrd="0" presId="urn:microsoft.com/office/officeart/2005/8/layout/orgChart1"/>
    <dgm:cxn modelId="{97F6D6AE-8BFD-4553-85AA-01F5E68BC00D}" type="presOf" srcId="{536606B6-C7FD-47C3-8192-7E1ED1E30CD3}" destId="{BA218884-AFDA-4B03-A5CF-51716E3031C3}" srcOrd="0" destOrd="0" presId="urn:microsoft.com/office/officeart/2005/8/layout/orgChart1"/>
    <dgm:cxn modelId="{D1ED1FB3-80A6-437B-B7D4-B83249E408B4}" type="presOf" srcId="{B42631FE-8898-4835-AD06-A660371FF110}" destId="{8D97F495-2C03-4983-8E4F-FE56EAD287F9}" srcOrd="0" destOrd="0" presId="urn:microsoft.com/office/officeart/2005/8/layout/orgChart1"/>
    <dgm:cxn modelId="{92D68DB8-0B28-4623-849E-1CB33FD023C7}" type="presOf" srcId="{F5BCA8CE-4E02-47C7-B574-3438D825E62E}" destId="{53194357-D1F0-4A9D-9903-33484884A9E8}" srcOrd="0" destOrd="0" presId="urn:microsoft.com/office/officeart/2005/8/layout/orgChart1"/>
    <dgm:cxn modelId="{0FCE44BC-4070-483F-80EE-D52D00E49F21}" srcId="{4A63AFDD-4A90-4D30-B0F8-15FF9F31B7F1}" destId="{150DC71D-980C-4D8E-B5DB-606477471FCF}" srcOrd="3" destOrd="0" parTransId="{09B907A7-FE19-448E-BFB7-BA6E53475BF9}" sibTransId="{44CD751E-9B72-4040-BA7C-BC11B3A638AC}"/>
    <dgm:cxn modelId="{B0E9EDBE-F4BB-46C6-AD71-01A71E292A69}" type="presOf" srcId="{46817DB8-DB78-4831-A922-86FBC0BF06B6}" destId="{5DDCECDE-1BAE-429C-B657-4E2E0118E2B1}" srcOrd="0" destOrd="0" presId="urn:microsoft.com/office/officeart/2005/8/layout/orgChart1"/>
    <dgm:cxn modelId="{C837CAC6-EAF2-4CFD-9AFC-1F7D61F0AB6A}" type="presOf" srcId="{001802C5-68CD-4F1D-8F1C-9426C4CDFAFB}" destId="{3F123880-5673-4A01-AA49-5B897E5FF97D}" srcOrd="0" destOrd="0" presId="urn:microsoft.com/office/officeart/2005/8/layout/orgChart1"/>
    <dgm:cxn modelId="{7DA1BDC7-8DCD-48DD-B650-901E2459E6E7}" type="presOf" srcId="{BA63A92A-34EF-4C09-AE30-7B4881D776C3}" destId="{3EE583D6-7E02-463C-B888-7CE458A7C0AD}" srcOrd="0" destOrd="0" presId="urn:microsoft.com/office/officeart/2005/8/layout/orgChart1"/>
    <dgm:cxn modelId="{4F5630CB-31CC-4C23-A73F-D8535E0FA615}" type="presOf" srcId="{DBFFA61D-8BC7-4AF2-BC06-9BD1F05413CA}" destId="{BDF86D59-C421-432A-8D1C-5618279F8DE1}" srcOrd="1" destOrd="0" presId="urn:microsoft.com/office/officeart/2005/8/layout/orgChart1"/>
    <dgm:cxn modelId="{FF0C12CC-B6E2-40DA-95CA-C97E46550ADF}" type="presOf" srcId="{2AAA74E6-3B41-4C6A-8505-1811CEAE676B}" destId="{5B752291-517A-4078-9C4B-5EA4A13C421A}" srcOrd="0" destOrd="0" presId="urn:microsoft.com/office/officeart/2005/8/layout/orgChart1"/>
    <dgm:cxn modelId="{7F8197D8-DE40-400F-AC01-4EE27387C863}" type="presOf" srcId="{D3CA6D71-135C-4F48-A64E-890BF701D369}" destId="{7AE8B584-51D0-473F-911F-79FA93B99B9C}" srcOrd="1" destOrd="0" presId="urn:microsoft.com/office/officeart/2005/8/layout/orgChart1"/>
    <dgm:cxn modelId="{B45413DB-0B12-4BAC-B753-F09A23BEE8D9}" type="presOf" srcId="{4A63AFDD-4A90-4D30-B0F8-15FF9F31B7F1}" destId="{8AF22F37-BE32-479E-9A89-A758B09D7619}" srcOrd="0" destOrd="0" presId="urn:microsoft.com/office/officeart/2005/8/layout/orgChart1"/>
    <dgm:cxn modelId="{3C7124DE-FB83-4ED9-9A1F-CCF817294ED1}" type="presOf" srcId="{00814C60-90C9-4028-9730-7FC7487C8247}" destId="{DCA3724C-6695-4F3C-9484-2118B83406C9}" srcOrd="0" destOrd="0" presId="urn:microsoft.com/office/officeart/2005/8/layout/orgChart1"/>
    <dgm:cxn modelId="{A3B0E8DF-AB19-4B48-94D9-AB97201EEF44}" type="presOf" srcId="{7C130B74-5493-48FD-9B7B-0B4783EAE4B3}" destId="{9A9BBC5F-9B90-4AFF-85EF-42C81AAA04F3}" srcOrd="0" destOrd="0" presId="urn:microsoft.com/office/officeart/2005/8/layout/orgChart1"/>
    <dgm:cxn modelId="{75149CE1-2DB1-48E0-BA26-2478293F134D}" type="presOf" srcId="{150DC71D-980C-4D8E-B5DB-606477471FCF}" destId="{2191360B-191E-429D-B02B-57CC58AEAF54}" srcOrd="1" destOrd="0" presId="urn:microsoft.com/office/officeart/2005/8/layout/orgChart1"/>
    <dgm:cxn modelId="{DDA494E3-426F-4865-B0D1-C766B262ECCB}" srcId="{CD56FFF8-3481-4120-B443-F7396A3D571B}" destId="{119B2807-5D32-48F0-8F22-EFCD2113183A}" srcOrd="0" destOrd="0" parTransId="{001802C5-68CD-4F1D-8F1C-9426C4CDFAFB}" sibTransId="{557A5F3C-3B8A-4E17-A376-36EF22334D63}"/>
    <dgm:cxn modelId="{7491BBE8-DA3D-45EE-AF9D-E2FA6C4CC5CC}" type="presOf" srcId="{D34D52BF-6B19-40B7-A7A7-3BB4243A1F4D}" destId="{EB200D51-1D1C-486D-BC0F-48085CD7BEA3}" srcOrd="0" destOrd="0" presId="urn:microsoft.com/office/officeart/2005/8/layout/orgChart1"/>
    <dgm:cxn modelId="{6807B1EA-5386-46A8-B458-5553213341CA}" type="presOf" srcId="{E3A96A76-D58C-4451-A6FB-0BDD19044C3A}" destId="{90A790FE-C213-4CBD-A9A3-51F3476152D1}" srcOrd="0" destOrd="0" presId="urn:microsoft.com/office/officeart/2005/8/layout/orgChart1"/>
    <dgm:cxn modelId="{39B7E4EA-F364-408E-8F24-774963D6932E}" type="presOf" srcId="{A3865F9C-50C5-45F3-A485-E8443B9FAF31}" destId="{D4E643C0-CE69-4839-930A-DE8F69CB668E}" srcOrd="1" destOrd="0" presId="urn:microsoft.com/office/officeart/2005/8/layout/orgChart1"/>
    <dgm:cxn modelId="{D0804CEC-27C4-409D-BF64-E53811B6B2EE}" type="presOf" srcId="{95FBBDEA-9548-4270-AB8E-49173717BF1C}" destId="{26B89488-378F-4A73-98C2-5EE64758ECA3}" srcOrd="0" destOrd="0" presId="urn:microsoft.com/office/officeart/2005/8/layout/orgChart1"/>
    <dgm:cxn modelId="{DCCE71F0-0CBD-4A6E-B306-9C085F00E741}" type="presOf" srcId="{C706A3BC-6046-46BA-9312-523961032D46}" destId="{7457313C-7C79-4E34-A80D-AB15AF3B02FE}" srcOrd="0" destOrd="0" presId="urn:microsoft.com/office/officeart/2005/8/layout/orgChart1"/>
    <dgm:cxn modelId="{AD6CCEF5-629E-43AB-A49B-DD50B65F234C}" type="presOf" srcId="{CB4C3C7D-A6BD-4D5D-8E6C-168965CA6EA6}" destId="{BF0E3698-726A-4F9C-8270-BB6B1FD5C4A9}" srcOrd="0" destOrd="0" presId="urn:microsoft.com/office/officeart/2005/8/layout/orgChart1"/>
    <dgm:cxn modelId="{DDE077F8-B871-41CA-840D-883731477FC9}" type="presOf" srcId="{0AD4C1F8-0D11-44B8-A4CF-31C5FF9C2D6A}" destId="{D1036AF2-F58C-4AEC-A041-DD629499F167}" srcOrd="0" destOrd="0" presId="urn:microsoft.com/office/officeart/2005/8/layout/orgChart1"/>
    <dgm:cxn modelId="{567D9AFB-2AE9-4FD0-AED0-24F34F91D1A8}" type="presOf" srcId="{09B907A7-FE19-448E-BFB7-BA6E53475BF9}" destId="{0EB74BBA-8080-461E-A06E-C2967E4E5DBA}" srcOrd="0" destOrd="0" presId="urn:microsoft.com/office/officeart/2005/8/layout/orgChart1"/>
    <dgm:cxn modelId="{CB8F63FC-3DF6-4B58-ADAC-0BFC9EC1D562}" srcId="{CD56FFF8-3481-4120-B443-F7396A3D571B}" destId="{2AAA74E6-3B41-4C6A-8505-1811CEAE676B}" srcOrd="3" destOrd="0" parTransId="{1FE793BA-3924-49A7-826B-50F457D2E9C3}" sibTransId="{C6BC029C-A32F-45BA-BEFC-5F62248DACEA}"/>
    <dgm:cxn modelId="{B1F24DFD-234E-4AC5-BC69-DBF87D043E84}" type="presOf" srcId="{3EDD0221-1D17-48C9-9D7B-F9B6251FEA0A}" destId="{21FB6DD2-638E-4470-8B82-CB4C836208D0}" srcOrd="0" destOrd="0" presId="urn:microsoft.com/office/officeart/2005/8/layout/orgChart1"/>
    <dgm:cxn modelId="{D30814EA-5F1C-4C61-9D33-C3530DEDCB89}" type="presParOf" srcId="{D98B938F-CA66-46D5-9639-5C0A57C091BF}" destId="{804B14DD-2E09-4103-A0E8-96F25F7CA157}" srcOrd="0" destOrd="0" presId="urn:microsoft.com/office/officeart/2005/8/layout/orgChart1"/>
    <dgm:cxn modelId="{8E48CF81-B529-42DF-8AE6-DB9ED2099D8B}" type="presParOf" srcId="{804B14DD-2E09-4103-A0E8-96F25F7CA157}" destId="{F2BD1F7A-9CF7-48B3-ADF7-6C79DCC4EA11}" srcOrd="0" destOrd="0" presId="urn:microsoft.com/office/officeart/2005/8/layout/orgChart1"/>
    <dgm:cxn modelId="{66DCD647-4AE4-4BFC-BEEC-8063C9D96A6E}" type="presParOf" srcId="{F2BD1F7A-9CF7-48B3-ADF7-6C79DCC4EA11}" destId="{38DDC9BF-C083-4770-9129-ED2EBCB05D34}" srcOrd="0" destOrd="0" presId="urn:microsoft.com/office/officeart/2005/8/layout/orgChart1"/>
    <dgm:cxn modelId="{3D509C6A-A5F0-4380-9E0D-6E9DB0DBDC8C}" type="presParOf" srcId="{F2BD1F7A-9CF7-48B3-ADF7-6C79DCC4EA11}" destId="{326D6250-5F93-43F5-BC5D-A39E9831DFDF}" srcOrd="1" destOrd="0" presId="urn:microsoft.com/office/officeart/2005/8/layout/orgChart1"/>
    <dgm:cxn modelId="{42496E74-57E9-481B-BE0A-82CCF2BDDDBE}" type="presParOf" srcId="{804B14DD-2E09-4103-A0E8-96F25F7CA157}" destId="{28F3C03C-1468-49DE-9363-B40CFCF80869}" srcOrd="1" destOrd="0" presId="urn:microsoft.com/office/officeart/2005/8/layout/orgChart1"/>
    <dgm:cxn modelId="{B33F9555-DF13-4DB9-A8A4-4D54609EC293}" type="presParOf" srcId="{28F3C03C-1468-49DE-9363-B40CFCF80869}" destId="{3F123880-5673-4A01-AA49-5B897E5FF97D}" srcOrd="0" destOrd="0" presId="urn:microsoft.com/office/officeart/2005/8/layout/orgChart1"/>
    <dgm:cxn modelId="{66C3048F-C1EC-4F0E-AF72-7DE994966A46}" type="presParOf" srcId="{28F3C03C-1468-49DE-9363-B40CFCF80869}" destId="{3B9EE5DA-4DD5-4723-86E7-A650A669ADEF}" srcOrd="1" destOrd="0" presId="urn:microsoft.com/office/officeart/2005/8/layout/orgChart1"/>
    <dgm:cxn modelId="{1F458CC3-1C67-401B-80EF-E6CA8D55E9B9}" type="presParOf" srcId="{3B9EE5DA-4DD5-4723-86E7-A650A669ADEF}" destId="{1DFE4126-BF71-47E7-9FF5-DBB6775053C2}" srcOrd="0" destOrd="0" presId="urn:microsoft.com/office/officeart/2005/8/layout/orgChart1"/>
    <dgm:cxn modelId="{2583B70C-A4A0-411D-874A-F70D9C716853}" type="presParOf" srcId="{1DFE4126-BF71-47E7-9FF5-DBB6775053C2}" destId="{D385046F-A1A9-41AD-A931-8D3497E0CAB5}" srcOrd="0" destOrd="0" presId="urn:microsoft.com/office/officeart/2005/8/layout/orgChart1"/>
    <dgm:cxn modelId="{5F08A9B2-BEE7-45DE-9E64-4A37EEE91010}" type="presParOf" srcId="{1DFE4126-BF71-47E7-9FF5-DBB6775053C2}" destId="{DA8AFDFE-03DB-4505-9255-A834AD3501A2}" srcOrd="1" destOrd="0" presId="urn:microsoft.com/office/officeart/2005/8/layout/orgChart1"/>
    <dgm:cxn modelId="{F2DD3A4F-831E-44D4-9473-1A53B93B1E32}" type="presParOf" srcId="{3B9EE5DA-4DD5-4723-86E7-A650A669ADEF}" destId="{8158DDE7-ADFE-4352-9025-5340B51816E4}" srcOrd="1" destOrd="0" presId="urn:microsoft.com/office/officeart/2005/8/layout/orgChart1"/>
    <dgm:cxn modelId="{79DE1A28-5598-4871-8441-4ACD6028E322}" type="presParOf" srcId="{8158DDE7-ADFE-4352-9025-5340B51816E4}" destId="{3C8272EA-5186-401E-891E-8B46BCA958B5}" srcOrd="0" destOrd="0" presId="urn:microsoft.com/office/officeart/2005/8/layout/orgChart1"/>
    <dgm:cxn modelId="{35162ADB-0025-461B-A6E7-892ACBCB1F1F}" type="presParOf" srcId="{8158DDE7-ADFE-4352-9025-5340B51816E4}" destId="{34149122-63CD-4A04-BCCD-573237C41338}" srcOrd="1" destOrd="0" presId="urn:microsoft.com/office/officeart/2005/8/layout/orgChart1"/>
    <dgm:cxn modelId="{05C353C3-E852-4B5B-B40A-BC218D0203E9}" type="presParOf" srcId="{34149122-63CD-4A04-BCCD-573237C41338}" destId="{25F368EA-0D88-4396-833C-FCA66D0A57B7}" srcOrd="0" destOrd="0" presId="urn:microsoft.com/office/officeart/2005/8/layout/orgChart1"/>
    <dgm:cxn modelId="{382A64E0-EAF2-4BC1-868B-DEDA4CC765F4}" type="presParOf" srcId="{25F368EA-0D88-4396-833C-FCA66D0A57B7}" destId="{2D21AE9A-7D98-4BCD-B18B-BEBEE6CC510D}" srcOrd="0" destOrd="0" presId="urn:microsoft.com/office/officeart/2005/8/layout/orgChart1"/>
    <dgm:cxn modelId="{4A4E2B41-F055-456C-8F8C-7E479D6CE316}" type="presParOf" srcId="{25F368EA-0D88-4396-833C-FCA66D0A57B7}" destId="{D4E643C0-CE69-4839-930A-DE8F69CB668E}" srcOrd="1" destOrd="0" presId="urn:microsoft.com/office/officeart/2005/8/layout/orgChart1"/>
    <dgm:cxn modelId="{C2C8BE91-4208-4ACD-835A-89C46D7002D8}" type="presParOf" srcId="{34149122-63CD-4A04-BCCD-573237C41338}" destId="{8043B9A0-58E7-40E4-946B-9DE9BBE8AEAF}" srcOrd="1" destOrd="0" presId="urn:microsoft.com/office/officeart/2005/8/layout/orgChart1"/>
    <dgm:cxn modelId="{B5AD60E6-9669-43E4-9599-2C3C53196F23}" type="presParOf" srcId="{34149122-63CD-4A04-BCCD-573237C41338}" destId="{9056F5EB-AEAB-4F3B-A6DF-CC6921BB589D}" srcOrd="2" destOrd="0" presId="urn:microsoft.com/office/officeart/2005/8/layout/orgChart1"/>
    <dgm:cxn modelId="{27F1FEAE-DBCE-4143-8D8D-CFA4C58A1172}" type="presParOf" srcId="{8158DDE7-ADFE-4352-9025-5340B51816E4}" destId="{A13E033C-54A7-44A2-8FB7-DF58DA613CE5}" srcOrd="2" destOrd="0" presId="urn:microsoft.com/office/officeart/2005/8/layout/orgChart1"/>
    <dgm:cxn modelId="{CBE33CE3-990D-473F-8C85-A88F4D87218E}" type="presParOf" srcId="{8158DDE7-ADFE-4352-9025-5340B51816E4}" destId="{ACE55350-8A4C-4F52-9781-C5ECBC5475D7}" srcOrd="3" destOrd="0" presId="urn:microsoft.com/office/officeart/2005/8/layout/orgChart1"/>
    <dgm:cxn modelId="{E6C46076-BD22-4DC9-A0FA-E536EBE37498}" type="presParOf" srcId="{ACE55350-8A4C-4F52-9781-C5ECBC5475D7}" destId="{DA3C5CA1-38EF-4019-89AD-16C4A84DE117}" srcOrd="0" destOrd="0" presId="urn:microsoft.com/office/officeart/2005/8/layout/orgChart1"/>
    <dgm:cxn modelId="{25CE8B7C-D0D3-47B1-A891-BB8D31500A36}" type="presParOf" srcId="{DA3C5CA1-38EF-4019-89AD-16C4A84DE117}" destId="{2231C5AC-A912-443E-8195-4F3A8699C2B2}" srcOrd="0" destOrd="0" presId="urn:microsoft.com/office/officeart/2005/8/layout/orgChart1"/>
    <dgm:cxn modelId="{F252678B-2E3B-480D-9BCA-3D63C218F533}" type="presParOf" srcId="{DA3C5CA1-38EF-4019-89AD-16C4A84DE117}" destId="{BDF86D59-C421-432A-8D1C-5618279F8DE1}" srcOrd="1" destOrd="0" presId="urn:microsoft.com/office/officeart/2005/8/layout/orgChart1"/>
    <dgm:cxn modelId="{2A2EE81C-F684-4EB9-A61F-BB98DBE8128A}" type="presParOf" srcId="{ACE55350-8A4C-4F52-9781-C5ECBC5475D7}" destId="{64D0C2F8-8EE9-40C0-AE0B-1FDE0150001E}" srcOrd="1" destOrd="0" presId="urn:microsoft.com/office/officeart/2005/8/layout/orgChart1"/>
    <dgm:cxn modelId="{509E1A42-41E1-4339-80AA-B23716D21636}" type="presParOf" srcId="{ACE55350-8A4C-4F52-9781-C5ECBC5475D7}" destId="{70C60A17-4029-41C3-A4E8-4C4FE500E01C}" srcOrd="2" destOrd="0" presId="urn:microsoft.com/office/officeart/2005/8/layout/orgChart1"/>
    <dgm:cxn modelId="{97DC0A99-CEB2-4385-BA2E-77B17875541C}" type="presParOf" srcId="{8158DDE7-ADFE-4352-9025-5340B51816E4}" destId="{BA218884-AFDA-4B03-A5CF-51716E3031C3}" srcOrd="4" destOrd="0" presId="urn:microsoft.com/office/officeart/2005/8/layout/orgChart1"/>
    <dgm:cxn modelId="{219245CC-25C0-431B-BFBD-006B7C30CD4F}" type="presParOf" srcId="{8158DDE7-ADFE-4352-9025-5340B51816E4}" destId="{447FD21E-8A24-4572-A871-5D5E5E9A2EB8}" srcOrd="5" destOrd="0" presId="urn:microsoft.com/office/officeart/2005/8/layout/orgChart1"/>
    <dgm:cxn modelId="{FF61A2BE-3901-4CE5-851A-CEEBD3DD84D7}" type="presParOf" srcId="{447FD21E-8A24-4572-A871-5D5E5E9A2EB8}" destId="{B1ECED2C-B77D-4D42-9873-FF18CB4014D7}" srcOrd="0" destOrd="0" presId="urn:microsoft.com/office/officeart/2005/8/layout/orgChart1"/>
    <dgm:cxn modelId="{F3ED75DB-641A-423F-BB5C-C711D5F50C76}" type="presParOf" srcId="{B1ECED2C-B77D-4D42-9873-FF18CB4014D7}" destId="{35013184-0BA1-4BA5-8CAD-8890D6CE3CDF}" srcOrd="0" destOrd="0" presId="urn:microsoft.com/office/officeart/2005/8/layout/orgChart1"/>
    <dgm:cxn modelId="{52731150-9A9B-4CB5-A530-22FAA6C9A851}" type="presParOf" srcId="{B1ECED2C-B77D-4D42-9873-FF18CB4014D7}" destId="{AED94FBB-AD91-4B2F-B47F-3F1BAC0C1F22}" srcOrd="1" destOrd="0" presId="urn:microsoft.com/office/officeart/2005/8/layout/orgChart1"/>
    <dgm:cxn modelId="{65FE7C0E-4389-47A2-86A6-BE17446C83FB}" type="presParOf" srcId="{447FD21E-8A24-4572-A871-5D5E5E9A2EB8}" destId="{A22A1CFB-EADC-41D7-AC2A-F7D5788CD175}" srcOrd="1" destOrd="0" presId="urn:microsoft.com/office/officeart/2005/8/layout/orgChart1"/>
    <dgm:cxn modelId="{B9BA14BC-D58A-4D86-9807-44FC3C96DD2E}" type="presParOf" srcId="{447FD21E-8A24-4572-A871-5D5E5E9A2EB8}" destId="{FD1D0DA5-2837-496B-8B4D-EDC251B61F17}" srcOrd="2" destOrd="0" presId="urn:microsoft.com/office/officeart/2005/8/layout/orgChart1"/>
    <dgm:cxn modelId="{3F98CC41-8902-49B9-A5EE-FF0C0D7B0D53}" type="presParOf" srcId="{8158DDE7-ADFE-4352-9025-5340B51816E4}" destId="{F8C10BB2-9869-40F3-9A4F-F98A550F9E0C}" srcOrd="6" destOrd="0" presId="urn:microsoft.com/office/officeart/2005/8/layout/orgChart1"/>
    <dgm:cxn modelId="{A0E958C2-7606-449C-ACDF-763ACBCEE261}" type="presParOf" srcId="{8158DDE7-ADFE-4352-9025-5340B51816E4}" destId="{D35A349B-1F0E-4111-B14D-E23786DCB18D}" srcOrd="7" destOrd="0" presId="urn:microsoft.com/office/officeart/2005/8/layout/orgChart1"/>
    <dgm:cxn modelId="{FBEB86F4-E9CB-4096-81FF-2645FEBF93F9}" type="presParOf" srcId="{D35A349B-1F0E-4111-B14D-E23786DCB18D}" destId="{42C56499-C912-49C9-B411-F63218B2D84A}" srcOrd="0" destOrd="0" presId="urn:microsoft.com/office/officeart/2005/8/layout/orgChart1"/>
    <dgm:cxn modelId="{95FE8643-ACD9-4E9B-A250-B38D00C813DF}" type="presParOf" srcId="{42C56499-C912-49C9-B411-F63218B2D84A}" destId="{C6663363-2C4F-4872-834F-DFA994A5579F}" srcOrd="0" destOrd="0" presId="urn:microsoft.com/office/officeart/2005/8/layout/orgChart1"/>
    <dgm:cxn modelId="{655CE54A-F2BB-42EE-B88C-8FD4D9454DEA}" type="presParOf" srcId="{42C56499-C912-49C9-B411-F63218B2D84A}" destId="{44159222-717F-4691-A5B1-5B40D412883F}" srcOrd="1" destOrd="0" presId="urn:microsoft.com/office/officeart/2005/8/layout/orgChart1"/>
    <dgm:cxn modelId="{D92B9534-7FA7-46FD-948A-37D49652F6C9}" type="presParOf" srcId="{D35A349B-1F0E-4111-B14D-E23786DCB18D}" destId="{2F7B6F10-386D-4871-957C-A19B9C1AF282}" srcOrd="1" destOrd="0" presId="urn:microsoft.com/office/officeart/2005/8/layout/orgChart1"/>
    <dgm:cxn modelId="{18B15F22-00A1-444C-9795-5B8099A82249}" type="presParOf" srcId="{D35A349B-1F0E-4111-B14D-E23786DCB18D}" destId="{7CBBD39C-958A-4DFD-91DB-8CF895292A23}" srcOrd="2" destOrd="0" presId="urn:microsoft.com/office/officeart/2005/8/layout/orgChart1"/>
    <dgm:cxn modelId="{EF3CDEFC-A11A-454A-BBFA-A17BD5D7CF95}" type="presParOf" srcId="{8158DDE7-ADFE-4352-9025-5340B51816E4}" destId="{9A9BBC5F-9B90-4AFF-85EF-42C81AAA04F3}" srcOrd="8" destOrd="0" presId="urn:microsoft.com/office/officeart/2005/8/layout/orgChart1"/>
    <dgm:cxn modelId="{48414FE5-220C-49DB-8F41-36FBCB7603E8}" type="presParOf" srcId="{8158DDE7-ADFE-4352-9025-5340B51816E4}" destId="{1BA48C90-AAAD-4922-9686-1261FB1E38BB}" srcOrd="9" destOrd="0" presId="urn:microsoft.com/office/officeart/2005/8/layout/orgChart1"/>
    <dgm:cxn modelId="{9FCDCADB-DC30-4604-867F-346ED9A0AED4}" type="presParOf" srcId="{1BA48C90-AAAD-4922-9686-1261FB1E38BB}" destId="{B275032F-1375-4D9B-BE82-C32285818DB6}" srcOrd="0" destOrd="0" presId="urn:microsoft.com/office/officeart/2005/8/layout/orgChart1"/>
    <dgm:cxn modelId="{4F710716-0533-49CF-8ACA-EB75E3C28F0B}" type="presParOf" srcId="{B275032F-1375-4D9B-BE82-C32285818DB6}" destId="{90A790FE-C213-4CBD-A9A3-51F3476152D1}" srcOrd="0" destOrd="0" presId="urn:microsoft.com/office/officeart/2005/8/layout/orgChart1"/>
    <dgm:cxn modelId="{186CAFE1-428F-4B32-9B1A-36476569F9C9}" type="presParOf" srcId="{B275032F-1375-4D9B-BE82-C32285818DB6}" destId="{1B630E95-9B49-4A10-99A5-5E9300393CFC}" srcOrd="1" destOrd="0" presId="urn:microsoft.com/office/officeart/2005/8/layout/orgChart1"/>
    <dgm:cxn modelId="{0E06B7FE-CAFE-4AAD-8222-97EB226C1C30}" type="presParOf" srcId="{1BA48C90-AAAD-4922-9686-1261FB1E38BB}" destId="{D614B6D6-AFC5-40EA-9247-D9703A87A7CE}" srcOrd="1" destOrd="0" presId="urn:microsoft.com/office/officeart/2005/8/layout/orgChart1"/>
    <dgm:cxn modelId="{8F02C82A-99A2-4019-B01C-041570C0569F}" type="presParOf" srcId="{1BA48C90-AAAD-4922-9686-1261FB1E38BB}" destId="{85F9AEB2-69AC-4B31-8839-818A4E2EF911}" srcOrd="2" destOrd="0" presId="urn:microsoft.com/office/officeart/2005/8/layout/orgChart1"/>
    <dgm:cxn modelId="{A5CAD91C-F1F2-45E4-B112-DD9DC4A81E6A}" type="presParOf" srcId="{3B9EE5DA-4DD5-4723-86E7-A650A669ADEF}" destId="{6A36F910-32BC-4696-92BD-B0941AE4DBFA}" srcOrd="2" destOrd="0" presId="urn:microsoft.com/office/officeart/2005/8/layout/orgChart1"/>
    <dgm:cxn modelId="{426D798B-36C4-4ABA-B22A-7D0F06E5150C}" type="presParOf" srcId="{28F3C03C-1468-49DE-9363-B40CFCF80869}" destId="{666AEB06-2A27-4DA5-B441-AE47C1C1DA37}" srcOrd="2" destOrd="0" presId="urn:microsoft.com/office/officeart/2005/8/layout/orgChart1"/>
    <dgm:cxn modelId="{3FF49B90-C907-40AF-B818-01590F53207E}" type="presParOf" srcId="{28F3C03C-1468-49DE-9363-B40CFCF80869}" destId="{399EB6BF-FACF-4AE2-ACBF-0BAB2784ED9E}" srcOrd="3" destOrd="0" presId="urn:microsoft.com/office/officeart/2005/8/layout/orgChart1"/>
    <dgm:cxn modelId="{A3BF1510-AA2E-4195-8754-0F6A2EF312C2}" type="presParOf" srcId="{399EB6BF-FACF-4AE2-ACBF-0BAB2784ED9E}" destId="{A973F2E2-5BC4-4E6F-BC50-928F1618C291}" srcOrd="0" destOrd="0" presId="urn:microsoft.com/office/officeart/2005/8/layout/orgChart1"/>
    <dgm:cxn modelId="{BEA249A0-1A63-43D7-898A-52DE70F2F835}" type="presParOf" srcId="{A973F2E2-5BC4-4E6F-BC50-928F1618C291}" destId="{C06785D6-56FE-4DAB-9DDD-7BD72476C859}" srcOrd="0" destOrd="0" presId="urn:microsoft.com/office/officeart/2005/8/layout/orgChart1"/>
    <dgm:cxn modelId="{8C247891-1A29-4B22-A2DC-9974EA59F99B}" type="presParOf" srcId="{A973F2E2-5BC4-4E6F-BC50-928F1618C291}" destId="{55DCE63C-5EFD-4033-B587-403992E660A9}" srcOrd="1" destOrd="0" presId="urn:microsoft.com/office/officeart/2005/8/layout/orgChart1"/>
    <dgm:cxn modelId="{69FF385D-6CBF-4EE5-8EB1-3E10E5EE42AC}" type="presParOf" srcId="{399EB6BF-FACF-4AE2-ACBF-0BAB2784ED9E}" destId="{53BDA412-3C89-4F9D-93BA-4D11CDCDA467}" srcOrd="1" destOrd="0" presId="urn:microsoft.com/office/officeart/2005/8/layout/orgChart1"/>
    <dgm:cxn modelId="{29116836-6B9E-4188-94AE-C7436B6DC929}" type="presParOf" srcId="{53BDA412-3C89-4F9D-93BA-4D11CDCDA467}" destId="{DCA3724C-6695-4F3C-9484-2118B83406C9}" srcOrd="0" destOrd="0" presId="urn:microsoft.com/office/officeart/2005/8/layout/orgChart1"/>
    <dgm:cxn modelId="{A7496039-382B-4A77-8A63-DF64D87351E8}" type="presParOf" srcId="{53BDA412-3C89-4F9D-93BA-4D11CDCDA467}" destId="{FC2E152B-2B46-496C-8326-058A323771A5}" srcOrd="1" destOrd="0" presId="urn:microsoft.com/office/officeart/2005/8/layout/orgChart1"/>
    <dgm:cxn modelId="{88FF6548-3B63-4D7C-A561-F250E1E4866F}" type="presParOf" srcId="{FC2E152B-2B46-496C-8326-058A323771A5}" destId="{7EA5F877-23CD-481C-B7E4-DC21B8F7FB80}" srcOrd="0" destOrd="0" presId="urn:microsoft.com/office/officeart/2005/8/layout/orgChart1"/>
    <dgm:cxn modelId="{F36B2245-D8C8-455E-B5B7-D3A9BD290AF6}" type="presParOf" srcId="{7EA5F877-23CD-481C-B7E4-DC21B8F7FB80}" destId="{EB200D51-1D1C-486D-BC0F-48085CD7BEA3}" srcOrd="0" destOrd="0" presId="urn:microsoft.com/office/officeart/2005/8/layout/orgChart1"/>
    <dgm:cxn modelId="{3914E855-0E72-4FBD-B39C-DCF57745DAA5}" type="presParOf" srcId="{7EA5F877-23CD-481C-B7E4-DC21B8F7FB80}" destId="{3A55B61E-E42B-4B25-A712-5D090E4DF887}" srcOrd="1" destOrd="0" presId="urn:microsoft.com/office/officeart/2005/8/layout/orgChart1"/>
    <dgm:cxn modelId="{905031ED-E337-43AE-8F65-E1C6919FFC39}" type="presParOf" srcId="{FC2E152B-2B46-496C-8326-058A323771A5}" destId="{8CFE05E5-2B07-4C2E-AA3C-3D79727DA55D}" srcOrd="1" destOrd="0" presId="urn:microsoft.com/office/officeart/2005/8/layout/orgChart1"/>
    <dgm:cxn modelId="{47924213-44AE-4491-8F08-8E1D67482D4D}" type="presParOf" srcId="{FC2E152B-2B46-496C-8326-058A323771A5}" destId="{7414920A-D44E-49BB-9AD4-7B3C47A036F5}" srcOrd="2" destOrd="0" presId="urn:microsoft.com/office/officeart/2005/8/layout/orgChart1"/>
    <dgm:cxn modelId="{FD4B44E6-8288-4E88-904B-1A83446FF2C6}" type="presParOf" srcId="{53BDA412-3C89-4F9D-93BA-4D11CDCDA467}" destId="{D1036AF2-F58C-4AEC-A041-DD629499F167}" srcOrd="2" destOrd="0" presId="urn:microsoft.com/office/officeart/2005/8/layout/orgChart1"/>
    <dgm:cxn modelId="{E86D71EE-F9C6-4179-A936-0BE2CF22CA72}" type="presParOf" srcId="{53BDA412-3C89-4F9D-93BA-4D11CDCDA467}" destId="{0C720F1E-61E9-4FEE-811C-B1A37C3B58C0}" srcOrd="3" destOrd="0" presId="urn:microsoft.com/office/officeart/2005/8/layout/orgChart1"/>
    <dgm:cxn modelId="{FBBC2913-8352-4AB5-99D1-1D4F77F082CE}" type="presParOf" srcId="{0C720F1E-61E9-4FEE-811C-B1A37C3B58C0}" destId="{F100AE3C-DBFF-474B-8FAF-4BD6A7188C65}" srcOrd="0" destOrd="0" presId="urn:microsoft.com/office/officeart/2005/8/layout/orgChart1"/>
    <dgm:cxn modelId="{A2498355-3F4C-4DB0-A967-F9E91D5CEF4A}" type="presParOf" srcId="{F100AE3C-DBFF-474B-8FAF-4BD6A7188C65}" destId="{9B1846BF-9078-4BAB-824F-E25604C101E3}" srcOrd="0" destOrd="0" presId="urn:microsoft.com/office/officeart/2005/8/layout/orgChart1"/>
    <dgm:cxn modelId="{D8493AD5-F3FA-4291-9C4F-AB9249ABD4DE}" type="presParOf" srcId="{F100AE3C-DBFF-474B-8FAF-4BD6A7188C65}" destId="{ED94842E-EC9E-4C61-886B-955B82014E6D}" srcOrd="1" destOrd="0" presId="urn:microsoft.com/office/officeart/2005/8/layout/orgChart1"/>
    <dgm:cxn modelId="{C156330A-4F17-4D90-BA32-EB008855DAE9}" type="presParOf" srcId="{0C720F1E-61E9-4FEE-811C-B1A37C3B58C0}" destId="{8B3E1B00-1148-48EC-A15D-3E316B5FF5E5}" srcOrd="1" destOrd="0" presId="urn:microsoft.com/office/officeart/2005/8/layout/orgChart1"/>
    <dgm:cxn modelId="{5B593704-7A0D-4DB9-ADD8-DDBFD704C25E}" type="presParOf" srcId="{0C720F1E-61E9-4FEE-811C-B1A37C3B58C0}" destId="{1F80E577-9B55-4353-9FE4-CB063D89B209}" srcOrd="2" destOrd="0" presId="urn:microsoft.com/office/officeart/2005/8/layout/orgChart1"/>
    <dgm:cxn modelId="{165A39E8-B8F3-4A3F-A83E-79A4DD405F83}" type="presParOf" srcId="{53BDA412-3C89-4F9D-93BA-4D11CDCDA467}" destId="{21FB6DD2-638E-4470-8B82-CB4C836208D0}" srcOrd="4" destOrd="0" presId="urn:microsoft.com/office/officeart/2005/8/layout/orgChart1"/>
    <dgm:cxn modelId="{C1491EEC-697B-4562-A987-4CC540821106}" type="presParOf" srcId="{53BDA412-3C89-4F9D-93BA-4D11CDCDA467}" destId="{65325FD9-B9C3-44AC-82FB-1A04136171A3}" srcOrd="5" destOrd="0" presId="urn:microsoft.com/office/officeart/2005/8/layout/orgChart1"/>
    <dgm:cxn modelId="{F97E063E-F6CC-41FF-B8B3-2A146736A4CE}" type="presParOf" srcId="{65325FD9-B9C3-44AC-82FB-1A04136171A3}" destId="{BF1A247B-1946-4E47-825A-F49563084A06}" srcOrd="0" destOrd="0" presId="urn:microsoft.com/office/officeart/2005/8/layout/orgChart1"/>
    <dgm:cxn modelId="{B8DB46B7-5E62-4075-9756-234E46561DA3}" type="presParOf" srcId="{BF1A247B-1946-4E47-825A-F49563084A06}" destId="{8D97F495-2C03-4983-8E4F-FE56EAD287F9}" srcOrd="0" destOrd="0" presId="urn:microsoft.com/office/officeart/2005/8/layout/orgChart1"/>
    <dgm:cxn modelId="{5EC58B6B-B98A-48CE-AA3F-038868C3B5F1}" type="presParOf" srcId="{BF1A247B-1946-4E47-825A-F49563084A06}" destId="{62BE1C9E-ABA4-4F40-B962-F47C04AE11C4}" srcOrd="1" destOrd="0" presId="urn:microsoft.com/office/officeart/2005/8/layout/orgChart1"/>
    <dgm:cxn modelId="{FBC6F82D-A639-4530-8C2E-A8AC3DA63567}" type="presParOf" srcId="{65325FD9-B9C3-44AC-82FB-1A04136171A3}" destId="{C892FD3D-BB38-475F-810A-0E4A1070A32C}" srcOrd="1" destOrd="0" presId="urn:microsoft.com/office/officeart/2005/8/layout/orgChart1"/>
    <dgm:cxn modelId="{8B81893D-4316-4916-B044-008C3DCA3F61}" type="presParOf" srcId="{65325FD9-B9C3-44AC-82FB-1A04136171A3}" destId="{A57D9923-8C05-42D5-B6AC-554CACE1AEEF}" srcOrd="2" destOrd="0" presId="urn:microsoft.com/office/officeart/2005/8/layout/orgChart1"/>
    <dgm:cxn modelId="{58EFE7AA-23A8-4011-84DF-0B20AEBDC0A9}" type="presParOf" srcId="{399EB6BF-FACF-4AE2-ACBF-0BAB2784ED9E}" destId="{0D7A1300-9D86-4CFE-895C-AFF51E02C47C}" srcOrd="2" destOrd="0" presId="urn:microsoft.com/office/officeart/2005/8/layout/orgChart1"/>
    <dgm:cxn modelId="{F8DEE645-6C90-4991-9A5C-E342B1CB257D}" type="presParOf" srcId="{28F3C03C-1468-49DE-9363-B40CFCF80869}" destId="{26B89488-378F-4A73-98C2-5EE64758ECA3}" srcOrd="4" destOrd="0" presId="urn:microsoft.com/office/officeart/2005/8/layout/orgChart1"/>
    <dgm:cxn modelId="{D5F5E7EF-4DA3-4605-8FCD-3F0409AC07D1}" type="presParOf" srcId="{28F3C03C-1468-49DE-9363-B40CFCF80869}" destId="{557E449D-883C-4B07-8DF5-6E9A67807F33}" srcOrd="5" destOrd="0" presId="urn:microsoft.com/office/officeart/2005/8/layout/orgChart1"/>
    <dgm:cxn modelId="{02328D31-3306-4B12-8856-BE4FD3950144}" type="presParOf" srcId="{557E449D-883C-4B07-8DF5-6E9A67807F33}" destId="{3F9F9341-96F0-4AD9-998E-6CDBC4E89A7F}" srcOrd="0" destOrd="0" presId="urn:microsoft.com/office/officeart/2005/8/layout/orgChart1"/>
    <dgm:cxn modelId="{D1741FAB-1D5D-4C58-8ECE-A537910A451A}" type="presParOf" srcId="{3F9F9341-96F0-4AD9-998E-6CDBC4E89A7F}" destId="{8AF22F37-BE32-479E-9A89-A758B09D7619}" srcOrd="0" destOrd="0" presId="urn:microsoft.com/office/officeart/2005/8/layout/orgChart1"/>
    <dgm:cxn modelId="{060FE895-9310-42D0-9E75-C86132CE41F2}" type="presParOf" srcId="{3F9F9341-96F0-4AD9-998E-6CDBC4E89A7F}" destId="{1D48A19C-B5C2-4332-A38B-13F28E54FB1B}" srcOrd="1" destOrd="0" presId="urn:microsoft.com/office/officeart/2005/8/layout/orgChart1"/>
    <dgm:cxn modelId="{75294C49-2758-4817-BB61-9CC3E0393AF3}" type="presParOf" srcId="{557E449D-883C-4B07-8DF5-6E9A67807F33}" destId="{FC70638D-161B-4F36-868C-5F54BA8FE0E6}" srcOrd="1" destOrd="0" presId="urn:microsoft.com/office/officeart/2005/8/layout/orgChart1"/>
    <dgm:cxn modelId="{5B5EE01E-2C7A-4F75-A2BF-612D0C1E9B06}" type="presParOf" srcId="{FC70638D-161B-4F36-868C-5F54BA8FE0E6}" destId="{20E9B0BA-5007-408F-8AA8-5E1626293A74}" srcOrd="0" destOrd="0" presId="urn:microsoft.com/office/officeart/2005/8/layout/orgChart1"/>
    <dgm:cxn modelId="{087D3B36-D112-4F11-891C-AE987E8B488C}" type="presParOf" srcId="{FC70638D-161B-4F36-868C-5F54BA8FE0E6}" destId="{8B9884EC-3806-4AAB-80C4-EE79AFF4EC91}" srcOrd="1" destOrd="0" presId="urn:microsoft.com/office/officeart/2005/8/layout/orgChart1"/>
    <dgm:cxn modelId="{134BB18F-EBEE-4CBF-88AC-9B87C3E615F7}" type="presParOf" srcId="{8B9884EC-3806-4AAB-80C4-EE79AFF4EC91}" destId="{368E119F-1156-4A37-88A4-6C4C0563B91E}" srcOrd="0" destOrd="0" presId="urn:microsoft.com/office/officeart/2005/8/layout/orgChart1"/>
    <dgm:cxn modelId="{BEF8756A-0F13-4DBB-A48D-36AC39D3B4B6}" type="presParOf" srcId="{368E119F-1156-4A37-88A4-6C4C0563B91E}" destId="{57AA6A52-00DA-4D81-97D7-51671B5ED3AE}" srcOrd="0" destOrd="0" presId="urn:microsoft.com/office/officeart/2005/8/layout/orgChart1"/>
    <dgm:cxn modelId="{75F02678-38CB-4FCF-8203-1B6BF0C96030}" type="presParOf" srcId="{368E119F-1156-4A37-88A4-6C4C0563B91E}" destId="{048920A7-7648-4DE5-8285-3DC6EAA5312C}" srcOrd="1" destOrd="0" presId="urn:microsoft.com/office/officeart/2005/8/layout/orgChart1"/>
    <dgm:cxn modelId="{C6DAE8BA-91D7-498E-9AF7-280AAA078454}" type="presParOf" srcId="{8B9884EC-3806-4AAB-80C4-EE79AFF4EC91}" destId="{2605A27C-C351-46E2-9E00-5E4EAD088A8E}" srcOrd="1" destOrd="0" presId="urn:microsoft.com/office/officeart/2005/8/layout/orgChart1"/>
    <dgm:cxn modelId="{D1F70A42-B4BA-4581-AD7E-5A58A14FB81A}" type="presParOf" srcId="{8B9884EC-3806-4AAB-80C4-EE79AFF4EC91}" destId="{E8C79E69-8BAE-4819-BBCE-8362DA96923D}" srcOrd="2" destOrd="0" presId="urn:microsoft.com/office/officeart/2005/8/layout/orgChart1"/>
    <dgm:cxn modelId="{DB8C4DE6-3CF1-480D-883C-FF618F38230A}" type="presParOf" srcId="{FC70638D-161B-4F36-868C-5F54BA8FE0E6}" destId="{7457313C-7C79-4E34-A80D-AB15AF3B02FE}" srcOrd="2" destOrd="0" presId="urn:microsoft.com/office/officeart/2005/8/layout/orgChart1"/>
    <dgm:cxn modelId="{8907B839-AAA4-4888-ABEC-FB7337F4573A}" type="presParOf" srcId="{FC70638D-161B-4F36-868C-5F54BA8FE0E6}" destId="{A89E1CE6-B632-4121-A8A1-2D1A90D99245}" srcOrd="3" destOrd="0" presId="urn:microsoft.com/office/officeart/2005/8/layout/orgChart1"/>
    <dgm:cxn modelId="{7AF09264-D98C-489E-8DD4-36D3EB7FDCDF}" type="presParOf" srcId="{A89E1CE6-B632-4121-A8A1-2D1A90D99245}" destId="{57A805DE-8557-426C-87C4-4005C5BC6F07}" srcOrd="0" destOrd="0" presId="urn:microsoft.com/office/officeart/2005/8/layout/orgChart1"/>
    <dgm:cxn modelId="{5C29B332-7871-4932-8370-5AE404AE4C9F}" type="presParOf" srcId="{57A805DE-8557-426C-87C4-4005C5BC6F07}" destId="{26CD0D8A-9D83-4807-A8ED-D9D524982A29}" srcOrd="0" destOrd="0" presId="urn:microsoft.com/office/officeart/2005/8/layout/orgChart1"/>
    <dgm:cxn modelId="{E4D0D882-06B9-4906-B629-4FF55A13CB15}" type="presParOf" srcId="{57A805DE-8557-426C-87C4-4005C5BC6F07}" destId="{7AE8B584-51D0-473F-911F-79FA93B99B9C}" srcOrd="1" destOrd="0" presId="urn:microsoft.com/office/officeart/2005/8/layout/orgChart1"/>
    <dgm:cxn modelId="{51466348-1F91-4717-A14C-381333092182}" type="presParOf" srcId="{A89E1CE6-B632-4121-A8A1-2D1A90D99245}" destId="{8572612D-FD08-48E1-821C-56CA12B4454F}" srcOrd="1" destOrd="0" presId="urn:microsoft.com/office/officeart/2005/8/layout/orgChart1"/>
    <dgm:cxn modelId="{652D5E04-F071-409F-B364-2BC61E18A2C5}" type="presParOf" srcId="{A89E1CE6-B632-4121-A8A1-2D1A90D99245}" destId="{D8B667FB-2DEB-4305-82BE-19E8E0F83D54}" srcOrd="2" destOrd="0" presId="urn:microsoft.com/office/officeart/2005/8/layout/orgChart1"/>
    <dgm:cxn modelId="{EB1922BA-0FB1-4261-9627-6145358FF5F7}" type="presParOf" srcId="{FC70638D-161B-4F36-868C-5F54BA8FE0E6}" destId="{0F73490D-DAD4-4CDB-870C-3625F7CEB9AF}" srcOrd="4" destOrd="0" presId="urn:microsoft.com/office/officeart/2005/8/layout/orgChart1"/>
    <dgm:cxn modelId="{A694D5BA-29EB-4C8C-B1A6-8078437A4305}" type="presParOf" srcId="{FC70638D-161B-4F36-868C-5F54BA8FE0E6}" destId="{B20A7AB3-8773-4209-9C6C-32F293A38815}" srcOrd="5" destOrd="0" presId="urn:microsoft.com/office/officeart/2005/8/layout/orgChart1"/>
    <dgm:cxn modelId="{35C0677E-54FC-4C6C-93F2-A61B445F041B}" type="presParOf" srcId="{B20A7AB3-8773-4209-9C6C-32F293A38815}" destId="{B44F32B9-BD79-4E9A-B059-BE05B781D7E1}" srcOrd="0" destOrd="0" presId="urn:microsoft.com/office/officeart/2005/8/layout/orgChart1"/>
    <dgm:cxn modelId="{F345A3F8-ACDB-4FDC-A6E4-62901C67963F}" type="presParOf" srcId="{B44F32B9-BD79-4E9A-B059-BE05B781D7E1}" destId="{BF0E3698-726A-4F9C-8270-BB6B1FD5C4A9}" srcOrd="0" destOrd="0" presId="urn:microsoft.com/office/officeart/2005/8/layout/orgChart1"/>
    <dgm:cxn modelId="{9DFD3FA2-E598-4D35-9879-3A19579907A8}" type="presParOf" srcId="{B44F32B9-BD79-4E9A-B059-BE05B781D7E1}" destId="{9B2A94E8-2F3E-4B69-A363-8E9468E1F0FD}" srcOrd="1" destOrd="0" presId="urn:microsoft.com/office/officeart/2005/8/layout/orgChart1"/>
    <dgm:cxn modelId="{C9E3A638-921D-49D4-8A8F-FCB22BDD7DB6}" type="presParOf" srcId="{B20A7AB3-8773-4209-9C6C-32F293A38815}" destId="{A3F56CA6-C4F5-46FE-BFED-B27422D293FE}" srcOrd="1" destOrd="0" presId="urn:microsoft.com/office/officeart/2005/8/layout/orgChart1"/>
    <dgm:cxn modelId="{63754A70-7BFA-4CCF-ADC0-2D09E44E44C4}" type="presParOf" srcId="{B20A7AB3-8773-4209-9C6C-32F293A38815}" destId="{2BB43C87-06BF-42DE-A894-5143AC7CCC83}" srcOrd="2" destOrd="0" presId="urn:microsoft.com/office/officeart/2005/8/layout/orgChart1"/>
    <dgm:cxn modelId="{7285DE67-15E6-434A-AC4B-F0D26A8AD5DC}" type="presParOf" srcId="{FC70638D-161B-4F36-868C-5F54BA8FE0E6}" destId="{0EB74BBA-8080-461E-A06E-C2967E4E5DBA}" srcOrd="6" destOrd="0" presId="urn:microsoft.com/office/officeart/2005/8/layout/orgChart1"/>
    <dgm:cxn modelId="{765A7BB9-6297-4512-A121-2193777081C6}" type="presParOf" srcId="{FC70638D-161B-4F36-868C-5F54BA8FE0E6}" destId="{AD26F847-9CE7-45E6-9035-07FD1E306F3C}" srcOrd="7" destOrd="0" presId="urn:microsoft.com/office/officeart/2005/8/layout/orgChart1"/>
    <dgm:cxn modelId="{EC2A4291-E2E9-480B-9AD5-D5E7CB6009A4}" type="presParOf" srcId="{AD26F847-9CE7-45E6-9035-07FD1E306F3C}" destId="{72CEEF79-C99C-46C0-A7F1-B32E2FC8A157}" srcOrd="0" destOrd="0" presId="urn:microsoft.com/office/officeart/2005/8/layout/orgChart1"/>
    <dgm:cxn modelId="{68DF16C2-49F8-4479-9E31-CBC6ECA60064}" type="presParOf" srcId="{72CEEF79-C99C-46C0-A7F1-B32E2FC8A157}" destId="{80A6E7B5-D446-4FD3-B993-09EC86F587B5}" srcOrd="0" destOrd="0" presId="urn:microsoft.com/office/officeart/2005/8/layout/orgChart1"/>
    <dgm:cxn modelId="{C2C3D3A0-A54A-42B2-AF2C-519B8DB62562}" type="presParOf" srcId="{72CEEF79-C99C-46C0-A7F1-B32E2FC8A157}" destId="{2191360B-191E-429D-B02B-57CC58AEAF54}" srcOrd="1" destOrd="0" presId="urn:microsoft.com/office/officeart/2005/8/layout/orgChart1"/>
    <dgm:cxn modelId="{615358C3-3D03-4A30-9A66-5F36DDCB6052}" type="presParOf" srcId="{AD26F847-9CE7-45E6-9035-07FD1E306F3C}" destId="{3D62A570-D8C5-4EB2-AE2B-5540AA8D967D}" srcOrd="1" destOrd="0" presId="urn:microsoft.com/office/officeart/2005/8/layout/orgChart1"/>
    <dgm:cxn modelId="{46CE228C-2FEB-4A3F-9AE6-03016045D0A1}" type="presParOf" srcId="{AD26F847-9CE7-45E6-9035-07FD1E306F3C}" destId="{728B4FB2-C497-4B30-A63B-0BACFDFFF867}" srcOrd="2" destOrd="0" presId="urn:microsoft.com/office/officeart/2005/8/layout/orgChart1"/>
    <dgm:cxn modelId="{6B68123F-763C-406F-ADCF-EB7BA38D33EF}" type="presParOf" srcId="{557E449D-883C-4B07-8DF5-6E9A67807F33}" destId="{22428ABC-E7AC-4457-8EE0-25E8445ADA29}" srcOrd="2" destOrd="0" presId="urn:microsoft.com/office/officeart/2005/8/layout/orgChart1"/>
    <dgm:cxn modelId="{FA68E0C0-A5ED-4803-A75B-70CE769526F0}" type="presParOf" srcId="{28F3C03C-1468-49DE-9363-B40CFCF80869}" destId="{7E6308F7-62A4-4031-8272-DEA95603ED01}" srcOrd="6" destOrd="0" presId="urn:microsoft.com/office/officeart/2005/8/layout/orgChart1"/>
    <dgm:cxn modelId="{306744FA-0937-495D-B75A-EC899A8BF144}" type="presParOf" srcId="{28F3C03C-1468-49DE-9363-B40CFCF80869}" destId="{23A73E3C-A5DE-4B43-A039-D46C8ED4E1BB}" srcOrd="7" destOrd="0" presId="urn:microsoft.com/office/officeart/2005/8/layout/orgChart1"/>
    <dgm:cxn modelId="{96F6A63B-3E6E-4F82-BD2A-43A96BE8DE0F}" type="presParOf" srcId="{23A73E3C-A5DE-4B43-A039-D46C8ED4E1BB}" destId="{055F5605-D579-45B9-BB55-E1EED34BB356}" srcOrd="0" destOrd="0" presId="urn:microsoft.com/office/officeart/2005/8/layout/orgChart1"/>
    <dgm:cxn modelId="{C59A00FE-C37E-4E37-9DED-F92D826C1908}" type="presParOf" srcId="{055F5605-D579-45B9-BB55-E1EED34BB356}" destId="{5B752291-517A-4078-9C4B-5EA4A13C421A}" srcOrd="0" destOrd="0" presId="urn:microsoft.com/office/officeart/2005/8/layout/orgChart1"/>
    <dgm:cxn modelId="{F82908F8-DB6A-493B-8E39-C49E326940A9}" type="presParOf" srcId="{055F5605-D579-45B9-BB55-E1EED34BB356}" destId="{447739F5-90AC-4E27-B41B-F4D2CE5081E3}" srcOrd="1" destOrd="0" presId="urn:microsoft.com/office/officeart/2005/8/layout/orgChart1"/>
    <dgm:cxn modelId="{E3CF0344-A2E5-418F-9CFF-E8616E44C68C}" type="presParOf" srcId="{23A73E3C-A5DE-4B43-A039-D46C8ED4E1BB}" destId="{972FF757-23C0-46CF-9D96-79BDAA995D22}" srcOrd="1" destOrd="0" presId="urn:microsoft.com/office/officeart/2005/8/layout/orgChart1"/>
    <dgm:cxn modelId="{C52AD198-48D9-43EB-B10C-28309B6650BB}" type="presParOf" srcId="{972FF757-23C0-46CF-9D96-79BDAA995D22}" destId="{B42A6584-8384-4F51-B187-E8EE256320E6}" srcOrd="0" destOrd="0" presId="urn:microsoft.com/office/officeart/2005/8/layout/orgChart1"/>
    <dgm:cxn modelId="{42D74C36-88B3-42EB-A371-AEBC57D4F7CE}" type="presParOf" srcId="{972FF757-23C0-46CF-9D96-79BDAA995D22}" destId="{90166F0E-DC2F-496C-84C4-7F14C98FBEBD}" srcOrd="1" destOrd="0" presId="urn:microsoft.com/office/officeart/2005/8/layout/orgChart1"/>
    <dgm:cxn modelId="{053B5E32-EB2E-4337-870F-F8C9A95DA799}" type="presParOf" srcId="{90166F0E-DC2F-496C-84C4-7F14C98FBEBD}" destId="{0A005DD3-16A7-40FE-8A79-F3305BB2EE64}" srcOrd="0" destOrd="0" presId="urn:microsoft.com/office/officeart/2005/8/layout/orgChart1"/>
    <dgm:cxn modelId="{2377A07F-2887-4F2A-8143-FD452EF0CF7D}" type="presParOf" srcId="{0A005DD3-16A7-40FE-8A79-F3305BB2EE64}" destId="{53194357-D1F0-4A9D-9903-33484884A9E8}" srcOrd="0" destOrd="0" presId="urn:microsoft.com/office/officeart/2005/8/layout/orgChart1"/>
    <dgm:cxn modelId="{7CF7E190-B871-48CC-A301-BDE231D0E500}" type="presParOf" srcId="{0A005DD3-16A7-40FE-8A79-F3305BB2EE64}" destId="{ABE2151A-A661-40B2-BBAE-C878343C2DE3}" srcOrd="1" destOrd="0" presId="urn:microsoft.com/office/officeart/2005/8/layout/orgChart1"/>
    <dgm:cxn modelId="{492AD815-C1E4-4BE6-8635-95608227E0EA}" type="presParOf" srcId="{90166F0E-DC2F-496C-84C4-7F14C98FBEBD}" destId="{1A9CF5EB-5B6A-420A-B626-813B836DB6CA}" srcOrd="1" destOrd="0" presId="urn:microsoft.com/office/officeart/2005/8/layout/orgChart1"/>
    <dgm:cxn modelId="{C1F8D93F-8626-4946-9095-A68C372DC072}" type="presParOf" srcId="{90166F0E-DC2F-496C-84C4-7F14C98FBEBD}" destId="{0E2F3D06-B052-4720-A058-231C7DF6A6C9}" srcOrd="2" destOrd="0" presId="urn:microsoft.com/office/officeart/2005/8/layout/orgChart1"/>
    <dgm:cxn modelId="{FAE70695-77FD-4D1B-8403-D8642375D41D}" type="presParOf" srcId="{972FF757-23C0-46CF-9D96-79BDAA995D22}" destId="{B37216AA-00E5-4A32-81BF-7993B0AEC736}" srcOrd="2" destOrd="0" presId="urn:microsoft.com/office/officeart/2005/8/layout/orgChart1"/>
    <dgm:cxn modelId="{137B4628-1AC6-4EA2-B995-FC9D9D5B97BD}" type="presParOf" srcId="{972FF757-23C0-46CF-9D96-79BDAA995D22}" destId="{146294E7-C5A4-4167-BB3D-F0009C5B7AF5}" srcOrd="3" destOrd="0" presId="urn:microsoft.com/office/officeart/2005/8/layout/orgChart1"/>
    <dgm:cxn modelId="{CB0662F0-3171-47E6-A14F-C849B301ED52}" type="presParOf" srcId="{146294E7-C5A4-4167-BB3D-F0009C5B7AF5}" destId="{88E0AC5D-7F01-4B3B-9ABB-46BC27A53E92}" srcOrd="0" destOrd="0" presId="urn:microsoft.com/office/officeart/2005/8/layout/orgChart1"/>
    <dgm:cxn modelId="{E8DEF211-DCA6-4C76-A788-BFC3DADF63A6}" type="presParOf" srcId="{88E0AC5D-7F01-4B3B-9ABB-46BC27A53E92}" destId="{5516AD33-14C2-414D-9A63-A6225E885FB5}" srcOrd="0" destOrd="0" presId="urn:microsoft.com/office/officeart/2005/8/layout/orgChart1"/>
    <dgm:cxn modelId="{8AAC9428-9096-4EAC-BA1A-DD87F2E8A330}" type="presParOf" srcId="{88E0AC5D-7F01-4B3B-9ABB-46BC27A53E92}" destId="{B30C8584-0B16-477F-A651-D3A88C4DE89F}" srcOrd="1" destOrd="0" presId="urn:microsoft.com/office/officeart/2005/8/layout/orgChart1"/>
    <dgm:cxn modelId="{A216454D-4B86-43DE-90B9-2B82CB57FB96}" type="presParOf" srcId="{146294E7-C5A4-4167-BB3D-F0009C5B7AF5}" destId="{BC4B3269-DE9D-4D1A-88AA-7DB46C769B1C}" srcOrd="1" destOrd="0" presId="urn:microsoft.com/office/officeart/2005/8/layout/orgChart1"/>
    <dgm:cxn modelId="{7058AA10-FE97-43EB-8C72-E3F0DD180DBB}" type="presParOf" srcId="{146294E7-C5A4-4167-BB3D-F0009C5B7AF5}" destId="{DDB3BBDA-EA3F-4ADA-BE07-A7F9B66CCB7A}" srcOrd="2" destOrd="0" presId="urn:microsoft.com/office/officeart/2005/8/layout/orgChart1"/>
    <dgm:cxn modelId="{A11F1489-FECF-4889-8C1A-04D480813E05}" type="presParOf" srcId="{972FF757-23C0-46CF-9D96-79BDAA995D22}" destId="{5DDCECDE-1BAE-429C-B657-4E2E0118E2B1}" srcOrd="4" destOrd="0" presId="urn:microsoft.com/office/officeart/2005/8/layout/orgChart1"/>
    <dgm:cxn modelId="{3A942349-C717-43DA-B4C2-997EC47E130C}" type="presParOf" srcId="{972FF757-23C0-46CF-9D96-79BDAA995D22}" destId="{9FE958C1-7871-4175-A99E-7DEDD1360037}" srcOrd="5" destOrd="0" presId="urn:microsoft.com/office/officeart/2005/8/layout/orgChart1"/>
    <dgm:cxn modelId="{7DBCFAB4-49D0-4C82-A122-ECDC03751A28}" type="presParOf" srcId="{9FE958C1-7871-4175-A99E-7DEDD1360037}" destId="{65173364-DDCC-4EDC-803A-A879B9A1559F}" srcOrd="0" destOrd="0" presId="urn:microsoft.com/office/officeart/2005/8/layout/orgChart1"/>
    <dgm:cxn modelId="{4E6DFAF1-A89D-49CF-AFAE-393C8AF07A51}" type="presParOf" srcId="{65173364-DDCC-4EDC-803A-A879B9A1559F}" destId="{3EE583D6-7E02-463C-B888-7CE458A7C0AD}" srcOrd="0" destOrd="0" presId="urn:microsoft.com/office/officeart/2005/8/layout/orgChart1"/>
    <dgm:cxn modelId="{CF20E030-0F99-447A-AEA9-DB9D20C0216B}" type="presParOf" srcId="{65173364-DDCC-4EDC-803A-A879B9A1559F}" destId="{8A1E5FD2-E70E-45E2-BE38-B3BE94868D48}" srcOrd="1" destOrd="0" presId="urn:microsoft.com/office/officeart/2005/8/layout/orgChart1"/>
    <dgm:cxn modelId="{9BEBA57B-04AF-4E1E-B8E8-66EF9C3E3E25}" type="presParOf" srcId="{9FE958C1-7871-4175-A99E-7DEDD1360037}" destId="{53E6317C-4464-4615-8E7A-E52C664977BE}" srcOrd="1" destOrd="0" presId="urn:microsoft.com/office/officeart/2005/8/layout/orgChart1"/>
    <dgm:cxn modelId="{7A18EB44-B312-4BCF-A7DD-A53C74180006}" type="presParOf" srcId="{9FE958C1-7871-4175-A99E-7DEDD1360037}" destId="{861B45D0-4043-4EC9-89ED-422055A2AD5F}" srcOrd="2" destOrd="0" presId="urn:microsoft.com/office/officeart/2005/8/layout/orgChart1"/>
    <dgm:cxn modelId="{39CBCE62-FC95-4D47-8FFE-6A4F1B4911BD}" type="presParOf" srcId="{23A73E3C-A5DE-4B43-A039-D46C8ED4E1BB}" destId="{771C760C-B2F3-4830-B362-C1A58BA32D55}" srcOrd="2" destOrd="0" presId="urn:microsoft.com/office/officeart/2005/8/layout/orgChart1"/>
    <dgm:cxn modelId="{E4682157-5490-432D-9665-B18086A929C7}" type="presParOf" srcId="{804B14DD-2E09-4103-A0E8-96F25F7CA157}" destId="{1FD22DC7-9F37-4966-BF9E-BD78AD04FDD9}" srcOrd="2" destOrd="0" presId="urn:microsoft.com/office/officeart/2005/8/layout/orgChart1"/>
  </dgm:cxnLst>
  <dgm:bg>
    <a:noFill/>
  </dgm:bg>
  <dgm:whole>
    <a:ln>
      <a:noFill/>
    </a:ln>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B937577-215E-4E0E-B125-D24AACEE5E92}" type="doc">
      <dgm:prSet loTypeId="urn:microsoft.com/office/officeart/2005/8/layout/chevron1" loCatId="process" qsTypeId="urn:microsoft.com/office/officeart/2005/8/quickstyle/simple1" qsCatId="simple" csTypeId="urn:microsoft.com/office/officeart/2005/8/colors/accent2_2" csCatId="accent2" phldr="1"/>
      <dgm:spPr/>
    </dgm:pt>
    <dgm:pt modelId="{6D0C7193-60E3-4868-844D-F23323B1C8F8}">
      <dgm:prSet phldrT="[Text]" custT="1"/>
      <dgm:spPr/>
      <dgm:t>
        <a:bodyPr/>
        <a:lstStyle/>
        <a:p>
          <a:pPr>
            <a:spcAft>
              <a:spcPts val="0"/>
            </a:spcAft>
          </a:pPr>
          <a:r>
            <a:rPr lang="en-US" sz="1400" dirty="0"/>
            <a:t>0% Talc</a:t>
          </a:r>
        </a:p>
        <a:p>
          <a:pPr>
            <a:spcAft>
              <a:spcPts val="0"/>
            </a:spcAft>
          </a:pPr>
          <a:r>
            <a:rPr lang="en-US" sz="1400" dirty="0"/>
            <a:t> 1% </a:t>
          </a:r>
          <a:r>
            <a:rPr lang="en-US" sz="1400" dirty="0" err="1"/>
            <a:t>Microtalc</a:t>
          </a:r>
          <a:r>
            <a:rPr lang="en-US" sz="1400" dirty="0"/>
            <a:t> (after) </a:t>
          </a:r>
        </a:p>
      </dgm:t>
    </dgm:pt>
    <dgm:pt modelId="{4077372B-1B0D-487B-B7EA-7D0FFB9BBF0D}" type="parTrans" cxnId="{E8CDD909-EC88-4E5E-8322-D06181F4BF74}">
      <dgm:prSet/>
      <dgm:spPr/>
      <dgm:t>
        <a:bodyPr/>
        <a:lstStyle/>
        <a:p>
          <a:endParaRPr lang="en-US" sz="1400"/>
        </a:p>
      </dgm:t>
    </dgm:pt>
    <dgm:pt modelId="{1B9A3C4E-C52D-46DA-8262-CC44659D3B77}" type="sibTrans" cxnId="{E8CDD909-EC88-4E5E-8322-D06181F4BF74}">
      <dgm:prSet/>
      <dgm:spPr/>
      <dgm:t>
        <a:bodyPr/>
        <a:lstStyle/>
        <a:p>
          <a:endParaRPr lang="en-US" sz="1400"/>
        </a:p>
      </dgm:t>
    </dgm:pt>
    <dgm:pt modelId="{AB426BC5-2694-4B20-9F05-0A045FEEE403}">
      <dgm:prSet phldrT="[Text]" custT="1"/>
      <dgm:spPr/>
      <dgm:t>
        <a:bodyPr/>
        <a:lstStyle/>
        <a:p>
          <a:r>
            <a:rPr lang="en-US" sz="2400" dirty="0"/>
            <a:t>4% Talc</a:t>
          </a:r>
        </a:p>
      </dgm:t>
    </dgm:pt>
    <dgm:pt modelId="{0C204E42-CED4-42AF-8A02-10DC0A4FAB91}" type="parTrans" cxnId="{EA0E1E23-928D-4681-AF62-78CD3909F1DA}">
      <dgm:prSet/>
      <dgm:spPr/>
      <dgm:t>
        <a:bodyPr/>
        <a:lstStyle/>
        <a:p>
          <a:endParaRPr lang="en-US" sz="1400"/>
        </a:p>
      </dgm:t>
    </dgm:pt>
    <dgm:pt modelId="{87E55BDA-65CC-41BB-999C-336EF8CEABBD}" type="sibTrans" cxnId="{EA0E1E23-928D-4681-AF62-78CD3909F1DA}">
      <dgm:prSet/>
      <dgm:spPr/>
      <dgm:t>
        <a:bodyPr/>
        <a:lstStyle/>
        <a:p>
          <a:endParaRPr lang="en-US" sz="1400"/>
        </a:p>
      </dgm:t>
    </dgm:pt>
    <dgm:pt modelId="{12116A9B-9270-4763-AEA6-C51F2A1370B6}">
      <dgm:prSet phldrT="[Text]" custT="1"/>
      <dgm:spPr/>
      <dgm:t>
        <a:bodyPr/>
        <a:lstStyle/>
        <a:p>
          <a:r>
            <a:rPr lang="en-US" sz="2400" dirty="0"/>
            <a:t>6% Talc</a:t>
          </a:r>
        </a:p>
      </dgm:t>
    </dgm:pt>
    <dgm:pt modelId="{5EE3781C-C197-422E-AA0F-CE57FFB7A6FB}" type="parTrans" cxnId="{B692C564-AEB9-4D55-B1BE-98C4FE1B4F7D}">
      <dgm:prSet/>
      <dgm:spPr/>
      <dgm:t>
        <a:bodyPr/>
        <a:lstStyle/>
        <a:p>
          <a:endParaRPr lang="en-US" sz="1400"/>
        </a:p>
      </dgm:t>
    </dgm:pt>
    <dgm:pt modelId="{704EA02E-B8B7-469C-B118-1796DA9C0D2C}" type="sibTrans" cxnId="{B692C564-AEB9-4D55-B1BE-98C4FE1B4F7D}">
      <dgm:prSet/>
      <dgm:spPr/>
      <dgm:t>
        <a:bodyPr/>
        <a:lstStyle/>
        <a:p>
          <a:endParaRPr lang="en-US" sz="1400"/>
        </a:p>
      </dgm:t>
    </dgm:pt>
    <dgm:pt modelId="{36483AC6-5E77-4861-9016-76B2FE9E113B}">
      <dgm:prSet phldrT="[Text]" custT="1"/>
      <dgm:spPr/>
      <dgm:t>
        <a:bodyPr/>
        <a:lstStyle/>
        <a:p>
          <a:r>
            <a:rPr lang="en-US" sz="2400" dirty="0"/>
            <a:t>8% Talc</a:t>
          </a:r>
        </a:p>
      </dgm:t>
    </dgm:pt>
    <dgm:pt modelId="{B565D238-F9CF-4E81-8E17-5A6348DF0DF7}" type="parTrans" cxnId="{52B8C478-84CC-41A3-B5AC-7716884C6709}">
      <dgm:prSet/>
      <dgm:spPr/>
      <dgm:t>
        <a:bodyPr/>
        <a:lstStyle/>
        <a:p>
          <a:endParaRPr lang="en-US" sz="1400"/>
        </a:p>
      </dgm:t>
    </dgm:pt>
    <dgm:pt modelId="{88362E8A-7A2E-4EEF-807C-78979C17512A}" type="sibTrans" cxnId="{52B8C478-84CC-41A3-B5AC-7716884C6709}">
      <dgm:prSet/>
      <dgm:spPr/>
      <dgm:t>
        <a:bodyPr/>
        <a:lstStyle/>
        <a:p>
          <a:endParaRPr lang="en-US" sz="1400"/>
        </a:p>
      </dgm:t>
    </dgm:pt>
    <dgm:pt modelId="{D0D2C0DB-5179-4D91-94E0-59CE2DDE9828}" type="pres">
      <dgm:prSet presAssocID="{3B937577-215E-4E0E-B125-D24AACEE5E92}" presName="Name0" presStyleCnt="0">
        <dgm:presLayoutVars>
          <dgm:dir/>
          <dgm:animLvl val="lvl"/>
          <dgm:resizeHandles val="exact"/>
        </dgm:presLayoutVars>
      </dgm:prSet>
      <dgm:spPr/>
    </dgm:pt>
    <dgm:pt modelId="{70B8C162-B97F-43D0-A9AB-DBA02B9CA0E7}" type="pres">
      <dgm:prSet presAssocID="{6D0C7193-60E3-4868-844D-F23323B1C8F8}" presName="parTxOnly" presStyleLbl="node1" presStyleIdx="0" presStyleCnt="4" custScaleX="121583">
        <dgm:presLayoutVars>
          <dgm:chMax val="0"/>
          <dgm:chPref val="0"/>
          <dgm:bulletEnabled val="1"/>
        </dgm:presLayoutVars>
      </dgm:prSet>
      <dgm:spPr/>
    </dgm:pt>
    <dgm:pt modelId="{EFA04FAD-9709-4D3B-BF40-8B1DF12FE0F6}" type="pres">
      <dgm:prSet presAssocID="{1B9A3C4E-C52D-46DA-8262-CC44659D3B77}" presName="parTxOnlySpace" presStyleCnt="0"/>
      <dgm:spPr/>
    </dgm:pt>
    <dgm:pt modelId="{5E8A6D4B-53DD-40B3-9079-5EBF80D48F16}" type="pres">
      <dgm:prSet presAssocID="{AB426BC5-2694-4B20-9F05-0A045FEEE403}" presName="parTxOnly" presStyleLbl="node1" presStyleIdx="1" presStyleCnt="4">
        <dgm:presLayoutVars>
          <dgm:chMax val="0"/>
          <dgm:chPref val="0"/>
          <dgm:bulletEnabled val="1"/>
        </dgm:presLayoutVars>
      </dgm:prSet>
      <dgm:spPr/>
    </dgm:pt>
    <dgm:pt modelId="{943FC961-3441-467C-8142-280FFAD57A55}" type="pres">
      <dgm:prSet presAssocID="{87E55BDA-65CC-41BB-999C-336EF8CEABBD}" presName="parTxOnlySpace" presStyleCnt="0"/>
      <dgm:spPr/>
    </dgm:pt>
    <dgm:pt modelId="{51BAC2C6-225D-4594-AC81-9626EF5447D2}" type="pres">
      <dgm:prSet presAssocID="{12116A9B-9270-4763-AEA6-C51F2A1370B6}" presName="parTxOnly" presStyleLbl="node1" presStyleIdx="2" presStyleCnt="4">
        <dgm:presLayoutVars>
          <dgm:chMax val="0"/>
          <dgm:chPref val="0"/>
          <dgm:bulletEnabled val="1"/>
        </dgm:presLayoutVars>
      </dgm:prSet>
      <dgm:spPr/>
    </dgm:pt>
    <dgm:pt modelId="{8ECE5FB7-B459-4D90-96D4-E2047144B871}" type="pres">
      <dgm:prSet presAssocID="{704EA02E-B8B7-469C-B118-1796DA9C0D2C}" presName="parTxOnlySpace" presStyleCnt="0"/>
      <dgm:spPr/>
    </dgm:pt>
    <dgm:pt modelId="{2BBDE119-AE60-4646-A0E0-26244CB325A3}" type="pres">
      <dgm:prSet presAssocID="{36483AC6-5E77-4861-9016-76B2FE9E113B}" presName="parTxOnly" presStyleLbl="node1" presStyleIdx="3" presStyleCnt="4">
        <dgm:presLayoutVars>
          <dgm:chMax val="0"/>
          <dgm:chPref val="0"/>
          <dgm:bulletEnabled val="1"/>
        </dgm:presLayoutVars>
      </dgm:prSet>
      <dgm:spPr/>
    </dgm:pt>
  </dgm:ptLst>
  <dgm:cxnLst>
    <dgm:cxn modelId="{E8CDD909-EC88-4E5E-8322-D06181F4BF74}" srcId="{3B937577-215E-4E0E-B125-D24AACEE5E92}" destId="{6D0C7193-60E3-4868-844D-F23323B1C8F8}" srcOrd="0" destOrd="0" parTransId="{4077372B-1B0D-487B-B7EA-7D0FFB9BBF0D}" sibTransId="{1B9A3C4E-C52D-46DA-8262-CC44659D3B77}"/>
    <dgm:cxn modelId="{1DC0E20B-1A0E-4D0A-8781-E48A471FD45B}" type="presOf" srcId="{3B937577-215E-4E0E-B125-D24AACEE5E92}" destId="{D0D2C0DB-5179-4D91-94E0-59CE2DDE9828}" srcOrd="0" destOrd="0" presId="urn:microsoft.com/office/officeart/2005/8/layout/chevron1"/>
    <dgm:cxn modelId="{B2369817-0DFD-4BDC-B5A8-5D0AED68FC41}" type="presOf" srcId="{12116A9B-9270-4763-AEA6-C51F2A1370B6}" destId="{51BAC2C6-225D-4594-AC81-9626EF5447D2}" srcOrd="0" destOrd="0" presId="urn:microsoft.com/office/officeart/2005/8/layout/chevron1"/>
    <dgm:cxn modelId="{EA0E1E23-928D-4681-AF62-78CD3909F1DA}" srcId="{3B937577-215E-4E0E-B125-D24AACEE5E92}" destId="{AB426BC5-2694-4B20-9F05-0A045FEEE403}" srcOrd="1" destOrd="0" parTransId="{0C204E42-CED4-42AF-8A02-10DC0A4FAB91}" sibTransId="{87E55BDA-65CC-41BB-999C-336EF8CEABBD}"/>
    <dgm:cxn modelId="{83743E41-DB40-4A91-A321-363660205F2E}" type="presOf" srcId="{AB426BC5-2694-4B20-9F05-0A045FEEE403}" destId="{5E8A6D4B-53DD-40B3-9079-5EBF80D48F16}" srcOrd="0" destOrd="0" presId="urn:microsoft.com/office/officeart/2005/8/layout/chevron1"/>
    <dgm:cxn modelId="{B692C564-AEB9-4D55-B1BE-98C4FE1B4F7D}" srcId="{3B937577-215E-4E0E-B125-D24AACEE5E92}" destId="{12116A9B-9270-4763-AEA6-C51F2A1370B6}" srcOrd="2" destOrd="0" parTransId="{5EE3781C-C197-422E-AA0F-CE57FFB7A6FB}" sibTransId="{704EA02E-B8B7-469C-B118-1796DA9C0D2C}"/>
    <dgm:cxn modelId="{52B8C478-84CC-41A3-B5AC-7716884C6709}" srcId="{3B937577-215E-4E0E-B125-D24AACEE5E92}" destId="{36483AC6-5E77-4861-9016-76B2FE9E113B}" srcOrd="3" destOrd="0" parTransId="{B565D238-F9CF-4E81-8E17-5A6348DF0DF7}" sibTransId="{88362E8A-7A2E-4EEF-807C-78979C17512A}"/>
    <dgm:cxn modelId="{E14FD77A-85ED-486A-A490-F875F11B63EB}" type="presOf" srcId="{36483AC6-5E77-4861-9016-76B2FE9E113B}" destId="{2BBDE119-AE60-4646-A0E0-26244CB325A3}" srcOrd="0" destOrd="0" presId="urn:microsoft.com/office/officeart/2005/8/layout/chevron1"/>
    <dgm:cxn modelId="{5873DAC5-9FAF-4CCF-9977-550440EDB58E}" type="presOf" srcId="{6D0C7193-60E3-4868-844D-F23323B1C8F8}" destId="{70B8C162-B97F-43D0-A9AB-DBA02B9CA0E7}" srcOrd="0" destOrd="0" presId="urn:microsoft.com/office/officeart/2005/8/layout/chevron1"/>
    <dgm:cxn modelId="{53B38ABB-D159-4CB0-87C5-36DA54BCDD22}" type="presParOf" srcId="{D0D2C0DB-5179-4D91-94E0-59CE2DDE9828}" destId="{70B8C162-B97F-43D0-A9AB-DBA02B9CA0E7}" srcOrd="0" destOrd="0" presId="urn:microsoft.com/office/officeart/2005/8/layout/chevron1"/>
    <dgm:cxn modelId="{B2C243C3-D24E-4B5C-A6D1-956315BC6072}" type="presParOf" srcId="{D0D2C0DB-5179-4D91-94E0-59CE2DDE9828}" destId="{EFA04FAD-9709-4D3B-BF40-8B1DF12FE0F6}" srcOrd="1" destOrd="0" presId="urn:microsoft.com/office/officeart/2005/8/layout/chevron1"/>
    <dgm:cxn modelId="{F10304E4-A33F-417A-A78A-9B783ABBE58D}" type="presParOf" srcId="{D0D2C0DB-5179-4D91-94E0-59CE2DDE9828}" destId="{5E8A6D4B-53DD-40B3-9079-5EBF80D48F16}" srcOrd="2" destOrd="0" presId="urn:microsoft.com/office/officeart/2005/8/layout/chevron1"/>
    <dgm:cxn modelId="{7F528AA3-7778-4FE3-9E0B-1D609CA1D384}" type="presParOf" srcId="{D0D2C0DB-5179-4D91-94E0-59CE2DDE9828}" destId="{943FC961-3441-467C-8142-280FFAD57A55}" srcOrd="3" destOrd="0" presId="urn:microsoft.com/office/officeart/2005/8/layout/chevron1"/>
    <dgm:cxn modelId="{C31507A5-033C-4A3F-ACD5-4BECD2A712D2}" type="presParOf" srcId="{D0D2C0DB-5179-4D91-94E0-59CE2DDE9828}" destId="{51BAC2C6-225D-4594-AC81-9626EF5447D2}" srcOrd="4" destOrd="0" presId="urn:microsoft.com/office/officeart/2005/8/layout/chevron1"/>
    <dgm:cxn modelId="{20523948-E62B-412B-B83C-4C6396C8EA43}" type="presParOf" srcId="{D0D2C0DB-5179-4D91-94E0-59CE2DDE9828}" destId="{8ECE5FB7-B459-4D90-96D4-E2047144B871}" srcOrd="5" destOrd="0" presId="urn:microsoft.com/office/officeart/2005/8/layout/chevron1"/>
    <dgm:cxn modelId="{611F15FB-A95E-416F-81A1-863BA110528A}" type="presParOf" srcId="{D0D2C0DB-5179-4D91-94E0-59CE2DDE9828}" destId="{2BBDE119-AE60-4646-A0E0-26244CB325A3}" srcOrd="6"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78D6EF2-5D4D-4110-92C7-75E4408BA1F9}" type="doc">
      <dgm:prSet loTypeId="urn:microsoft.com/office/officeart/2005/8/layout/radial5" loCatId="cycle" qsTypeId="urn:microsoft.com/office/officeart/2005/8/quickstyle/simple1" qsCatId="simple" csTypeId="urn:microsoft.com/office/officeart/2005/8/colors/accent1_2" csCatId="accent1" phldr="1"/>
      <dgm:spPr/>
      <dgm:t>
        <a:bodyPr/>
        <a:lstStyle/>
        <a:p>
          <a:endParaRPr lang="en-US"/>
        </a:p>
      </dgm:t>
    </dgm:pt>
    <dgm:pt modelId="{AFF57BB2-528C-4037-B1CF-B66C3A601872}">
      <dgm:prSet phldrT="[Text]"/>
      <dgm:spPr/>
      <dgm:t>
        <a:bodyPr/>
        <a:lstStyle/>
        <a:p>
          <a:r>
            <a:rPr lang="en-US" dirty="0"/>
            <a:t>Curing</a:t>
          </a:r>
        </a:p>
      </dgm:t>
    </dgm:pt>
    <dgm:pt modelId="{DE8FD57F-60B2-4676-8B3E-14D544E0A1D9}" type="parTrans" cxnId="{F3D7263A-0CAD-4544-B930-4862651774D2}">
      <dgm:prSet/>
      <dgm:spPr/>
      <dgm:t>
        <a:bodyPr/>
        <a:lstStyle/>
        <a:p>
          <a:endParaRPr lang="en-US"/>
        </a:p>
      </dgm:t>
    </dgm:pt>
    <dgm:pt modelId="{ECA4CEB2-56D6-4265-B204-17B2CD082184}" type="sibTrans" cxnId="{F3D7263A-0CAD-4544-B930-4862651774D2}">
      <dgm:prSet/>
      <dgm:spPr/>
      <dgm:t>
        <a:bodyPr/>
        <a:lstStyle/>
        <a:p>
          <a:endParaRPr lang="en-US"/>
        </a:p>
      </dgm:t>
    </dgm:pt>
    <dgm:pt modelId="{0D07951D-4AF0-489E-88E7-1EBD632C33BA}">
      <dgm:prSet phldrT="[Text]"/>
      <dgm:spPr/>
      <dgm:t>
        <a:bodyPr/>
        <a:lstStyle/>
        <a:p>
          <a:pPr>
            <a:buClrTx/>
            <a:buSzTx/>
            <a:buFontTx/>
            <a:buNone/>
          </a:pPr>
          <a:r>
            <a:rPr kumimoji="0" lang="en-US" altLang="de-DE" b="0" i="0" u="none" strike="noStrike"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Quantity</a:t>
          </a:r>
        </a:p>
        <a:p>
          <a:pPr>
            <a:buClrTx/>
            <a:buSzTx/>
            <a:buFontTx/>
            <a:buNone/>
          </a:pPr>
          <a:r>
            <a:rPr kumimoji="0" lang="en-US" altLang="de-DE" b="0" i="0" u="none" strike="noStrike"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of plasticizer and talc</a:t>
          </a:r>
          <a:endParaRPr lang="en-US" dirty="0">
            <a:solidFill>
              <a:schemeClr val="bg1"/>
            </a:solidFill>
          </a:endParaRPr>
        </a:p>
      </dgm:t>
    </dgm:pt>
    <dgm:pt modelId="{0EFACE77-92C3-477E-B012-F22297387804}" type="parTrans" cxnId="{F6DE20ED-C27B-4EDE-B9E9-FBC24D820801}">
      <dgm:prSet/>
      <dgm:spPr/>
      <dgm:t>
        <a:bodyPr/>
        <a:lstStyle/>
        <a:p>
          <a:endParaRPr lang="en-US"/>
        </a:p>
      </dgm:t>
    </dgm:pt>
    <dgm:pt modelId="{EF726BFF-86A7-41CD-A1E0-3A4D827DCD5A}" type="sibTrans" cxnId="{F6DE20ED-C27B-4EDE-B9E9-FBC24D820801}">
      <dgm:prSet/>
      <dgm:spPr/>
      <dgm:t>
        <a:bodyPr/>
        <a:lstStyle/>
        <a:p>
          <a:endParaRPr lang="en-US"/>
        </a:p>
      </dgm:t>
    </dgm:pt>
    <dgm:pt modelId="{60DF3D00-035F-42EB-9FDC-E034378DBB70}">
      <dgm:prSet phldrT="[Text]"/>
      <dgm:spPr/>
      <dgm:t>
        <a:bodyPr/>
        <a:lstStyle/>
        <a:p>
          <a:r>
            <a:rPr lang="en-US" dirty="0"/>
            <a:t>Antioxidant (BHT level)</a:t>
          </a:r>
        </a:p>
      </dgm:t>
    </dgm:pt>
    <dgm:pt modelId="{148502EF-188A-4403-AEC5-F253EF0442BC}" type="parTrans" cxnId="{10736DE6-408A-42E1-8B3D-93BA56E15CC6}">
      <dgm:prSet/>
      <dgm:spPr/>
      <dgm:t>
        <a:bodyPr/>
        <a:lstStyle/>
        <a:p>
          <a:endParaRPr lang="en-US"/>
        </a:p>
      </dgm:t>
    </dgm:pt>
    <dgm:pt modelId="{EA1B320B-7478-40E5-BE63-7A292D945606}" type="sibTrans" cxnId="{10736DE6-408A-42E1-8B3D-93BA56E15CC6}">
      <dgm:prSet/>
      <dgm:spPr/>
      <dgm:t>
        <a:bodyPr/>
        <a:lstStyle/>
        <a:p>
          <a:endParaRPr lang="en-US"/>
        </a:p>
      </dgm:t>
    </dgm:pt>
    <dgm:pt modelId="{05475103-F48B-4320-A2A8-D35845241A26}">
      <dgm:prSet phldrT="[Text]"/>
      <dgm:spPr/>
      <dgm:t>
        <a:bodyPr/>
        <a:lstStyle/>
        <a:p>
          <a:pPr>
            <a:buClrTx/>
            <a:buSzTx/>
            <a:buFontTx/>
            <a:buNone/>
          </a:pPr>
          <a:r>
            <a:rPr kumimoji="0" lang="en-US" altLang="de-DE" b="0" i="0" u="none" strike="noStrike"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queous dispersion or organic solution</a:t>
          </a:r>
          <a:endParaRPr lang="en-US" dirty="0">
            <a:solidFill>
              <a:schemeClr val="bg1"/>
            </a:solidFill>
          </a:endParaRPr>
        </a:p>
      </dgm:t>
    </dgm:pt>
    <dgm:pt modelId="{288D5091-73B4-4780-A43B-CCB2CCEC91FB}" type="parTrans" cxnId="{FEF0E276-0DEF-490C-930B-C10F39F52176}">
      <dgm:prSet/>
      <dgm:spPr/>
      <dgm:t>
        <a:bodyPr/>
        <a:lstStyle/>
        <a:p>
          <a:endParaRPr lang="en-US"/>
        </a:p>
      </dgm:t>
    </dgm:pt>
    <dgm:pt modelId="{705D91C1-F569-4C54-A8B1-149F22D589E3}" type="sibTrans" cxnId="{FEF0E276-0DEF-490C-930B-C10F39F52176}">
      <dgm:prSet/>
      <dgm:spPr/>
      <dgm:t>
        <a:bodyPr/>
        <a:lstStyle/>
        <a:p>
          <a:endParaRPr lang="en-US"/>
        </a:p>
      </dgm:t>
    </dgm:pt>
    <dgm:pt modelId="{2816234C-619B-4B94-B300-009D959D4CBF}">
      <dgm:prSet phldrT="[Text]"/>
      <dgm:spPr/>
      <dgm:t>
        <a:bodyPr/>
        <a:lstStyle/>
        <a:p>
          <a:pPr>
            <a:buClrTx/>
            <a:buSzTx/>
            <a:buFontTx/>
            <a:buNone/>
          </a:pPr>
          <a:r>
            <a:rPr kumimoji="0" lang="en-US" altLang="de-DE" b="0" i="0" u="none" strike="noStrike" cap="none" spc="0" normalizeH="0" baseline="0" noProof="0" dirty="0">
              <a:ln>
                <a:noFill/>
              </a:ln>
              <a:solidFill>
                <a:schemeClr val="bg1"/>
              </a:solidFill>
              <a:effectLst/>
              <a:uLnTx/>
              <a:uFillTx/>
              <a:latin typeface="Arial" panose="020B0604020202020204"/>
              <a:cs typeface="Arial"/>
            </a:rPr>
            <a:t>Process parameters, especially product temperature</a:t>
          </a:r>
          <a:endParaRPr lang="en-US" dirty="0">
            <a:solidFill>
              <a:schemeClr val="bg1"/>
            </a:solidFill>
          </a:endParaRPr>
        </a:p>
      </dgm:t>
    </dgm:pt>
    <dgm:pt modelId="{3084A444-6538-47CC-B018-6B5118497572}" type="parTrans" cxnId="{A62103C4-94E2-4628-910C-851BC95A6F45}">
      <dgm:prSet/>
      <dgm:spPr/>
      <dgm:t>
        <a:bodyPr/>
        <a:lstStyle/>
        <a:p>
          <a:endParaRPr lang="en-US"/>
        </a:p>
      </dgm:t>
    </dgm:pt>
    <dgm:pt modelId="{BEEF9211-DFE1-4E9C-A510-48C84EBF2F28}" type="sibTrans" cxnId="{A62103C4-94E2-4628-910C-851BC95A6F45}">
      <dgm:prSet/>
      <dgm:spPr/>
      <dgm:t>
        <a:bodyPr/>
        <a:lstStyle/>
        <a:p>
          <a:endParaRPr lang="en-US"/>
        </a:p>
      </dgm:t>
    </dgm:pt>
    <dgm:pt modelId="{0C63EA9B-125E-40C7-AEB8-022A5A809C8C}">
      <dgm:prSet phldrT="[Text]"/>
      <dgm:spPr/>
      <dgm:t>
        <a:bodyPr/>
        <a:lstStyle/>
        <a:p>
          <a:pPr>
            <a:buClrTx/>
            <a:buSzTx/>
            <a:buFontTx/>
            <a:buNone/>
          </a:pPr>
          <a:r>
            <a:rPr kumimoji="0" lang="en-US" altLang="de-DE" b="0" i="0" u="none" strike="noStrike"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Final drying step</a:t>
          </a:r>
          <a:endParaRPr lang="en-US" dirty="0">
            <a:solidFill>
              <a:schemeClr val="bg1"/>
            </a:solidFill>
          </a:endParaRPr>
        </a:p>
      </dgm:t>
    </dgm:pt>
    <dgm:pt modelId="{C136359D-0909-44A0-A9E9-E94DF79253D9}" type="parTrans" cxnId="{918FB45B-D57E-4D43-97E4-8B95FCB4CCFE}">
      <dgm:prSet/>
      <dgm:spPr/>
      <dgm:t>
        <a:bodyPr/>
        <a:lstStyle/>
        <a:p>
          <a:endParaRPr lang="en-US"/>
        </a:p>
      </dgm:t>
    </dgm:pt>
    <dgm:pt modelId="{EB0789E0-8B82-4152-B71B-8B1C85E637D8}" type="sibTrans" cxnId="{918FB45B-D57E-4D43-97E4-8B95FCB4CCFE}">
      <dgm:prSet/>
      <dgm:spPr/>
      <dgm:t>
        <a:bodyPr/>
        <a:lstStyle/>
        <a:p>
          <a:endParaRPr lang="en-US"/>
        </a:p>
      </dgm:t>
    </dgm:pt>
    <dgm:pt modelId="{4B68F915-5F6D-405B-8DF8-23B5F703D897}" type="pres">
      <dgm:prSet presAssocID="{178D6EF2-5D4D-4110-92C7-75E4408BA1F9}" presName="Name0" presStyleCnt="0">
        <dgm:presLayoutVars>
          <dgm:chMax val="1"/>
          <dgm:dir/>
          <dgm:animLvl val="ctr"/>
          <dgm:resizeHandles val="exact"/>
        </dgm:presLayoutVars>
      </dgm:prSet>
      <dgm:spPr/>
    </dgm:pt>
    <dgm:pt modelId="{C059DFC2-7396-43AE-9902-69530B9EB992}" type="pres">
      <dgm:prSet presAssocID="{AFF57BB2-528C-4037-B1CF-B66C3A601872}" presName="centerShape" presStyleLbl="node0" presStyleIdx="0" presStyleCnt="1"/>
      <dgm:spPr/>
    </dgm:pt>
    <dgm:pt modelId="{6B447E85-13F9-4CD7-A78F-6C375AD1B6B9}" type="pres">
      <dgm:prSet presAssocID="{0EFACE77-92C3-477E-B012-F22297387804}" presName="parTrans" presStyleLbl="sibTrans2D1" presStyleIdx="0" presStyleCnt="5" custAng="10960769"/>
      <dgm:spPr/>
    </dgm:pt>
    <dgm:pt modelId="{0CD85D93-56A8-45B0-B522-84C392E7A359}" type="pres">
      <dgm:prSet presAssocID="{0EFACE77-92C3-477E-B012-F22297387804}" presName="connectorText" presStyleLbl="sibTrans2D1" presStyleIdx="0" presStyleCnt="5"/>
      <dgm:spPr/>
    </dgm:pt>
    <dgm:pt modelId="{0B1D8422-2AA9-4D48-92E0-545AA6E7FE75}" type="pres">
      <dgm:prSet presAssocID="{0D07951D-4AF0-489E-88E7-1EBD632C33BA}" presName="node" presStyleLbl="node1" presStyleIdx="0" presStyleCnt="5" custScaleX="108210" custScaleY="103481">
        <dgm:presLayoutVars>
          <dgm:bulletEnabled val="1"/>
        </dgm:presLayoutVars>
      </dgm:prSet>
      <dgm:spPr/>
    </dgm:pt>
    <dgm:pt modelId="{CE0EF803-F27C-479F-8986-B30C190E0FE4}" type="pres">
      <dgm:prSet presAssocID="{148502EF-188A-4403-AEC5-F253EF0442BC}" presName="parTrans" presStyleLbl="sibTrans2D1" presStyleIdx="1" presStyleCnt="5" custAng="11041163"/>
      <dgm:spPr/>
    </dgm:pt>
    <dgm:pt modelId="{FC301714-4880-4732-8811-389FBAA62177}" type="pres">
      <dgm:prSet presAssocID="{148502EF-188A-4403-AEC5-F253EF0442BC}" presName="connectorText" presStyleLbl="sibTrans2D1" presStyleIdx="1" presStyleCnt="5"/>
      <dgm:spPr/>
    </dgm:pt>
    <dgm:pt modelId="{45DFA0FD-D38C-433F-B573-A9EE6FF7476F}" type="pres">
      <dgm:prSet presAssocID="{60DF3D00-035F-42EB-9FDC-E034378DBB70}" presName="node" presStyleLbl="node1" presStyleIdx="1" presStyleCnt="5">
        <dgm:presLayoutVars>
          <dgm:bulletEnabled val="1"/>
        </dgm:presLayoutVars>
      </dgm:prSet>
      <dgm:spPr/>
    </dgm:pt>
    <dgm:pt modelId="{BACB3D83-644E-4895-9FB2-29CDFBD793CF}" type="pres">
      <dgm:prSet presAssocID="{288D5091-73B4-4780-A43B-CCB2CCEC91FB}" presName="parTrans" presStyleLbl="sibTrans2D1" presStyleIdx="2" presStyleCnt="5" custAng="10533720"/>
      <dgm:spPr/>
    </dgm:pt>
    <dgm:pt modelId="{8FDA18EB-B114-43E5-B108-BAEF7F13AA85}" type="pres">
      <dgm:prSet presAssocID="{288D5091-73B4-4780-A43B-CCB2CCEC91FB}" presName="connectorText" presStyleLbl="sibTrans2D1" presStyleIdx="2" presStyleCnt="5"/>
      <dgm:spPr/>
    </dgm:pt>
    <dgm:pt modelId="{EB3EAF7A-FCD9-4E3E-9BCA-60B9D2A2EBEF}" type="pres">
      <dgm:prSet presAssocID="{05475103-F48B-4320-A2A8-D35845241A26}" presName="node" presStyleLbl="node1" presStyleIdx="2" presStyleCnt="5">
        <dgm:presLayoutVars>
          <dgm:bulletEnabled val="1"/>
        </dgm:presLayoutVars>
      </dgm:prSet>
      <dgm:spPr/>
    </dgm:pt>
    <dgm:pt modelId="{FB44EF80-C3A7-497E-A821-3D1417461890}" type="pres">
      <dgm:prSet presAssocID="{3084A444-6538-47CC-B018-6B5118497572}" presName="parTrans" presStyleLbl="sibTrans2D1" presStyleIdx="3" presStyleCnt="5" custAng="10724330"/>
      <dgm:spPr/>
    </dgm:pt>
    <dgm:pt modelId="{1D12E71D-FE9E-4046-9C8D-29E1AF8A6403}" type="pres">
      <dgm:prSet presAssocID="{3084A444-6538-47CC-B018-6B5118497572}" presName="connectorText" presStyleLbl="sibTrans2D1" presStyleIdx="3" presStyleCnt="5"/>
      <dgm:spPr/>
    </dgm:pt>
    <dgm:pt modelId="{7FCCB427-9A81-4C3E-8592-259E9E27C128}" type="pres">
      <dgm:prSet presAssocID="{2816234C-619B-4B94-B300-009D959D4CBF}" presName="node" presStyleLbl="node1" presStyleIdx="3" presStyleCnt="5">
        <dgm:presLayoutVars>
          <dgm:bulletEnabled val="1"/>
        </dgm:presLayoutVars>
      </dgm:prSet>
      <dgm:spPr/>
    </dgm:pt>
    <dgm:pt modelId="{6ABE4484-0A70-4DF1-8495-61C9BD5B31D2}" type="pres">
      <dgm:prSet presAssocID="{C136359D-0909-44A0-A9E9-E94DF79253D9}" presName="parTrans" presStyleLbl="sibTrans2D1" presStyleIdx="4" presStyleCnt="5" custAng="11054699"/>
      <dgm:spPr/>
    </dgm:pt>
    <dgm:pt modelId="{D01BDA26-2121-42B2-8B41-58B522D62D6F}" type="pres">
      <dgm:prSet presAssocID="{C136359D-0909-44A0-A9E9-E94DF79253D9}" presName="connectorText" presStyleLbl="sibTrans2D1" presStyleIdx="4" presStyleCnt="5"/>
      <dgm:spPr/>
    </dgm:pt>
    <dgm:pt modelId="{F5AD5095-195A-4B90-9891-FA40A4328186}" type="pres">
      <dgm:prSet presAssocID="{0C63EA9B-125E-40C7-AEB8-022A5A809C8C}" presName="node" presStyleLbl="node1" presStyleIdx="4" presStyleCnt="5">
        <dgm:presLayoutVars>
          <dgm:bulletEnabled val="1"/>
        </dgm:presLayoutVars>
      </dgm:prSet>
      <dgm:spPr/>
    </dgm:pt>
  </dgm:ptLst>
  <dgm:cxnLst>
    <dgm:cxn modelId="{12267A06-3938-4786-89D0-9B26F929D51D}" type="presOf" srcId="{178D6EF2-5D4D-4110-92C7-75E4408BA1F9}" destId="{4B68F915-5F6D-405B-8DF8-23B5F703D897}" srcOrd="0" destOrd="0" presId="urn:microsoft.com/office/officeart/2005/8/layout/radial5"/>
    <dgm:cxn modelId="{7BF04112-BE34-4D28-8DBB-3917F9CB2CBC}" type="presOf" srcId="{3084A444-6538-47CC-B018-6B5118497572}" destId="{FB44EF80-C3A7-497E-A821-3D1417461890}" srcOrd="0" destOrd="0" presId="urn:microsoft.com/office/officeart/2005/8/layout/radial5"/>
    <dgm:cxn modelId="{E46BDB13-03B6-4DB9-B59C-AEF50708AA98}" type="presOf" srcId="{2816234C-619B-4B94-B300-009D959D4CBF}" destId="{7FCCB427-9A81-4C3E-8592-259E9E27C128}" srcOrd="0" destOrd="0" presId="urn:microsoft.com/office/officeart/2005/8/layout/radial5"/>
    <dgm:cxn modelId="{F3D7263A-0CAD-4544-B930-4862651774D2}" srcId="{178D6EF2-5D4D-4110-92C7-75E4408BA1F9}" destId="{AFF57BB2-528C-4037-B1CF-B66C3A601872}" srcOrd="0" destOrd="0" parTransId="{DE8FD57F-60B2-4676-8B3E-14D544E0A1D9}" sibTransId="{ECA4CEB2-56D6-4265-B204-17B2CD082184}"/>
    <dgm:cxn modelId="{918FB45B-D57E-4D43-97E4-8B95FCB4CCFE}" srcId="{AFF57BB2-528C-4037-B1CF-B66C3A601872}" destId="{0C63EA9B-125E-40C7-AEB8-022A5A809C8C}" srcOrd="4" destOrd="0" parTransId="{C136359D-0909-44A0-A9E9-E94DF79253D9}" sibTransId="{EB0789E0-8B82-4152-B71B-8B1C85E637D8}"/>
    <dgm:cxn modelId="{AE30F464-7312-4362-8BC3-BC74A6504AEB}" type="presOf" srcId="{0EFACE77-92C3-477E-B012-F22297387804}" destId="{6B447E85-13F9-4CD7-A78F-6C375AD1B6B9}" srcOrd="0" destOrd="0" presId="urn:microsoft.com/office/officeart/2005/8/layout/radial5"/>
    <dgm:cxn modelId="{08083167-E588-41E0-9D93-D7ADF4958CCE}" type="presOf" srcId="{60DF3D00-035F-42EB-9FDC-E034378DBB70}" destId="{45DFA0FD-D38C-433F-B573-A9EE6FF7476F}" srcOrd="0" destOrd="0" presId="urn:microsoft.com/office/officeart/2005/8/layout/radial5"/>
    <dgm:cxn modelId="{5519F154-FF48-4FB3-8A78-3B14FC533EB7}" type="presOf" srcId="{C136359D-0909-44A0-A9E9-E94DF79253D9}" destId="{D01BDA26-2121-42B2-8B41-58B522D62D6F}" srcOrd="1" destOrd="0" presId="urn:microsoft.com/office/officeart/2005/8/layout/radial5"/>
    <dgm:cxn modelId="{E1EE9155-3939-4FBD-980C-7BB62CB85B6A}" type="presOf" srcId="{C136359D-0909-44A0-A9E9-E94DF79253D9}" destId="{6ABE4484-0A70-4DF1-8495-61C9BD5B31D2}" srcOrd="0" destOrd="0" presId="urn:microsoft.com/office/officeart/2005/8/layout/radial5"/>
    <dgm:cxn modelId="{FEF0E276-0DEF-490C-930B-C10F39F52176}" srcId="{AFF57BB2-528C-4037-B1CF-B66C3A601872}" destId="{05475103-F48B-4320-A2A8-D35845241A26}" srcOrd="2" destOrd="0" parTransId="{288D5091-73B4-4780-A43B-CCB2CCEC91FB}" sibTransId="{705D91C1-F569-4C54-A8B1-149F22D589E3}"/>
    <dgm:cxn modelId="{01B5FB83-1A88-493B-BA56-E3AF3397E101}" type="presOf" srcId="{AFF57BB2-528C-4037-B1CF-B66C3A601872}" destId="{C059DFC2-7396-43AE-9902-69530B9EB992}" srcOrd="0" destOrd="0" presId="urn:microsoft.com/office/officeart/2005/8/layout/radial5"/>
    <dgm:cxn modelId="{27BB1086-AFA9-4496-8B24-634F2E090FEE}" type="presOf" srcId="{3084A444-6538-47CC-B018-6B5118497572}" destId="{1D12E71D-FE9E-4046-9C8D-29E1AF8A6403}" srcOrd="1" destOrd="0" presId="urn:microsoft.com/office/officeart/2005/8/layout/radial5"/>
    <dgm:cxn modelId="{61E3428C-E514-4F35-B00C-48B782052751}" type="presOf" srcId="{0C63EA9B-125E-40C7-AEB8-022A5A809C8C}" destId="{F5AD5095-195A-4B90-9891-FA40A4328186}" srcOrd="0" destOrd="0" presId="urn:microsoft.com/office/officeart/2005/8/layout/radial5"/>
    <dgm:cxn modelId="{33369891-47E0-4E87-9222-105BE1E89C1C}" type="presOf" srcId="{148502EF-188A-4403-AEC5-F253EF0442BC}" destId="{FC301714-4880-4732-8811-389FBAA62177}" srcOrd="1" destOrd="0" presId="urn:microsoft.com/office/officeart/2005/8/layout/radial5"/>
    <dgm:cxn modelId="{47A318AE-3A03-40CC-8939-3FAC4BADF554}" type="presOf" srcId="{148502EF-188A-4403-AEC5-F253EF0442BC}" destId="{CE0EF803-F27C-479F-8986-B30C190E0FE4}" srcOrd="0" destOrd="0" presId="urn:microsoft.com/office/officeart/2005/8/layout/radial5"/>
    <dgm:cxn modelId="{A62103C4-94E2-4628-910C-851BC95A6F45}" srcId="{AFF57BB2-528C-4037-B1CF-B66C3A601872}" destId="{2816234C-619B-4B94-B300-009D959D4CBF}" srcOrd="3" destOrd="0" parTransId="{3084A444-6538-47CC-B018-6B5118497572}" sibTransId="{BEEF9211-DFE1-4E9C-A510-48C84EBF2F28}"/>
    <dgm:cxn modelId="{D49D45CD-3746-4885-9B9E-4738F6631850}" type="presOf" srcId="{05475103-F48B-4320-A2A8-D35845241A26}" destId="{EB3EAF7A-FCD9-4E3E-9BCA-60B9D2A2EBEF}" srcOrd="0" destOrd="0" presId="urn:microsoft.com/office/officeart/2005/8/layout/radial5"/>
    <dgm:cxn modelId="{AF190CCF-38E7-4740-B142-F96605C12169}" type="presOf" srcId="{288D5091-73B4-4780-A43B-CCB2CCEC91FB}" destId="{8FDA18EB-B114-43E5-B108-BAEF7F13AA85}" srcOrd="1" destOrd="0" presId="urn:microsoft.com/office/officeart/2005/8/layout/radial5"/>
    <dgm:cxn modelId="{0A7AFED1-FA38-49A2-8CC9-5FCBC7C762FB}" type="presOf" srcId="{288D5091-73B4-4780-A43B-CCB2CCEC91FB}" destId="{BACB3D83-644E-4895-9FB2-29CDFBD793CF}" srcOrd="0" destOrd="0" presId="urn:microsoft.com/office/officeart/2005/8/layout/radial5"/>
    <dgm:cxn modelId="{10736DE6-408A-42E1-8B3D-93BA56E15CC6}" srcId="{AFF57BB2-528C-4037-B1CF-B66C3A601872}" destId="{60DF3D00-035F-42EB-9FDC-E034378DBB70}" srcOrd="1" destOrd="0" parTransId="{148502EF-188A-4403-AEC5-F253EF0442BC}" sibTransId="{EA1B320B-7478-40E5-BE63-7A292D945606}"/>
    <dgm:cxn modelId="{786643E7-1F7D-44D9-B1A1-7083EEF5EF88}" type="presOf" srcId="{0EFACE77-92C3-477E-B012-F22297387804}" destId="{0CD85D93-56A8-45B0-B522-84C392E7A359}" srcOrd="1" destOrd="0" presId="urn:microsoft.com/office/officeart/2005/8/layout/radial5"/>
    <dgm:cxn modelId="{F6DE20ED-C27B-4EDE-B9E9-FBC24D820801}" srcId="{AFF57BB2-528C-4037-B1CF-B66C3A601872}" destId="{0D07951D-4AF0-489E-88E7-1EBD632C33BA}" srcOrd="0" destOrd="0" parTransId="{0EFACE77-92C3-477E-B012-F22297387804}" sibTransId="{EF726BFF-86A7-41CD-A1E0-3A4D827DCD5A}"/>
    <dgm:cxn modelId="{F76E7CF8-BE35-4B77-880B-EFB70650979B}" type="presOf" srcId="{0D07951D-4AF0-489E-88E7-1EBD632C33BA}" destId="{0B1D8422-2AA9-4D48-92E0-545AA6E7FE75}" srcOrd="0" destOrd="0" presId="urn:microsoft.com/office/officeart/2005/8/layout/radial5"/>
    <dgm:cxn modelId="{67236554-9244-4CE2-B03F-F05328DD832F}" type="presParOf" srcId="{4B68F915-5F6D-405B-8DF8-23B5F703D897}" destId="{C059DFC2-7396-43AE-9902-69530B9EB992}" srcOrd="0" destOrd="0" presId="urn:microsoft.com/office/officeart/2005/8/layout/radial5"/>
    <dgm:cxn modelId="{73FAC658-32C4-4053-BB12-9B8CB513CC1A}" type="presParOf" srcId="{4B68F915-5F6D-405B-8DF8-23B5F703D897}" destId="{6B447E85-13F9-4CD7-A78F-6C375AD1B6B9}" srcOrd="1" destOrd="0" presId="urn:microsoft.com/office/officeart/2005/8/layout/radial5"/>
    <dgm:cxn modelId="{3A781D48-E876-441E-AA5E-401862188648}" type="presParOf" srcId="{6B447E85-13F9-4CD7-A78F-6C375AD1B6B9}" destId="{0CD85D93-56A8-45B0-B522-84C392E7A359}" srcOrd="0" destOrd="0" presId="urn:microsoft.com/office/officeart/2005/8/layout/radial5"/>
    <dgm:cxn modelId="{5D9CEA9B-1D23-4AA5-B0A1-F029DB38F680}" type="presParOf" srcId="{4B68F915-5F6D-405B-8DF8-23B5F703D897}" destId="{0B1D8422-2AA9-4D48-92E0-545AA6E7FE75}" srcOrd="2" destOrd="0" presId="urn:microsoft.com/office/officeart/2005/8/layout/radial5"/>
    <dgm:cxn modelId="{4EDD9F7A-97E0-4E51-9F4A-FAD9BF7F83E7}" type="presParOf" srcId="{4B68F915-5F6D-405B-8DF8-23B5F703D897}" destId="{CE0EF803-F27C-479F-8986-B30C190E0FE4}" srcOrd="3" destOrd="0" presId="urn:microsoft.com/office/officeart/2005/8/layout/radial5"/>
    <dgm:cxn modelId="{430EBFD7-047C-475C-B392-3982668273AC}" type="presParOf" srcId="{CE0EF803-F27C-479F-8986-B30C190E0FE4}" destId="{FC301714-4880-4732-8811-389FBAA62177}" srcOrd="0" destOrd="0" presId="urn:microsoft.com/office/officeart/2005/8/layout/radial5"/>
    <dgm:cxn modelId="{961C1248-11E7-464B-B44A-67382DE0D801}" type="presParOf" srcId="{4B68F915-5F6D-405B-8DF8-23B5F703D897}" destId="{45DFA0FD-D38C-433F-B573-A9EE6FF7476F}" srcOrd="4" destOrd="0" presId="urn:microsoft.com/office/officeart/2005/8/layout/radial5"/>
    <dgm:cxn modelId="{74113AF0-8BD4-4ECB-939E-F341689615A5}" type="presParOf" srcId="{4B68F915-5F6D-405B-8DF8-23B5F703D897}" destId="{BACB3D83-644E-4895-9FB2-29CDFBD793CF}" srcOrd="5" destOrd="0" presId="urn:microsoft.com/office/officeart/2005/8/layout/radial5"/>
    <dgm:cxn modelId="{884758EC-E28E-4049-8F5F-72D76916C57A}" type="presParOf" srcId="{BACB3D83-644E-4895-9FB2-29CDFBD793CF}" destId="{8FDA18EB-B114-43E5-B108-BAEF7F13AA85}" srcOrd="0" destOrd="0" presId="urn:microsoft.com/office/officeart/2005/8/layout/radial5"/>
    <dgm:cxn modelId="{E7C3814E-C224-4599-BD35-899A501474E4}" type="presParOf" srcId="{4B68F915-5F6D-405B-8DF8-23B5F703D897}" destId="{EB3EAF7A-FCD9-4E3E-9BCA-60B9D2A2EBEF}" srcOrd="6" destOrd="0" presId="urn:microsoft.com/office/officeart/2005/8/layout/radial5"/>
    <dgm:cxn modelId="{A3423240-77A8-48DE-AD73-47FF663AEF7E}" type="presParOf" srcId="{4B68F915-5F6D-405B-8DF8-23B5F703D897}" destId="{FB44EF80-C3A7-497E-A821-3D1417461890}" srcOrd="7" destOrd="0" presId="urn:microsoft.com/office/officeart/2005/8/layout/radial5"/>
    <dgm:cxn modelId="{229BEA2F-EC76-4168-96FD-49768284DD2F}" type="presParOf" srcId="{FB44EF80-C3A7-497E-A821-3D1417461890}" destId="{1D12E71D-FE9E-4046-9C8D-29E1AF8A6403}" srcOrd="0" destOrd="0" presId="urn:microsoft.com/office/officeart/2005/8/layout/radial5"/>
    <dgm:cxn modelId="{79DCFD82-94B3-4FCD-9568-AA6417C057E5}" type="presParOf" srcId="{4B68F915-5F6D-405B-8DF8-23B5F703D897}" destId="{7FCCB427-9A81-4C3E-8592-259E9E27C128}" srcOrd="8" destOrd="0" presId="urn:microsoft.com/office/officeart/2005/8/layout/radial5"/>
    <dgm:cxn modelId="{BFA306A4-0894-4791-BEF7-BB5BB5459DA1}" type="presParOf" srcId="{4B68F915-5F6D-405B-8DF8-23B5F703D897}" destId="{6ABE4484-0A70-4DF1-8495-61C9BD5B31D2}" srcOrd="9" destOrd="0" presId="urn:microsoft.com/office/officeart/2005/8/layout/radial5"/>
    <dgm:cxn modelId="{78A282A5-5512-4F74-89D7-F60956688664}" type="presParOf" srcId="{6ABE4484-0A70-4DF1-8495-61C9BD5B31D2}" destId="{D01BDA26-2121-42B2-8B41-58B522D62D6F}" srcOrd="0" destOrd="0" presId="urn:microsoft.com/office/officeart/2005/8/layout/radial5"/>
    <dgm:cxn modelId="{E71F6EB9-B71D-4756-B729-E93D605AD28C}" type="presParOf" srcId="{4B68F915-5F6D-405B-8DF8-23B5F703D897}" destId="{F5AD5095-195A-4B90-9891-FA40A4328186}" srcOrd="10" destOrd="0" presId="urn:microsoft.com/office/officeart/2005/8/layout/radial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DCECDE-1BAE-429C-B657-4E2E0118E2B1}">
      <dsp:nvSpPr>
        <dsp:cNvPr id="0" name=""/>
        <dsp:cNvSpPr/>
      </dsp:nvSpPr>
      <dsp:spPr>
        <a:xfrm>
          <a:off x="9336102" y="1330443"/>
          <a:ext cx="574010" cy="1854228"/>
        </a:xfrm>
        <a:custGeom>
          <a:avLst/>
          <a:gdLst/>
          <a:ahLst/>
          <a:cxnLst/>
          <a:rect l="0" t="0" r="0" b="0"/>
          <a:pathLst>
            <a:path>
              <a:moveTo>
                <a:pt x="0" y="0"/>
              </a:moveTo>
              <a:lnTo>
                <a:pt x="0" y="1854228"/>
              </a:lnTo>
              <a:lnTo>
                <a:pt x="574010" y="1854228"/>
              </a:lnTo>
            </a:path>
          </a:pathLst>
        </a:custGeom>
        <a:noFill/>
        <a:ln w="12700" cap="flat" cmpd="sng" algn="ctr">
          <a:solidFill>
            <a:schemeClr val="bg1">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B37216AA-00E5-4A32-81BF-7993B0AEC736}">
      <dsp:nvSpPr>
        <dsp:cNvPr id="0" name=""/>
        <dsp:cNvSpPr/>
      </dsp:nvSpPr>
      <dsp:spPr>
        <a:xfrm>
          <a:off x="9336102" y="1330443"/>
          <a:ext cx="579444" cy="1145219"/>
        </a:xfrm>
        <a:custGeom>
          <a:avLst/>
          <a:gdLst/>
          <a:ahLst/>
          <a:cxnLst/>
          <a:rect l="0" t="0" r="0" b="0"/>
          <a:pathLst>
            <a:path>
              <a:moveTo>
                <a:pt x="0" y="0"/>
              </a:moveTo>
              <a:lnTo>
                <a:pt x="0" y="1145219"/>
              </a:lnTo>
              <a:lnTo>
                <a:pt x="579444" y="1145219"/>
              </a:lnTo>
            </a:path>
          </a:pathLst>
        </a:custGeom>
        <a:noFill/>
        <a:ln w="12700" cap="flat" cmpd="sng" algn="ctr">
          <a:solidFill>
            <a:schemeClr val="bg1">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B42A6584-8384-4F51-B187-E8EE256320E6}">
      <dsp:nvSpPr>
        <dsp:cNvPr id="0" name=""/>
        <dsp:cNvSpPr/>
      </dsp:nvSpPr>
      <dsp:spPr>
        <a:xfrm>
          <a:off x="9336102" y="1330443"/>
          <a:ext cx="592547" cy="422652"/>
        </a:xfrm>
        <a:custGeom>
          <a:avLst/>
          <a:gdLst/>
          <a:ahLst/>
          <a:cxnLst/>
          <a:rect l="0" t="0" r="0" b="0"/>
          <a:pathLst>
            <a:path>
              <a:moveTo>
                <a:pt x="0" y="0"/>
              </a:moveTo>
              <a:lnTo>
                <a:pt x="0" y="422652"/>
              </a:lnTo>
              <a:lnTo>
                <a:pt x="592547" y="422652"/>
              </a:lnTo>
            </a:path>
          </a:pathLst>
        </a:custGeom>
        <a:noFill/>
        <a:ln w="12700" cap="flat" cmpd="sng" algn="ctr">
          <a:solidFill>
            <a:schemeClr val="bg1">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7E6308F7-62A4-4031-8272-DEA95603ED01}">
      <dsp:nvSpPr>
        <dsp:cNvPr id="0" name=""/>
        <dsp:cNvSpPr/>
      </dsp:nvSpPr>
      <dsp:spPr>
        <a:xfrm>
          <a:off x="5919952" y="382397"/>
          <a:ext cx="4081336" cy="234455"/>
        </a:xfrm>
        <a:custGeom>
          <a:avLst/>
          <a:gdLst/>
          <a:ahLst/>
          <a:cxnLst/>
          <a:rect l="0" t="0" r="0" b="0"/>
          <a:pathLst>
            <a:path>
              <a:moveTo>
                <a:pt x="0" y="0"/>
              </a:moveTo>
              <a:lnTo>
                <a:pt x="0" y="116562"/>
              </a:lnTo>
              <a:lnTo>
                <a:pt x="4081336" y="116562"/>
              </a:lnTo>
              <a:lnTo>
                <a:pt x="4081336" y="23445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B74BBA-8080-461E-A06E-C2967E4E5DBA}">
      <dsp:nvSpPr>
        <dsp:cNvPr id="0" name=""/>
        <dsp:cNvSpPr/>
      </dsp:nvSpPr>
      <dsp:spPr>
        <a:xfrm>
          <a:off x="6080551" y="1234551"/>
          <a:ext cx="470604" cy="2620910"/>
        </a:xfrm>
        <a:custGeom>
          <a:avLst/>
          <a:gdLst/>
          <a:ahLst/>
          <a:cxnLst/>
          <a:rect l="0" t="0" r="0" b="0"/>
          <a:pathLst>
            <a:path>
              <a:moveTo>
                <a:pt x="0" y="0"/>
              </a:moveTo>
              <a:lnTo>
                <a:pt x="0" y="2620910"/>
              </a:lnTo>
              <a:lnTo>
                <a:pt x="470604" y="2620910"/>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F73490D-DAD4-4CDB-870C-3625F7CEB9AF}">
      <dsp:nvSpPr>
        <dsp:cNvPr id="0" name=""/>
        <dsp:cNvSpPr/>
      </dsp:nvSpPr>
      <dsp:spPr>
        <a:xfrm>
          <a:off x="6080551" y="1234551"/>
          <a:ext cx="447036" cy="1906264"/>
        </a:xfrm>
        <a:custGeom>
          <a:avLst/>
          <a:gdLst/>
          <a:ahLst/>
          <a:cxnLst/>
          <a:rect l="0" t="0" r="0" b="0"/>
          <a:pathLst>
            <a:path>
              <a:moveTo>
                <a:pt x="0" y="0"/>
              </a:moveTo>
              <a:lnTo>
                <a:pt x="0" y="1906264"/>
              </a:lnTo>
              <a:lnTo>
                <a:pt x="447036" y="1906264"/>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457313C-7C79-4E34-A80D-AB15AF3B02FE}">
      <dsp:nvSpPr>
        <dsp:cNvPr id="0" name=""/>
        <dsp:cNvSpPr/>
      </dsp:nvSpPr>
      <dsp:spPr>
        <a:xfrm>
          <a:off x="6080551" y="1234551"/>
          <a:ext cx="480293" cy="1148447"/>
        </a:xfrm>
        <a:custGeom>
          <a:avLst/>
          <a:gdLst/>
          <a:ahLst/>
          <a:cxnLst/>
          <a:rect l="0" t="0" r="0" b="0"/>
          <a:pathLst>
            <a:path>
              <a:moveTo>
                <a:pt x="0" y="0"/>
              </a:moveTo>
              <a:lnTo>
                <a:pt x="0" y="1148447"/>
              </a:lnTo>
              <a:lnTo>
                <a:pt x="480293" y="114844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0E9B0BA-5007-408F-8AA8-5E1626293A74}">
      <dsp:nvSpPr>
        <dsp:cNvPr id="0" name=""/>
        <dsp:cNvSpPr/>
      </dsp:nvSpPr>
      <dsp:spPr>
        <a:xfrm>
          <a:off x="6080551" y="1234551"/>
          <a:ext cx="503872" cy="411649"/>
        </a:xfrm>
        <a:custGeom>
          <a:avLst/>
          <a:gdLst/>
          <a:ahLst/>
          <a:cxnLst/>
          <a:rect l="0" t="0" r="0" b="0"/>
          <a:pathLst>
            <a:path>
              <a:moveTo>
                <a:pt x="0" y="0"/>
              </a:moveTo>
              <a:lnTo>
                <a:pt x="0" y="411649"/>
              </a:lnTo>
              <a:lnTo>
                <a:pt x="503872" y="41164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6B89488-378F-4A73-98C2-5EE64758ECA3}">
      <dsp:nvSpPr>
        <dsp:cNvPr id="0" name=""/>
        <dsp:cNvSpPr/>
      </dsp:nvSpPr>
      <dsp:spPr>
        <a:xfrm>
          <a:off x="5919952" y="382397"/>
          <a:ext cx="1156312" cy="235067"/>
        </a:xfrm>
        <a:custGeom>
          <a:avLst/>
          <a:gdLst/>
          <a:ahLst/>
          <a:cxnLst/>
          <a:rect l="0" t="0" r="0" b="0"/>
          <a:pathLst>
            <a:path>
              <a:moveTo>
                <a:pt x="0" y="0"/>
              </a:moveTo>
              <a:lnTo>
                <a:pt x="0" y="117174"/>
              </a:lnTo>
              <a:lnTo>
                <a:pt x="1156312" y="117174"/>
              </a:lnTo>
              <a:lnTo>
                <a:pt x="1156312" y="23506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1FB6DD2-638E-4470-8B82-CB4C836208D0}">
      <dsp:nvSpPr>
        <dsp:cNvPr id="0" name=""/>
        <dsp:cNvSpPr/>
      </dsp:nvSpPr>
      <dsp:spPr>
        <a:xfrm>
          <a:off x="3445836" y="1179579"/>
          <a:ext cx="627236" cy="2072067"/>
        </a:xfrm>
        <a:custGeom>
          <a:avLst/>
          <a:gdLst/>
          <a:ahLst/>
          <a:cxnLst/>
          <a:rect l="0" t="0" r="0" b="0"/>
          <a:pathLst>
            <a:path>
              <a:moveTo>
                <a:pt x="0" y="0"/>
              </a:moveTo>
              <a:lnTo>
                <a:pt x="0" y="2072067"/>
              </a:lnTo>
              <a:lnTo>
                <a:pt x="627236" y="2072067"/>
              </a:lnTo>
            </a:path>
          </a:pathLst>
        </a:custGeom>
        <a:noFill/>
        <a:ln w="12700" cap="flat" cmpd="sng" algn="ctr">
          <a:solidFill>
            <a:schemeClr val="tx2">
              <a:lumMod val="40000"/>
              <a:lumOff val="60000"/>
            </a:schemeClr>
          </a:solidFill>
          <a:prstDash val="solid"/>
          <a:miter lim="800000"/>
        </a:ln>
        <a:effectLst/>
      </dsp:spPr>
      <dsp:style>
        <a:lnRef idx="2">
          <a:scrgbClr r="0" g="0" b="0"/>
        </a:lnRef>
        <a:fillRef idx="0">
          <a:scrgbClr r="0" g="0" b="0"/>
        </a:fillRef>
        <a:effectRef idx="0">
          <a:scrgbClr r="0" g="0" b="0"/>
        </a:effectRef>
        <a:fontRef idx="minor"/>
      </dsp:style>
    </dsp:sp>
    <dsp:sp modelId="{D1036AF2-F58C-4AEC-A041-DD629499F167}">
      <dsp:nvSpPr>
        <dsp:cNvPr id="0" name=""/>
        <dsp:cNvSpPr/>
      </dsp:nvSpPr>
      <dsp:spPr>
        <a:xfrm>
          <a:off x="3445836" y="1179579"/>
          <a:ext cx="627236" cy="1313666"/>
        </a:xfrm>
        <a:custGeom>
          <a:avLst/>
          <a:gdLst/>
          <a:ahLst/>
          <a:cxnLst/>
          <a:rect l="0" t="0" r="0" b="0"/>
          <a:pathLst>
            <a:path>
              <a:moveTo>
                <a:pt x="0" y="0"/>
              </a:moveTo>
              <a:lnTo>
                <a:pt x="0" y="1313666"/>
              </a:lnTo>
              <a:lnTo>
                <a:pt x="627236" y="1313666"/>
              </a:lnTo>
            </a:path>
          </a:pathLst>
        </a:custGeom>
        <a:noFill/>
        <a:ln w="12700" cap="flat" cmpd="sng" algn="ctr">
          <a:solidFill>
            <a:schemeClr val="tx2">
              <a:lumMod val="40000"/>
              <a:lumOff val="60000"/>
            </a:schemeClr>
          </a:solidFill>
          <a:prstDash val="solid"/>
          <a:miter lim="800000"/>
        </a:ln>
        <a:effectLst/>
      </dsp:spPr>
      <dsp:style>
        <a:lnRef idx="2">
          <a:scrgbClr r="0" g="0" b="0"/>
        </a:lnRef>
        <a:fillRef idx="0">
          <a:scrgbClr r="0" g="0" b="0"/>
        </a:fillRef>
        <a:effectRef idx="0">
          <a:scrgbClr r="0" g="0" b="0"/>
        </a:effectRef>
        <a:fontRef idx="minor"/>
      </dsp:style>
    </dsp:sp>
    <dsp:sp modelId="{DCA3724C-6695-4F3C-9484-2118B83406C9}">
      <dsp:nvSpPr>
        <dsp:cNvPr id="0" name=""/>
        <dsp:cNvSpPr/>
      </dsp:nvSpPr>
      <dsp:spPr>
        <a:xfrm>
          <a:off x="3445836" y="1179579"/>
          <a:ext cx="627236" cy="549746"/>
        </a:xfrm>
        <a:custGeom>
          <a:avLst/>
          <a:gdLst/>
          <a:ahLst/>
          <a:cxnLst/>
          <a:rect l="0" t="0" r="0" b="0"/>
          <a:pathLst>
            <a:path>
              <a:moveTo>
                <a:pt x="0" y="0"/>
              </a:moveTo>
              <a:lnTo>
                <a:pt x="0" y="549746"/>
              </a:lnTo>
              <a:lnTo>
                <a:pt x="627236" y="549746"/>
              </a:lnTo>
            </a:path>
          </a:pathLst>
        </a:custGeom>
        <a:noFill/>
        <a:ln w="12700" cap="flat" cmpd="sng" algn="ctr">
          <a:solidFill>
            <a:schemeClr val="tx2">
              <a:lumMod val="40000"/>
              <a:lumOff val="60000"/>
            </a:schemeClr>
          </a:solidFill>
          <a:prstDash val="solid"/>
          <a:miter lim="800000"/>
        </a:ln>
        <a:effectLst/>
      </dsp:spPr>
      <dsp:style>
        <a:lnRef idx="2">
          <a:scrgbClr r="0" g="0" b="0"/>
        </a:lnRef>
        <a:fillRef idx="0">
          <a:scrgbClr r="0" g="0" b="0"/>
        </a:fillRef>
        <a:effectRef idx="0">
          <a:scrgbClr r="0" g="0" b="0"/>
        </a:effectRef>
        <a:fontRef idx="minor"/>
      </dsp:style>
    </dsp:sp>
    <dsp:sp modelId="{666AEB06-2A27-4DA5-B441-AE47C1C1DA37}">
      <dsp:nvSpPr>
        <dsp:cNvPr id="0" name=""/>
        <dsp:cNvSpPr/>
      </dsp:nvSpPr>
      <dsp:spPr>
        <a:xfrm>
          <a:off x="3894953" y="382397"/>
          <a:ext cx="2024999" cy="235786"/>
        </a:xfrm>
        <a:custGeom>
          <a:avLst/>
          <a:gdLst/>
          <a:ahLst/>
          <a:cxnLst/>
          <a:rect l="0" t="0" r="0" b="0"/>
          <a:pathLst>
            <a:path>
              <a:moveTo>
                <a:pt x="2024999" y="0"/>
              </a:moveTo>
              <a:lnTo>
                <a:pt x="2024999" y="117893"/>
              </a:lnTo>
              <a:lnTo>
                <a:pt x="0" y="117893"/>
              </a:lnTo>
              <a:lnTo>
                <a:pt x="0" y="23578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A9BBC5F-9B90-4AFF-85EF-42C81AAA04F3}">
      <dsp:nvSpPr>
        <dsp:cNvPr id="0" name=""/>
        <dsp:cNvSpPr/>
      </dsp:nvSpPr>
      <dsp:spPr>
        <a:xfrm>
          <a:off x="826829" y="1179579"/>
          <a:ext cx="709915" cy="3314823"/>
        </a:xfrm>
        <a:custGeom>
          <a:avLst/>
          <a:gdLst/>
          <a:ahLst/>
          <a:cxnLst/>
          <a:rect l="0" t="0" r="0" b="0"/>
          <a:pathLst>
            <a:path>
              <a:moveTo>
                <a:pt x="0" y="0"/>
              </a:moveTo>
              <a:lnTo>
                <a:pt x="0" y="3314823"/>
              </a:lnTo>
              <a:lnTo>
                <a:pt x="709915" y="3314823"/>
              </a:lnTo>
            </a:path>
          </a:pathLst>
        </a:custGeom>
        <a:noFill/>
        <a:ln w="12700" cap="flat" cmpd="sng" algn="ctr">
          <a:solidFill>
            <a:schemeClr val="accent2"/>
          </a:solidFill>
          <a:prstDash val="solid"/>
          <a:miter lim="800000"/>
        </a:ln>
        <a:effectLst/>
      </dsp:spPr>
      <dsp:style>
        <a:lnRef idx="2">
          <a:scrgbClr r="0" g="0" b="0"/>
        </a:lnRef>
        <a:fillRef idx="0">
          <a:scrgbClr r="0" g="0" b="0"/>
        </a:fillRef>
        <a:effectRef idx="0">
          <a:scrgbClr r="0" g="0" b="0"/>
        </a:effectRef>
        <a:fontRef idx="minor"/>
      </dsp:style>
    </dsp:sp>
    <dsp:sp modelId="{F8C10BB2-9869-40F3-9A4F-F98A550F9E0C}">
      <dsp:nvSpPr>
        <dsp:cNvPr id="0" name=""/>
        <dsp:cNvSpPr/>
      </dsp:nvSpPr>
      <dsp:spPr>
        <a:xfrm>
          <a:off x="826829" y="1179579"/>
          <a:ext cx="703066" cy="2584554"/>
        </a:xfrm>
        <a:custGeom>
          <a:avLst/>
          <a:gdLst/>
          <a:ahLst/>
          <a:cxnLst/>
          <a:rect l="0" t="0" r="0" b="0"/>
          <a:pathLst>
            <a:path>
              <a:moveTo>
                <a:pt x="0" y="0"/>
              </a:moveTo>
              <a:lnTo>
                <a:pt x="0" y="2584554"/>
              </a:lnTo>
              <a:lnTo>
                <a:pt x="703066" y="2584554"/>
              </a:lnTo>
            </a:path>
          </a:pathLst>
        </a:custGeom>
        <a:noFill/>
        <a:ln w="12700" cap="flat" cmpd="sng" algn="ctr">
          <a:solidFill>
            <a:schemeClr val="accent2"/>
          </a:solidFill>
          <a:prstDash val="solid"/>
          <a:miter lim="800000"/>
        </a:ln>
        <a:effectLst/>
      </dsp:spPr>
      <dsp:style>
        <a:lnRef idx="2">
          <a:scrgbClr r="0" g="0" b="0"/>
        </a:lnRef>
        <a:fillRef idx="0">
          <a:scrgbClr r="0" g="0" b="0"/>
        </a:fillRef>
        <a:effectRef idx="0">
          <a:scrgbClr r="0" g="0" b="0"/>
        </a:effectRef>
        <a:fontRef idx="minor"/>
      </dsp:style>
    </dsp:sp>
    <dsp:sp modelId="{BA218884-AFDA-4B03-A5CF-51716E3031C3}">
      <dsp:nvSpPr>
        <dsp:cNvPr id="0" name=""/>
        <dsp:cNvSpPr/>
      </dsp:nvSpPr>
      <dsp:spPr>
        <a:xfrm>
          <a:off x="826829" y="1179579"/>
          <a:ext cx="703785" cy="1820937"/>
        </a:xfrm>
        <a:custGeom>
          <a:avLst/>
          <a:gdLst/>
          <a:ahLst/>
          <a:cxnLst/>
          <a:rect l="0" t="0" r="0" b="0"/>
          <a:pathLst>
            <a:path>
              <a:moveTo>
                <a:pt x="0" y="0"/>
              </a:moveTo>
              <a:lnTo>
                <a:pt x="0" y="1820937"/>
              </a:lnTo>
              <a:lnTo>
                <a:pt x="703785" y="1820937"/>
              </a:lnTo>
            </a:path>
          </a:pathLst>
        </a:custGeom>
        <a:noFill/>
        <a:ln w="12700" cap="flat" cmpd="sng" algn="ctr">
          <a:solidFill>
            <a:schemeClr val="accent2"/>
          </a:solidFill>
          <a:prstDash val="solid"/>
          <a:miter lim="800000"/>
        </a:ln>
        <a:effectLst/>
      </dsp:spPr>
      <dsp:style>
        <a:lnRef idx="2">
          <a:scrgbClr r="0" g="0" b="0"/>
        </a:lnRef>
        <a:fillRef idx="0">
          <a:scrgbClr r="0" g="0" b="0"/>
        </a:fillRef>
        <a:effectRef idx="0">
          <a:scrgbClr r="0" g="0" b="0"/>
        </a:effectRef>
        <a:fontRef idx="minor"/>
      </dsp:style>
    </dsp:sp>
    <dsp:sp modelId="{A13E033C-54A7-44A2-8FB7-DF58DA613CE5}">
      <dsp:nvSpPr>
        <dsp:cNvPr id="0" name=""/>
        <dsp:cNvSpPr/>
      </dsp:nvSpPr>
      <dsp:spPr>
        <a:xfrm>
          <a:off x="826829" y="1179579"/>
          <a:ext cx="702516" cy="1120501"/>
        </a:xfrm>
        <a:custGeom>
          <a:avLst/>
          <a:gdLst/>
          <a:ahLst/>
          <a:cxnLst/>
          <a:rect l="0" t="0" r="0" b="0"/>
          <a:pathLst>
            <a:path>
              <a:moveTo>
                <a:pt x="0" y="0"/>
              </a:moveTo>
              <a:lnTo>
                <a:pt x="0" y="1120501"/>
              </a:lnTo>
              <a:lnTo>
                <a:pt x="702516" y="1120501"/>
              </a:lnTo>
            </a:path>
          </a:pathLst>
        </a:custGeom>
        <a:noFill/>
        <a:ln w="12700" cap="flat" cmpd="sng" algn="ctr">
          <a:solidFill>
            <a:schemeClr val="accent2"/>
          </a:solidFill>
          <a:prstDash val="solid"/>
          <a:miter lim="800000"/>
        </a:ln>
        <a:effectLst/>
      </dsp:spPr>
      <dsp:style>
        <a:lnRef idx="2">
          <a:scrgbClr r="0" g="0" b="0"/>
        </a:lnRef>
        <a:fillRef idx="0">
          <a:scrgbClr r="0" g="0" b="0"/>
        </a:fillRef>
        <a:effectRef idx="0">
          <a:scrgbClr r="0" g="0" b="0"/>
        </a:effectRef>
        <a:fontRef idx="minor"/>
      </dsp:style>
    </dsp:sp>
    <dsp:sp modelId="{3C8272EA-5186-401E-891E-8B46BCA958B5}">
      <dsp:nvSpPr>
        <dsp:cNvPr id="0" name=""/>
        <dsp:cNvSpPr/>
      </dsp:nvSpPr>
      <dsp:spPr>
        <a:xfrm>
          <a:off x="826829" y="1179579"/>
          <a:ext cx="702516" cy="409498"/>
        </a:xfrm>
        <a:custGeom>
          <a:avLst/>
          <a:gdLst/>
          <a:ahLst/>
          <a:cxnLst/>
          <a:rect l="0" t="0" r="0" b="0"/>
          <a:pathLst>
            <a:path>
              <a:moveTo>
                <a:pt x="0" y="0"/>
              </a:moveTo>
              <a:lnTo>
                <a:pt x="0" y="409498"/>
              </a:lnTo>
              <a:lnTo>
                <a:pt x="702516" y="409498"/>
              </a:lnTo>
            </a:path>
          </a:pathLst>
        </a:custGeom>
        <a:noFill/>
        <a:ln w="12700" cap="flat" cmpd="sng" algn="ctr">
          <a:solidFill>
            <a:schemeClr val="accent2"/>
          </a:solidFill>
          <a:prstDash val="solid"/>
          <a:miter lim="800000"/>
        </a:ln>
        <a:effectLst/>
      </dsp:spPr>
      <dsp:style>
        <a:lnRef idx="2">
          <a:scrgbClr r="0" g="0" b="0"/>
        </a:lnRef>
        <a:fillRef idx="0">
          <a:scrgbClr r="0" g="0" b="0"/>
        </a:fillRef>
        <a:effectRef idx="0">
          <a:scrgbClr r="0" g="0" b="0"/>
        </a:effectRef>
        <a:fontRef idx="minor"/>
      </dsp:style>
    </dsp:sp>
    <dsp:sp modelId="{3F123880-5673-4A01-AA49-5B897E5FF97D}">
      <dsp:nvSpPr>
        <dsp:cNvPr id="0" name=""/>
        <dsp:cNvSpPr/>
      </dsp:nvSpPr>
      <dsp:spPr>
        <a:xfrm>
          <a:off x="1554420" y="382397"/>
          <a:ext cx="4365531" cy="235786"/>
        </a:xfrm>
        <a:custGeom>
          <a:avLst/>
          <a:gdLst/>
          <a:ahLst/>
          <a:cxnLst/>
          <a:rect l="0" t="0" r="0" b="0"/>
          <a:pathLst>
            <a:path>
              <a:moveTo>
                <a:pt x="4365531" y="0"/>
              </a:moveTo>
              <a:lnTo>
                <a:pt x="4365531" y="117893"/>
              </a:lnTo>
              <a:lnTo>
                <a:pt x="0" y="117893"/>
              </a:lnTo>
              <a:lnTo>
                <a:pt x="0" y="23578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8DDC9BF-C083-4770-9129-ED2EBCB05D34}">
      <dsp:nvSpPr>
        <dsp:cNvPr id="0" name=""/>
        <dsp:cNvSpPr/>
      </dsp:nvSpPr>
      <dsp:spPr>
        <a:xfrm>
          <a:off x="2149315" y="2124"/>
          <a:ext cx="7541275" cy="380272"/>
        </a:xfrm>
        <a:prstGeom prst="rect">
          <a:avLst/>
        </a:prstGeom>
        <a:solidFill>
          <a:schemeClr val="accent5"/>
        </a:solidFill>
        <a:ln w="12700" cap="flat" cmpd="sng" algn="ctr">
          <a:solidFill>
            <a:schemeClr val="accent5"/>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Solid single-unit dosage forms that disintegrate in the oral cavity</a:t>
          </a:r>
        </a:p>
      </dsp:txBody>
      <dsp:txXfrm>
        <a:off x="2149315" y="2124"/>
        <a:ext cx="7541275" cy="380272"/>
      </dsp:txXfrm>
    </dsp:sp>
    <dsp:sp modelId="{D385046F-A1A9-41AD-A931-8D3497E0CAB5}">
      <dsp:nvSpPr>
        <dsp:cNvPr id="0" name=""/>
        <dsp:cNvSpPr/>
      </dsp:nvSpPr>
      <dsp:spPr>
        <a:xfrm>
          <a:off x="644931" y="618183"/>
          <a:ext cx="1818978" cy="561395"/>
        </a:xfrm>
        <a:prstGeom prst="rect">
          <a:avLst/>
        </a:prstGeom>
        <a:solidFill>
          <a:schemeClr val="accent1">
            <a:lumMod val="60000"/>
            <a:lumOff val="4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Chewable dosage forms</a:t>
          </a:r>
        </a:p>
        <a:p>
          <a:pPr marL="0" lvl="0" indent="0" algn="ctr" defTabSz="533400">
            <a:lnSpc>
              <a:spcPct val="90000"/>
            </a:lnSpc>
            <a:spcBef>
              <a:spcPct val="0"/>
            </a:spcBef>
            <a:spcAft>
              <a:spcPct val="35000"/>
            </a:spcAft>
            <a:buNone/>
          </a:pPr>
          <a:r>
            <a:rPr lang="en-US" sz="1200" kern="1200" dirty="0"/>
            <a:t>(forced disintegration)</a:t>
          </a:r>
        </a:p>
      </dsp:txBody>
      <dsp:txXfrm>
        <a:off x="644931" y="618183"/>
        <a:ext cx="1818978" cy="561395"/>
      </dsp:txXfrm>
    </dsp:sp>
    <dsp:sp modelId="{2D21AE9A-7D98-4BCD-B18B-BEBEE6CC510D}">
      <dsp:nvSpPr>
        <dsp:cNvPr id="0" name=""/>
        <dsp:cNvSpPr/>
      </dsp:nvSpPr>
      <dsp:spPr>
        <a:xfrm>
          <a:off x="1529346" y="1308380"/>
          <a:ext cx="1122791" cy="561395"/>
        </a:xfrm>
        <a:prstGeom prst="rect">
          <a:avLst/>
        </a:prstGeom>
        <a:solidFill>
          <a:schemeClr val="accent1">
            <a:lumMod val="60000"/>
            <a:lumOff val="40000"/>
          </a:schemeClr>
        </a:solidFill>
        <a:ln w="12700" cap="flat" cmpd="sng" algn="ctr">
          <a:solidFill>
            <a:schemeClr val="accent2">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Chewable tablets</a:t>
          </a:r>
        </a:p>
      </dsp:txBody>
      <dsp:txXfrm>
        <a:off x="1529346" y="1308380"/>
        <a:ext cx="1122791" cy="561395"/>
      </dsp:txXfrm>
    </dsp:sp>
    <dsp:sp modelId="{2231C5AC-A912-443E-8195-4F3A8699C2B2}">
      <dsp:nvSpPr>
        <dsp:cNvPr id="0" name=""/>
        <dsp:cNvSpPr/>
      </dsp:nvSpPr>
      <dsp:spPr>
        <a:xfrm>
          <a:off x="1529346" y="2019382"/>
          <a:ext cx="1122791" cy="561395"/>
        </a:xfrm>
        <a:prstGeom prst="rect">
          <a:avLst/>
        </a:prstGeom>
        <a:solidFill>
          <a:schemeClr val="accent1">
            <a:lumMod val="60000"/>
            <a:lumOff val="4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Medicated chewing gums</a:t>
          </a:r>
        </a:p>
      </dsp:txBody>
      <dsp:txXfrm>
        <a:off x="1529346" y="2019382"/>
        <a:ext cx="1122791" cy="561395"/>
      </dsp:txXfrm>
    </dsp:sp>
    <dsp:sp modelId="{35013184-0BA1-4BA5-8CAD-8890D6CE3CDF}">
      <dsp:nvSpPr>
        <dsp:cNvPr id="0" name=""/>
        <dsp:cNvSpPr/>
      </dsp:nvSpPr>
      <dsp:spPr>
        <a:xfrm>
          <a:off x="1530614" y="2719819"/>
          <a:ext cx="1122791" cy="561395"/>
        </a:xfrm>
        <a:prstGeom prst="rect">
          <a:avLst/>
        </a:prstGeom>
        <a:solidFill>
          <a:schemeClr val="accent1">
            <a:lumMod val="60000"/>
            <a:lumOff val="4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Soft lozenges</a:t>
          </a:r>
        </a:p>
      </dsp:txBody>
      <dsp:txXfrm>
        <a:off x="1530614" y="2719819"/>
        <a:ext cx="1122791" cy="561395"/>
      </dsp:txXfrm>
    </dsp:sp>
    <dsp:sp modelId="{C6663363-2C4F-4872-834F-DFA994A5579F}">
      <dsp:nvSpPr>
        <dsp:cNvPr id="0" name=""/>
        <dsp:cNvSpPr/>
      </dsp:nvSpPr>
      <dsp:spPr>
        <a:xfrm>
          <a:off x="1529896" y="3483435"/>
          <a:ext cx="1122791" cy="561395"/>
        </a:xfrm>
        <a:prstGeom prst="rect">
          <a:avLst/>
        </a:prstGeom>
        <a:solidFill>
          <a:schemeClr val="accent1">
            <a:lumMod val="60000"/>
            <a:lumOff val="4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Effervescent tablets</a:t>
          </a:r>
        </a:p>
      </dsp:txBody>
      <dsp:txXfrm>
        <a:off x="1529896" y="3483435"/>
        <a:ext cx="1122791" cy="561395"/>
      </dsp:txXfrm>
    </dsp:sp>
    <dsp:sp modelId="{90A790FE-C213-4CBD-A9A3-51F3476152D1}">
      <dsp:nvSpPr>
        <dsp:cNvPr id="0" name=""/>
        <dsp:cNvSpPr/>
      </dsp:nvSpPr>
      <dsp:spPr>
        <a:xfrm>
          <a:off x="1536745" y="4213705"/>
          <a:ext cx="1122791" cy="561395"/>
        </a:xfrm>
        <a:prstGeom prst="rect">
          <a:avLst/>
        </a:prstGeom>
        <a:solidFill>
          <a:schemeClr val="accent1">
            <a:lumMod val="60000"/>
            <a:lumOff val="4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 Gummies</a:t>
          </a:r>
        </a:p>
      </dsp:txBody>
      <dsp:txXfrm>
        <a:off x="1536745" y="4213705"/>
        <a:ext cx="1122791" cy="561395"/>
      </dsp:txXfrm>
    </dsp:sp>
    <dsp:sp modelId="{C06785D6-56FE-4DAB-9DDD-7BD72476C859}">
      <dsp:nvSpPr>
        <dsp:cNvPr id="0" name=""/>
        <dsp:cNvSpPr/>
      </dsp:nvSpPr>
      <dsp:spPr>
        <a:xfrm>
          <a:off x="3333557" y="618183"/>
          <a:ext cx="1122791" cy="561395"/>
        </a:xfrm>
        <a:prstGeom prst="rect">
          <a:avLst/>
        </a:prstGeom>
        <a:solidFill>
          <a:schemeClr val="tx2">
            <a:lumMod val="40000"/>
            <a:lumOff val="60000"/>
          </a:schemeClr>
        </a:solidFill>
        <a:ln w="12700" cap="flat" cmpd="sng" algn="ctr">
          <a:solidFill>
            <a:schemeClr val="tx2">
              <a:lumMod val="40000"/>
              <a:lumOff val="6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Differentiated forms</a:t>
          </a:r>
        </a:p>
      </dsp:txBody>
      <dsp:txXfrm>
        <a:off x="3333557" y="618183"/>
        <a:ext cx="1122791" cy="561395"/>
      </dsp:txXfrm>
    </dsp:sp>
    <dsp:sp modelId="{EB200D51-1D1C-486D-BC0F-48085CD7BEA3}">
      <dsp:nvSpPr>
        <dsp:cNvPr id="0" name=""/>
        <dsp:cNvSpPr/>
      </dsp:nvSpPr>
      <dsp:spPr>
        <a:xfrm>
          <a:off x="4073072" y="1448628"/>
          <a:ext cx="1122791" cy="561395"/>
        </a:xfrm>
        <a:prstGeom prst="rect">
          <a:avLst/>
        </a:prstGeom>
        <a:solidFill>
          <a:schemeClr val="tx2">
            <a:lumMod val="40000"/>
            <a:lumOff val="60000"/>
          </a:schemeClr>
        </a:solidFill>
        <a:ln w="12700" cap="flat" cmpd="sng" algn="ctr">
          <a:solidFill>
            <a:schemeClr val="tx2">
              <a:lumMod val="40000"/>
              <a:lumOff val="6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Minitablets</a:t>
          </a:r>
        </a:p>
      </dsp:txBody>
      <dsp:txXfrm>
        <a:off x="4073072" y="1448628"/>
        <a:ext cx="1122791" cy="561395"/>
      </dsp:txXfrm>
    </dsp:sp>
    <dsp:sp modelId="{9B1846BF-9078-4BAB-824F-E25604C101E3}">
      <dsp:nvSpPr>
        <dsp:cNvPr id="0" name=""/>
        <dsp:cNvSpPr/>
      </dsp:nvSpPr>
      <dsp:spPr>
        <a:xfrm>
          <a:off x="4073072" y="2212548"/>
          <a:ext cx="1122791" cy="561395"/>
        </a:xfrm>
        <a:prstGeom prst="rect">
          <a:avLst/>
        </a:prstGeom>
        <a:solidFill>
          <a:schemeClr val="tx2">
            <a:lumMod val="40000"/>
            <a:lumOff val="60000"/>
          </a:schemeClr>
        </a:solidFill>
        <a:ln w="12700" cap="flat" cmpd="sng" algn="ctr">
          <a:solidFill>
            <a:schemeClr val="tx2">
              <a:lumMod val="40000"/>
              <a:lumOff val="6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Dispersible Pellets</a:t>
          </a:r>
        </a:p>
      </dsp:txBody>
      <dsp:txXfrm>
        <a:off x="4073072" y="2212548"/>
        <a:ext cx="1122791" cy="561395"/>
      </dsp:txXfrm>
    </dsp:sp>
    <dsp:sp modelId="{8D97F495-2C03-4983-8E4F-FE56EAD287F9}">
      <dsp:nvSpPr>
        <dsp:cNvPr id="0" name=""/>
        <dsp:cNvSpPr/>
      </dsp:nvSpPr>
      <dsp:spPr>
        <a:xfrm>
          <a:off x="4073072" y="2970948"/>
          <a:ext cx="1122791" cy="561395"/>
        </a:xfrm>
        <a:prstGeom prst="rect">
          <a:avLst/>
        </a:prstGeom>
        <a:solidFill>
          <a:schemeClr val="tx2">
            <a:lumMod val="40000"/>
            <a:lumOff val="60000"/>
          </a:schemeClr>
        </a:solidFill>
        <a:ln w="12700" cap="flat" cmpd="sng" algn="ctr">
          <a:solidFill>
            <a:schemeClr val="tx2">
              <a:lumMod val="40000"/>
              <a:lumOff val="6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Sprinkles </a:t>
          </a:r>
        </a:p>
      </dsp:txBody>
      <dsp:txXfrm>
        <a:off x="4073072" y="2970948"/>
        <a:ext cx="1122791" cy="561395"/>
      </dsp:txXfrm>
    </dsp:sp>
    <dsp:sp modelId="{8AF22F37-BE32-479E-9A89-A758B09D7619}">
      <dsp:nvSpPr>
        <dsp:cNvPr id="0" name=""/>
        <dsp:cNvSpPr/>
      </dsp:nvSpPr>
      <dsp:spPr>
        <a:xfrm>
          <a:off x="5831622" y="617465"/>
          <a:ext cx="2489285" cy="61708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Orally disintegrating products </a:t>
          </a:r>
        </a:p>
        <a:p>
          <a:pPr marL="0" lvl="0" indent="0" algn="ctr" defTabSz="533400">
            <a:lnSpc>
              <a:spcPct val="90000"/>
            </a:lnSpc>
            <a:spcBef>
              <a:spcPct val="0"/>
            </a:spcBef>
            <a:spcAft>
              <a:spcPct val="35000"/>
            </a:spcAft>
            <a:buNone/>
          </a:pPr>
          <a:r>
            <a:rPr lang="en-US" sz="1200" kern="1200" dirty="0"/>
            <a:t>(fast disintegration) </a:t>
          </a:r>
        </a:p>
      </dsp:txBody>
      <dsp:txXfrm>
        <a:off x="5831622" y="617465"/>
        <a:ext cx="2489285" cy="617086"/>
      </dsp:txXfrm>
    </dsp:sp>
    <dsp:sp modelId="{57AA6A52-00DA-4D81-97D7-51671B5ED3AE}">
      <dsp:nvSpPr>
        <dsp:cNvPr id="0" name=""/>
        <dsp:cNvSpPr/>
      </dsp:nvSpPr>
      <dsp:spPr>
        <a:xfrm>
          <a:off x="6584423" y="1365502"/>
          <a:ext cx="1122791" cy="5613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Orally disintegrating tablets (ODTs)</a:t>
          </a:r>
        </a:p>
      </dsp:txBody>
      <dsp:txXfrm>
        <a:off x="6584423" y="1365502"/>
        <a:ext cx="1122791" cy="561395"/>
      </dsp:txXfrm>
    </dsp:sp>
    <dsp:sp modelId="{26CD0D8A-9D83-4807-A8ED-D9D524982A29}">
      <dsp:nvSpPr>
        <dsp:cNvPr id="0" name=""/>
        <dsp:cNvSpPr/>
      </dsp:nvSpPr>
      <dsp:spPr>
        <a:xfrm>
          <a:off x="6560845" y="2102301"/>
          <a:ext cx="1122791" cy="5613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Orally dissolving granules (ODG)</a:t>
          </a:r>
        </a:p>
      </dsp:txBody>
      <dsp:txXfrm>
        <a:off x="6560845" y="2102301"/>
        <a:ext cx="1122791" cy="561395"/>
      </dsp:txXfrm>
    </dsp:sp>
    <dsp:sp modelId="{BF0E3698-726A-4F9C-8270-BB6B1FD5C4A9}">
      <dsp:nvSpPr>
        <dsp:cNvPr id="0" name=""/>
        <dsp:cNvSpPr/>
      </dsp:nvSpPr>
      <dsp:spPr>
        <a:xfrm>
          <a:off x="6527587" y="2860118"/>
          <a:ext cx="1122791" cy="5613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Oral lyophilized forms</a:t>
          </a:r>
        </a:p>
      </dsp:txBody>
      <dsp:txXfrm>
        <a:off x="6527587" y="2860118"/>
        <a:ext cx="1122791" cy="561395"/>
      </dsp:txXfrm>
    </dsp:sp>
    <dsp:sp modelId="{80A6E7B5-D446-4FD3-B993-09EC86F587B5}">
      <dsp:nvSpPr>
        <dsp:cNvPr id="0" name=""/>
        <dsp:cNvSpPr/>
      </dsp:nvSpPr>
      <dsp:spPr>
        <a:xfrm>
          <a:off x="6551155" y="3574763"/>
          <a:ext cx="1122791" cy="56139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Oral films</a:t>
          </a:r>
        </a:p>
      </dsp:txBody>
      <dsp:txXfrm>
        <a:off x="6551155" y="3574763"/>
        <a:ext cx="1122791" cy="561395"/>
      </dsp:txXfrm>
    </dsp:sp>
    <dsp:sp modelId="{5B752291-517A-4078-9C4B-5EA4A13C421A}">
      <dsp:nvSpPr>
        <dsp:cNvPr id="0" name=""/>
        <dsp:cNvSpPr/>
      </dsp:nvSpPr>
      <dsp:spPr>
        <a:xfrm>
          <a:off x="9169805" y="616853"/>
          <a:ext cx="1662966" cy="713590"/>
        </a:xfrm>
        <a:prstGeom prst="rect">
          <a:avLst/>
        </a:prstGeom>
        <a:solidFill>
          <a:schemeClr val="accent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Other dosage forms</a:t>
          </a:r>
        </a:p>
        <a:p>
          <a:pPr marL="0" lvl="0" indent="0" algn="ctr" defTabSz="533400">
            <a:lnSpc>
              <a:spcPct val="90000"/>
            </a:lnSpc>
            <a:spcBef>
              <a:spcPct val="0"/>
            </a:spcBef>
            <a:spcAft>
              <a:spcPct val="35000"/>
            </a:spcAft>
            <a:buNone/>
          </a:pPr>
          <a:r>
            <a:rPr lang="en-US" sz="1200" kern="1200" dirty="0"/>
            <a:t>(slow disintegration)</a:t>
          </a:r>
        </a:p>
      </dsp:txBody>
      <dsp:txXfrm>
        <a:off x="9169805" y="616853"/>
        <a:ext cx="1662966" cy="713590"/>
      </dsp:txXfrm>
    </dsp:sp>
    <dsp:sp modelId="{53194357-D1F0-4A9D-9903-33484884A9E8}">
      <dsp:nvSpPr>
        <dsp:cNvPr id="0" name=""/>
        <dsp:cNvSpPr/>
      </dsp:nvSpPr>
      <dsp:spPr>
        <a:xfrm>
          <a:off x="9928650" y="1472398"/>
          <a:ext cx="1122791" cy="561395"/>
        </a:xfrm>
        <a:prstGeom prst="rect">
          <a:avLst/>
        </a:prstGeom>
        <a:solidFill>
          <a:schemeClr val="accent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Hard lozenges</a:t>
          </a:r>
        </a:p>
      </dsp:txBody>
      <dsp:txXfrm>
        <a:off x="9928650" y="1472398"/>
        <a:ext cx="1122791" cy="561395"/>
      </dsp:txXfrm>
    </dsp:sp>
    <dsp:sp modelId="{5516AD33-14C2-414D-9A63-A6225E885FB5}">
      <dsp:nvSpPr>
        <dsp:cNvPr id="0" name=""/>
        <dsp:cNvSpPr/>
      </dsp:nvSpPr>
      <dsp:spPr>
        <a:xfrm>
          <a:off x="9915547" y="2194965"/>
          <a:ext cx="1122791" cy="561395"/>
        </a:xfrm>
        <a:prstGeom prst="rect">
          <a:avLst/>
        </a:prstGeom>
        <a:solidFill>
          <a:schemeClr val="accent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Buccal tablets</a:t>
          </a:r>
        </a:p>
      </dsp:txBody>
      <dsp:txXfrm>
        <a:off x="9915547" y="2194965"/>
        <a:ext cx="1122791" cy="561395"/>
      </dsp:txXfrm>
    </dsp:sp>
    <dsp:sp modelId="{3EE583D6-7E02-463C-B888-7CE458A7C0AD}">
      <dsp:nvSpPr>
        <dsp:cNvPr id="0" name=""/>
        <dsp:cNvSpPr/>
      </dsp:nvSpPr>
      <dsp:spPr>
        <a:xfrm>
          <a:off x="9910112" y="2903974"/>
          <a:ext cx="1122791" cy="561395"/>
        </a:xfrm>
        <a:prstGeom prst="rect">
          <a:avLst/>
        </a:prstGeom>
        <a:solidFill>
          <a:schemeClr val="accent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Sublingual tablets</a:t>
          </a:r>
        </a:p>
      </dsp:txBody>
      <dsp:txXfrm>
        <a:off x="9910112" y="2903974"/>
        <a:ext cx="1122791" cy="5613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B8C162-B97F-43D0-A9AB-DBA02B9CA0E7}">
      <dsp:nvSpPr>
        <dsp:cNvPr id="0" name=""/>
        <dsp:cNvSpPr/>
      </dsp:nvSpPr>
      <dsp:spPr>
        <a:xfrm>
          <a:off x="39" y="0"/>
          <a:ext cx="2393456" cy="611286"/>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ts val="0"/>
            </a:spcAft>
            <a:buNone/>
          </a:pPr>
          <a:r>
            <a:rPr lang="en-US" sz="1400" kern="1200" dirty="0"/>
            <a:t>0% Talc</a:t>
          </a:r>
        </a:p>
        <a:p>
          <a:pPr marL="0" lvl="0" indent="0" algn="ctr" defTabSz="622300">
            <a:lnSpc>
              <a:spcPct val="90000"/>
            </a:lnSpc>
            <a:spcBef>
              <a:spcPct val="0"/>
            </a:spcBef>
            <a:spcAft>
              <a:spcPts val="0"/>
            </a:spcAft>
            <a:buNone/>
          </a:pPr>
          <a:r>
            <a:rPr lang="en-US" sz="1400" kern="1200" dirty="0"/>
            <a:t> 1% </a:t>
          </a:r>
          <a:r>
            <a:rPr lang="en-US" sz="1400" kern="1200" dirty="0" err="1"/>
            <a:t>Microtalc</a:t>
          </a:r>
          <a:r>
            <a:rPr lang="en-US" sz="1400" kern="1200" dirty="0"/>
            <a:t> (after) </a:t>
          </a:r>
        </a:p>
      </dsp:txBody>
      <dsp:txXfrm>
        <a:off x="305682" y="0"/>
        <a:ext cx="1782170" cy="611286"/>
      </dsp:txXfrm>
    </dsp:sp>
    <dsp:sp modelId="{5E8A6D4B-53DD-40B3-9079-5EBF80D48F16}">
      <dsp:nvSpPr>
        <dsp:cNvPr id="0" name=""/>
        <dsp:cNvSpPr/>
      </dsp:nvSpPr>
      <dsp:spPr>
        <a:xfrm>
          <a:off x="2196637" y="0"/>
          <a:ext cx="1968577" cy="611286"/>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t>4% Talc</a:t>
          </a:r>
        </a:p>
      </dsp:txBody>
      <dsp:txXfrm>
        <a:off x="2502280" y="0"/>
        <a:ext cx="1357291" cy="611286"/>
      </dsp:txXfrm>
    </dsp:sp>
    <dsp:sp modelId="{51BAC2C6-225D-4594-AC81-9626EF5447D2}">
      <dsp:nvSpPr>
        <dsp:cNvPr id="0" name=""/>
        <dsp:cNvSpPr/>
      </dsp:nvSpPr>
      <dsp:spPr>
        <a:xfrm>
          <a:off x="3968357" y="0"/>
          <a:ext cx="1968577" cy="611286"/>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t>6% Talc</a:t>
          </a:r>
        </a:p>
      </dsp:txBody>
      <dsp:txXfrm>
        <a:off x="4274000" y="0"/>
        <a:ext cx="1357291" cy="611286"/>
      </dsp:txXfrm>
    </dsp:sp>
    <dsp:sp modelId="{2BBDE119-AE60-4646-A0E0-26244CB325A3}">
      <dsp:nvSpPr>
        <dsp:cNvPr id="0" name=""/>
        <dsp:cNvSpPr/>
      </dsp:nvSpPr>
      <dsp:spPr>
        <a:xfrm>
          <a:off x="5740077" y="0"/>
          <a:ext cx="1968577" cy="611286"/>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t>8% Talc</a:t>
          </a:r>
        </a:p>
      </dsp:txBody>
      <dsp:txXfrm>
        <a:off x="6045720" y="0"/>
        <a:ext cx="1357291" cy="61128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59DFC2-7396-43AE-9902-69530B9EB992}">
      <dsp:nvSpPr>
        <dsp:cNvPr id="0" name=""/>
        <dsp:cNvSpPr/>
      </dsp:nvSpPr>
      <dsp:spPr>
        <a:xfrm>
          <a:off x="4010549" y="2175051"/>
          <a:ext cx="1543506" cy="154350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r>
            <a:rPr lang="en-US" sz="2700" kern="1200" dirty="0"/>
            <a:t>Curing</a:t>
          </a:r>
        </a:p>
      </dsp:txBody>
      <dsp:txXfrm>
        <a:off x="4236590" y="2401092"/>
        <a:ext cx="1091424" cy="1091424"/>
      </dsp:txXfrm>
    </dsp:sp>
    <dsp:sp modelId="{6B447E85-13F9-4CD7-A78F-6C375AD1B6B9}">
      <dsp:nvSpPr>
        <dsp:cNvPr id="0" name=""/>
        <dsp:cNvSpPr/>
      </dsp:nvSpPr>
      <dsp:spPr>
        <a:xfrm rot="5560769">
          <a:off x="4626366" y="1627261"/>
          <a:ext cx="311873" cy="52479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4675334" y="1685489"/>
        <a:ext cx="218311" cy="314876"/>
      </dsp:txXfrm>
    </dsp:sp>
    <dsp:sp modelId="{0B1D8422-2AA9-4D48-92E0-545AA6E7FE75}">
      <dsp:nvSpPr>
        <dsp:cNvPr id="0" name=""/>
        <dsp:cNvSpPr/>
      </dsp:nvSpPr>
      <dsp:spPr>
        <a:xfrm>
          <a:off x="3947188" y="-10625"/>
          <a:ext cx="1670228" cy="159723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ClrTx/>
            <a:buSzTx/>
            <a:buFontTx/>
            <a:buNone/>
          </a:pPr>
          <a:r>
            <a:rPr kumimoji="0" lang="en-US" altLang="de-DE" sz="15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Quantity</a:t>
          </a:r>
        </a:p>
        <a:p>
          <a:pPr marL="0" lvl="0" indent="0" algn="ctr" defTabSz="666750">
            <a:lnSpc>
              <a:spcPct val="90000"/>
            </a:lnSpc>
            <a:spcBef>
              <a:spcPct val="0"/>
            </a:spcBef>
            <a:spcAft>
              <a:spcPct val="35000"/>
            </a:spcAft>
            <a:buClrTx/>
            <a:buSzTx/>
            <a:buFontTx/>
            <a:buNone/>
          </a:pPr>
          <a:r>
            <a:rPr kumimoji="0" lang="en-US" altLang="de-DE" sz="15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of plasticizer and talc</a:t>
          </a:r>
          <a:endParaRPr lang="en-US" sz="1500" kern="1200" dirty="0">
            <a:solidFill>
              <a:schemeClr val="bg1"/>
            </a:solidFill>
          </a:endParaRPr>
        </a:p>
      </dsp:txBody>
      <dsp:txXfrm>
        <a:off x="4191787" y="223285"/>
        <a:ext cx="1181030" cy="1129416"/>
      </dsp:txXfrm>
    </dsp:sp>
    <dsp:sp modelId="{CE0EF803-F27C-479F-8986-B30C190E0FE4}">
      <dsp:nvSpPr>
        <dsp:cNvPr id="0" name=""/>
        <dsp:cNvSpPr/>
      </dsp:nvSpPr>
      <dsp:spPr>
        <a:xfrm rot="9961163">
          <a:off x="5637045" y="2353706"/>
          <a:ext cx="326111" cy="52479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5733429" y="2446846"/>
        <a:ext cx="228278" cy="314876"/>
      </dsp:txXfrm>
    </dsp:sp>
    <dsp:sp modelId="{45DFA0FD-D38C-433F-B573-A9EE6FF7476F}">
      <dsp:nvSpPr>
        <dsp:cNvPr id="0" name=""/>
        <dsp:cNvSpPr/>
      </dsp:nvSpPr>
      <dsp:spPr>
        <a:xfrm>
          <a:off x="6063701" y="1507941"/>
          <a:ext cx="1543506" cy="154350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Antioxidant (BHT level)</a:t>
          </a:r>
        </a:p>
      </dsp:txBody>
      <dsp:txXfrm>
        <a:off x="6289742" y="1733982"/>
        <a:ext cx="1091424" cy="1091424"/>
      </dsp:txXfrm>
    </dsp:sp>
    <dsp:sp modelId="{BACB3D83-644E-4895-9FB2-29CDFBD793CF}">
      <dsp:nvSpPr>
        <dsp:cNvPr id="0" name=""/>
        <dsp:cNvSpPr/>
      </dsp:nvSpPr>
      <dsp:spPr>
        <a:xfrm rot="13773720">
          <a:off x="5248281" y="3550199"/>
          <a:ext cx="326111" cy="52479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5328926" y="3692388"/>
        <a:ext cx="228278" cy="314876"/>
      </dsp:txXfrm>
    </dsp:sp>
    <dsp:sp modelId="{EB3EAF7A-FCD9-4E3E-9BCA-60B9D2A2EBEF}">
      <dsp:nvSpPr>
        <dsp:cNvPr id="0" name=""/>
        <dsp:cNvSpPr/>
      </dsp:nvSpPr>
      <dsp:spPr>
        <a:xfrm>
          <a:off x="5279467" y="3921567"/>
          <a:ext cx="1543506" cy="154350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ClrTx/>
            <a:buSzTx/>
            <a:buFontTx/>
            <a:buNone/>
          </a:pPr>
          <a:r>
            <a:rPr kumimoji="0" lang="en-US" altLang="de-DE" sz="15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queous dispersion or organic solution</a:t>
          </a:r>
          <a:endParaRPr lang="en-US" sz="1500" kern="1200" dirty="0">
            <a:solidFill>
              <a:schemeClr val="bg1"/>
            </a:solidFill>
          </a:endParaRPr>
        </a:p>
      </dsp:txBody>
      <dsp:txXfrm>
        <a:off x="5505508" y="4147608"/>
        <a:ext cx="1091424" cy="1091424"/>
      </dsp:txXfrm>
    </dsp:sp>
    <dsp:sp modelId="{FB44EF80-C3A7-497E-A821-3D1417461890}">
      <dsp:nvSpPr>
        <dsp:cNvPr id="0" name=""/>
        <dsp:cNvSpPr/>
      </dsp:nvSpPr>
      <dsp:spPr>
        <a:xfrm rot="18284330">
          <a:off x="3990213" y="3550199"/>
          <a:ext cx="326111" cy="52479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4011255" y="3695355"/>
        <a:ext cx="228278" cy="314876"/>
      </dsp:txXfrm>
    </dsp:sp>
    <dsp:sp modelId="{7FCCB427-9A81-4C3E-8592-259E9E27C128}">
      <dsp:nvSpPr>
        <dsp:cNvPr id="0" name=""/>
        <dsp:cNvSpPr/>
      </dsp:nvSpPr>
      <dsp:spPr>
        <a:xfrm>
          <a:off x="2741631" y="3921567"/>
          <a:ext cx="1543506" cy="154350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ClrTx/>
            <a:buSzTx/>
            <a:buFontTx/>
            <a:buNone/>
          </a:pPr>
          <a:r>
            <a:rPr kumimoji="0" lang="en-US" altLang="de-DE" sz="1500" b="0" i="0" u="none" strike="noStrike" kern="1200" cap="none" spc="0" normalizeH="0" baseline="0" noProof="0" dirty="0">
              <a:ln>
                <a:noFill/>
              </a:ln>
              <a:solidFill>
                <a:schemeClr val="bg1"/>
              </a:solidFill>
              <a:effectLst/>
              <a:uLnTx/>
              <a:uFillTx/>
              <a:latin typeface="Arial" panose="020B0604020202020204"/>
              <a:cs typeface="Arial"/>
            </a:rPr>
            <a:t>Process parameters, especially product temperature</a:t>
          </a:r>
          <a:endParaRPr lang="en-US" sz="1500" kern="1200" dirty="0">
            <a:solidFill>
              <a:schemeClr val="bg1"/>
            </a:solidFill>
          </a:endParaRPr>
        </a:p>
      </dsp:txBody>
      <dsp:txXfrm>
        <a:off x="2967672" y="4147608"/>
        <a:ext cx="1091424" cy="1091424"/>
      </dsp:txXfrm>
    </dsp:sp>
    <dsp:sp modelId="{6ABE4484-0A70-4DF1-8495-61C9BD5B31D2}">
      <dsp:nvSpPr>
        <dsp:cNvPr id="0" name=""/>
        <dsp:cNvSpPr/>
      </dsp:nvSpPr>
      <dsp:spPr>
        <a:xfrm rot="1334699">
          <a:off x="3601448" y="2353706"/>
          <a:ext cx="326111" cy="52479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3605089" y="2440146"/>
        <a:ext cx="228278" cy="314876"/>
      </dsp:txXfrm>
    </dsp:sp>
    <dsp:sp modelId="{F5AD5095-195A-4B90-9891-FA40A4328186}">
      <dsp:nvSpPr>
        <dsp:cNvPr id="0" name=""/>
        <dsp:cNvSpPr/>
      </dsp:nvSpPr>
      <dsp:spPr>
        <a:xfrm>
          <a:off x="1957397" y="1507941"/>
          <a:ext cx="1543506" cy="154350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ClrTx/>
            <a:buSzTx/>
            <a:buFontTx/>
            <a:buNone/>
          </a:pPr>
          <a:r>
            <a:rPr kumimoji="0" lang="en-US" altLang="de-DE" sz="15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Final drying step</a:t>
          </a:r>
          <a:endParaRPr lang="en-US" sz="1500" kern="1200" dirty="0">
            <a:solidFill>
              <a:schemeClr val="bg1"/>
            </a:solidFill>
          </a:endParaRPr>
        </a:p>
      </dsp:txBody>
      <dsp:txXfrm>
        <a:off x="2183438" y="1733982"/>
        <a:ext cx="1091424" cy="1091424"/>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23006</cdr:x>
      <cdr:y>0.01251</cdr:y>
    </cdr:from>
    <cdr:to>
      <cdr:x>0.68671</cdr:x>
      <cdr:y>0.08829</cdr:y>
    </cdr:to>
    <cdr:sp macro="" textlink="">
      <cdr:nvSpPr>
        <cdr:cNvPr id="2" name="Textfeld 1"/>
        <cdr:cNvSpPr txBox="1"/>
      </cdr:nvSpPr>
      <cdr:spPr>
        <a:xfrm xmlns:a="http://schemas.openxmlformats.org/drawingml/2006/main">
          <a:off x="1968680" y="42340"/>
          <a:ext cx="3907666" cy="25643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e-DE" sz="1100"/>
        </a:p>
      </cdr:txBody>
    </cdr:sp>
  </cdr:relSizeAnchor>
  <cdr:relSizeAnchor xmlns:cdr="http://schemas.openxmlformats.org/drawingml/2006/chartDrawing">
    <cdr:from>
      <cdr:x>0.00694</cdr:x>
      <cdr:y>0.36244</cdr:y>
    </cdr:from>
    <cdr:to>
      <cdr:x>0.02312</cdr:x>
      <cdr:y>0.83196</cdr:y>
    </cdr:to>
    <cdr:sp macro="" textlink="">
      <cdr:nvSpPr>
        <cdr:cNvPr id="4" name="Textfeld 3"/>
        <cdr:cNvSpPr txBox="1"/>
      </cdr:nvSpPr>
      <cdr:spPr>
        <a:xfrm xmlns:a="http://schemas.openxmlformats.org/drawingml/2006/main">
          <a:off x="57150" y="2095500"/>
          <a:ext cx="133350" cy="271462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e-DE" sz="1100"/>
        </a:p>
      </cdr:txBody>
    </cdr:sp>
  </cdr:relSizeAnchor>
</c:userShapes>
</file>

<file path=ppt/drawings/drawing2.xml><?xml version="1.0" encoding="utf-8"?>
<c:userShapes xmlns:c="http://schemas.openxmlformats.org/drawingml/2006/chart">
  <cdr:relSizeAnchor xmlns:cdr="http://schemas.openxmlformats.org/drawingml/2006/chartDrawing">
    <cdr:from>
      <cdr:x>0.10043</cdr:x>
      <cdr:y>0.51505</cdr:y>
    </cdr:from>
    <cdr:to>
      <cdr:x>0.97426</cdr:x>
      <cdr:y>0.52597</cdr:y>
    </cdr:to>
    <cdr:cxnSp macro="">
      <cdr:nvCxnSpPr>
        <cdr:cNvPr id="2" name="Straight Connector 1">
          <a:extLst xmlns:a="http://schemas.openxmlformats.org/drawingml/2006/main">
            <a:ext uri="{FF2B5EF4-FFF2-40B4-BE49-F238E27FC236}">
              <a16:creationId xmlns:a16="http://schemas.microsoft.com/office/drawing/2014/main" id="{DAD39BFD-6104-F9E0-EDEB-C81258F54620}"/>
            </a:ext>
          </a:extLst>
        </cdr:cNvPr>
        <cdr:cNvCxnSpPr/>
      </cdr:nvCxnSpPr>
      <cdr:spPr>
        <a:xfrm xmlns:a="http://schemas.openxmlformats.org/drawingml/2006/main" flipV="1">
          <a:off x="795382" y="2537310"/>
          <a:ext cx="6920753" cy="53788"/>
        </a:xfrm>
        <a:prstGeom xmlns:a="http://schemas.openxmlformats.org/drawingml/2006/main" prst="line">
          <a:avLst/>
        </a:prstGeom>
        <a:ln xmlns:a="http://schemas.openxmlformats.org/drawingml/2006/main" w="28575">
          <a:solidFill>
            <a:srgbClr val="C00000"/>
          </a:solidFill>
          <a:prstDash val="sysDot"/>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09744</cdr:x>
      <cdr:y>0.4464</cdr:y>
    </cdr:from>
    <cdr:to>
      <cdr:x>0.97127</cdr:x>
      <cdr:y>0.457</cdr:y>
    </cdr:to>
    <cdr:cxnSp macro="">
      <cdr:nvCxnSpPr>
        <cdr:cNvPr id="3" name="Straight Connector 2">
          <a:extLst xmlns:a="http://schemas.openxmlformats.org/drawingml/2006/main">
            <a:ext uri="{FF2B5EF4-FFF2-40B4-BE49-F238E27FC236}">
              <a16:creationId xmlns:a16="http://schemas.microsoft.com/office/drawing/2014/main" id="{B814D2FD-42B9-3BE7-5D71-D663D093A27E}"/>
            </a:ext>
          </a:extLst>
        </cdr:cNvPr>
        <cdr:cNvCxnSpPr/>
      </cdr:nvCxnSpPr>
      <cdr:spPr>
        <a:xfrm xmlns:a="http://schemas.openxmlformats.org/drawingml/2006/main" flipV="1">
          <a:off x="750331" y="2093262"/>
          <a:ext cx="6728880" cy="49705"/>
        </a:xfrm>
        <a:prstGeom xmlns:a="http://schemas.openxmlformats.org/drawingml/2006/main" prst="line">
          <a:avLst/>
        </a:prstGeom>
        <a:ln xmlns:a="http://schemas.openxmlformats.org/drawingml/2006/main" w="28575">
          <a:solidFill>
            <a:srgbClr val="C00000"/>
          </a:solidFill>
          <a:prstDash val="sysDot"/>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00877</cdr:x>
      <cdr:y>0.02963</cdr:y>
    </cdr:from>
    <cdr:to>
      <cdr:x>0.98802</cdr:x>
      <cdr:y>0.20578</cdr:y>
    </cdr:to>
    <cdr:sp macro="" textlink="">
      <cdr:nvSpPr>
        <cdr:cNvPr id="2" name="TextBox 1">
          <a:extLst xmlns:a="http://schemas.openxmlformats.org/drawingml/2006/main">
            <a:ext uri="{FF2B5EF4-FFF2-40B4-BE49-F238E27FC236}">
              <a16:creationId xmlns:a16="http://schemas.microsoft.com/office/drawing/2014/main" id="{696BBDB8-207D-C72A-3CC7-AF2E91E697AA}"/>
            </a:ext>
          </a:extLst>
        </cdr:cNvPr>
        <cdr:cNvSpPr txBox="1"/>
      </cdr:nvSpPr>
      <cdr:spPr>
        <a:xfrm xmlns:a="http://schemas.openxmlformats.org/drawingml/2006/main">
          <a:off x="94454" y="121661"/>
          <a:ext cx="10551695" cy="723275"/>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ctr" rtl="0">
            <a:defRPr sz="1800" b="1" i="0" u="none" strike="noStrike" kern="1200" spc="0" baseline="0">
              <a:solidFill>
                <a:prstClr val="black"/>
              </a:solidFill>
              <a:latin typeface="+mn-lt"/>
              <a:ea typeface="+mn-ea"/>
              <a:cs typeface="+mn-cs"/>
            </a:defRPr>
          </a:pPr>
          <a:r>
            <a:rPr lang="en-US" sz="1800" b="1" dirty="0">
              <a:solidFill>
                <a:schemeClr val="tx1"/>
              </a:solidFill>
              <a:latin typeface="Arial" panose="020B0604020202020204" pitchFamily="34" charset="0"/>
              <a:cs typeface="Arial" panose="020B0604020202020204" pitchFamily="34" charset="0"/>
            </a:rPr>
            <a:t>MUPS with Ludiflash</a:t>
          </a:r>
          <a:r>
            <a:rPr lang="en-US" sz="1800" b="1" baseline="30000" dirty="0">
              <a:solidFill>
                <a:schemeClr val="tx1"/>
              </a:solidFill>
              <a:latin typeface="Arial" panose="020B0604020202020204" pitchFamily="34" charset="0"/>
              <a:cs typeface="Arial" panose="020B0604020202020204" pitchFamily="34" charset="0"/>
            </a:rPr>
            <a:t>®</a:t>
          </a:r>
          <a:r>
            <a:rPr lang="en-US" sz="1800" b="1" dirty="0">
              <a:solidFill>
                <a:schemeClr val="tx1"/>
              </a:solidFill>
              <a:latin typeface="Arial" panose="020B0604020202020204" pitchFamily="34" charset="0"/>
              <a:cs typeface="Arial" panose="020B0604020202020204" pitchFamily="34" charset="0"/>
            </a:rPr>
            <a:t> of vardenafil pellets coated with Kollicoat</a:t>
          </a:r>
          <a:r>
            <a:rPr lang="en-US" sz="1800" b="1" baseline="30000" dirty="0">
              <a:solidFill>
                <a:schemeClr val="tx1"/>
              </a:solidFill>
              <a:latin typeface="Arial" panose="020B0604020202020204" pitchFamily="34" charset="0"/>
              <a:cs typeface="Arial" panose="020B0604020202020204" pitchFamily="34" charset="0"/>
            </a:rPr>
            <a:t>®</a:t>
          </a:r>
          <a:r>
            <a:rPr lang="en-US" sz="1800" b="1" dirty="0">
              <a:solidFill>
                <a:schemeClr val="tx1"/>
              </a:solidFill>
              <a:latin typeface="Arial" panose="020B0604020202020204" pitchFamily="34" charset="0"/>
              <a:cs typeface="Arial" panose="020B0604020202020204" pitchFamily="34" charset="0"/>
            </a:rPr>
            <a:t> Smartseal 30 D with and without BHT, room temperature. Dissolution in 0.1N HCl , 900 ml, basket at 100 rpm</a:t>
          </a:r>
        </a:p>
        <a:p xmlns:a="http://schemas.openxmlformats.org/drawingml/2006/main">
          <a:endParaRPr lang="en-US" sz="1100" dirty="0"/>
        </a:p>
      </cdr:txBody>
    </cdr:sp>
  </cdr:relSizeAnchor>
</c:userShapes>
</file>

<file path=ppt/drawings/drawing5.xml><?xml version="1.0" encoding="utf-8"?>
<c:userShapes xmlns:c="http://schemas.openxmlformats.org/drawingml/2006/chart">
  <cdr:relSizeAnchor xmlns:cdr="http://schemas.openxmlformats.org/drawingml/2006/chartDrawing">
    <cdr:from>
      <cdr:x>0.10276</cdr:x>
      <cdr:y>0.17482</cdr:y>
    </cdr:from>
    <cdr:to>
      <cdr:x>0.93665</cdr:x>
      <cdr:y>0.79995</cdr:y>
    </cdr:to>
    <cdr:sp macro="" textlink="">
      <cdr:nvSpPr>
        <cdr:cNvPr id="366598" name="Freeform 6"/>
        <cdr:cNvSpPr>
          <a:spLocks xmlns:a="http://schemas.openxmlformats.org/drawingml/2006/main"/>
        </cdr:cNvSpPr>
      </cdr:nvSpPr>
      <cdr:spPr bwMode="auto">
        <a:xfrm xmlns:a="http://schemas.openxmlformats.org/drawingml/2006/main">
          <a:off x="576759" y="503436"/>
          <a:ext cx="4680520" cy="1800200"/>
        </a:xfrm>
        <a:custGeom xmlns:a="http://schemas.openxmlformats.org/drawingml/2006/main">
          <a:avLst/>
          <a:gdLst>
            <a:gd name="T0" fmla="*/ 0 w 9991725"/>
            <a:gd name="T1" fmla="*/ 25400 h 4854575"/>
            <a:gd name="T2" fmla="*/ 2743200 w 9991725"/>
            <a:gd name="T3" fmla="*/ 15875 h 4854575"/>
            <a:gd name="T4" fmla="*/ 3848100 w 9991725"/>
            <a:gd name="T5" fmla="*/ 120650 h 4854575"/>
            <a:gd name="T6" fmla="*/ 4591050 w 9991725"/>
            <a:gd name="T7" fmla="*/ 520700 h 4854575"/>
            <a:gd name="T8" fmla="*/ 6419850 w 9991725"/>
            <a:gd name="T9" fmla="*/ 2149475 h 4854575"/>
            <a:gd name="T10" fmla="*/ 9991725 w 9991725"/>
            <a:gd name="T11" fmla="*/ 4854575 h 4854575"/>
          </a:gdLst>
          <a:ahLst/>
          <a:cxnLst>
            <a:cxn ang="0">
              <a:pos x="T0" y="T1"/>
            </a:cxn>
            <a:cxn ang="0">
              <a:pos x="T2" y="T3"/>
            </a:cxn>
            <a:cxn ang="0">
              <a:pos x="T4" y="T5"/>
            </a:cxn>
            <a:cxn ang="0">
              <a:pos x="T6" y="T7"/>
            </a:cxn>
            <a:cxn ang="0">
              <a:pos x="T8" y="T9"/>
            </a:cxn>
            <a:cxn ang="0">
              <a:pos x="T10" y="T11"/>
            </a:cxn>
          </a:cxnLst>
          <a:rect l="0" t="0" r="r" b="b"/>
          <a:pathLst>
            <a:path w="9991725" h="4854575">
              <a:moveTo>
                <a:pt x="0" y="25400"/>
              </a:moveTo>
              <a:cubicBezTo>
                <a:pt x="1050925" y="12700"/>
                <a:pt x="2101850" y="0"/>
                <a:pt x="2743200" y="15875"/>
              </a:cubicBezTo>
              <a:cubicBezTo>
                <a:pt x="3384550" y="31750"/>
                <a:pt x="3540125" y="36513"/>
                <a:pt x="3848100" y="120650"/>
              </a:cubicBezTo>
              <a:cubicBezTo>
                <a:pt x="4156075" y="204787"/>
                <a:pt x="4162425" y="182562"/>
                <a:pt x="4591050" y="520700"/>
              </a:cubicBezTo>
              <a:cubicBezTo>
                <a:pt x="5019675" y="858838"/>
                <a:pt x="5519738" y="1427163"/>
                <a:pt x="6419850" y="2149475"/>
              </a:cubicBezTo>
              <a:cubicBezTo>
                <a:pt x="7319962" y="2871787"/>
                <a:pt x="8655843" y="3863181"/>
                <a:pt x="9991725" y="4854575"/>
              </a:cubicBezTo>
            </a:path>
          </a:pathLst>
        </a:custGeom>
        <a:noFill xmlns:a="http://schemas.openxmlformats.org/drawingml/2006/main"/>
        <a:ln xmlns:a="http://schemas.openxmlformats.org/drawingml/2006/main" w="19050" cap="flat" cmpd="sng">
          <a:solidFill>
            <a:schemeClr val="accent1"/>
          </a:solidFill>
          <a:prstDash val="solid"/>
          <a:round/>
          <a:headEnd type="none" w="med" len="med"/>
          <a:tailEnd type="none" w="med" len="med"/>
        </a:ln>
        <a:extLst xmlns:a="http://schemas.openxmlformats.org/drawingml/2006/main">
          <a:ext uri="{909E8E84-426E-40DD-AFC4-6F175D3DCCD1}">
            <a14:hiddenFill xmlns:a14="http://schemas.microsoft.com/office/drawing/2010/main">
              <a:solidFill>
                <a:srgbClr xmlns:mc="http://schemas.openxmlformats.org/markup-compatibility/2006" val="FFFFFF" mc:Ignorable="a14" a14:legacySpreadsheetColorIndex="65"/>
              </a:solidFill>
            </a14:hiddenFill>
          </a:ext>
        </a:extLst>
      </cdr:spPr>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CAC6C8EF-CB49-4275-A13C-7D23B207354B}"/>
              </a:ext>
            </a:extLst>
          </p:cNvPr>
          <p:cNvSpPr>
            <a:spLocks noGrp="1"/>
          </p:cNvSpPr>
          <p:nvPr>
            <p:ph type="hdr" sz="quarter"/>
          </p:nvPr>
        </p:nvSpPr>
        <p:spPr>
          <a:xfrm>
            <a:off x="0" y="0"/>
            <a:ext cx="3026833" cy="465797"/>
          </a:xfrm>
          <a:prstGeom prst="rect">
            <a:avLst/>
          </a:prstGeom>
        </p:spPr>
        <p:txBody>
          <a:bodyPr vert="horz" lIns="92958" tIns="46479" rIns="92958" bIns="46479" rtlCol="0"/>
          <a:lstStyle>
            <a:lvl1pPr algn="l">
              <a:defRPr sz="1200"/>
            </a:lvl1pPr>
          </a:lstStyle>
          <a:p>
            <a:endParaRPr lang="de-DE"/>
          </a:p>
        </p:txBody>
      </p:sp>
      <p:sp>
        <p:nvSpPr>
          <p:cNvPr id="3" name="Datumsplatzhalter 2">
            <a:extLst>
              <a:ext uri="{FF2B5EF4-FFF2-40B4-BE49-F238E27FC236}">
                <a16:creationId xmlns:a16="http://schemas.microsoft.com/office/drawing/2014/main" id="{A1B4A547-0428-4174-91C1-87DB18F6E73E}"/>
              </a:ext>
            </a:extLst>
          </p:cNvPr>
          <p:cNvSpPr>
            <a:spLocks noGrp="1"/>
          </p:cNvSpPr>
          <p:nvPr>
            <p:ph type="dt" sz="quarter" idx="1"/>
          </p:nvPr>
        </p:nvSpPr>
        <p:spPr>
          <a:xfrm>
            <a:off x="3956550" y="0"/>
            <a:ext cx="3026833" cy="465797"/>
          </a:xfrm>
          <a:prstGeom prst="rect">
            <a:avLst/>
          </a:prstGeom>
        </p:spPr>
        <p:txBody>
          <a:bodyPr vert="horz" lIns="92958" tIns="46479" rIns="92958" bIns="46479" rtlCol="0"/>
          <a:lstStyle>
            <a:lvl1pPr algn="r">
              <a:defRPr sz="1200"/>
            </a:lvl1pPr>
          </a:lstStyle>
          <a:p>
            <a:fld id="{1E843078-645D-4158-A787-42F60CFF6D2A}" type="datetimeFigureOut">
              <a:rPr lang="de-DE" smtClean="0"/>
              <a:t>02.08.2023</a:t>
            </a:fld>
            <a:endParaRPr lang="de-DE"/>
          </a:p>
        </p:txBody>
      </p:sp>
      <p:sp>
        <p:nvSpPr>
          <p:cNvPr id="4" name="Fußzeilenplatzhalter 3">
            <a:extLst>
              <a:ext uri="{FF2B5EF4-FFF2-40B4-BE49-F238E27FC236}">
                <a16:creationId xmlns:a16="http://schemas.microsoft.com/office/drawing/2014/main" id="{11FA28B1-58A3-494A-988B-FE2E422DB4B1}"/>
              </a:ext>
            </a:extLst>
          </p:cNvPr>
          <p:cNvSpPr>
            <a:spLocks noGrp="1"/>
          </p:cNvSpPr>
          <p:nvPr>
            <p:ph type="ftr" sz="quarter" idx="2"/>
          </p:nvPr>
        </p:nvSpPr>
        <p:spPr>
          <a:xfrm>
            <a:off x="0" y="8817904"/>
            <a:ext cx="3026833" cy="465796"/>
          </a:xfrm>
          <a:prstGeom prst="rect">
            <a:avLst/>
          </a:prstGeom>
        </p:spPr>
        <p:txBody>
          <a:bodyPr vert="horz" lIns="92958" tIns="46479" rIns="92958" bIns="46479"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CFFFF7B2-3409-4144-B289-9DD989617FA6}"/>
              </a:ext>
            </a:extLst>
          </p:cNvPr>
          <p:cNvSpPr>
            <a:spLocks noGrp="1"/>
          </p:cNvSpPr>
          <p:nvPr>
            <p:ph type="sldNum" sz="quarter" idx="3"/>
          </p:nvPr>
        </p:nvSpPr>
        <p:spPr>
          <a:xfrm>
            <a:off x="3956550" y="8817904"/>
            <a:ext cx="3026833" cy="465796"/>
          </a:xfrm>
          <a:prstGeom prst="rect">
            <a:avLst/>
          </a:prstGeom>
        </p:spPr>
        <p:txBody>
          <a:bodyPr vert="horz" lIns="92958" tIns="46479" rIns="92958" bIns="46479" rtlCol="0" anchor="b"/>
          <a:lstStyle>
            <a:lvl1pPr algn="r">
              <a:defRPr sz="1200"/>
            </a:lvl1pPr>
          </a:lstStyle>
          <a:p>
            <a:fld id="{167C3DBE-79DB-4D91-9218-7EE4FE497323}" type="slidenum">
              <a:rPr lang="de-DE" smtClean="0"/>
              <a:t>‹#›</a:t>
            </a:fld>
            <a:endParaRPr lang="de-DE"/>
          </a:p>
        </p:txBody>
      </p:sp>
    </p:spTree>
    <p:extLst>
      <p:ext uri="{BB962C8B-B14F-4D97-AF65-F5344CB8AC3E}">
        <p14:creationId xmlns:p14="http://schemas.microsoft.com/office/powerpoint/2010/main" val="41449745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26833" cy="465797"/>
          </a:xfrm>
          <a:prstGeom prst="rect">
            <a:avLst/>
          </a:prstGeom>
        </p:spPr>
        <p:txBody>
          <a:bodyPr vert="horz" lIns="92958" tIns="46479" rIns="92958" bIns="46479" rtlCol="0"/>
          <a:lstStyle>
            <a:lvl1pPr algn="l">
              <a:defRPr sz="1200"/>
            </a:lvl1pPr>
          </a:lstStyle>
          <a:p>
            <a:endParaRPr lang="de-DE"/>
          </a:p>
        </p:txBody>
      </p:sp>
      <p:sp>
        <p:nvSpPr>
          <p:cNvPr id="3" name="Datumsplatzhalter 2"/>
          <p:cNvSpPr>
            <a:spLocks noGrp="1"/>
          </p:cNvSpPr>
          <p:nvPr>
            <p:ph type="dt" idx="1"/>
          </p:nvPr>
        </p:nvSpPr>
        <p:spPr>
          <a:xfrm>
            <a:off x="3956550" y="0"/>
            <a:ext cx="3026833" cy="465797"/>
          </a:xfrm>
          <a:prstGeom prst="rect">
            <a:avLst/>
          </a:prstGeom>
        </p:spPr>
        <p:txBody>
          <a:bodyPr vert="horz" lIns="92958" tIns="46479" rIns="92958" bIns="46479" rtlCol="0"/>
          <a:lstStyle>
            <a:lvl1pPr algn="r">
              <a:defRPr sz="1200"/>
            </a:lvl1pPr>
          </a:lstStyle>
          <a:p>
            <a:fld id="{9E486D6B-7251-4AFE-851B-67A0DE1DAFFC}" type="datetimeFigureOut">
              <a:rPr lang="de-DE" smtClean="0"/>
              <a:t>02.08.2023</a:t>
            </a:fld>
            <a:endParaRPr lang="de-DE"/>
          </a:p>
        </p:txBody>
      </p:sp>
      <p:sp>
        <p:nvSpPr>
          <p:cNvPr id="4" name="Folienbildplatzhalter 3"/>
          <p:cNvSpPr>
            <a:spLocks noGrp="1" noRot="1" noChangeAspect="1"/>
          </p:cNvSpPr>
          <p:nvPr>
            <p:ph type="sldImg" idx="2"/>
          </p:nvPr>
        </p:nvSpPr>
        <p:spPr>
          <a:xfrm>
            <a:off x="706438" y="1160463"/>
            <a:ext cx="5572125" cy="3133725"/>
          </a:xfrm>
          <a:prstGeom prst="rect">
            <a:avLst/>
          </a:prstGeom>
          <a:noFill/>
          <a:ln w="12700">
            <a:solidFill>
              <a:prstClr val="black"/>
            </a:solidFill>
          </a:ln>
        </p:spPr>
        <p:txBody>
          <a:bodyPr vert="horz" lIns="92958" tIns="46479" rIns="92958" bIns="46479" rtlCol="0" anchor="ctr"/>
          <a:lstStyle/>
          <a:p>
            <a:endParaRPr lang="de-DE"/>
          </a:p>
        </p:txBody>
      </p:sp>
      <p:sp>
        <p:nvSpPr>
          <p:cNvPr id="5" name="Notizenplatzhalter 4"/>
          <p:cNvSpPr>
            <a:spLocks noGrp="1"/>
          </p:cNvSpPr>
          <p:nvPr>
            <p:ph type="body" sz="quarter" idx="3"/>
          </p:nvPr>
        </p:nvSpPr>
        <p:spPr>
          <a:xfrm>
            <a:off x="698500" y="4467781"/>
            <a:ext cx="5588000" cy="3655457"/>
          </a:xfrm>
          <a:prstGeom prst="rect">
            <a:avLst/>
          </a:prstGeom>
        </p:spPr>
        <p:txBody>
          <a:bodyPr vert="horz" lIns="92958" tIns="46479" rIns="92958" bIns="46479"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817904"/>
            <a:ext cx="3026833" cy="465796"/>
          </a:xfrm>
          <a:prstGeom prst="rect">
            <a:avLst/>
          </a:prstGeom>
        </p:spPr>
        <p:txBody>
          <a:bodyPr vert="horz" lIns="92958" tIns="46479" rIns="92958" bIns="46479" rtlCol="0" anchor="b"/>
          <a:lstStyle>
            <a:lvl1pPr algn="l">
              <a:defRPr sz="1200"/>
            </a:lvl1pPr>
          </a:lstStyle>
          <a:p>
            <a:endParaRPr lang="de-DE"/>
          </a:p>
        </p:txBody>
      </p:sp>
      <p:sp>
        <p:nvSpPr>
          <p:cNvPr id="7" name="Foliennummernplatzhalter 6"/>
          <p:cNvSpPr>
            <a:spLocks noGrp="1"/>
          </p:cNvSpPr>
          <p:nvPr>
            <p:ph type="sldNum" sz="quarter" idx="5"/>
          </p:nvPr>
        </p:nvSpPr>
        <p:spPr>
          <a:xfrm>
            <a:off x="3956550" y="8817904"/>
            <a:ext cx="3026833" cy="465796"/>
          </a:xfrm>
          <a:prstGeom prst="rect">
            <a:avLst/>
          </a:prstGeom>
        </p:spPr>
        <p:txBody>
          <a:bodyPr vert="horz" lIns="92958" tIns="46479" rIns="92958" bIns="46479" rtlCol="0" anchor="b"/>
          <a:lstStyle>
            <a:lvl1pPr algn="r">
              <a:defRPr sz="1200"/>
            </a:lvl1pPr>
          </a:lstStyle>
          <a:p>
            <a:fld id="{0A4F46E9-7904-4FD8-82D0-66E6EAD9EF88}" type="slidenum">
              <a:rPr lang="de-DE" smtClean="0"/>
              <a:t>‹#›</a:t>
            </a:fld>
            <a:endParaRPr lang="de-DE"/>
          </a:p>
        </p:txBody>
      </p:sp>
    </p:spTree>
    <p:extLst>
      <p:ext uri="{BB962C8B-B14F-4D97-AF65-F5344CB8AC3E}">
        <p14:creationId xmlns:p14="http://schemas.microsoft.com/office/powerpoint/2010/main" val="1193174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1</a:t>
            </a:fld>
            <a:endParaRPr lang="en-US" dirty="0"/>
          </a:p>
        </p:txBody>
      </p:sp>
    </p:spTree>
    <p:extLst>
      <p:ext uri="{BB962C8B-B14F-4D97-AF65-F5344CB8AC3E}">
        <p14:creationId xmlns:p14="http://schemas.microsoft.com/office/powerpoint/2010/main" val="1850566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296" indent="-174296">
              <a:buFontTx/>
              <a:buChar char="-"/>
            </a:pPr>
            <a:r>
              <a:rPr lang="en-US" dirty="0"/>
              <a:t>Methyl methacrylate (MMA) : diethyl amino ethyl methacrylate (DEAEMA)</a:t>
            </a:r>
          </a:p>
          <a:p>
            <a:pPr marL="174296" indent="-174296">
              <a:buFontTx/>
              <a:buChar char="-"/>
            </a:pPr>
            <a:r>
              <a:rPr lang="en-US" dirty="0"/>
              <a:t>Alkaline in nature </a:t>
            </a:r>
          </a:p>
          <a:p>
            <a:pPr algn="l"/>
            <a:r>
              <a:rPr lang="en-US" b="0" i="0" dirty="0">
                <a:solidFill>
                  <a:srgbClr val="212529"/>
                </a:solidFill>
                <a:effectLst/>
                <a:latin typeface="product_sansregular"/>
              </a:rPr>
              <a:t>Taxa de fluxo salivar</a:t>
            </a:r>
          </a:p>
          <a:p>
            <a:pPr algn="l"/>
            <a:r>
              <a:rPr lang="en-US" b="0" i="0" dirty="0">
                <a:solidFill>
                  <a:srgbClr val="212529"/>
                </a:solidFill>
                <a:effectLst/>
                <a:latin typeface="product_sansregular"/>
              </a:rPr>
              <a:t>Em geral, </a:t>
            </a:r>
            <a:r>
              <a:rPr lang="en-US" b="0" i="0" dirty="0" err="1">
                <a:solidFill>
                  <a:srgbClr val="212529"/>
                </a:solidFill>
                <a:effectLst/>
                <a:latin typeface="product_sansregular"/>
              </a:rPr>
              <a:t>estudos</a:t>
            </a:r>
            <a:r>
              <a:rPr lang="en-US" b="0" i="0" dirty="0">
                <a:solidFill>
                  <a:srgbClr val="212529"/>
                </a:solidFill>
                <a:effectLst/>
                <a:latin typeface="product_sansregular"/>
              </a:rPr>
              <a:t> </a:t>
            </a:r>
            <a:r>
              <a:rPr lang="en-US" b="0" i="0" dirty="0" err="1">
                <a:solidFill>
                  <a:srgbClr val="212529"/>
                </a:solidFill>
                <a:effectLst/>
                <a:latin typeface="product_sansregular"/>
              </a:rPr>
              <a:t>mostram</a:t>
            </a:r>
            <a:r>
              <a:rPr lang="en-US" b="0" i="0" dirty="0">
                <a:solidFill>
                  <a:srgbClr val="212529"/>
                </a:solidFill>
                <a:effectLst/>
                <a:latin typeface="product_sansregular"/>
              </a:rPr>
              <a:t> que a taxa de fluxo salivar é </a:t>
            </a:r>
            <a:r>
              <a:rPr lang="en-US" b="0" i="0" dirty="0" err="1">
                <a:solidFill>
                  <a:srgbClr val="212529"/>
                </a:solidFill>
                <a:effectLst/>
                <a:latin typeface="product_sansregular"/>
              </a:rPr>
              <a:t>menor</a:t>
            </a:r>
            <a:r>
              <a:rPr lang="en-US" b="0" i="0" dirty="0">
                <a:solidFill>
                  <a:srgbClr val="212529"/>
                </a:solidFill>
                <a:effectLst/>
                <a:latin typeface="product_sansregular"/>
              </a:rPr>
              <a:t> </a:t>
            </a:r>
            <a:r>
              <a:rPr lang="en-US" b="0" i="0" dirty="0" err="1">
                <a:solidFill>
                  <a:srgbClr val="212529"/>
                </a:solidFill>
                <a:effectLst/>
                <a:latin typeface="product_sansregular"/>
              </a:rPr>
              <a:t>em</a:t>
            </a:r>
            <a:r>
              <a:rPr lang="en-US" b="0" i="0" dirty="0">
                <a:solidFill>
                  <a:srgbClr val="212529"/>
                </a:solidFill>
                <a:effectLst/>
                <a:latin typeface="product_sansregular"/>
              </a:rPr>
              <a:t> </a:t>
            </a:r>
            <a:r>
              <a:rPr lang="en-US" b="0" i="0" dirty="0" err="1">
                <a:solidFill>
                  <a:srgbClr val="212529"/>
                </a:solidFill>
                <a:effectLst/>
                <a:latin typeface="product_sansregular"/>
              </a:rPr>
              <a:t>mulheres</a:t>
            </a:r>
            <a:r>
              <a:rPr lang="en-US" b="0" i="0" dirty="0">
                <a:solidFill>
                  <a:srgbClr val="212529"/>
                </a:solidFill>
                <a:effectLst/>
                <a:latin typeface="product_sansregular"/>
              </a:rPr>
              <a:t> </a:t>
            </a:r>
            <a:r>
              <a:rPr lang="en-US" b="0" i="0" dirty="0" err="1">
                <a:solidFill>
                  <a:srgbClr val="212529"/>
                </a:solidFill>
                <a:effectLst/>
                <a:latin typeface="product_sansregular"/>
              </a:rPr>
              <a:t>grávidas</a:t>
            </a:r>
            <a:r>
              <a:rPr lang="en-US" b="0" i="0" dirty="0">
                <a:solidFill>
                  <a:srgbClr val="212529"/>
                </a:solidFill>
                <a:effectLst/>
                <a:latin typeface="product_sansregular"/>
              </a:rPr>
              <a:t> </a:t>
            </a:r>
            <a:r>
              <a:rPr lang="en-US" b="0" i="0" dirty="0" err="1">
                <a:solidFill>
                  <a:srgbClr val="212529"/>
                </a:solidFill>
                <a:effectLst/>
                <a:latin typeface="product_sansregular"/>
              </a:rPr>
              <a:t>em</a:t>
            </a:r>
            <a:r>
              <a:rPr lang="en-US" b="0" i="0" dirty="0">
                <a:solidFill>
                  <a:srgbClr val="212529"/>
                </a:solidFill>
                <a:effectLst/>
                <a:latin typeface="product_sansregular"/>
              </a:rPr>
              <a:t> </a:t>
            </a:r>
            <a:r>
              <a:rPr lang="en-US" b="0" i="0" dirty="0" err="1">
                <a:solidFill>
                  <a:srgbClr val="212529"/>
                </a:solidFill>
                <a:effectLst/>
                <a:latin typeface="product_sansregular"/>
              </a:rPr>
              <a:t>comparação</a:t>
            </a:r>
            <a:r>
              <a:rPr lang="en-US" b="0" i="0" dirty="0">
                <a:solidFill>
                  <a:srgbClr val="212529"/>
                </a:solidFill>
                <a:effectLst/>
                <a:latin typeface="product_sansregular"/>
              </a:rPr>
              <a:t> com </a:t>
            </a:r>
            <a:r>
              <a:rPr lang="en-US" b="0" i="0" dirty="0" err="1">
                <a:solidFill>
                  <a:srgbClr val="212529"/>
                </a:solidFill>
                <a:effectLst/>
                <a:latin typeface="product_sansregular"/>
              </a:rPr>
              <a:t>mulheres</a:t>
            </a:r>
            <a:r>
              <a:rPr lang="en-US" b="0" i="0" dirty="0">
                <a:solidFill>
                  <a:srgbClr val="212529"/>
                </a:solidFill>
                <a:effectLst/>
                <a:latin typeface="product_sansregular"/>
              </a:rPr>
              <a:t> </a:t>
            </a:r>
            <a:r>
              <a:rPr lang="en-US" b="0" i="0" dirty="0" err="1">
                <a:solidFill>
                  <a:srgbClr val="212529"/>
                </a:solidFill>
                <a:effectLst/>
                <a:latin typeface="product_sansregular"/>
              </a:rPr>
              <a:t>não</a:t>
            </a:r>
            <a:r>
              <a:rPr lang="en-US" b="0" i="0" dirty="0">
                <a:solidFill>
                  <a:srgbClr val="212529"/>
                </a:solidFill>
                <a:effectLst/>
                <a:latin typeface="product_sansregular"/>
              </a:rPr>
              <a:t> </a:t>
            </a:r>
            <a:r>
              <a:rPr lang="en-US" b="0" i="0" dirty="0" err="1">
                <a:solidFill>
                  <a:srgbClr val="212529"/>
                </a:solidFill>
                <a:effectLst/>
                <a:latin typeface="product_sansregular"/>
              </a:rPr>
              <a:t>grávidas</a:t>
            </a:r>
            <a:r>
              <a:rPr lang="en-US" b="0" i="0" dirty="0">
                <a:solidFill>
                  <a:srgbClr val="212529"/>
                </a:solidFill>
                <a:effectLst/>
                <a:latin typeface="product_sansregular"/>
              </a:rPr>
              <a:t>.</a:t>
            </a:r>
          </a:p>
          <a:p>
            <a:pPr algn="l"/>
            <a:r>
              <a:rPr lang="en-US" b="0" i="0" dirty="0" err="1">
                <a:solidFill>
                  <a:srgbClr val="212529"/>
                </a:solidFill>
                <a:effectLst/>
                <a:latin typeface="product_sansregular"/>
              </a:rPr>
              <a:t>Os</a:t>
            </a:r>
            <a:r>
              <a:rPr lang="en-US" b="0" i="0" dirty="0">
                <a:solidFill>
                  <a:srgbClr val="212529"/>
                </a:solidFill>
                <a:effectLst/>
                <a:latin typeface="product_sansregular"/>
              </a:rPr>
              <a:t> </a:t>
            </a:r>
            <a:r>
              <a:rPr lang="en-US" b="0" i="0" dirty="0" err="1">
                <a:solidFill>
                  <a:srgbClr val="212529"/>
                </a:solidFill>
                <a:effectLst/>
                <a:latin typeface="product_sansregular"/>
              </a:rPr>
              <a:t>níveis</a:t>
            </a:r>
            <a:r>
              <a:rPr lang="en-US" b="0" i="0" dirty="0">
                <a:solidFill>
                  <a:srgbClr val="212529"/>
                </a:solidFill>
                <a:effectLst/>
                <a:latin typeface="product_sansregular"/>
              </a:rPr>
              <a:t> de </a:t>
            </a:r>
            <a:r>
              <a:rPr lang="en-US" b="0" i="0" dirty="0" err="1">
                <a:solidFill>
                  <a:srgbClr val="212529"/>
                </a:solidFill>
                <a:effectLst/>
                <a:latin typeface="product_sansregular"/>
              </a:rPr>
              <a:t>progesterona</a:t>
            </a:r>
            <a:r>
              <a:rPr lang="en-US" b="0" i="0" dirty="0">
                <a:solidFill>
                  <a:srgbClr val="212529"/>
                </a:solidFill>
                <a:effectLst/>
                <a:latin typeface="product_sansregular"/>
              </a:rPr>
              <a:t> e </a:t>
            </a:r>
            <a:r>
              <a:rPr lang="en-US" b="0" i="0" dirty="0" err="1">
                <a:solidFill>
                  <a:srgbClr val="212529"/>
                </a:solidFill>
                <a:effectLst/>
                <a:latin typeface="product_sansregular"/>
              </a:rPr>
              <a:t>estrogênio</a:t>
            </a:r>
            <a:r>
              <a:rPr lang="en-US" b="0" i="0" dirty="0">
                <a:solidFill>
                  <a:srgbClr val="212529"/>
                </a:solidFill>
                <a:effectLst/>
                <a:latin typeface="product_sansregular"/>
              </a:rPr>
              <a:t> (estradiol, estriol e </a:t>
            </a:r>
            <a:r>
              <a:rPr lang="en-US" b="0" i="0" dirty="0" err="1">
                <a:solidFill>
                  <a:srgbClr val="212529"/>
                </a:solidFill>
                <a:effectLst/>
                <a:latin typeface="product_sansregular"/>
              </a:rPr>
              <a:t>estrona</a:t>
            </a:r>
            <a:r>
              <a:rPr lang="en-US" b="0" i="0" dirty="0">
                <a:solidFill>
                  <a:srgbClr val="212529"/>
                </a:solidFill>
                <a:effectLst/>
                <a:latin typeface="product_sansregular"/>
              </a:rPr>
              <a:t>) </a:t>
            </a:r>
            <a:r>
              <a:rPr lang="en-US" b="0" i="0" dirty="0" err="1">
                <a:solidFill>
                  <a:srgbClr val="212529"/>
                </a:solidFill>
                <a:effectLst/>
                <a:latin typeface="product_sansregular"/>
              </a:rPr>
              <a:t>aumentam</a:t>
            </a:r>
            <a:r>
              <a:rPr lang="en-US" b="0" i="0" dirty="0">
                <a:solidFill>
                  <a:srgbClr val="212529"/>
                </a:solidFill>
                <a:effectLst/>
                <a:latin typeface="product_sansregular"/>
              </a:rPr>
              <a:t> gradual e </a:t>
            </a:r>
            <a:r>
              <a:rPr lang="en-US" b="0" i="0" dirty="0" err="1">
                <a:solidFill>
                  <a:srgbClr val="212529"/>
                </a:solidFill>
                <a:effectLst/>
                <a:latin typeface="product_sansregular"/>
              </a:rPr>
              <a:t>significativamente</a:t>
            </a:r>
            <a:r>
              <a:rPr lang="en-US" b="0" i="0" dirty="0">
                <a:solidFill>
                  <a:srgbClr val="212529"/>
                </a:solidFill>
                <a:effectLst/>
                <a:latin typeface="product_sansregular"/>
              </a:rPr>
              <a:t> no </a:t>
            </a:r>
            <a:r>
              <a:rPr lang="en-US" b="0" i="0" dirty="0" err="1">
                <a:solidFill>
                  <a:srgbClr val="212529"/>
                </a:solidFill>
                <a:effectLst/>
                <a:latin typeface="product_sansregular"/>
              </a:rPr>
              <a:t>momento</a:t>
            </a:r>
            <a:r>
              <a:rPr lang="en-US" b="0" i="0" dirty="0">
                <a:solidFill>
                  <a:srgbClr val="212529"/>
                </a:solidFill>
                <a:effectLst/>
                <a:latin typeface="product_sansregular"/>
              </a:rPr>
              <a:t> da </a:t>
            </a:r>
            <a:r>
              <a:rPr lang="en-US" b="0" i="0" dirty="0" err="1">
                <a:solidFill>
                  <a:srgbClr val="212529"/>
                </a:solidFill>
                <a:effectLst/>
                <a:latin typeface="product_sansregular"/>
              </a:rPr>
              <a:t>gravidez</a:t>
            </a:r>
            <a:r>
              <a:rPr lang="en-US" b="0" i="0" dirty="0">
                <a:solidFill>
                  <a:srgbClr val="212529"/>
                </a:solidFill>
                <a:effectLst/>
                <a:latin typeface="product_sansregular"/>
              </a:rPr>
              <a:t> </a:t>
            </a:r>
            <a:r>
              <a:rPr lang="en-US" b="0" i="0" dirty="0" err="1">
                <a:solidFill>
                  <a:srgbClr val="212529"/>
                </a:solidFill>
                <a:effectLst/>
                <a:latin typeface="product_sansregular"/>
              </a:rPr>
              <a:t>devido</a:t>
            </a:r>
            <a:r>
              <a:rPr lang="en-US" b="0" i="0" dirty="0">
                <a:solidFill>
                  <a:srgbClr val="212529"/>
                </a:solidFill>
                <a:effectLst/>
                <a:latin typeface="product_sansregular"/>
              </a:rPr>
              <a:t> à </a:t>
            </a:r>
            <a:r>
              <a:rPr lang="en-US" b="0" i="0" dirty="0" err="1">
                <a:solidFill>
                  <a:srgbClr val="212529"/>
                </a:solidFill>
                <a:effectLst/>
                <a:latin typeface="product_sansregular"/>
              </a:rPr>
              <a:t>secreção</a:t>
            </a:r>
            <a:r>
              <a:rPr lang="en-US" b="0" i="0" dirty="0">
                <a:solidFill>
                  <a:srgbClr val="212529"/>
                </a:solidFill>
                <a:effectLst/>
                <a:latin typeface="product_sansregular"/>
              </a:rPr>
              <a:t> </a:t>
            </a:r>
            <a:r>
              <a:rPr lang="en-US" b="0" i="0" dirty="0" err="1">
                <a:solidFill>
                  <a:srgbClr val="212529"/>
                </a:solidFill>
                <a:effectLst/>
                <a:latin typeface="product_sansregular"/>
              </a:rPr>
              <a:t>placentária</a:t>
            </a:r>
            <a:r>
              <a:rPr lang="en-US" b="0" i="0" dirty="0">
                <a:solidFill>
                  <a:srgbClr val="212529"/>
                </a:solidFill>
                <a:effectLst/>
                <a:latin typeface="product_sansregular"/>
              </a:rPr>
              <a:t> </a:t>
            </a:r>
            <a:r>
              <a:rPr lang="en-US" b="0" i="0" dirty="0" err="1">
                <a:solidFill>
                  <a:srgbClr val="212529"/>
                </a:solidFill>
                <a:effectLst/>
                <a:latin typeface="product_sansregular"/>
              </a:rPr>
              <a:t>desses</a:t>
            </a:r>
            <a:r>
              <a:rPr lang="en-US" b="0" i="0" dirty="0">
                <a:solidFill>
                  <a:srgbClr val="212529"/>
                </a:solidFill>
                <a:effectLst/>
                <a:latin typeface="product_sansregular"/>
              </a:rPr>
              <a:t> </a:t>
            </a:r>
            <a:r>
              <a:rPr lang="en-US" b="0" i="0" dirty="0" err="1">
                <a:solidFill>
                  <a:srgbClr val="212529"/>
                </a:solidFill>
                <a:effectLst/>
                <a:latin typeface="product_sansregular"/>
              </a:rPr>
              <a:t>hormônios</a:t>
            </a:r>
            <a:r>
              <a:rPr lang="en-US" b="0" i="0" dirty="0">
                <a:solidFill>
                  <a:srgbClr val="212529"/>
                </a:solidFill>
                <a:effectLst/>
                <a:latin typeface="product_sansregular"/>
              </a:rPr>
              <a:t>. E </a:t>
            </a:r>
            <a:r>
              <a:rPr lang="en-US" b="1" i="0" dirty="0">
                <a:solidFill>
                  <a:srgbClr val="212529"/>
                </a:solidFill>
                <a:effectLst/>
                <a:latin typeface="product_sansregular"/>
              </a:rPr>
              <a:t>a taxa de fluxo salivar </a:t>
            </a:r>
            <a:r>
              <a:rPr lang="en-US" b="1" i="0" dirty="0" err="1">
                <a:solidFill>
                  <a:srgbClr val="212529"/>
                </a:solidFill>
                <a:effectLst/>
                <a:latin typeface="product_sansregular"/>
              </a:rPr>
              <a:t>diminui</a:t>
            </a:r>
            <a:r>
              <a:rPr lang="en-US" b="1" i="0" dirty="0">
                <a:solidFill>
                  <a:srgbClr val="212529"/>
                </a:solidFill>
                <a:effectLst/>
                <a:latin typeface="product_sansregular"/>
              </a:rPr>
              <a:t> à </a:t>
            </a:r>
            <a:r>
              <a:rPr lang="en-US" b="1" i="0" dirty="0" err="1">
                <a:solidFill>
                  <a:srgbClr val="212529"/>
                </a:solidFill>
                <a:effectLst/>
                <a:latin typeface="product_sansregular"/>
              </a:rPr>
              <a:t>medida</a:t>
            </a:r>
            <a:endParaRPr lang="en-US" b="0" i="0" dirty="0">
              <a:solidFill>
                <a:srgbClr val="212529"/>
              </a:solidFill>
              <a:effectLst/>
              <a:latin typeface="product_sansregular"/>
            </a:endParaRPr>
          </a:p>
          <a:p>
            <a:pPr algn="l"/>
            <a:r>
              <a:rPr lang="en-US" b="1" i="0" dirty="0">
                <a:solidFill>
                  <a:srgbClr val="212529"/>
                </a:solidFill>
                <a:effectLst/>
                <a:latin typeface="product_sansregular"/>
              </a:rPr>
              <a:t>que o </a:t>
            </a:r>
            <a:r>
              <a:rPr lang="en-US" b="1" i="0" dirty="0" err="1">
                <a:solidFill>
                  <a:srgbClr val="212529"/>
                </a:solidFill>
                <a:effectLst/>
                <a:latin typeface="product_sansregular"/>
              </a:rPr>
              <a:t>nível</a:t>
            </a:r>
            <a:r>
              <a:rPr lang="en-US" b="1" i="0" dirty="0">
                <a:solidFill>
                  <a:srgbClr val="212529"/>
                </a:solidFill>
                <a:effectLst/>
                <a:latin typeface="product_sansregular"/>
              </a:rPr>
              <a:t> de </a:t>
            </a:r>
            <a:r>
              <a:rPr lang="en-US" b="1" i="0" dirty="0" err="1">
                <a:solidFill>
                  <a:srgbClr val="212529"/>
                </a:solidFill>
                <a:effectLst/>
                <a:latin typeface="product_sansregular"/>
              </a:rPr>
              <a:t>progesterona</a:t>
            </a:r>
            <a:r>
              <a:rPr lang="en-US" b="1" i="0" dirty="0">
                <a:solidFill>
                  <a:srgbClr val="212529"/>
                </a:solidFill>
                <a:effectLst/>
                <a:latin typeface="product_sansregular"/>
              </a:rPr>
              <a:t> e </a:t>
            </a:r>
            <a:r>
              <a:rPr lang="en-US" b="1" i="0" dirty="0" err="1">
                <a:solidFill>
                  <a:srgbClr val="212529"/>
                </a:solidFill>
                <a:effectLst/>
                <a:latin typeface="product_sansregular"/>
              </a:rPr>
              <a:t>somatomamotropina</a:t>
            </a:r>
            <a:r>
              <a:rPr lang="en-US" b="1" i="0" dirty="0">
                <a:solidFill>
                  <a:srgbClr val="212529"/>
                </a:solidFill>
                <a:effectLst/>
                <a:latin typeface="product_sansregular"/>
              </a:rPr>
              <a:t> </a:t>
            </a:r>
            <a:r>
              <a:rPr lang="en-US" b="1" i="0" dirty="0" err="1">
                <a:solidFill>
                  <a:srgbClr val="212529"/>
                </a:solidFill>
                <a:effectLst/>
                <a:latin typeface="product_sansregular"/>
              </a:rPr>
              <a:t>coriônica</a:t>
            </a:r>
            <a:r>
              <a:rPr lang="en-US" b="1" i="0" dirty="0">
                <a:solidFill>
                  <a:srgbClr val="212529"/>
                </a:solidFill>
                <a:effectLst/>
                <a:latin typeface="product_sansregular"/>
              </a:rPr>
              <a:t> </a:t>
            </a:r>
            <a:r>
              <a:rPr lang="en-US" b="1" i="0" dirty="0" err="1">
                <a:solidFill>
                  <a:srgbClr val="212529"/>
                </a:solidFill>
                <a:effectLst/>
                <a:latin typeface="product_sansregular"/>
              </a:rPr>
              <a:t>humana</a:t>
            </a:r>
            <a:r>
              <a:rPr lang="en-US" b="1" i="0" dirty="0">
                <a:solidFill>
                  <a:srgbClr val="212529"/>
                </a:solidFill>
                <a:effectLst/>
                <a:latin typeface="product_sansregular"/>
              </a:rPr>
              <a:t> </a:t>
            </a:r>
            <a:r>
              <a:rPr lang="en-US" b="1" i="0" dirty="0" err="1">
                <a:solidFill>
                  <a:srgbClr val="212529"/>
                </a:solidFill>
                <a:effectLst/>
                <a:latin typeface="product_sansregular"/>
              </a:rPr>
              <a:t>aumenta</a:t>
            </a:r>
            <a:r>
              <a:rPr lang="en-US" b="0" i="0" dirty="0">
                <a:solidFill>
                  <a:srgbClr val="212529"/>
                </a:solidFill>
                <a:effectLst/>
                <a:latin typeface="product_sansregular"/>
              </a:rPr>
              <a:t>.</a:t>
            </a:r>
          </a:p>
          <a:p>
            <a:pPr algn="l"/>
            <a:r>
              <a:rPr lang="en-US" b="0" i="0" dirty="0">
                <a:solidFill>
                  <a:srgbClr val="212529"/>
                </a:solidFill>
                <a:effectLst/>
                <a:latin typeface="product_sansregular"/>
              </a:rPr>
              <a:t>pH salivar</a:t>
            </a:r>
          </a:p>
          <a:p>
            <a:pPr algn="l"/>
            <a:r>
              <a:rPr lang="en-US" b="0" i="0" dirty="0">
                <a:solidFill>
                  <a:srgbClr val="212529"/>
                </a:solidFill>
                <a:effectLst/>
                <a:latin typeface="product_sansregular"/>
              </a:rPr>
              <a:t>O pH da saliva é </a:t>
            </a:r>
            <a:r>
              <a:rPr lang="en-US" b="0" i="0" dirty="0" err="1">
                <a:solidFill>
                  <a:srgbClr val="212529"/>
                </a:solidFill>
                <a:effectLst/>
                <a:latin typeface="product_sansregular"/>
              </a:rPr>
              <a:t>influenciado</a:t>
            </a:r>
            <a:r>
              <a:rPr lang="en-US" b="0" i="0" dirty="0">
                <a:solidFill>
                  <a:srgbClr val="212529"/>
                </a:solidFill>
                <a:effectLst/>
                <a:latin typeface="product_sansregular"/>
              </a:rPr>
              <a:t> pela taxa de fluxo salivar. </a:t>
            </a:r>
            <a:r>
              <a:rPr lang="en-US" b="0" i="0" dirty="0" err="1">
                <a:solidFill>
                  <a:srgbClr val="212529"/>
                </a:solidFill>
                <a:effectLst/>
                <a:latin typeface="product_sansregular"/>
              </a:rPr>
              <a:t>Portanto</a:t>
            </a:r>
            <a:r>
              <a:rPr lang="en-US" b="0" i="0" dirty="0">
                <a:solidFill>
                  <a:srgbClr val="212529"/>
                </a:solidFill>
                <a:effectLst/>
                <a:latin typeface="product_sansregular"/>
              </a:rPr>
              <a:t>, o pH salivar é </a:t>
            </a:r>
            <a:r>
              <a:rPr lang="en-US" b="0" i="0" dirty="0" err="1">
                <a:solidFill>
                  <a:srgbClr val="212529"/>
                </a:solidFill>
                <a:effectLst/>
                <a:latin typeface="product_sansregular"/>
              </a:rPr>
              <a:t>maior</a:t>
            </a:r>
            <a:r>
              <a:rPr lang="en-US" b="0" i="0" dirty="0">
                <a:solidFill>
                  <a:srgbClr val="212529"/>
                </a:solidFill>
                <a:effectLst/>
                <a:latin typeface="product_sansregular"/>
              </a:rPr>
              <a:t> </a:t>
            </a:r>
            <a:r>
              <a:rPr lang="en-US" b="0" i="0" dirty="0" err="1">
                <a:solidFill>
                  <a:srgbClr val="212529"/>
                </a:solidFill>
                <a:effectLst/>
                <a:latin typeface="product_sansregular"/>
              </a:rPr>
              <a:t>em</a:t>
            </a:r>
            <a:r>
              <a:rPr lang="en-US" b="0" i="0" dirty="0">
                <a:solidFill>
                  <a:srgbClr val="212529"/>
                </a:solidFill>
                <a:effectLst/>
                <a:latin typeface="product_sansregular"/>
              </a:rPr>
              <a:t> </a:t>
            </a:r>
            <a:r>
              <a:rPr lang="en-US" b="0" i="0" dirty="0" err="1">
                <a:solidFill>
                  <a:srgbClr val="212529"/>
                </a:solidFill>
                <a:effectLst/>
                <a:latin typeface="product_sansregular"/>
              </a:rPr>
              <a:t>taxas</a:t>
            </a:r>
            <a:r>
              <a:rPr lang="en-US" b="0" i="0" dirty="0">
                <a:solidFill>
                  <a:srgbClr val="212529"/>
                </a:solidFill>
                <a:effectLst/>
                <a:latin typeface="product_sansregular"/>
              </a:rPr>
              <a:t> de fluxo </a:t>
            </a:r>
            <a:r>
              <a:rPr lang="en-US" b="0" i="0" dirty="0" err="1">
                <a:solidFill>
                  <a:srgbClr val="212529"/>
                </a:solidFill>
                <a:effectLst/>
                <a:latin typeface="product_sansregular"/>
              </a:rPr>
              <a:t>mais</a:t>
            </a:r>
            <a:r>
              <a:rPr lang="en-US" b="0" i="0" dirty="0">
                <a:solidFill>
                  <a:srgbClr val="212529"/>
                </a:solidFill>
                <a:effectLst/>
                <a:latin typeface="product_sansregular"/>
              </a:rPr>
              <a:t> </a:t>
            </a:r>
            <a:r>
              <a:rPr lang="en-US" b="0" i="0" dirty="0" err="1">
                <a:solidFill>
                  <a:srgbClr val="212529"/>
                </a:solidFill>
                <a:effectLst/>
                <a:latin typeface="product_sansregular"/>
              </a:rPr>
              <a:t>altas</a:t>
            </a:r>
            <a:r>
              <a:rPr lang="en-US" b="0" i="0" dirty="0">
                <a:solidFill>
                  <a:srgbClr val="212529"/>
                </a:solidFill>
                <a:effectLst/>
                <a:latin typeface="product_sansregular"/>
              </a:rPr>
              <a:t>. </a:t>
            </a:r>
            <a:r>
              <a:rPr lang="en-US" b="1" i="0" dirty="0">
                <a:solidFill>
                  <a:srgbClr val="212529"/>
                </a:solidFill>
                <a:effectLst/>
                <a:latin typeface="product_sansregular"/>
              </a:rPr>
              <a:t>Segundo </a:t>
            </a:r>
            <a:r>
              <a:rPr lang="en-US" b="1" i="0" dirty="0" err="1">
                <a:solidFill>
                  <a:srgbClr val="212529"/>
                </a:solidFill>
                <a:effectLst/>
                <a:latin typeface="product_sansregular"/>
              </a:rPr>
              <a:t>estudos</a:t>
            </a:r>
            <a:r>
              <a:rPr lang="en-US" b="1" i="0" dirty="0">
                <a:solidFill>
                  <a:srgbClr val="212529"/>
                </a:solidFill>
                <a:effectLst/>
                <a:latin typeface="product_sansregular"/>
              </a:rPr>
              <a:t>, o pH salivar de </a:t>
            </a:r>
            <a:r>
              <a:rPr lang="en-US" b="1" i="0" dirty="0" err="1">
                <a:solidFill>
                  <a:srgbClr val="212529"/>
                </a:solidFill>
                <a:effectLst/>
                <a:latin typeface="product_sansregular"/>
              </a:rPr>
              <a:t>gestantes</a:t>
            </a:r>
            <a:r>
              <a:rPr lang="en-US" b="1" i="0" dirty="0">
                <a:solidFill>
                  <a:srgbClr val="212529"/>
                </a:solidFill>
                <a:effectLst/>
                <a:latin typeface="product_sansregular"/>
              </a:rPr>
              <a:t> é inferior (</a:t>
            </a:r>
            <a:r>
              <a:rPr lang="en-US" b="1" i="0" dirty="0" err="1">
                <a:solidFill>
                  <a:srgbClr val="212529"/>
                </a:solidFill>
                <a:effectLst/>
                <a:latin typeface="product_sansregular"/>
              </a:rPr>
              <a:t>mais</a:t>
            </a:r>
            <a:r>
              <a:rPr lang="en-US" b="1" i="0" dirty="0">
                <a:solidFill>
                  <a:srgbClr val="212529"/>
                </a:solidFill>
                <a:effectLst/>
                <a:latin typeface="product_sansregular"/>
              </a:rPr>
              <a:t> </a:t>
            </a:r>
            <a:r>
              <a:rPr lang="en-US" b="1" i="0" dirty="0" err="1">
                <a:solidFill>
                  <a:srgbClr val="212529"/>
                </a:solidFill>
                <a:effectLst/>
                <a:latin typeface="product_sansregular"/>
              </a:rPr>
              <a:t>ácido</a:t>
            </a:r>
            <a:r>
              <a:rPr lang="en-US" b="1" i="0" dirty="0">
                <a:solidFill>
                  <a:srgbClr val="212529"/>
                </a:solidFill>
                <a:effectLst/>
                <a:latin typeface="product_sansregular"/>
              </a:rPr>
              <a:t>) </a:t>
            </a:r>
            <a:r>
              <a:rPr lang="en-US" b="1" i="0" dirty="0" err="1">
                <a:solidFill>
                  <a:srgbClr val="212529"/>
                </a:solidFill>
                <a:effectLst/>
                <a:latin typeface="product_sansregular"/>
              </a:rPr>
              <a:t>ao</a:t>
            </a:r>
            <a:r>
              <a:rPr lang="en-US" b="1" i="0" dirty="0">
                <a:solidFill>
                  <a:srgbClr val="212529"/>
                </a:solidFill>
                <a:effectLst/>
                <a:latin typeface="product_sansregular"/>
              </a:rPr>
              <a:t> de </a:t>
            </a:r>
            <a:r>
              <a:rPr lang="en-US" b="1" i="0" dirty="0" err="1">
                <a:solidFill>
                  <a:srgbClr val="212529"/>
                </a:solidFill>
                <a:effectLst/>
                <a:latin typeface="product_sansregular"/>
              </a:rPr>
              <a:t>não</a:t>
            </a:r>
            <a:r>
              <a:rPr lang="en-US" b="1" i="0" dirty="0">
                <a:solidFill>
                  <a:srgbClr val="212529"/>
                </a:solidFill>
                <a:effectLst/>
                <a:latin typeface="product_sansregular"/>
              </a:rPr>
              <a:t> </a:t>
            </a:r>
            <a:r>
              <a:rPr lang="en-US" b="1" i="0" dirty="0" err="1">
                <a:solidFill>
                  <a:srgbClr val="212529"/>
                </a:solidFill>
                <a:effectLst/>
                <a:latin typeface="product_sansregular"/>
              </a:rPr>
              <a:t>gestantes</a:t>
            </a:r>
            <a:r>
              <a:rPr lang="en-US" b="0" i="0" dirty="0">
                <a:solidFill>
                  <a:srgbClr val="212529"/>
                </a:solidFill>
                <a:effectLst/>
                <a:latin typeface="product_sansregular"/>
              </a:rPr>
              <a:t>.</a:t>
            </a:r>
          </a:p>
          <a:p>
            <a:pPr algn="l"/>
            <a:r>
              <a:rPr lang="en-US" b="0" i="0" dirty="0">
                <a:solidFill>
                  <a:srgbClr val="212529"/>
                </a:solidFill>
                <a:effectLst/>
                <a:latin typeface="product_sansregular"/>
              </a:rPr>
              <a:t>Por </a:t>
            </a:r>
            <a:r>
              <a:rPr lang="en-US" b="0" i="0" dirty="0" err="1">
                <a:solidFill>
                  <a:srgbClr val="212529"/>
                </a:solidFill>
                <a:effectLst/>
                <a:latin typeface="product_sansregular"/>
              </a:rPr>
              <a:t>exemplo</a:t>
            </a:r>
            <a:r>
              <a:rPr lang="en-US" b="0" i="0" dirty="0">
                <a:solidFill>
                  <a:srgbClr val="212529"/>
                </a:solidFill>
                <a:effectLst/>
                <a:latin typeface="product_sansregular"/>
              </a:rPr>
              <a:t>, </a:t>
            </a:r>
            <a:r>
              <a:rPr lang="en-US" b="0" i="0" dirty="0" err="1">
                <a:solidFill>
                  <a:srgbClr val="212529"/>
                </a:solidFill>
                <a:effectLst/>
                <a:latin typeface="product_sansregular"/>
              </a:rPr>
              <a:t>citando</a:t>
            </a:r>
            <a:r>
              <a:rPr lang="en-US" b="0" i="0" dirty="0">
                <a:solidFill>
                  <a:srgbClr val="212529"/>
                </a:solidFill>
                <a:effectLst/>
                <a:latin typeface="product_sansregular"/>
              </a:rPr>
              <a:t> </a:t>
            </a:r>
            <a:r>
              <a:rPr lang="en-US" b="0" i="0" dirty="0" err="1">
                <a:solidFill>
                  <a:srgbClr val="212529"/>
                </a:solidFill>
                <a:effectLst/>
                <a:latin typeface="product_sansregular"/>
              </a:rPr>
              <a:t>apenas</a:t>
            </a:r>
            <a:r>
              <a:rPr lang="en-US" b="0" i="0" dirty="0">
                <a:solidFill>
                  <a:srgbClr val="212529"/>
                </a:solidFill>
                <a:effectLst/>
                <a:latin typeface="product_sansregular"/>
              </a:rPr>
              <a:t> </a:t>
            </a:r>
            <a:r>
              <a:rPr lang="en-US" b="0" i="0" dirty="0" err="1">
                <a:solidFill>
                  <a:srgbClr val="212529"/>
                </a:solidFill>
                <a:effectLst/>
                <a:latin typeface="product_sansregular"/>
              </a:rPr>
              <a:t>alguns</a:t>
            </a:r>
            <a:r>
              <a:rPr lang="en-US" b="0" i="0" dirty="0">
                <a:solidFill>
                  <a:srgbClr val="212529"/>
                </a:solidFill>
                <a:effectLst/>
                <a:latin typeface="product_sansregular"/>
              </a:rPr>
              <a:t> dos </a:t>
            </a:r>
            <a:r>
              <a:rPr lang="en-US" b="0" i="0" dirty="0" err="1">
                <a:solidFill>
                  <a:srgbClr val="212529"/>
                </a:solidFill>
                <a:effectLst/>
                <a:latin typeface="product_sansregular"/>
              </a:rPr>
              <a:t>incluídos</a:t>
            </a:r>
            <a:r>
              <a:rPr lang="en-US" b="0" i="0" dirty="0">
                <a:solidFill>
                  <a:srgbClr val="212529"/>
                </a:solidFill>
                <a:effectLst/>
                <a:latin typeface="product_sansregular"/>
              </a:rPr>
              <a:t> no </a:t>
            </a:r>
            <a:r>
              <a:rPr lang="en-US" b="0" i="0" dirty="0" err="1">
                <a:solidFill>
                  <a:srgbClr val="212529"/>
                </a:solidFill>
                <a:effectLst/>
                <a:latin typeface="product_sansregular"/>
              </a:rPr>
              <a:t>estudo</a:t>
            </a:r>
            <a:r>
              <a:rPr lang="en-US" b="0" i="0" dirty="0">
                <a:solidFill>
                  <a:srgbClr val="212529"/>
                </a:solidFill>
                <a:effectLst/>
                <a:latin typeface="product_sansregular"/>
              </a:rPr>
              <a:t> original, </a:t>
            </a:r>
            <a:r>
              <a:rPr lang="en-US" b="0" i="0" dirty="0" err="1">
                <a:solidFill>
                  <a:srgbClr val="212529"/>
                </a:solidFill>
                <a:effectLst/>
                <a:latin typeface="product_sansregular"/>
              </a:rPr>
              <a:t>quando</a:t>
            </a:r>
            <a:r>
              <a:rPr lang="en-US" b="0" i="0" dirty="0">
                <a:solidFill>
                  <a:srgbClr val="212529"/>
                </a:solidFill>
                <a:effectLst/>
                <a:latin typeface="product_sansregular"/>
              </a:rPr>
              <a:t> </a:t>
            </a:r>
            <a:r>
              <a:rPr lang="en-US" b="0" i="1" dirty="0">
                <a:solidFill>
                  <a:srgbClr val="212529"/>
                </a:solidFill>
                <a:effectLst/>
                <a:latin typeface="product_sansregular"/>
              </a:rPr>
              <a:t>Rosenthal et al.</a:t>
            </a:r>
            <a:r>
              <a:rPr lang="en-US" b="0" i="0" dirty="0">
                <a:solidFill>
                  <a:srgbClr val="212529"/>
                </a:solidFill>
                <a:effectLst/>
                <a:latin typeface="product_sansregular"/>
              </a:rPr>
              <a:t> </a:t>
            </a:r>
            <a:r>
              <a:rPr lang="en-US" b="0" i="0" dirty="0" err="1">
                <a:solidFill>
                  <a:srgbClr val="212529"/>
                </a:solidFill>
                <a:effectLst/>
                <a:latin typeface="product_sansregular"/>
              </a:rPr>
              <a:t>analisaram</a:t>
            </a:r>
            <a:r>
              <a:rPr lang="en-US" b="0" i="0" dirty="0">
                <a:solidFill>
                  <a:srgbClr val="212529"/>
                </a:solidFill>
                <a:effectLst/>
                <a:latin typeface="product_sansregular"/>
              </a:rPr>
              <a:t> o pH da saliva </a:t>
            </a:r>
            <a:r>
              <a:rPr lang="en-US" b="0" i="0" dirty="0" err="1">
                <a:solidFill>
                  <a:srgbClr val="212529"/>
                </a:solidFill>
                <a:effectLst/>
                <a:latin typeface="product_sansregular"/>
              </a:rPr>
              <a:t>em</a:t>
            </a:r>
            <a:r>
              <a:rPr lang="en-US" b="0" i="0" dirty="0">
                <a:solidFill>
                  <a:srgbClr val="212529"/>
                </a:solidFill>
                <a:effectLst/>
                <a:latin typeface="product_sansregular"/>
              </a:rPr>
              <a:t> </a:t>
            </a:r>
            <a:r>
              <a:rPr lang="en-US" b="0" i="0" dirty="0" err="1">
                <a:solidFill>
                  <a:srgbClr val="212529"/>
                </a:solidFill>
                <a:effectLst/>
                <a:latin typeface="product_sansregular"/>
              </a:rPr>
              <a:t>mulheres</a:t>
            </a:r>
            <a:r>
              <a:rPr lang="en-US" b="0" i="0" dirty="0">
                <a:solidFill>
                  <a:srgbClr val="212529"/>
                </a:solidFill>
                <a:effectLst/>
                <a:latin typeface="product_sansregular"/>
              </a:rPr>
              <a:t> </a:t>
            </a:r>
            <a:r>
              <a:rPr lang="en-US" b="0" i="0" dirty="0" err="1">
                <a:solidFill>
                  <a:srgbClr val="212529"/>
                </a:solidFill>
                <a:effectLst/>
                <a:latin typeface="product_sansregular"/>
              </a:rPr>
              <a:t>grávidas</a:t>
            </a:r>
            <a:r>
              <a:rPr lang="en-US" b="0" i="0" dirty="0">
                <a:solidFill>
                  <a:srgbClr val="212529"/>
                </a:solidFill>
                <a:effectLst/>
                <a:latin typeface="product_sansregular"/>
              </a:rPr>
              <a:t> e </a:t>
            </a:r>
            <a:r>
              <a:rPr lang="en-US" b="0" i="0" dirty="0" err="1">
                <a:solidFill>
                  <a:srgbClr val="212529"/>
                </a:solidFill>
                <a:effectLst/>
                <a:latin typeface="product_sansregular"/>
              </a:rPr>
              <a:t>não</a:t>
            </a:r>
            <a:r>
              <a:rPr lang="en-US" b="0" i="0" dirty="0">
                <a:solidFill>
                  <a:srgbClr val="212529"/>
                </a:solidFill>
                <a:effectLst/>
                <a:latin typeface="product_sansregular"/>
              </a:rPr>
              <a:t> </a:t>
            </a:r>
            <a:r>
              <a:rPr lang="en-US" b="0" i="0" dirty="0" err="1">
                <a:solidFill>
                  <a:srgbClr val="212529"/>
                </a:solidFill>
                <a:effectLst/>
                <a:latin typeface="product_sansregular"/>
              </a:rPr>
              <a:t>grávidas</a:t>
            </a:r>
            <a:r>
              <a:rPr lang="en-US" b="0" i="0" dirty="0">
                <a:solidFill>
                  <a:srgbClr val="212529"/>
                </a:solidFill>
                <a:effectLst/>
                <a:latin typeface="product_sansregular"/>
              </a:rPr>
              <a:t>, </a:t>
            </a:r>
            <a:r>
              <a:rPr lang="en-US" b="0" i="0" dirty="0" err="1">
                <a:solidFill>
                  <a:srgbClr val="212529"/>
                </a:solidFill>
                <a:effectLst/>
                <a:latin typeface="product_sansregular"/>
              </a:rPr>
              <a:t>descobriram</a:t>
            </a:r>
            <a:r>
              <a:rPr lang="en-US" b="0" i="0" dirty="0">
                <a:solidFill>
                  <a:srgbClr val="212529"/>
                </a:solidFill>
                <a:effectLst/>
                <a:latin typeface="product_sansregular"/>
              </a:rPr>
              <a:t> que </a:t>
            </a:r>
            <a:r>
              <a:rPr lang="en-US" b="1" i="0" dirty="0">
                <a:solidFill>
                  <a:srgbClr val="212529"/>
                </a:solidFill>
                <a:effectLst/>
                <a:latin typeface="product_sansregular"/>
              </a:rPr>
              <a:t>a saliva das </a:t>
            </a:r>
            <a:r>
              <a:rPr lang="en-US" b="1" i="0" dirty="0" err="1">
                <a:solidFill>
                  <a:srgbClr val="212529"/>
                </a:solidFill>
                <a:effectLst/>
                <a:latin typeface="product_sansregular"/>
              </a:rPr>
              <a:t>grávidas</a:t>
            </a:r>
            <a:r>
              <a:rPr lang="en-US" b="1" i="0" dirty="0">
                <a:solidFill>
                  <a:srgbClr val="212529"/>
                </a:solidFill>
                <a:effectLst/>
                <a:latin typeface="product_sansregular"/>
              </a:rPr>
              <a:t> </a:t>
            </a:r>
            <a:r>
              <a:rPr lang="en-US" b="1" i="0" dirty="0" err="1">
                <a:solidFill>
                  <a:srgbClr val="212529"/>
                </a:solidFill>
                <a:effectLst/>
                <a:latin typeface="product_sansregular"/>
              </a:rPr>
              <a:t>tinha</a:t>
            </a:r>
            <a:r>
              <a:rPr lang="en-US" b="1" i="0" dirty="0">
                <a:solidFill>
                  <a:srgbClr val="212529"/>
                </a:solidFill>
                <a:effectLst/>
                <a:latin typeface="product_sansregular"/>
              </a:rPr>
              <a:t> um pH </a:t>
            </a:r>
            <a:r>
              <a:rPr lang="en-US" b="1" i="0" dirty="0" err="1">
                <a:solidFill>
                  <a:srgbClr val="212529"/>
                </a:solidFill>
                <a:effectLst/>
                <a:latin typeface="product_sansregular"/>
              </a:rPr>
              <a:t>médio</a:t>
            </a:r>
            <a:r>
              <a:rPr lang="en-US" b="1" i="0" dirty="0">
                <a:solidFill>
                  <a:srgbClr val="212529"/>
                </a:solidFill>
                <a:effectLst/>
                <a:latin typeface="product_sansregular"/>
              </a:rPr>
              <a:t> de 6,5, </a:t>
            </a:r>
            <a:r>
              <a:rPr lang="en-US" b="1" i="0" dirty="0" err="1">
                <a:solidFill>
                  <a:srgbClr val="212529"/>
                </a:solidFill>
                <a:effectLst/>
                <a:latin typeface="product_sansregular"/>
              </a:rPr>
              <a:t>enquanto</a:t>
            </a:r>
            <a:r>
              <a:rPr lang="en-US" b="1" i="0" dirty="0">
                <a:solidFill>
                  <a:srgbClr val="212529"/>
                </a:solidFill>
                <a:effectLst/>
                <a:latin typeface="product_sansregular"/>
              </a:rPr>
              <a:t> a das </a:t>
            </a:r>
            <a:r>
              <a:rPr lang="en-US" b="1" i="0" dirty="0" err="1">
                <a:solidFill>
                  <a:srgbClr val="212529"/>
                </a:solidFill>
                <a:effectLst/>
                <a:latin typeface="product_sansregular"/>
              </a:rPr>
              <a:t>não</a:t>
            </a:r>
            <a:r>
              <a:rPr lang="en-US" b="1" i="0" dirty="0">
                <a:solidFill>
                  <a:srgbClr val="212529"/>
                </a:solidFill>
                <a:effectLst/>
                <a:latin typeface="product_sansregular"/>
              </a:rPr>
              <a:t> </a:t>
            </a:r>
            <a:r>
              <a:rPr lang="en-US" b="1" i="0" dirty="0" err="1">
                <a:solidFill>
                  <a:srgbClr val="212529"/>
                </a:solidFill>
                <a:effectLst/>
                <a:latin typeface="product_sansregular"/>
              </a:rPr>
              <a:t>grávidas</a:t>
            </a:r>
            <a:r>
              <a:rPr lang="en-US" b="1" i="0" dirty="0">
                <a:solidFill>
                  <a:srgbClr val="212529"/>
                </a:solidFill>
                <a:effectLst/>
                <a:latin typeface="product_sansregular"/>
              </a:rPr>
              <a:t> </a:t>
            </a:r>
            <a:r>
              <a:rPr lang="en-US" b="1" i="0" dirty="0" err="1">
                <a:solidFill>
                  <a:srgbClr val="212529"/>
                </a:solidFill>
                <a:effectLst/>
                <a:latin typeface="product_sansregular"/>
              </a:rPr>
              <a:t>tinha</a:t>
            </a:r>
            <a:r>
              <a:rPr lang="en-US" b="1" i="0" dirty="0">
                <a:solidFill>
                  <a:srgbClr val="212529"/>
                </a:solidFill>
                <a:effectLst/>
                <a:latin typeface="product_sansregular"/>
              </a:rPr>
              <a:t> um pH </a:t>
            </a:r>
            <a:r>
              <a:rPr lang="en-US" b="1" i="0" dirty="0" err="1">
                <a:solidFill>
                  <a:srgbClr val="212529"/>
                </a:solidFill>
                <a:effectLst/>
                <a:latin typeface="product_sansregular"/>
              </a:rPr>
              <a:t>médio</a:t>
            </a:r>
            <a:r>
              <a:rPr lang="en-US" b="1" i="0" dirty="0">
                <a:solidFill>
                  <a:srgbClr val="212529"/>
                </a:solidFill>
                <a:effectLst/>
                <a:latin typeface="product_sansregular"/>
              </a:rPr>
              <a:t> de 7,0</a:t>
            </a:r>
            <a:r>
              <a:rPr lang="en-US" b="0" i="0" dirty="0">
                <a:solidFill>
                  <a:srgbClr val="212529"/>
                </a:solidFill>
                <a:effectLst/>
                <a:latin typeface="product_sansregular"/>
              </a:rPr>
              <a:t>.</a:t>
            </a:r>
          </a:p>
          <a:p>
            <a:pPr algn="l"/>
            <a:r>
              <a:rPr lang="en-US" b="0" i="0" dirty="0">
                <a:solidFill>
                  <a:srgbClr val="212529"/>
                </a:solidFill>
                <a:effectLst/>
                <a:latin typeface="product_sansregular"/>
              </a:rPr>
              <a:t>De </a:t>
            </a:r>
            <a:r>
              <a:rPr lang="en-US" b="0" i="0" dirty="0" err="1">
                <a:solidFill>
                  <a:srgbClr val="212529"/>
                </a:solidFill>
                <a:effectLst/>
                <a:latin typeface="product_sansregular"/>
              </a:rPr>
              <a:t>acordo</a:t>
            </a:r>
            <a:r>
              <a:rPr lang="en-US" b="0" i="0" dirty="0">
                <a:solidFill>
                  <a:srgbClr val="212529"/>
                </a:solidFill>
                <a:effectLst/>
                <a:latin typeface="product_sansregular"/>
              </a:rPr>
              <a:t> com </a:t>
            </a:r>
            <a:r>
              <a:rPr lang="en-US" b="0" i="1" dirty="0">
                <a:solidFill>
                  <a:srgbClr val="212529"/>
                </a:solidFill>
                <a:effectLst/>
                <a:latin typeface="product_sansregular"/>
              </a:rPr>
              <a:t>Laine et al.</a:t>
            </a:r>
            <a:r>
              <a:rPr lang="en-US" b="0" i="0" dirty="0">
                <a:solidFill>
                  <a:srgbClr val="212529"/>
                </a:solidFill>
                <a:effectLst/>
                <a:latin typeface="product_sansregular"/>
              </a:rPr>
              <a:t>, </a:t>
            </a:r>
            <a:r>
              <a:rPr lang="en-US" b="1" i="0" dirty="0">
                <a:solidFill>
                  <a:srgbClr val="212529"/>
                </a:solidFill>
                <a:effectLst/>
                <a:latin typeface="product_sansregular"/>
              </a:rPr>
              <a:t>o pH salivar </a:t>
            </a:r>
            <a:r>
              <a:rPr lang="en-US" b="1" i="0" dirty="0" err="1">
                <a:solidFill>
                  <a:srgbClr val="212529"/>
                </a:solidFill>
                <a:effectLst/>
                <a:latin typeface="product_sansregular"/>
              </a:rPr>
              <a:t>cai</a:t>
            </a:r>
            <a:r>
              <a:rPr lang="en-US" b="1" i="0" dirty="0">
                <a:solidFill>
                  <a:srgbClr val="212529"/>
                </a:solidFill>
                <a:effectLst/>
                <a:latin typeface="product_sansregular"/>
              </a:rPr>
              <a:t> à </a:t>
            </a:r>
            <a:r>
              <a:rPr lang="en-US" b="1" i="0" dirty="0" err="1">
                <a:solidFill>
                  <a:srgbClr val="212529"/>
                </a:solidFill>
                <a:effectLst/>
                <a:latin typeface="product_sansregular"/>
              </a:rPr>
              <a:t>medida</a:t>
            </a:r>
            <a:r>
              <a:rPr lang="en-US" b="1" i="0" dirty="0">
                <a:solidFill>
                  <a:srgbClr val="212529"/>
                </a:solidFill>
                <a:effectLst/>
                <a:latin typeface="product_sansregular"/>
              </a:rPr>
              <a:t> que a </a:t>
            </a:r>
            <a:r>
              <a:rPr lang="en-US" b="1" i="0" dirty="0" err="1">
                <a:solidFill>
                  <a:srgbClr val="212529"/>
                </a:solidFill>
                <a:effectLst/>
                <a:latin typeface="product_sansregular"/>
              </a:rPr>
              <a:t>gravidez</a:t>
            </a:r>
            <a:r>
              <a:rPr lang="en-US" b="1" i="0" dirty="0">
                <a:solidFill>
                  <a:srgbClr val="212529"/>
                </a:solidFill>
                <a:effectLst/>
                <a:latin typeface="product_sansregular"/>
              </a:rPr>
              <a:t> </a:t>
            </a:r>
            <a:r>
              <a:rPr lang="en-US" b="1" i="0" dirty="0" err="1">
                <a:solidFill>
                  <a:srgbClr val="212529"/>
                </a:solidFill>
                <a:effectLst/>
                <a:latin typeface="product_sansregular"/>
              </a:rPr>
              <a:t>progride</a:t>
            </a:r>
            <a:r>
              <a:rPr lang="en-US" b="1" i="0" dirty="0">
                <a:solidFill>
                  <a:srgbClr val="212529"/>
                </a:solidFill>
                <a:effectLst/>
                <a:latin typeface="product_sansregular"/>
              </a:rPr>
              <a:t> e </a:t>
            </a:r>
            <a:r>
              <a:rPr lang="en-US" b="1" i="0" dirty="0" err="1">
                <a:solidFill>
                  <a:srgbClr val="212529"/>
                </a:solidFill>
                <a:effectLst/>
                <a:latin typeface="product_sansregular"/>
              </a:rPr>
              <a:t>então</a:t>
            </a:r>
            <a:r>
              <a:rPr lang="en-US" b="1" i="0" dirty="0">
                <a:solidFill>
                  <a:srgbClr val="212529"/>
                </a:solidFill>
                <a:effectLst/>
                <a:latin typeface="product_sansregular"/>
              </a:rPr>
              <a:t> </a:t>
            </a:r>
            <a:r>
              <a:rPr lang="en-US" b="1" i="0" dirty="0" err="1">
                <a:solidFill>
                  <a:srgbClr val="212529"/>
                </a:solidFill>
                <a:effectLst/>
                <a:latin typeface="product_sansregular"/>
              </a:rPr>
              <a:t>aumenta</a:t>
            </a:r>
            <a:r>
              <a:rPr lang="en-US" b="1" i="0" dirty="0">
                <a:solidFill>
                  <a:srgbClr val="212529"/>
                </a:solidFill>
                <a:effectLst/>
                <a:latin typeface="product_sansregular"/>
              </a:rPr>
              <a:t> </a:t>
            </a:r>
            <a:r>
              <a:rPr lang="en-US" b="1" i="0" dirty="0" err="1">
                <a:solidFill>
                  <a:srgbClr val="212529"/>
                </a:solidFill>
                <a:effectLst/>
                <a:latin typeface="product_sansregular"/>
              </a:rPr>
              <a:t>rapidamente</a:t>
            </a:r>
            <a:r>
              <a:rPr lang="en-US" b="1" i="0" dirty="0">
                <a:solidFill>
                  <a:srgbClr val="212529"/>
                </a:solidFill>
                <a:effectLst/>
                <a:latin typeface="product_sansregular"/>
              </a:rPr>
              <a:t> </a:t>
            </a:r>
            <a:r>
              <a:rPr lang="en-US" b="1" i="0" dirty="0" err="1">
                <a:solidFill>
                  <a:srgbClr val="212529"/>
                </a:solidFill>
                <a:effectLst/>
                <a:latin typeface="product_sansregular"/>
              </a:rPr>
              <a:t>após</a:t>
            </a:r>
            <a:r>
              <a:rPr lang="en-US" b="1" i="0" dirty="0">
                <a:solidFill>
                  <a:srgbClr val="212529"/>
                </a:solidFill>
                <a:effectLst/>
                <a:latin typeface="product_sansregular"/>
              </a:rPr>
              <a:t> o </a:t>
            </a:r>
            <a:r>
              <a:rPr lang="en-US" b="1" i="0" dirty="0" err="1">
                <a:solidFill>
                  <a:srgbClr val="212529"/>
                </a:solidFill>
                <a:effectLst/>
                <a:latin typeface="product_sansregular"/>
              </a:rPr>
              <a:t>parto</a:t>
            </a:r>
            <a:r>
              <a:rPr lang="en-US" b="0" i="0" dirty="0">
                <a:solidFill>
                  <a:srgbClr val="212529"/>
                </a:solidFill>
                <a:effectLst/>
                <a:latin typeface="product_sansregular"/>
              </a:rPr>
              <a:t>.</a:t>
            </a:r>
          </a:p>
          <a:p>
            <a:pPr algn="l"/>
            <a:r>
              <a:rPr lang="en-US" b="0" i="0" dirty="0">
                <a:solidFill>
                  <a:srgbClr val="212529"/>
                </a:solidFill>
                <a:effectLst/>
                <a:latin typeface="product_sansregular"/>
              </a:rPr>
              <a:t>Outros </a:t>
            </a:r>
            <a:r>
              <a:rPr lang="en-US" b="0" i="0" dirty="0" err="1">
                <a:solidFill>
                  <a:srgbClr val="212529"/>
                </a:solidFill>
                <a:effectLst/>
                <a:latin typeface="product_sansregular"/>
              </a:rPr>
              <a:t>estudos</a:t>
            </a:r>
            <a:r>
              <a:rPr lang="en-US" b="0" i="0" dirty="0">
                <a:solidFill>
                  <a:srgbClr val="212529"/>
                </a:solidFill>
                <a:effectLst/>
                <a:latin typeface="product_sansregular"/>
              </a:rPr>
              <a:t> </a:t>
            </a:r>
            <a:r>
              <a:rPr lang="en-US" b="0" i="0" dirty="0" err="1">
                <a:solidFill>
                  <a:srgbClr val="212529"/>
                </a:solidFill>
                <a:effectLst/>
                <a:latin typeface="product_sansregular"/>
              </a:rPr>
              <a:t>observaram</a:t>
            </a:r>
            <a:r>
              <a:rPr lang="en-US" b="0" i="0" dirty="0">
                <a:solidFill>
                  <a:srgbClr val="212529"/>
                </a:solidFill>
                <a:effectLst/>
                <a:latin typeface="product_sansregular"/>
              </a:rPr>
              <a:t> que </a:t>
            </a:r>
            <a:r>
              <a:rPr lang="en-US" b="0" i="0" dirty="0" err="1">
                <a:solidFill>
                  <a:srgbClr val="212529"/>
                </a:solidFill>
                <a:effectLst/>
                <a:latin typeface="product_sansregular"/>
              </a:rPr>
              <a:t>alterações</a:t>
            </a:r>
            <a:r>
              <a:rPr lang="en-US" b="0" i="0" dirty="0">
                <a:solidFill>
                  <a:srgbClr val="212529"/>
                </a:solidFill>
                <a:effectLst/>
                <a:latin typeface="product_sansregular"/>
              </a:rPr>
              <a:t> </a:t>
            </a:r>
            <a:r>
              <a:rPr lang="en-US" b="0" i="0" dirty="0" err="1">
                <a:solidFill>
                  <a:srgbClr val="212529"/>
                </a:solidFill>
                <a:effectLst/>
                <a:latin typeface="product_sansregular"/>
              </a:rPr>
              <a:t>nutricionais</a:t>
            </a:r>
            <a:r>
              <a:rPr lang="en-US" b="0" i="0" dirty="0">
                <a:solidFill>
                  <a:srgbClr val="212529"/>
                </a:solidFill>
                <a:effectLst/>
                <a:latin typeface="product_sansregular"/>
              </a:rPr>
              <a:t>, </a:t>
            </a:r>
            <a:r>
              <a:rPr lang="en-US" b="0" i="0" dirty="0" err="1">
                <a:solidFill>
                  <a:srgbClr val="212529"/>
                </a:solidFill>
                <a:effectLst/>
                <a:latin typeface="product_sansregular"/>
              </a:rPr>
              <a:t>vômitos</a:t>
            </a:r>
            <a:r>
              <a:rPr lang="en-US" b="0" i="0" dirty="0">
                <a:solidFill>
                  <a:srgbClr val="212529"/>
                </a:solidFill>
                <a:effectLst/>
                <a:latin typeface="product_sansregular"/>
              </a:rPr>
              <a:t>, </a:t>
            </a:r>
            <a:r>
              <a:rPr lang="en-US" b="0" i="0" dirty="0" err="1">
                <a:solidFill>
                  <a:srgbClr val="212529"/>
                </a:solidFill>
                <a:effectLst/>
                <a:latin typeface="product_sansregular"/>
              </a:rPr>
              <a:t>variações</a:t>
            </a:r>
            <a:r>
              <a:rPr lang="en-US" b="0" i="0" dirty="0">
                <a:solidFill>
                  <a:srgbClr val="212529"/>
                </a:solidFill>
                <a:effectLst/>
                <a:latin typeface="product_sansregular"/>
              </a:rPr>
              <a:t> </a:t>
            </a:r>
            <a:r>
              <a:rPr lang="en-US" b="0" i="0" dirty="0" err="1">
                <a:solidFill>
                  <a:srgbClr val="212529"/>
                </a:solidFill>
                <a:effectLst/>
                <a:latin typeface="product_sansregular"/>
              </a:rPr>
              <a:t>na</a:t>
            </a:r>
            <a:r>
              <a:rPr lang="en-US" b="0" i="0" dirty="0">
                <a:solidFill>
                  <a:srgbClr val="212529"/>
                </a:solidFill>
                <a:effectLst/>
                <a:latin typeface="product_sansregular"/>
              </a:rPr>
              <a:t> microbiota oral, </a:t>
            </a:r>
            <a:r>
              <a:rPr lang="en-US" b="0" i="0" dirty="0" err="1">
                <a:solidFill>
                  <a:srgbClr val="212529"/>
                </a:solidFill>
                <a:effectLst/>
                <a:latin typeface="product_sansregular"/>
              </a:rPr>
              <a:t>mudanças</a:t>
            </a:r>
            <a:r>
              <a:rPr lang="en-US" b="0" i="0" dirty="0">
                <a:solidFill>
                  <a:srgbClr val="212529"/>
                </a:solidFill>
                <a:effectLst/>
                <a:latin typeface="product_sansregular"/>
              </a:rPr>
              <a:t> </a:t>
            </a:r>
            <a:r>
              <a:rPr lang="en-US" b="0" i="0" dirty="0" err="1">
                <a:solidFill>
                  <a:srgbClr val="212529"/>
                </a:solidFill>
                <a:effectLst/>
                <a:latin typeface="product_sansregular"/>
              </a:rPr>
              <a:t>na</a:t>
            </a:r>
            <a:r>
              <a:rPr lang="en-US" b="0" i="0" dirty="0">
                <a:solidFill>
                  <a:srgbClr val="212529"/>
                </a:solidFill>
                <a:effectLst/>
                <a:latin typeface="product_sansregular"/>
              </a:rPr>
              <a:t> </a:t>
            </a:r>
            <a:r>
              <a:rPr lang="en-US" b="0" i="0" dirty="0" err="1">
                <a:solidFill>
                  <a:srgbClr val="212529"/>
                </a:solidFill>
                <a:effectLst/>
                <a:latin typeface="product_sansregular"/>
              </a:rPr>
              <a:t>dieta</a:t>
            </a:r>
            <a:r>
              <a:rPr lang="en-US" b="0" i="0" dirty="0">
                <a:solidFill>
                  <a:srgbClr val="212529"/>
                </a:solidFill>
                <a:effectLst/>
                <a:latin typeface="product_sansregular"/>
              </a:rPr>
              <a:t> e </a:t>
            </a:r>
            <a:r>
              <a:rPr lang="en-US" b="0" i="0" dirty="0" err="1">
                <a:solidFill>
                  <a:srgbClr val="212529"/>
                </a:solidFill>
                <a:effectLst/>
                <a:latin typeface="product_sansregular"/>
              </a:rPr>
              <a:t>má</a:t>
            </a:r>
            <a:r>
              <a:rPr lang="en-US" b="0" i="0" dirty="0">
                <a:solidFill>
                  <a:srgbClr val="212529"/>
                </a:solidFill>
                <a:effectLst/>
                <a:latin typeface="product_sansregular"/>
              </a:rPr>
              <a:t> </a:t>
            </a:r>
            <a:r>
              <a:rPr lang="en-US" b="0" i="0" dirty="0" err="1">
                <a:solidFill>
                  <a:srgbClr val="212529"/>
                </a:solidFill>
                <a:effectLst/>
                <a:latin typeface="product_sansregular"/>
              </a:rPr>
              <a:t>higiene</a:t>
            </a:r>
            <a:r>
              <a:rPr lang="en-US" b="0" i="0" dirty="0">
                <a:solidFill>
                  <a:srgbClr val="212529"/>
                </a:solidFill>
                <a:effectLst/>
                <a:latin typeface="product_sansregular"/>
              </a:rPr>
              <a:t> </a:t>
            </a:r>
            <a:r>
              <a:rPr lang="en-US" b="0" i="0" dirty="0" err="1">
                <a:solidFill>
                  <a:srgbClr val="212529"/>
                </a:solidFill>
                <a:effectLst/>
                <a:latin typeface="product_sansregular"/>
              </a:rPr>
              <a:t>bucal</a:t>
            </a:r>
            <a:r>
              <a:rPr lang="en-US" b="0" i="0" dirty="0">
                <a:solidFill>
                  <a:srgbClr val="212529"/>
                </a:solidFill>
                <a:effectLst/>
                <a:latin typeface="product_sansregular"/>
              </a:rPr>
              <a:t> </a:t>
            </a:r>
            <a:r>
              <a:rPr lang="en-US" b="0" i="0" dirty="0" err="1">
                <a:solidFill>
                  <a:srgbClr val="212529"/>
                </a:solidFill>
                <a:effectLst/>
                <a:latin typeface="product_sansregular"/>
              </a:rPr>
              <a:t>desempenham</a:t>
            </a:r>
            <a:r>
              <a:rPr lang="en-US" b="0" i="0" dirty="0">
                <a:solidFill>
                  <a:srgbClr val="212529"/>
                </a:solidFill>
                <a:effectLst/>
                <a:latin typeface="product_sansregular"/>
              </a:rPr>
              <a:t> um </a:t>
            </a:r>
            <a:r>
              <a:rPr lang="en-US" b="0" i="0" dirty="0" err="1">
                <a:solidFill>
                  <a:srgbClr val="212529"/>
                </a:solidFill>
                <a:effectLst/>
                <a:latin typeface="product_sansregular"/>
              </a:rPr>
              <a:t>papel</a:t>
            </a:r>
            <a:r>
              <a:rPr lang="en-US" b="0" i="0" dirty="0">
                <a:solidFill>
                  <a:srgbClr val="212529"/>
                </a:solidFill>
                <a:effectLst/>
                <a:latin typeface="product_sansregular"/>
              </a:rPr>
              <a:t> vital no </a:t>
            </a:r>
            <a:r>
              <a:rPr lang="en-US" b="0" i="0" dirty="0" err="1">
                <a:solidFill>
                  <a:srgbClr val="212529"/>
                </a:solidFill>
                <a:effectLst/>
                <a:latin typeface="product_sansregular"/>
              </a:rPr>
              <a:t>desenvolvimento</a:t>
            </a:r>
            <a:r>
              <a:rPr lang="en-US" b="0" i="0" dirty="0">
                <a:solidFill>
                  <a:srgbClr val="212529"/>
                </a:solidFill>
                <a:effectLst/>
                <a:latin typeface="product_sansregular"/>
              </a:rPr>
              <a:t> de </a:t>
            </a:r>
            <a:r>
              <a:rPr lang="en-US" b="0" i="0" dirty="0" err="1">
                <a:solidFill>
                  <a:srgbClr val="212529"/>
                </a:solidFill>
                <a:effectLst/>
                <a:latin typeface="product_sansregular"/>
              </a:rPr>
              <a:t>cáries</a:t>
            </a:r>
            <a:r>
              <a:rPr lang="en-US" b="0" i="0" dirty="0">
                <a:solidFill>
                  <a:srgbClr val="212529"/>
                </a:solidFill>
                <a:effectLst/>
                <a:latin typeface="product_sansregular"/>
              </a:rPr>
              <a:t> </a:t>
            </a:r>
            <a:r>
              <a:rPr lang="en-US" b="0" i="0" dirty="0" err="1">
                <a:solidFill>
                  <a:srgbClr val="212529"/>
                </a:solidFill>
                <a:effectLst/>
                <a:latin typeface="product_sansregular"/>
              </a:rPr>
              <a:t>durante</a:t>
            </a:r>
            <a:r>
              <a:rPr lang="en-US" b="0" i="0" dirty="0">
                <a:solidFill>
                  <a:srgbClr val="212529"/>
                </a:solidFill>
                <a:effectLst/>
                <a:latin typeface="product_sansregular"/>
              </a:rPr>
              <a:t> a </a:t>
            </a:r>
            <a:r>
              <a:rPr lang="en-US" b="0" i="0" dirty="0" err="1">
                <a:solidFill>
                  <a:srgbClr val="212529"/>
                </a:solidFill>
                <a:effectLst/>
                <a:latin typeface="product_sansregular"/>
              </a:rPr>
              <a:t>gravidez</a:t>
            </a:r>
            <a:r>
              <a:rPr lang="en-US" b="0" i="0" dirty="0">
                <a:solidFill>
                  <a:srgbClr val="212529"/>
                </a:solidFill>
                <a:effectLst/>
                <a:latin typeface="product_sansregular"/>
              </a:rPr>
              <a:t>.</a:t>
            </a:r>
          </a:p>
          <a:p>
            <a:pPr marL="0" indent="0">
              <a:buFontTx/>
              <a:buNone/>
            </a:pPr>
            <a:endParaRPr lang="en-US" dirty="0"/>
          </a:p>
        </p:txBody>
      </p:sp>
      <p:sp>
        <p:nvSpPr>
          <p:cNvPr id="4" name="Slide Number Placeholder 3"/>
          <p:cNvSpPr>
            <a:spLocks noGrp="1"/>
          </p:cNvSpPr>
          <p:nvPr>
            <p:ph type="sldNum" sz="quarter" idx="5"/>
          </p:nvPr>
        </p:nvSpPr>
        <p:spPr/>
        <p:txBody>
          <a:bodyPr/>
          <a:lstStyle/>
          <a:p>
            <a:pPr defTabSz="929579">
              <a:defRPr/>
            </a:pPr>
            <a:fld id="{8FF7B9E9-6F9D-4999-8E35-8BAD09A8460E}" type="slidenum">
              <a:rPr lang="en-US">
                <a:solidFill>
                  <a:srgbClr val="000000"/>
                </a:solidFill>
                <a:latin typeface="Arial" pitchFamily="34" charset="0"/>
                <a:cs typeface="Arial" pitchFamily="34" charset="0"/>
              </a:rPr>
              <a:pPr defTabSz="929579">
                <a:defRPr/>
              </a:pPr>
              <a:t>10</a:t>
            </a:fld>
            <a:endParaRPr lang="en-US"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4654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ußzeilenplatzhalter 3"/>
          <p:cNvSpPr>
            <a:spLocks noGrp="1"/>
          </p:cNvSpPr>
          <p:nvPr>
            <p:ph type="ftr" sz="quarter" idx="10"/>
          </p:nvPr>
        </p:nvSpPr>
        <p:spPr/>
        <p:txBody>
          <a:bodyPr/>
          <a:lstStyle/>
          <a:p>
            <a:endParaRPr lang="en-US" dirty="0"/>
          </a:p>
        </p:txBody>
      </p:sp>
      <p:sp>
        <p:nvSpPr>
          <p:cNvPr id="5" name="Foliennummernplatzhalter 4"/>
          <p:cNvSpPr>
            <a:spLocks noGrp="1"/>
          </p:cNvSpPr>
          <p:nvPr>
            <p:ph type="sldNum" sz="quarter" idx="11"/>
          </p:nvPr>
        </p:nvSpPr>
        <p:spPr/>
        <p:txBody>
          <a:bodyPr/>
          <a:lstStyle/>
          <a:p>
            <a:fld id="{3BCB6019-C597-45E5-9BB9-3AB06F108299}" type="slidenum">
              <a:rPr lang="en-US" smtClean="0"/>
              <a:t>11</a:t>
            </a:fld>
            <a:endParaRPr lang="en-US" dirty="0"/>
          </a:p>
        </p:txBody>
      </p:sp>
    </p:spTree>
    <p:extLst>
      <p:ext uri="{BB962C8B-B14F-4D97-AF65-F5344CB8AC3E}">
        <p14:creationId xmlns:p14="http://schemas.microsoft.com/office/powerpoint/2010/main" val="22847104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12</a:t>
            </a:fld>
            <a:endParaRPr lang="en-US" dirty="0"/>
          </a:p>
        </p:txBody>
      </p:sp>
    </p:spTree>
    <p:extLst>
      <p:ext uri="{BB962C8B-B14F-4D97-AF65-F5344CB8AC3E}">
        <p14:creationId xmlns:p14="http://schemas.microsoft.com/office/powerpoint/2010/main" val="22511487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kern="1200" dirty="0">
                <a:solidFill>
                  <a:schemeClr val="tx1"/>
                </a:solidFill>
                <a:effectLst/>
                <a:latin typeface="+mn-lt"/>
                <a:ea typeface="+mn-ea"/>
                <a:cs typeface="+mn-cs"/>
              </a:rPr>
              <a:t>Antioxidants are recommended to increase the stability of the formulation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ross-linking and yellowing of isolated polymer films and coatings that were applied to solid dosage forms was observed during storage. BHT is included in the FDA inactive ingredient guide with an upper </a:t>
            </a:r>
            <a:r>
              <a:rPr lang="en-US" sz="1200" b="1" kern="1200" dirty="0">
                <a:solidFill>
                  <a:schemeClr val="tx1"/>
                </a:solidFill>
                <a:effectLst/>
                <a:latin typeface="+mn-lt"/>
                <a:ea typeface="+mn-ea"/>
                <a:cs typeface="+mn-cs"/>
              </a:rPr>
              <a:t>registered limit max 0.4 mg/ tablet</a:t>
            </a:r>
            <a:r>
              <a:rPr lang="en-US" sz="1200" kern="1200" dirty="0">
                <a:solidFill>
                  <a:schemeClr val="tx1"/>
                </a:solidFill>
                <a:effectLst/>
                <a:latin typeface="+mn-lt"/>
                <a:ea typeface="+mn-ea"/>
                <a:cs typeface="+mn-cs"/>
              </a:rPr>
              <a:t>. At a use level of 2.5% where BHT (based on the polymer) is used, this would theoretically limit the amount of polymer to </a:t>
            </a:r>
            <a:r>
              <a:rPr lang="en-US" sz="1200" b="1" kern="1200" dirty="0">
                <a:solidFill>
                  <a:schemeClr val="tx1"/>
                </a:solidFill>
                <a:effectLst/>
                <a:latin typeface="+mn-lt"/>
                <a:ea typeface="+mn-ea"/>
                <a:cs typeface="+mn-cs"/>
              </a:rPr>
              <a:t>16 mg/tablet</a:t>
            </a:r>
            <a:r>
              <a:rPr lang="en-US" sz="1200" kern="1200" dirty="0">
                <a:solidFill>
                  <a:schemeClr val="tx1"/>
                </a:solidFill>
                <a:effectLst/>
                <a:latin typeface="+mn-lt"/>
                <a:ea typeface="+mn-ea"/>
                <a:cs typeface="+mn-cs"/>
              </a:rPr>
              <a:t>. BHT (E 321) has a long tradition of use in food (in the US as well as in Europe) and the safety is well documented in the literature.</a:t>
            </a:r>
            <a:endParaRPr lang="en-US" dirty="0"/>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13</a:t>
            </a:fld>
            <a:endParaRPr lang="en-US" dirty="0"/>
          </a:p>
        </p:txBody>
      </p:sp>
    </p:spTree>
    <p:extLst>
      <p:ext uri="{BB962C8B-B14F-4D97-AF65-F5344CB8AC3E}">
        <p14:creationId xmlns:p14="http://schemas.microsoft.com/office/powerpoint/2010/main" val="34447162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14</a:t>
            </a:fld>
            <a:endParaRPr lang="en-US" dirty="0"/>
          </a:p>
        </p:txBody>
      </p:sp>
    </p:spTree>
    <p:extLst>
      <p:ext uri="{BB962C8B-B14F-4D97-AF65-F5344CB8AC3E}">
        <p14:creationId xmlns:p14="http://schemas.microsoft.com/office/powerpoint/2010/main" val="31168005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15</a:t>
            </a:fld>
            <a:endParaRPr lang="en-US" dirty="0"/>
          </a:p>
        </p:txBody>
      </p:sp>
    </p:spTree>
    <p:extLst>
      <p:ext uri="{BB962C8B-B14F-4D97-AF65-F5344CB8AC3E}">
        <p14:creationId xmlns:p14="http://schemas.microsoft.com/office/powerpoint/2010/main" val="39654113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16</a:t>
            </a:fld>
            <a:endParaRPr lang="en-US" dirty="0"/>
          </a:p>
        </p:txBody>
      </p:sp>
    </p:spTree>
    <p:extLst>
      <p:ext uri="{BB962C8B-B14F-4D97-AF65-F5344CB8AC3E}">
        <p14:creationId xmlns:p14="http://schemas.microsoft.com/office/powerpoint/2010/main" val="11973881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17</a:t>
            </a:fld>
            <a:endParaRPr lang="en-US" dirty="0"/>
          </a:p>
        </p:txBody>
      </p:sp>
    </p:spTree>
    <p:extLst>
      <p:ext uri="{BB962C8B-B14F-4D97-AF65-F5344CB8AC3E}">
        <p14:creationId xmlns:p14="http://schemas.microsoft.com/office/powerpoint/2010/main" val="107893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n coater: </a:t>
            </a:r>
          </a:p>
          <a:p>
            <a:r>
              <a:rPr lang="en-US" dirty="0"/>
              <a:t>Product temperature &gt; 40°C: Increased risk of spray drying</a:t>
            </a:r>
          </a:p>
          <a:p>
            <a:r>
              <a:rPr lang="en-US" dirty="0"/>
              <a:t>Product temperature &lt; 35°C: Increased risk of insufficient film formation</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18</a:t>
            </a:fld>
            <a:endParaRPr lang="en-US" dirty="0"/>
          </a:p>
        </p:txBody>
      </p:sp>
    </p:spTree>
    <p:extLst>
      <p:ext uri="{BB962C8B-B14F-4D97-AF65-F5344CB8AC3E}">
        <p14:creationId xmlns:p14="http://schemas.microsoft.com/office/powerpoint/2010/main" val="40233508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19</a:t>
            </a:fld>
            <a:endParaRPr lang="en-US" dirty="0"/>
          </a:p>
        </p:txBody>
      </p:sp>
    </p:spTree>
    <p:extLst>
      <p:ext uri="{BB962C8B-B14F-4D97-AF65-F5344CB8AC3E}">
        <p14:creationId xmlns:p14="http://schemas.microsoft.com/office/powerpoint/2010/main" val="1779798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2</a:t>
            </a:fld>
            <a:endParaRPr lang="en-US" dirty="0"/>
          </a:p>
        </p:txBody>
      </p:sp>
    </p:spTree>
    <p:extLst>
      <p:ext uri="{BB962C8B-B14F-4D97-AF65-F5344CB8AC3E}">
        <p14:creationId xmlns:p14="http://schemas.microsoft.com/office/powerpoint/2010/main" val="30050214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20</a:t>
            </a:fld>
            <a:endParaRPr lang="en-US" dirty="0"/>
          </a:p>
        </p:txBody>
      </p:sp>
    </p:spTree>
    <p:extLst>
      <p:ext uri="{BB962C8B-B14F-4D97-AF65-F5344CB8AC3E}">
        <p14:creationId xmlns:p14="http://schemas.microsoft.com/office/powerpoint/2010/main" val="31093804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21</a:t>
            </a:fld>
            <a:endParaRPr lang="en-US" dirty="0"/>
          </a:p>
        </p:txBody>
      </p:sp>
    </p:spTree>
    <p:extLst>
      <p:ext uri="{BB962C8B-B14F-4D97-AF65-F5344CB8AC3E}">
        <p14:creationId xmlns:p14="http://schemas.microsoft.com/office/powerpoint/2010/main" val="17596502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lc of 2-8% w/w in formulation correspond to 10-40% in dry film. </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22</a:t>
            </a:fld>
            <a:endParaRPr lang="en-US" dirty="0"/>
          </a:p>
        </p:txBody>
      </p:sp>
    </p:spTree>
    <p:extLst>
      <p:ext uri="{BB962C8B-B14F-4D97-AF65-F5344CB8AC3E}">
        <p14:creationId xmlns:p14="http://schemas.microsoft.com/office/powerpoint/2010/main" val="8521968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martseal</a:t>
            </a:r>
            <a:r>
              <a:rPr lang="en-US" dirty="0"/>
              <a:t> 30 D cores</a:t>
            </a:r>
          </a:p>
          <a:p>
            <a:r>
              <a:rPr lang="en-US" sz="1200" dirty="0"/>
              <a:t>Kollicoat</a:t>
            </a:r>
            <a:r>
              <a:rPr lang="en-US" altLang="de-DE" sz="1200" baseline="30000" dirty="0">
                <a:ea typeface="Arial Unicode MS" panose="020B0604020202020204" pitchFamily="34" charset="-128"/>
                <a:cs typeface="Arial Unicode MS" panose="020B0604020202020204" pitchFamily="34" charset="-128"/>
              </a:rPr>
              <a:t> ®</a:t>
            </a:r>
            <a:r>
              <a:rPr lang="en-US" sz="1200" dirty="0"/>
              <a:t>Smartseal 30D- 15%ATBC-2,5%BHT-x%Talc</a:t>
            </a:r>
            <a:endParaRPr lang="en-US" dirty="0"/>
          </a:p>
          <a:p>
            <a:r>
              <a:rPr lang="en-US" dirty="0"/>
              <a:t>After 5.5 months of Storage at 30°C 75% RH as well as 40°C 75% RH, the Tablets are glued with 4+6%Talc. The Cores with 8%Talc, on the other Hand, are not. The Nuclei that did not contain Talc in the Recipe were powdered with 1% </a:t>
            </a:r>
            <a:r>
              <a:rPr lang="en-US" dirty="0" err="1"/>
              <a:t>Microtalk</a:t>
            </a:r>
            <a:r>
              <a:rPr lang="en-US" dirty="0"/>
              <a:t> before Storage. There was no Bonding in these Camps either. </a:t>
            </a:r>
            <a:r>
              <a:rPr lang="en-US" dirty="0" err="1"/>
              <a:t>Puders</a:t>
            </a:r>
            <a:r>
              <a:rPr lang="en-US" dirty="0"/>
              <a:t> with 1% </a:t>
            </a:r>
            <a:r>
              <a:rPr lang="en-US" dirty="0" err="1"/>
              <a:t>Microtalk</a:t>
            </a:r>
            <a:r>
              <a:rPr lang="en-US" dirty="0"/>
              <a:t> is recommended.</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23</a:t>
            </a:fld>
            <a:endParaRPr lang="en-US" dirty="0"/>
          </a:p>
        </p:txBody>
      </p:sp>
    </p:spTree>
    <p:extLst>
      <p:ext uri="{BB962C8B-B14F-4D97-AF65-F5344CB8AC3E}">
        <p14:creationId xmlns:p14="http://schemas.microsoft.com/office/powerpoint/2010/main" val="31405915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Kollicoat</a:t>
            </a:r>
            <a:r>
              <a:rPr lang="en-US" altLang="de-DE" sz="1200" baseline="30000" dirty="0">
                <a:ea typeface="Arial Unicode MS" panose="020B0604020202020204" pitchFamily="34" charset="-128"/>
                <a:cs typeface="Arial Unicode MS" panose="020B0604020202020204" pitchFamily="34" charset="-128"/>
              </a:rPr>
              <a:t> ®</a:t>
            </a:r>
            <a:r>
              <a:rPr lang="en-US" sz="1200" dirty="0"/>
              <a:t>Smartseal 30D – 15 % ATBC, 2.5% BHT, varying amounts of talc</a:t>
            </a:r>
            <a:br>
              <a:rPr lang="en-US" sz="1050" dirty="0"/>
            </a:br>
            <a:r>
              <a:rPr lang="en-US" sz="1050" dirty="0"/>
              <a:t>(FS in PP pH=6,8, </a:t>
            </a:r>
            <a:r>
              <a:rPr lang="en-US" sz="1050" dirty="0" err="1"/>
              <a:t>ohne</a:t>
            </a:r>
            <a:r>
              <a:rPr lang="en-US" sz="1050" dirty="0"/>
              <a:t> Curing n=3)</a:t>
            </a:r>
            <a:endParaRPr lang="en-US" dirty="0"/>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24</a:t>
            </a:fld>
            <a:endParaRPr lang="en-US" dirty="0"/>
          </a:p>
        </p:txBody>
      </p:sp>
    </p:spTree>
    <p:extLst>
      <p:ext uri="{BB962C8B-B14F-4D97-AF65-F5344CB8AC3E}">
        <p14:creationId xmlns:p14="http://schemas.microsoft.com/office/powerpoint/2010/main" val="14586691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25</a:t>
            </a:fld>
            <a:endParaRPr lang="en-US" dirty="0"/>
          </a:p>
        </p:txBody>
      </p:sp>
    </p:spTree>
    <p:extLst>
      <p:ext uri="{BB962C8B-B14F-4D97-AF65-F5344CB8AC3E}">
        <p14:creationId xmlns:p14="http://schemas.microsoft.com/office/powerpoint/2010/main" val="28206869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is very</a:t>
            </a:r>
            <a:r>
              <a:rPr lang="en-US" baseline="0" dirty="0"/>
              <a:t> difficult to give a </a:t>
            </a:r>
            <a:r>
              <a:rPr lang="en-US" baseline="0" dirty="0" err="1"/>
              <a:t>genereal</a:t>
            </a:r>
            <a:r>
              <a:rPr lang="en-US" baseline="0" dirty="0"/>
              <a:t> recommendation about the necessity for curing. The chart shows that curing effects depend not only on the properties of Kollicoat Smartseal 30 D or the coating formulation, but may be influenced by other factors of the formulation or manufacturing.  We should always recommend to customers that they should look into this topic and define a study based on their formulation and process parameters.</a:t>
            </a:r>
            <a:endParaRPr lang="en-US" dirty="0"/>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26</a:t>
            </a:fld>
            <a:endParaRPr lang="en-US" dirty="0"/>
          </a:p>
        </p:txBody>
      </p:sp>
    </p:spTree>
    <p:extLst>
      <p:ext uri="{BB962C8B-B14F-4D97-AF65-F5344CB8AC3E}">
        <p14:creationId xmlns:p14="http://schemas.microsoft.com/office/powerpoint/2010/main" val="11380082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0 D is approx. 40% w/w in suspension</a:t>
            </a:r>
          </a:p>
          <a:p>
            <a:r>
              <a:rPr lang="en-US" sz="1200" dirty="0"/>
              <a:t>Coated caffeine granules partly compressed with Ludiflash / Kollidon CL-SF into ODTs</a:t>
            </a:r>
            <a:endParaRPr lang="en-US" dirty="0"/>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27</a:t>
            </a:fld>
            <a:endParaRPr lang="en-US" dirty="0"/>
          </a:p>
        </p:txBody>
      </p:sp>
    </p:spTree>
    <p:extLst>
      <p:ext uri="{BB962C8B-B14F-4D97-AF65-F5344CB8AC3E}">
        <p14:creationId xmlns:p14="http://schemas.microsoft.com/office/powerpoint/2010/main" val="23964312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28</a:t>
            </a:fld>
            <a:endParaRPr lang="en-US" dirty="0"/>
          </a:p>
        </p:txBody>
      </p:sp>
    </p:spTree>
    <p:extLst>
      <p:ext uri="{BB962C8B-B14F-4D97-AF65-F5344CB8AC3E}">
        <p14:creationId xmlns:p14="http://schemas.microsoft.com/office/powerpoint/2010/main" val="14750069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29</a:t>
            </a:fld>
            <a:endParaRPr lang="en-US" dirty="0"/>
          </a:p>
        </p:txBody>
      </p:sp>
    </p:spTree>
    <p:extLst>
      <p:ext uri="{BB962C8B-B14F-4D97-AF65-F5344CB8AC3E}">
        <p14:creationId xmlns:p14="http://schemas.microsoft.com/office/powerpoint/2010/main" val="12091550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3</a:t>
            </a:fld>
            <a:endParaRPr lang="en-US" dirty="0"/>
          </a:p>
        </p:txBody>
      </p:sp>
    </p:spTree>
    <p:extLst>
      <p:ext uri="{BB962C8B-B14F-4D97-AF65-F5344CB8AC3E}">
        <p14:creationId xmlns:p14="http://schemas.microsoft.com/office/powerpoint/2010/main" val="36801158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30</a:t>
            </a:fld>
            <a:endParaRPr lang="en-US" dirty="0"/>
          </a:p>
        </p:txBody>
      </p:sp>
    </p:spTree>
    <p:extLst>
      <p:ext uri="{BB962C8B-B14F-4D97-AF65-F5344CB8AC3E}">
        <p14:creationId xmlns:p14="http://schemas.microsoft.com/office/powerpoint/2010/main" val="33434678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31</a:t>
            </a:fld>
            <a:endParaRPr lang="en-US" dirty="0"/>
          </a:p>
        </p:txBody>
      </p:sp>
    </p:spTree>
    <p:extLst>
      <p:ext uri="{BB962C8B-B14F-4D97-AF65-F5344CB8AC3E}">
        <p14:creationId xmlns:p14="http://schemas.microsoft.com/office/powerpoint/2010/main" val="39621335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32</a:t>
            </a:fld>
            <a:endParaRPr lang="en-US" dirty="0"/>
          </a:p>
        </p:txBody>
      </p:sp>
    </p:spTree>
    <p:extLst>
      <p:ext uri="{BB962C8B-B14F-4D97-AF65-F5344CB8AC3E}">
        <p14:creationId xmlns:p14="http://schemas.microsoft.com/office/powerpoint/2010/main" val="38156369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33</a:t>
            </a:fld>
            <a:endParaRPr lang="en-US" dirty="0"/>
          </a:p>
        </p:txBody>
      </p:sp>
    </p:spTree>
    <p:extLst>
      <p:ext uri="{BB962C8B-B14F-4D97-AF65-F5344CB8AC3E}">
        <p14:creationId xmlns:p14="http://schemas.microsoft.com/office/powerpoint/2010/main" val="18286982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34</a:t>
            </a:fld>
            <a:endParaRPr lang="en-US" dirty="0"/>
          </a:p>
        </p:txBody>
      </p:sp>
    </p:spTree>
    <p:extLst>
      <p:ext uri="{BB962C8B-B14F-4D97-AF65-F5344CB8AC3E}">
        <p14:creationId xmlns:p14="http://schemas.microsoft.com/office/powerpoint/2010/main" val="28121274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35</a:t>
            </a:fld>
            <a:endParaRPr lang="en-US" dirty="0"/>
          </a:p>
        </p:txBody>
      </p:sp>
    </p:spTree>
    <p:extLst>
      <p:ext uri="{BB962C8B-B14F-4D97-AF65-F5344CB8AC3E}">
        <p14:creationId xmlns:p14="http://schemas.microsoft.com/office/powerpoint/2010/main" val="29082927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36</a:t>
            </a:fld>
            <a:endParaRPr lang="en-US" dirty="0"/>
          </a:p>
        </p:txBody>
      </p:sp>
    </p:spTree>
    <p:extLst>
      <p:ext uri="{BB962C8B-B14F-4D97-AF65-F5344CB8AC3E}">
        <p14:creationId xmlns:p14="http://schemas.microsoft.com/office/powerpoint/2010/main" val="11992359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Drug release at initial time points showed differences in 25% and 30% coating weight ga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 minimal difference in drug release was observed at the end of dissolu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37</a:t>
            </a:fld>
            <a:endParaRPr lang="en-US" dirty="0"/>
          </a:p>
        </p:txBody>
      </p:sp>
    </p:spTree>
    <p:extLst>
      <p:ext uri="{BB962C8B-B14F-4D97-AF65-F5344CB8AC3E}">
        <p14:creationId xmlns:p14="http://schemas.microsoft.com/office/powerpoint/2010/main" val="41050360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2800"/>
              </a:lnSpc>
            </a:pPr>
            <a:r>
              <a:rPr lang="en-US" sz="1200" dirty="0"/>
              <a:t>Significant reduction in drug release was observed with the </a:t>
            </a:r>
            <a:r>
              <a:rPr lang="en-US" sz="1200" b="1" dirty="0"/>
              <a:t>curing of pellets at</a:t>
            </a:r>
            <a:r>
              <a:rPr lang="en-US" sz="1200" dirty="0"/>
              <a:t> </a:t>
            </a:r>
            <a:r>
              <a:rPr lang="en-US" sz="1200" b="1" dirty="0"/>
              <a:t>60 °C for 2 h</a:t>
            </a:r>
            <a:r>
              <a:rPr lang="en-US" sz="1200" dirty="0"/>
              <a:t> with fluidization motion for the pellets with 30% coating weight gain.</a:t>
            </a:r>
          </a:p>
          <a:p>
            <a:pPr>
              <a:lnSpc>
                <a:spcPts val="2800"/>
              </a:lnSpc>
            </a:pPr>
            <a:r>
              <a:rPr lang="en-US" sz="1200" dirty="0"/>
              <a:t>The curing step plays a vital role in the taste-masking functionality of the Kollicoat Smartseal 30 D (dispersion).</a:t>
            </a:r>
          </a:p>
          <a:p>
            <a:endParaRPr lang="en-US" dirty="0"/>
          </a:p>
          <a:p>
            <a:pPr>
              <a:lnSpc>
                <a:spcPts val="2800"/>
              </a:lnSpc>
            </a:pPr>
            <a:r>
              <a:rPr lang="en-US" sz="1200" dirty="0"/>
              <a:t>Drug release at pH 6.8 Phosphate buffer after 60 minutes:</a:t>
            </a:r>
          </a:p>
          <a:p>
            <a:pPr marL="690563" indent="-344488">
              <a:lnSpc>
                <a:spcPts val="2800"/>
              </a:lnSpc>
              <a:buFont typeface="Wingdings" panose="05000000000000000000" pitchFamily="2" charset="2"/>
              <a:buChar char="v"/>
            </a:pPr>
            <a:r>
              <a:rPr lang="en-US" sz="1200" dirty="0"/>
              <a:t>uncured pellets:  33% of drug</a:t>
            </a:r>
          </a:p>
          <a:p>
            <a:pPr marL="690563" indent="-344488">
              <a:lnSpc>
                <a:spcPts val="2800"/>
              </a:lnSpc>
              <a:buFont typeface="Wingdings" panose="05000000000000000000" pitchFamily="2" charset="2"/>
              <a:buChar char="v"/>
            </a:pPr>
            <a:r>
              <a:rPr lang="en-US" sz="1200" dirty="0"/>
              <a:t>cured pellets:  8% of drug</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38</a:t>
            </a:fld>
            <a:endParaRPr lang="en-US" dirty="0"/>
          </a:p>
        </p:txBody>
      </p:sp>
    </p:spTree>
    <p:extLst>
      <p:ext uri="{BB962C8B-B14F-4D97-AF65-F5344CB8AC3E}">
        <p14:creationId xmlns:p14="http://schemas.microsoft.com/office/powerpoint/2010/main" val="2966672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39</a:t>
            </a:fld>
            <a:endParaRPr lang="en-US" dirty="0"/>
          </a:p>
        </p:txBody>
      </p:sp>
    </p:spTree>
    <p:extLst>
      <p:ext uri="{BB962C8B-B14F-4D97-AF65-F5344CB8AC3E}">
        <p14:creationId xmlns:p14="http://schemas.microsoft.com/office/powerpoint/2010/main" val="582139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en-US" dirty="0"/>
              <a:t>Globally, we have an aging population – attributed to </a:t>
            </a:r>
            <a:r>
              <a:rPr lang="en-US" sz="1200" b="0" i="0" kern="1200" noProof="0" dirty="0">
                <a:solidFill>
                  <a:schemeClr val="tx1"/>
                </a:solidFill>
                <a:effectLst/>
                <a:latin typeface="Arial" pitchFamily="34" charset="0"/>
                <a:ea typeface="+mn-ea"/>
                <a:cs typeface="Arial" pitchFamily="34" charset="0"/>
              </a:rPr>
              <a:t>declining fertility rates and rising life expectancies. </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en-US" b="0" i="0" kern="1200" noProof="0" dirty="0">
                <a:solidFill>
                  <a:schemeClr val="tx1"/>
                </a:solidFill>
                <a:effectLst/>
                <a:latin typeface="Arial" pitchFamily="34" charset="0"/>
                <a:ea typeface="+mn-ea"/>
                <a:cs typeface="Arial" pitchFamily="34" charset="0"/>
              </a:rPr>
              <a:t>Global info on median age: https://www.pewresearch.org/fact-tank/2020/04/22/populations-skew-older-in-some-of-the-countries-hit-hard-by-covid-19/</a:t>
            </a:r>
          </a:p>
          <a:p>
            <a:pPr marL="171450" indent="-171450">
              <a:buFontTx/>
              <a:buChar char="-"/>
            </a:pPr>
            <a:r>
              <a:rPr lang="en-US" sz="1200" b="0" i="0" kern="1200" noProof="0" dirty="0">
                <a:solidFill>
                  <a:schemeClr val="tx1"/>
                </a:solidFill>
                <a:effectLst/>
                <a:latin typeface="Arial" pitchFamily="34" charset="0"/>
                <a:ea typeface="+mn-ea"/>
                <a:cs typeface="Arial" pitchFamily="34" charset="0"/>
              </a:rPr>
              <a:t>As much as 70% of nursing home residents have dysphagia problems</a:t>
            </a:r>
          </a:p>
          <a:p>
            <a:pPr marL="171450" indent="-171450">
              <a:buFontTx/>
              <a:buChar char="-"/>
            </a:pPr>
            <a:r>
              <a:rPr lang="en-US" sz="1200" b="0" i="0" kern="1200" noProof="0" dirty="0">
                <a:solidFill>
                  <a:schemeClr val="tx1"/>
                </a:solidFill>
                <a:effectLst/>
                <a:latin typeface="Arial" pitchFamily="34" charset="0"/>
                <a:ea typeface="+mn-ea"/>
                <a:cs typeface="Arial" pitchFamily="34" charset="0"/>
              </a:rPr>
              <a:t>In several published studies comparing patient preference and adherence to treatments given in redisperse tablets vs. standard tablets, as much as 61% of patients preferred the ODT and were also more adherent to treatment due to the additional benefits. </a:t>
            </a:r>
          </a:p>
          <a:p>
            <a:pPr marL="171450" lvl="0" indent="-171450">
              <a:buFontTx/>
              <a:buChar char="-"/>
            </a:pPr>
            <a:r>
              <a:rPr lang="en-US" sz="1200" b="0" i="0" kern="1200" noProof="0" dirty="0">
                <a:solidFill>
                  <a:schemeClr val="tx1"/>
                </a:solidFill>
                <a:effectLst/>
                <a:latin typeface="Arial" pitchFamily="34" charset="0"/>
                <a:ea typeface="+mn-ea"/>
                <a:cs typeface="Arial" pitchFamily="34" charset="0"/>
              </a:rPr>
              <a:t>Bitter Predict suggests that about 40% of random molecules, and a large portion (66%) of clinical and experimental drugs, and of natural products (77%) are bitter.</a:t>
            </a:r>
            <a:endParaRPr lang="en-US" b="0" i="0" kern="1200" noProof="0" dirty="0">
              <a:solidFill>
                <a:schemeClr val="tx1"/>
              </a:solidFill>
              <a:effectLst/>
              <a:latin typeface="Arial" pitchFamily="34" charset="0"/>
              <a:ea typeface="+mn-ea"/>
              <a:cs typeface="Arial" pitchFamily="34" charset="0"/>
            </a:endParaRPr>
          </a:p>
          <a:p>
            <a:pPr marL="628650" lvl="1" indent="-171450">
              <a:buFontTx/>
              <a:buChar char="-"/>
            </a:pPr>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F7B9E9-6F9D-4999-8E35-8BAD09A8460E}" type="slidenum">
              <a:rPr kumimoji="0" lang="en-US"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5" name="Fußzeilenplatzhalt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936643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40</a:t>
            </a:fld>
            <a:endParaRPr lang="en-US" dirty="0"/>
          </a:p>
        </p:txBody>
      </p:sp>
    </p:spTree>
    <p:extLst>
      <p:ext uri="{BB962C8B-B14F-4D97-AF65-F5344CB8AC3E}">
        <p14:creationId xmlns:p14="http://schemas.microsoft.com/office/powerpoint/2010/main" val="40376312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41</a:t>
            </a:fld>
            <a:endParaRPr lang="en-US" dirty="0"/>
          </a:p>
        </p:txBody>
      </p:sp>
    </p:spTree>
    <p:extLst>
      <p:ext uri="{BB962C8B-B14F-4D97-AF65-F5344CB8AC3E}">
        <p14:creationId xmlns:p14="http://schemas.microsoft.com/office/powerpoint/2010/main" val="9739369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difference in release could be due to a minimum breakage of pellets on the tablet surface during compression.</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42</a:t>
            </a:fld>
            <a:endParaRPr lang="en-US" dirty="0"/>
          </a:p>
        </p:txBody>
      </p:sp>
    </p:spTree>
    <p:extLst>
      <p:ext uri="{BB962C8B-B14F-4D97-AF65-F5344CB8AC3E}">
        <p14:creationId xmlns:p14="http://schemas.microsoft.com/office/powerpoint/2010/main" val="218570280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43</a:t>
            </a:fld>
            <a:endParaRPr lang="en-US" dirty="0"/>
          </a:p>
        </p:txBody>
      </p:sp>
    </p:spTree>
    <p:extLst>
      <p:ext uri="{BB962C8B-B14F-4D97-AF65-F5344CB8AC3E}">
        <p14:creationId xmlns:p14="http://schemas.microsoft.com/office/powerpoint/2010/main" val="20443036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44</a:t>
            </a:fld>
            <a:endParaRPr lang="en-US" dirty="0"/>
          </a:p>
        </p:txBody>
      </p:sp>
    </p:spTree>
    <p:extLst>
      <p:ext uri="{BB962C8B-B14F-4D97-AF65-F5344CB8AC3E}">
        <p14:creationId xmlns:p14="http://schemas.microsoft.com/office/powerpoint/2010/main" val="429182656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2500"/>
              </a:lnSpc>
            </a:pPr>
            <a:r>
              <a:rPr lang="en-US" sz="1200" dirty="0"/>
              <a:t>To overcome the floating cured-pellets issue, basket was tested in the dissolution test and compared to the paddle results. </a:t>
            </a:r>
          </a:p>
          <a:p>
            <a:pPr>
              <a:lnSpc>
                <a:spcPts val="2500"/>
              </a:lnSpc>
            </a:pPr>
            <a:r>
              <a:rPr lang="en-US" sz="1200" dirty="0"/>
              <a:t>Vardenafil pellets with 30% coating weight gain, cured for 2 hours at 60 </a:t>
            </a:r>
            <a:r>
              <a:rPr lang="en-US" sz="1200" baseline="30000" dirty="0"/>
              <a:t>°</a:t>
            </a:r>
            <a:r>
              <a:rPr lang="en-US" sz="1200" dirty="0"/>
              <a:t>C.</a:t>
            </a:r>
          </a:p>
          <a:p>
            <a:pPr lvl="0">
              <a:lnSpc>
                <a:spcPts val="2500"/>
              </a:lnSpc>
            </a:pPr>
            <a:r>
              <a:rPr lang="en-US" sz="1200" dirty="0"/>
              <a:t>Both Basket and Paddle apparatus showed similar phosphate buffer pH 6.8 release patterns.</a:t>
            </a:r>
          </a:p>
          <a:p>
            <a:pPr lvl="0">
              <a:lnSpc>
                <a:spcPts val="2500"/>
              </a:lnSpc>
            </a:pPr>
            <a:r>
              <a:rPr lang="en-US" sz="1200" dirty="0"/>
              <a:t>Next trials were tested using basket. </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45</a:t>
            </a:fld>
            <a:endParaRPr lang="en-US" dirty="0"/>
          </a:p>
        </p:txBody>
      </p:sp>
    </p:spTree>
    <p:extLst>
      <p:ext uri="{BB962C8B-B14F-4D97-AF65-F5344CB8AC3E}">
        <p14:creationId xmlns:p14="http://schemas.microsoft.com/office/powerpoint/2010/main" val="185297121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he curing step occurred in the </a:t>
            </a:r>
            <a:r>
              <a:rPr lang="en-US" sz="1200" b="1" dirty="0">
                <a:solidFill>
                  <a:srgbClr val="0E101A"/>
                </a:solidFill>
                <a:effectLst/>
              </a:rPr>
              <a:t>same fluid bed </a:t>
            </a:r>
            <a:r>
              <a:rPr lang="en-US" sz="1200" dirty="0"/>
              <a:t>used in the coating process. </a:t>
            </a:r>
          </a:p>
          <a:p>
            <a:r>
              <a:rPr lang="en-US" sz="1200" b="1" dirty="0"/>
              <a:t>A curing step is recommended </a:t>
            </a:r>
            <a:r>
              <a:rPr lang="en-US" sz="1200" dirty="0"/>
              <a:t>when working with </a:t>
            </a:r>
            <a:r>
              <a:rPr lang="en-US" sz="1200" b="1" dirty="0"/>
              <a:t>Kollicoat</a:t>
            </a:r>
            <a:r>
              <a:rPr lang="en-US" sz="1200" b="1" baseline="30000" dirty="0"/>
              <a:t>®</a:t>
            </a:r>
            <a:r>
              <a:rPr lang="en-US" sz="1200" b="1" dirty="0"/>
              <a:t> Smartseal 30 D </a:t>
            </a:r>
            <a:r>
              <a:rPr lang="en-US" sz="1200" dirty="0"/>
              <a:t>dispersion.</a:t>
            </a:r>
          </a:p>
          <a:p>
            <a:r>
              <a:rPr lang="en-US" sz="1200" dirty="0"/>
              <a:t>All three curing times (</a:t>
            </a:r>
            <a:r>
              <a:rPr lang="en-US" sz="1200" b="1" dirty="0"/>
              <a:t>1h, 2h, and 3h</a:t>
            </a:r>
            <a:r>
              <a:rPr lang="en-US" sz="1200" dirty="0"/>
              <a:t>) at 60 °C presented similar drug release in the pH 6.8 buffer media.</a:t>
            </a:r>
          </a:p>
          <a:p>
            <a:r>
              <a:rPr lang="en-US" sz="1200" b="1" dirty="0"/>
              <a:t>2h curing time at 60 °C </a:t>
            </a:r>
            <a:r>
              <a:rPr lang="en-US" sz="1200" dirty="0"/>
              <a:t>was selected as the curing step condition for Kollicoat</a:t>
            </a:r>
            <a:r>
              <a:rPr lang="en-US" sz="1200" baseline="30000" dirty="0"/>
              <a:t>®</a:t>
            </a:r>
            <a:r>
              <a:rPr lang="en-US" sz="1200" dirty="0"/>
              <a:t> Smartseal 30 D coating on vardenafil pellets. </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46</a:t>
            </a:fld>
            <a:endParaRPr lang="en-US" dirty="0"/>
          </a:p>
        </p:txBody>
      </p:sp>
    </p:spTree>
    <p:extLst>
      <p:ext uri="{BB962C8B-B14F-4D97-AF65-F5344CB8AC3E}">
        <p14:creationId xmlns:p14="http://schemas.microsoft.com/office/powerpoint/2010/main" val="95799398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47</a:t>
            </a:fld>
            <a:endParaRPr lang="en-US" dirty="0"/>
          </a:p>
        </p:txBody>
      </p:sp>
    </p:spTree>
    <p:extLst>
      <p:ext uri="{BB962C8B-B14F-4D97-AF65-F5344CB8AC3E}">
        <p14:creationId xmlns:p14="http://schemas.microsoft.com/office/powerpoint/2010/main" val="89207694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1630" indent="-341630">
              <a:lnSpc>
                <a:spcPts val="2500"/>
              </a:lnSpc>
            </a:pPr>
            <a:r>
              <a:rPr lang="en-US" sz="1200" dirty="0">
                <a:latin typeface="Arial"/>
              </a:rPr>
              <a:t>Small-lab scale or scaled-up lab batches presented </a:t>
            </a:r>
            <a:r>
              <a:rPr lang="en-US" sz="1200" b="1" dirty="0">
                <a:latin typeface="Arial"/>
              </a:rPr>
              <a:t>similar behavior </a:t>
            </a:r>
            <a:r>
              <a:rPr lang="en-US" sz="1200" dirty="0">
                <a:latin typeface="Arial"/>
              </a:rPr>
              <a:t>for cured and uncured pellets. </a:t>
            </a:r>
          </a:p>
          <a:p>
            <a:pPr marL="690563" indent="-344488">
              <a:lnSpc>
                <a:spcPts val="1000"/>
              </a:lnSpc>
              <a:buFont typeface="Wingdings" panose="05000000000000000000" pitchFamily="2" charset="2"/>
              <a:buChar char="v"/>
            </a:pPr>
            <a:r>
              <a:rPr lang="en-US" sz="1200" dirty="0"/>
              <a:t>25% uncured pellets: Small: 38% / S-Up: 52%</a:t>
            </a:r>
          </a:p>
          <a:p>
            <a:pPr marL="690563" indent="-344488">
              <a:lnSpc>
                <a:spcPts val="1000"/>
              </a:lnSpc>
              <a:buFont typeface="Wingdings" panose="05000000000000000000" pitchFamily="2" charset="2"/>
              <a:buChar char="v"/>
            </a:pPr>
            <a:r>
              <a:rPr lang="en-US" sz="1200" dirty="0"/>
              <a:t>25% cured pellets: Small: NA/ S-Up: 16% </a:t>
            </a:r>
          </a:p>
          <a:p>
            <a:pPr marL="690563" indent="-344488">
              <a:lnSpc>
                <a:spcPts val="1000"/>
              </a:lnSpc>
              <a:buFont typeface="Wingdings" panose="05000000000000000000" pitchFamily="2" charset="2"/>
              <a:buChar char="v"/>
            </a:pPr>
            <a:r>
              <a:rPr lang="en-US" sz="1200" dirty="0"/>
              <a:t>30% uncured pellets: Small: 33% / S-Up: 28%</a:t>
            </a:r>
          </a:p>
          <a:p>
            <a:pPr marL="690563" indent="-344488">
              <a:lnSpc>
                <a:spcPts val="1000"/>
              </a:lnSpc>
              <a:buFont typeface="Wingdings" panose="05000000000000000000" pitchFamily="2" charset="2"/>
              <a:buChar char="v"/>
            </a:pPr>
            <a:r>
              <a:rPr lang="en-US" sz="1200" dirty="0"/>
              <a:t>30% cured pellets: Small: 8% / S-Up: 5%</a:t>
            </a:r>
            <a:endParaRPr lang="en-US" sz="1200" dirty="0">
              <a:latin typeface="Arial"/>
            </a:endParaRPr>
          </a:p>
          <a:p>
            <a:pPr marL="341630" indent="-341630">
              <a:lnSpc>
                <a:spcPts val="2500"/>
              </a:lnSpc>
            </a:pPr>
            <a:r>
              <a:rPr lang="en-US" sz="1200" dirty="0">
                <a:solidFill>
                  <a:srgbClr val="0E101A"/>
                </a:solidFill>
                <a:effectLst/>
              </a:rPr>
              <a:t>The </a:t>
            </a:r>
            <a:r>
              <a:rPr lang="en-US" sz="1200" b="1" dirty="0">
                <a:solidFill>
                  <a:srgbClr val="0E101A"/>
                </a:solidFill>
                <a:effectLst/>
              </a:rPr>
              <a:t>curing step </a:t>
            </a:r>
            <a:r>
              <a:rPr lang="en-US" sz="1200" dirty="0">
                <a:solidFill>
                  <a:srgbClr val="0E101A"/>
                </a:solidFill>
                <a:effectLst/>
              </a:rPr>
              <a:t>at 60 °C for 2 hours effectively </a:t>
            </a:r>
            <a:r>
              <a:rPr lang="en-US" sz="1200" b="1" dirty="0"/>
              <a:t>reduced the drug release</a:t>
            </a:r>
            <a:r>
              <a:rPr lang="en-US" sz="1200" dirty="0"/>
              <a:t> for the pellets coated with Kollicoat</a:t>
            </a:r>
            <a:r>
              <a:rPr kumimoji="0" lang="en-US" sz="1200" b="0" i="0" u="none" strike="noStrike" kern="1200" cap="none" spc="0" normalizeH="0" baseline="30000" noProof="0" dirty="0">
                <a:ln>
                  <a:noFill/>
                </a:ln>
                <a:effectLst/>
                <a:uLnTx/>
                <a:uFillTx/>
                <a:latin typeface="Arial" panose="020B0604020202020204" pitchFamily="34" charset="0"/>
                <a:cs typeface="Arial"/>
              </a:rPr>
              <a:t>® </a:t>
            </a:r>
            <a:r>
              <a:rPr lang="en-US" sz="1200" dirty="0"/>
              <a:t>Smartseal 30 D dispersion. </a:t>
            </a:r>
          </a:p>
          <a:p>
            <a:pPr marL="341630" indent="-341630">
              <a:lnSpc>
                <a:spcPts val="2500"/>
              </a:lnSpc>
            </a:pPr>
            <a:r>
              <a:rPr lang="en-US" sz="1200" dirty="0"/>
              <a:t>Pellets coated with 30 % w/g have demonstrated significant </a:t>
            </a:r>
            <a:r>
              <a:rPr lang="en-US" sz="1200" b="1" dirty="0"/>
              <a:t>taste-masking functionality</a:t>
            </a:r>
            <a:r>
              <a:rPr lang="en-US" sz="1200" dirty="0"/>
              <a:t>. </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48</a:t>
            </a:fld>
            <a:endParaRPr lang="en-US" dirty="0"/>
          </a:p>
        </p:txBody>
      </p:sp>
    </p:spTree>
    <p:extLst>
      <p:ext uri="{BB962C8B-B14F-4D97-AF65-F5344CB8AC3E}">
        <p14:creationId xmlns:p14="http://schemas.microsoft.com/office/powerpoint/2010/main" val="50038926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49</a:t>
            </a:fld>
            <a:endParaRPr lang="en-US" dirty="0"/>
          </a:p>
        </p:txBody>
      </p:sp>
    </p:spTree>
    <p:extLst>
      <p:ext uri="{BB962C8B-B14F-4D97-AF65-F5344CB8AC3E}">
        <p14:creationId xmlns:p14="http://schemas.microsoft.com/office/powerpoint/2010/main" val="1722411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b="0" i="0" kern="1200" noProof="0" dirty="0">
                <a:solidFill>
                  <a:schemeClr val="tx1"/>
                </a:solidFill>
                <a:effectLst/>
                <a:latin typeface="Arial" pitchFamily="34" charset="0"/>
                <a:ea typeface="+mn-ea"/>
                <a:cs typeface="Arial" pitchFamily="34" charset="0"/>
              </a:rPr>
              <a:t>Orally disintegrating tablets (ODTs) are an emerging dosage form that provides many benefits over traditional dosage forms for geriatric and pediatric patients, such as rapid disintegration within the oral cavity, and the reduction in the risk of choking.</a:t>
            </a:r>
          </a:p>
          <a:p>
            <a:pPr marL="628650" lvl="1" indent="-171450">
              <a:buFontTx/>
              <a:buChar char="-"/>
            </a:pPr>
            <a:r>
              <a:rPr lang="en-US" b="0" i="0" kern="1200" noProof="0" dirty="0">
                <a:solidFill>
                  <a:schemeClr val="tx1"/>
                </a:solidFill>
                <a:effectLst/>
                <a:latin typeface="Arial" pitchFamily="34" charset="0"/>
                <a:ea typeface="+mn-ea"/>
                <a:cs typeface="Arial" pitchFamily="34" charset="0"/>
              </a:rPr>
              <a:t>Most impt attributes for pediatrics: https://journals.plos.org/plosone/article?id=10.1371/journal.pone.0193292</a:t>
            </a:r>
          </a:p>
          <a:p>
            <a:pPr marL="628650" lvl="1"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F7B9E9-6F9D-4999-8E35-8BAD09A8460E}" type="slidenum">
              <a:rPr kumimoji="0" lang="en-US"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0456504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50</a:t>
            </a:fld>
            <a:endParaRPr lang="en-US" dirty="0"/>
          </a:p>
        </p:txBody>
      </p:sp>
    </p:spTree>
    <p:extLst>
      <p:ext uri="{BB962C8B-B14F-4D97-AF65-F5344CB8AC3E}">
        <p14:creationId xmlns:p14="http://schemas.microsoft.com/office/powerpoint/2010/main" val="3748849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Significant reduction in drug release was observed with the curing of pellets at 60 °C for 2 hours with fluidization motion.</a:t>
            </a:r>
          </a:p>
          <a:p>
            <a:r>
              <a:rPr lang="en-US" sz="1200" dirty="0"/>
              <a:t>Vardenafil release was higher in the film-coating with BHT:</a:t>
            </a:r>
          </a:p>
          <a:p>
            <a:r>
              <a:rPr lang="en-US" sz="1200" dirty="0"/>
              <a:t>Without BHT</a:t>
            </a:r>
          </a:p>
          <a:p>
            <a:pPr marL="914400" indent="-279400">
              <a:lnSpc>
                <a:spcPct val="100000"/>
              </a:lnSpc>
              <a:spcBef>
                <a:spcPts val="600"/>
              </a:spcBef>
              <a:buFont typeface="Wingdings" panose="05000000000000000000" pitchFamily="2" charset="2"/>
              <a:buChar char="v"/>
            </a:pPr>
            <a:r>
              <a:rPr lang="en-US" sz="1200" dirty="0"/>
              <a:t>uncured pellets: 33% of drug*</a:t>
            </a:r>
          </a:p>
          <a:p>
            <a:pPr marL="914400" indent="-279400">
              <a:lnSpc>
                <a:spcPct val="100000"/>
              </a:lnSpc>
              <a:spcBef>
                <a:spcPts val="600"/>
              </a:spcBef>
              <a:buFont typeface="Wingdings" panose="05000000000000000000" pitchFamily="2" charset="2"/>
              <a:buChar char="v"/>
            </a:pPr>
            <a:r>
              <a:rPr lang="en-US" sz="1200" dirty="0"/>
              <a:t>cured pellets: 8% of drug*</a:t>
            </a:r>
          </a:p>
          <a:p>
            <a:r>
              <a:rPr lang="en-US" sz="1200" dirty="0"/>
              <a:t>With BHT</a:t>
            </a:r>
          </a:p>
          <a:p>
            <a:pPr marL="914400" indent="-279400">
              <a:lnSpc>
                <a:spcPct val="100000"/>
              </a:lnSpc>
              <a:spcBef>
                <a:spcPts val="600"/>
              </a:spcBef>
              <a:buFont typeface="Wingdings" panose="05000000000000000000" pitchFamily="2" charset="2"/>
              <a:buChar char="v"/>
            </a:pPr>
            <a:r>
              <a:rPr lang="en-US" sz="1200" dirty="0"/>
              <a:t>uncured pellets: 40% of drug</a:t>
            </a:r>
          </a:p>
          <a:p>
            <a:pPr marL="914400" indent="-279400">
              <a:lnSpc>
                <a:spcPct val="100000"/>
              </a:lnSpc>
              <a:spcBef>
                <a:spcPts val="600"/>
              </a:spcBef>
              <a:buFont typeface="Wingdings" panose="05000000000000000000" pitchFamily="2" charset="2"/>
              <a:buChar char="v"/>
            </a:pPr>
            <a:r>
              <a:rPr lang="en-US" sz="1200" dirty="0"/>
              <a:t>cured pellets: 19% of drug</a:t>
            </a:r>
          </a:p>
          <a:p>
            <a:r>
              <a:rPr lang="en-US" sz="1200" dirty="0"/>
              <a:t>The faster release could be attributed to the plasticizer effect of BHT in the coating film. </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51</a:t>
            </a:fld>
            <a:endParaRPr lang="en-US" dirty="0"/>
          </a:p>
        </p:txBody>
      </p:sp>
    </p:spTree>
    <p:extLst>
      <p:ext uri="{BB962C8B-B14F-4D97-AF65-F5344CB8AC3E}">
        <p14:creationId xmlns:p14="http://schemas.microsoft.com/office/powerpoint/2010/main" val="1294791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2600"/>
              </a:lnSpc>
            </a:pPr>
            <a:r>
              <a:rPr lang="en-US" sz="1200" dirty="0"/>
              <a:t>Both 1- and 2-hour curing steps at 60 °C with fluidized motion showed similar drug release in the phosphate buffer pH 6.8.</a:t>
            </a:r>
          </a:p>
          <a:p>
            <a:pPr marL="0" indent="0">
              <a:lnSpc>
                <a:spcPts val="2600"/>
              </a:lnSpc>
              <a:buNone/>
            </a:pPr>
            <a:endParaRPr lang="en-US" sz="1200" dirty="0"/>
          </a:p>
          <a:p>
            <a:pPr>
              <a:lnSpc>
                <a:spcPts val="2600"/>
              </a:lnSpc>
            </a:pPr>
            <a:r>
              <a:rPr lang="en-US" sz="1200" dirty="0"/>
              <a:t>It was decided to keep the curing condition at 60 °C for 2 hours to match with pellets coated without BHT.</a:t>
            </a:r>
          </a:p>
          <a:p>
            <a:endParaRPr lang="en-US" b="1" dirty="0"/>
          </a:p>
        </p:txBody>
      </p:sp>
      <p:sp>
        <p:nvSpPr>
          <p:cNvPr id="4" name="Slide Number Placeholder 3"/>
          <p:cNvSpPr>
            <a:spLocks noGrp="1"/>
          </p:cNvSpPr>
          <p:nvPr>
            <p:ph type="sldNum" sz="quarter" idx="5"/>
          </p:nvPr>
        </p:nvSpPr>
        <p:spPr/>
        <p:txBody>
          <a:bodyPr/>
          <a:lstStyle/>
          <a:p>
            <a:fld id="{0A4F46E9-7904-4FD8-82D0-66E6EAD9EF88}" type="slidenum">
              <a:rPr lang="en-US" smtClean="0"/>
              <a:t>52</a:t>
            </a:fld>
            <a:endParaRPr lang="en-US" dirty="0"/>
          </a:p>
        </p:txBody>
      </p:sp>
    </p:spTree>
    <p:extLst>
      <p:ext uri="{BB962C8B-B14F-4D97-AF65-F5344CB8AC3E}">
        <p14:creationId xmlns:p14="http://schemas.microsoft.com/office/powerpoint/2010/main" val="167477009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2600"/>
              </a:lnSpc>
            </a:pPr>
            <a:endParaRPr lang="en-US" sz="1200" dirty="0"/>
          </a:p>
          <a:p>
            <a:pPr>
              <a:lnSpc>
                <a:spcPts val="2600"/>
              </a:lnSpc>
            </a:pPr>
            <a:r>
              <a:rPr lang="en-US" sz="1200" dirty="0"/>
              <a:t>No differences in the drug release with the film-coating with and without BHT.</a:t>
            </a:r>
          </a:p>
          <a:p>
            <a:pPr>
              <a:lnSpc>
                <a:spcPts val="2600"/>
              </a:lnSpc>
            </a:pPr>
            <a:endParaRPr lang="en-US" sz="1200" dirty="0"/>
          </a:p>
          <a:p>
            <a:pPr>
              <a:lnSpc>
                <a:spcPts val="2600"/>
              </a:lnSpc>
            </a:pPr>
            <a:r>
              <a:rPr lang="en-US" sz="1200" dirty="0"/>
              <a:t>More than 90% of the drug was released within 6 min of dissolution for 30% coating weight gain for Kollicoat</a:t>
            </a:r>
            <a:r>
              <a:rPr lang="en-US" sz="1200" baseline="30000" dirty="0">
                <a:effectLst/>
              </a:rPr>
              <a:t> ®</a:t>
            </a:r>
            <a:r>
              <a:rPr lang="en-US" sz="1200" dirty="0"/>
              <a:t> Smartseal 30 D coated pellets with and without BHT.</a:t>
            </a:r>
          </a:p>
          <a:p>
            <a:pPr>
              <a:lnSpc>
                <a:spcPts val="2600"/>
              </a:lnSpc>
            </a:pPr>
            <a:endParaRPr lang="en-US" sz="1200" dirty="0"/>
          </a:p>
          <a:p>
            <a:pPr>
              <a:lnSpc>
                <a:spcPts val="2600"/>
              </a:lnSpc>
            </a:pPr>
            <a:r>
              <a:rPr lang="en-US" sz="1200" dirty="0"/>
              <a:t>Kollicoat</a:t>
            </a:r>
            <a:r>
              <a:rPr lang="en-US" sz="1200" baseline="30000" dirty="0">
                <a:effectLst/>
              </a:rPr>
              <a:t> ®</a:t>
            </a:r>
            <a:r>
              <a:rPr lang="en-US" sz="1200" dirty="0"/>
              <a:t> Smartseal provides a fast release in the acid environment. </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53</a:t>
            </a:fld>
            <a:endParaRPr lang="en-US" dirty="0"/>
          </a:p>
        </p:txBody>
      </p:sp>
    </p:spTree>
    <p:extLst>
      <p:ext uri="{BB962C8B-B14F-4D97-AF65-F5344CB8AC3E}">
        <p14:creationId xmlns:p14="http://schemas.microsoft.com/office/powerpoint/2010/main" val="418468005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54</a:t>
            </a:fld>
            <a:endParaRPr lang="en-US" dirty="0"/>
          </a:p>
        </p:txBody>
      </p:sp>
    </p:spTree>
    <p:extLst>
      <p:ext uri="{BB962C8B-B14F-4D97-AF65-F5344CB8AC3E}">
        <p14:creationId xmlns:p14="http://schemas.microsoft.com/office/powerpoint/2010/main" val="11625286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55</a:t>
            </a:fld>
            <a:endParaRPr lang="en-US" dirty="0"/>
          </a:p>
        </p:txBody>
      </p:sp>
    </p:spTree>
    <p:extLst>
      <p:ext uri="{BB962C8B-B14F-4D97-AF65-F5344CB8AC3E}">
        <p14:creationId xmlns:p14="http://schemas.microsoft.com/office/powerpoint/2010/main" val="138494801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56</a:t>
            </a:fld>
            <a:endParaRPr lang="en-US" dirty="0"/>
          </a:p>
        </p:txBody>
      </p:sp>
    </p:spTree>
    <p:extLst>
      <p:ext uri="{BB962C8B-B14F-4D97-AF65-F5344CB8AC3E}">
        <p14:creationId xmlns:p14="http://schemas.microsoft.com/office/powerpoint/2010/main" val="47478573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57</a:t>
            </a:fld>
            <a:endParaRPr lang="en-US" dirty="0"/>
          </a:p>
        </p:txBody>
      </p:sp>
    </p:spTree>
    <p:extLst>
      <p:ext uri="{BB962C8B-B14F-4D97-AF65-F5344CB8AC3E}">
        <p14:creationId xmlns:p14="http://schemas.microsoft.com/office/powerpoint/2010/main" val="397961038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ts val="2600"/>
              </a:lnSpc>
              <a:spcBef>
                <a:spcPts val="2400"/>
              </a:spcBef>
            </a:pPr>
            <a:endParaRPr lang="en-US" sz="1200" dirty="0"/>
          </a:p>
          <a:p>
            <a:pPr lvl="0">
              <a:lnSpc>
                <a:spcPts val="2600"/>
              </a:lnSpc>
              <a:spcBef>
                <a:spcPts val="2400"/>
              </a:spcBef>
            </a:pPr>
            <a:endParaRPr lang="en-US" sz="1200" dirty="0"/>
          </a:p>
          <a:p>
            <a:pPr lvl="0">
              <a:lnSpc>
                <a:spcPts val="2600"/>
              </a:lnSpc>
              <a:spcBef>
                <a:spcPts val="2400"/>
              </a:spcBef>
            </a:pPr>
            <a:r>
              <a:rPr lang="en-US" sz="1200" dirty="0"/>
              <a:t>Vardenafil was entirely released from the pellets and MUPS coated with Kollicoat</a:t>
            </a:r>
            <a:r>
              <a:rPr lang="en-US" sz="1200" baseline="30000" dirty="0"/>
              <a:t>®</a:t>
            </a:r>
            <a:r>
              <a:rPr lang="en-US" sz="1200" dirty="0"/>
              <a:t> Smartseal 30 D with BHT for the initial and stressed samples.</a:t>
            </a:r>
          </a:p>
          <a:p>
            <a:pPr lvl="0">
              <a:lnSpc>
                <a:spcPts val="2600"/>
              </a:lnSpc>
              <a:spcBef>
                <a:spcPts val="2400"/>
              </a:spcBef>
            </a:pPr>
            <a:r>
              <a:rPr lang="en-US" sz="1200" dirty="0"/>
              <a:t>Kollicoat</a:t>
            </a:r>
            <a:r>
              <a:rPr lang="en-US" sz="1200" baseline="30000" dirty="0"/>
              <a:t>®</a:t>
            </a:r>
            <a:r>
              <a:rPr lang="en-US" sz="1200" dirty="0"/>
              <a:t> Smartseal film with BHT retains its reverse enteric properties in the stressed condition after two weeks of exposure – all fillers demonstrated similar dissolution profile. </a:t>
            </a:r>
          </a:p>
          <a:p>
            <a:pPr>
              <a:lnSpc>
                <a:spcPts val="2600"/>
              </a:lnSpc>
              <a:spcBef>
                <a:spcPts val="2400"/>
              </a:spcBef>
            </a:pPr>
            <a:r>
              <a:rPr lang="en-US" sz="1200" dirty="0"/>
              <a:t>Ludipress</a:t>
            </a:r>
            <a:r>
              <a:rPr lang="en-US" sz="1200" baseline="30000" dirty="0"/>
              <a:t>®</a:t>
            </a:r>
            <a:r>
              <a:rPr lang="en-US" sz="1200" dirty="0"/>
              <a:t> MUPS presented a slower drug release compared to other fillers. It might be due to a slow disintegration. </a:t>
            </a:r>
          </a:p>
          <a:p>
            <a:pPr lvl="0">
              <a:lnSpc>
                <a:spcPts val="2600"/>
              </a:lnSpc>
              <a:spcBef>
                <a:spcPts val="2400"/>
              </a:spcBef>
            </a:pPr>
            <a:endParaRPr lang="en-US" sz="1200" dirty="0"/>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58</a:t>
            </a:fld>
            <a:endParaRPr lang="en-US" dirty="0"/>
          </a:p>
        </p:txBody>
      </p:sp>
    </p:spTree>
    <p:extLst>
      <p:ext uri="{BB962C8B-B14F-4D97-AF65-F5344CB8AC3E}">
        <p14:creationId xmlns:p14="http://schemas.microsoft.com/office/powerpoint/2010/main" val="27163229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000" marR="0" lvl="0" indent="-342000" algn="l" defTabSz="914400" eaLnBrk="1" fontAlgn="auto" latinLnBrk="0" hangingPunct="1">
              <a:lnSpc>
                <a:spcPts val="2600"/>
              </a:lnSpc>
              <a:spcBef>
                <a:spcPts val="2400"/>
              </a:spcBef>
              <a:spcAft>
                <a:spcPts val="0"/>
              </a:spcAft>
              <a:buClr>
                <a:srgbClr val="C50022"/>
              </a:buClr>
              <a:buSzPct val="100000"/>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a:rPr>
              <a:t>Very minimal drug release (less than 20%) was observed for samples of pellets and MUPS after two weeks in the stressed condition</a:t>
            </a:r>
            <a:r>
              <a:rPr lang="en-US" sz="1200" dirty="0">
                <a:solidFill>
                  <a:srgbClr val="000000"/>
                </a:solidFill>
                <a:cs typeface="Arial"/>
              </a:rPr>
              <a:t>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a:rPr>
              <a:t>and initial phase.</a:t>
            </a:r>
          </a:p>
          <a:p>
            <a:pPr marL="342000" marR="0" lvl="0" indent="-342000" algn="l" defTabSz="914400" eaLnBrk="1" fontAlgn="auto" latinLnBrk="0" hangingPunct="1">
              <a:lnSpc>
                <a:spcPts val="2600"/>
              </a:lnSpc>
              <a:spcBef>
                <a:spcPts val="2400"/>
              </a:spcBef>
              <a:spcAft>
                <a:spcPts val="0"/>
              </a:spcAft>
              <a:buClr>
                <a:srgbClr val="C50022"/>
              </a:buClr>
              <a:buSzPct val="100000"/>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a:rPr>
              <a:t>Stressed samples of pellets and MUPS showed further reduction in the release compared to the initial stage.</a:t>
            </a:r>
          </a:p>
          <a:p>
            <a:pPr marL="342000" marR="0" lvl="0" indent="-342000" algn="l" defTabSz="914400" eaLnBrk="1" fontAlgn="auto" latinLnBrk="0" hangingPunct="1">
              <a:lnSpc>
                <a:spcPts val="2600"/>
              </a:lnSpc>
              <a:spcBef>
                <a:spcPts val="2400"/>
              </a:spcBef>
              <a:spcAft>
                <a:spcPts val="0"/>
              </a:spcAft>
              <a:buClr>
                <a:srgbClr val="C50022"/>
              </a:buClr>
              <a:buSzPct val="100000"/>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a:rPr>
              <a:t>This effect might be due to a better film formation over time when using a dispersion coating system.</a:t>
            </a:r>
          </a:p>
          <a:p>
            <a:pPr marL="342000" marR="0" lvl="0" indent="-342000" algn="l" defTabSz="914400" eaLnBrk="1" fontAlgn="auto" latinLnBrk="0" hangingPunct="1">
              <a:lnSpc>
                <a:spcPts val="2600"/>
              </a:lnSpc>
              <a:spcBef>
                <a:spcPts val="2400"/>
              </a:spcBef>
              <a:spcAft>
                <a:spcPts val="0"/>
              </a:spcAft>
              <a:buClr>
                <a:srgbClr val="C50022"/>
              </a:buClr>
              <a:buSzPct val="100000"/>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a:rPr>
              <a:t>MUPS with MCC 102 </a:t>
            </a:r>
            <a:r>
              <a:rPr lang="en-US" sz="1200" dirty="0">
                <a:solidFill>
                  <a:srgbClr val="000000"/>
                </a:solidFill>
                <a:cs typeface="Arial"/>
              </a:rPr>
              <a:t>presented a higher drug dissolution than the other fillers. </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a:endParaRP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59</a:t>
            </a:fld>
            <a:endParaRPr lang="en-US" dirty="0"/>
          </a:p>
        </p:txBody>
      </p:sp>
    </p:spTree>
    <p:extLst>
      <p:ext uri="{BB962C8B-B14F-4D97-AF65-F5344CB8AC3E}">
        <p14:creationId xmlns:p14="http://schemas.microsoft.com/office/powerpoint/2010/main" val="4190078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6</a:t>
            </a:fld>
            <a:endParaRPr lang="en-US" dirty="0"/>
          </a:p>
        </p:txBody>
      </p:sp>
    </p:spTree>
    <p:extLst>
      <p:ext uri="{BB962C8B-B14F-4D97-AF65-F5344CB8AC3E}">
        <p14:creationId xmlns:p14="http://schemas.microsoft.com/office/powerpoint/2010/main" val="103307277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ts val="2600"/>
              </a:lnSpc>
              <a:spcBef>
                <a:spcPts val="2400"/>
              </a:spcBef>
            </a:pPr>
            <a:r>
              <a:rPr lang="en-US" sz="1200" dirty="0"/>
              <a:t>Vardenafil was entirely released from the pellets and MUPS coated with Kollicoat</a:t>
            </a:r>
            <a:r>
              <a:rPr lang="en-US" sz="1200" baseline="30000" dirty="0"/>
              <a:t>®</a:t>
            </a:r>
            <a:r>
              <a:rPr lang="en-US" sz="1200" dirty="0"/>
              <a:t> Smartseal 30 D without BHT for the initial and stressed samples.</a:t>
            </a:r>
          </a:p>
          <a:p>
            <a:pPr lvl="0">
              <a:lnSpc>
                <a:spcPts val="2600"/>
              </a:lnSpc>
              <a:spcBef>
                <a:spcPts val="2400"/>
              </a:spcBef>
            </a:pPr>
            <a:r>
              <a:rPr lang="en-US" sz="1200" dirty="0"/>
              <a:t>Ludipress</a:t>
            </a:r>
            <a:r>
              <a:rPr lang="en-US" sz="1200" baseline="30000" dirty="0"/>
              <a:t>®</a:t>
            </a:r>
            <a:r>
              <a:rPr lang="en-US" sz="1200" dirty="0"/>
              <a:t> MUPS, after the stressed condition, presented a faster drug release than in the initial stage.</a:t>
            </a:r>
          </a:p>
          <a:p>
            <a:pPr lvl="0">
              <a:lnSpc>
                <a:spcPts val="2600"/>
              </a:lnSpc>
              <a:spcBef>
                <a:spcPts val="2400"/>
              </a:spcBef>
            </a:pPr>
            <a:r>
              <a:rPr lang="en-US" sz="1200" dirty="0"/>
              <a:t>Kollicoat</a:t>
            </a:r>
            <a:r>
              <a:rPr lang="en-US" sz="1200" baseline="30000" dirty="0"/>
              <a:t>®</a:t>
            </a:r>
            <a:r>
              <a:rPr lang="en-US" sz="1200" dirty="0"/>
              <a:t> Smartseal film without BHT retains its reverse enteric properties in the stressed condition after two weeks of exposure - however, there are concerns about using lactose-based excipients and Kollicoat</a:t>
            </a:r>
            <a:r>
              <a:rPr lang="en-US" sz="1200" baseline="30000" dirty="0"/>
              <a:t>®</a:t>
            </a:r>
            <a:r>
              <a:rPr lang="en-US" sz="1200" dirty="0"/>
              <a:t> Smartseal.</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60</a:t>
            </a:fld>
            <a:endParaRPr lang="en-US" dirty="0"/>
          </a:p>
        </p:txBody>
      </p:sp>
    </p:spTree>
    <p:extLst>
      <p:ext uri="{BB962C8B-B14F-4D97-AF65-F5344CB8AC3E}">
        <p14:creationId xmlns:p14="http://schemas.microsoft.com/office/powerpoint/2010/main" val="373501044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000" marR="0" lvl="0" indent="-342000" algn="l" defTabSz="914400" rtl="0" eaLnBrk="1" fontAlgn="auto" latinLnBrk="0" hangingPunct="1">
              <a:lnSpc>
                <a:spcPts val="2600"/>
              </a:lnSpc>
              <a:spcBef>
                <a:spcPts val="2400"/>
              </a:spcBef>
              <a:spcAft>
                <a:spcPts val="0"/>
              </a:spcAft>
              <a:buClr>
                <a:srgbClr val="C50022"/>
              </a:buClr>
              <a:buSzPct val="100000"/>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a:rPr>
              <a:t>Very minimal drug release (less than 20%) was observed for samples of pellets and MUPS after two weeks in the stressed condition and initial phase.</a:t>
            </a:r>
          </a:p>
          <a:p>
            <a:pPr marL="342000" marR="0" lvl="0" indent="-342000" algn="l" defTabSz="914400" rtl="0" eaLnBrk="1" fontAlgn="auto" latinLnBrk="0" hangingPunct="1">
              <a:lnSpc>
                <a:spcPts val="2600"/>
              </a:lnSpc>
              <a:spcBef>
                <a:spcPts val="2400"/>
              </a:spcBef>
              <a:spcAft>
                <a:spcPts val="0"/>
              </a:spcAft>
              <a:buClr>
                <a:srgbClr val="C50022"/>
              </a:buClr>
              <a:buSzPct val="100000"/>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a:rPr>
              <a:t>Stressed samples of pellets and MUPS showed further reduction in the release compared to the initial stage.</a:t>
            </a:r>
          </a:p>
          <a:p>
            <a:pPr marL="342000" marR="0" lvl="0" indent="-342000" algn="l" defTabSz="914400" rtl="0" eaLnBrk="1" fontAlgn="auto" latinLnBrk="0" hangingPunct="1">
              <a:lnSpc>
                <a:spcPts val="2600"/>
              </a:lnSpc>
              <a:spcBef>
                <a:spcPts val="2400"/>
              </a:spcBef>
              <a:spcAft>
                <a:spcPts val="0"/>
              </a:spcAft>
              <a:buClr>
                <a:srgbClr val="C50022"/>
              </a:buClr>
              <a:buSzPct val="100000"/>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a:rPr>
              <a:t>This effect might be due to a better film formation over time when using a dispersion coating system. Obs.: all pellets in this test were cured for 2 hours. </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61</a:t>
            </a:fld>
            <a:endParaRPr lang="en-US" dirty="0"/>
          </a:p>
        </p:txBody>
      </p:sp>
    </p:spTree>
    <p:extLst>
      <p:ext uri="{BB962C8B-B14F-4D97-AF65-F5344CB8AC3E}">
        <p14:creationId xmlns:p14="http://schemas.microsoft.com/office/powerpoint/2010/main" val="173120498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62</a:t>
            </a:fld>
            <a:endParaRPr lang="en-US" dirty="0"/>
          </a:p>
        </p:txBody>
      </p:sp>
    </p:spTree>
    <p:extLst>
      <p:ext uri="{BB962C8B-B14F-4D97-AF65-F5344CB8AC3E}">
        <p14:creationId xmlns:p14="http://schemas.microsoft.com/office/powerpoint/2010/main" val="287572933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63</a:t>
            </a:fld>
            <a:endParaRPr lang="en-US" dirty="0"/>
          </a:p>
        </p:txBody>
      </p:sp>
    </p:spTree>
    <p:extLst>
      <p:ext uri="{BB962C8B-B14F-4D97-AF65-F5344CB8AC3E}">
        <p14:creationId xmlns:p14="http://schemas.microsoft.com/office/powerpoint/2010/main" val="373263317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64</a:t>
            </a:fld>
            <a:endParaRPr lang="en-US" dirty="0"/>
          </a:p>
        </p:txBody>
      </p:sp>
    </p:spTree>
    <p:extLst>
      <p:ext uri="{BB962C8B-B14F-4D97-AF65-F5344CB8AC3E}">
        <p14:creationId xmlns:p14="http://schemas.microsoft.com/office/powerpoint/2010/main" val="114332021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65</a:t>
            </a:fld>
            <a:endParaRPr lang="en-US" dirty="0"/>
          </a:p>
        </p:txBody>
      </p:sp>
    </p:spTree>
    <p:extLst>
      <p:ext uri="{BB962C8B-B14F-4D97-AF65-F5344CB8AC3E}">
        <p14:creationId xmlns:p14="http://schemas.microsoft.com/office/powerpoint/2010/main" val="196824253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66</a:t>
            </a:fld>
            <a:endParaRPr lang="en-US" dirty="0"/>
          </a:p>
        </p:txBody>
      </p:sp>
    </p:spTree>
    <p:extLst>
      <p:ext uri="{BB962C8B-B14F-4D97-AF65-F5344CB8AC3E}">
        <p14:creationId xmlns:p14="http://schemas.microsoft.com/office/powerpoint/2010/main" val="278515055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67</a:t>
            </a:fld>
            <a:endParaRPr lang="en-US" dirty="0"/>
          </a:p>
        </p:txBody>
      </p:sp>
    </p:spTree>
    <p:extLst>
      <p:ext uri="{BB962C8B-B14F-4D97-AF65-F5344CB8AC3E}">
        <p14:creationId xmlns:p14="http://schemas.microsoft.com/office/powerpoint/2010/main" val="143258535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68</a:t>
            </a:fld>
            <a:endParaRPr lang="en-US" dirty="0"/>
          </a:p>
        </p:txBody>
      </p:sp>
    </p:spTree>
    <p:extLst>
      <p:ext uri="{BB962C8B-B14F-4D97-AF65-F5344CB8AC3E}">
        <p14:creationId xmlns:p14="http://schemas.microsoft.com/office/powerpoint/2010/main" val="197803417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69</a:t>
            </a:fld>
            <a:endParaRPr lang="en-US" dirty="0"/>
          </a:p>
        </p:txBody>
      </p:sp>
    </p:spTree>
    <p:extLst>
      <p:ext uri="{BB962C8B-B14F-4D97-AF65-F5344CB8AC3E}">
        <p14:creationId xmlns:p14="http://schemas.microsoft.com/office/powerpoint/2010/main" val="2069329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7</a:t>
            </a:fld>
            <a:endParaRPr lang="en-US" dirty="0"/>
          </a:p>
        </p:txBody>
      </p:sp>
    </p:spTree>
    <p:extLst>
      <p:ext uri="{BB962C8B-B14F-4D97-AF65-F5344CB8AC3E}">
        <p14:creationId xmlns:p14="http://schemas.microsoft.com/office/powerpoint/2010/main" val="327259075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70</a:t>
            </a:fld>
            <a:endParaRPr lang="en-US" dirty="0"/>
          </a:p>
        </p:txBody>
      </p:sp>
    </p:spTree>
    <p:extLst>
      <p:ext uri="{BB962C8B-B14F-4D97-AF65-F5344CB8AC3E}">
        <p14:creationId xmlns:p14="http://schemas.microsoft.com/office/powerpoint/2010/main" val="298058042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71</a:t>
            </a:fld>
            <a:endParaRPr lang="en-US" dirty="0"/>
          </a:p>
        </p:txBody>
      </p:sp>
    </p:spTree>
    <p:extLst>
      <p:ext uri="{BB962C8B-B14F-4D97-AF65-F5344CB8AC3E}">
        <p14:creationId xmlns:p14="http://schemas.microsoft.com/office/powerpoint/2010/main" val="320344585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72</a:t>
            </a:fld>
            <a:endParaRPr lang="en-US" dirty="0"/>
          </a:p>
        </p:txBody>
      </p:sp>
    </p:spTree>
    <p:extLst>
      <p:ext uri="{BB962C8B-B14F-4D97-AF65-F5344CB8AC3E}">
        <p14:creationId xmlns:p14="http://schemas.microsoft.com/office/powerpoint/2010/main" val="388537225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defTabSz="929579">
              <a:defRPr/>
            </a:pPr>
            <a:endParaRPr lang="en-US" dirty="0">
              <a:solidFill>
                <a:srgbClr val="000000"/>
              </a:solidFill>
              <a:latin typeface="Arial"/>
            </a:endParaRPr>
          </a:p>
        </p:txBody>
      </p:sp>
      <p:sp>
        <p:nvSpPr>
          <p:cNvPr id="5" name="Slide Number Placeholder 4"/>
          <p:cNvSpPr>
            <a:spLocks noGrp="1"/>
          </p:cNvSpPr>
          <p:nvPr>
            <p:ph type="sldNum" sz="quarter" idx="5"/>
          </p:nvPr>
        </p:nvSpPr>
        <p:spPr/>
        <p:txBody>
          <a:bodyPr/>
          <a:lstStyle/>
          <a:p>
            <a:pPr defTabSz="929579">
              <a:defRPr/>
            </a:pPr>
            <a:fld id="{3BCB6019-C597-45E5-9BB9-3AB06F108299}" type="slidenum">
              <a:rPr lang="en-US">
                <a:solidFill>
                  <a:srgbClr val="000000"/>
                </a:solidFill>
                <a:latin typeface="Arial"/>
              </a:rPr>
              <a:pPr defTabSz="929579">
                <a:defRPr/>
              </a:pPr>
              <a:t>73</a:t>
            </a:fld>
            <a:endParaRPr lang="en-US" dirty="0">
              <a:solidFill>
                <a:srgbClr val="000000"/>
              </a:solidFill>
              <a:latin typeface="Arial"/>
            </a:endParaRPr>
          </a:p>
        </p:txBody>
      </p:sp>
    </p:spTree>
    <p:extLst>
      <p:ext uri="{BB962C8B-B14F-4D97-AF65-F5344CB8AC3E}">
        <p14:creationId xmlns:p14="http://schemas.microsoft.com/office/powerpoint/2010/main" val="317255830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74</a:t>
            </a:fld>
            <a:endParaRPr lang="en-US" dirty="0"/>
          </a:p>
        </p:txBody>
      </p:sp>
    </p:spTree>
    <p:extLst>
      <p:ext uri="{BB962C8B-B14F-4D97-AF65-F5344CB8AC3E}">
        <p14:creationId xmlns:p14="http://schemas.microsoft.com/office/powerpoint/2010/main" val="333728944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MA has a  Tg of 105C. Diethyl is 66C. </a:t>
            </a:r>
          </a:p>
          <a:p>
            <a:r>
              <a:rPr lang="en-US" dirty="0"/>
              <a:t>N-butyl methacrylate is a plasticizing methacrylate monomer. It imparts UV protection, transparency and non-yellowing characteristics. Has a low Tg of 40 C</a:t>
            </a:r>
          </a:p>
          <a:p>
            <a:endParaRPr lang="en-US" dirty="0"/>
          </a:p>
          <a:p>
            <a:r>
              <a:rPr lang="en-US" dirty="0"/>
              <a:t>Evonik: DMAEMA monomer --&gt; water soluble -------- dimethyl</a:t>
            </a:r>
          </a:p>
          <a:p>
            <a:r>
              <a:rPr lang="en-US" dirty="0"/>
              <a:t>BASF: DEAEMA monomer --&gt; water insoluble ------- diethyl</a:t>
            </a:r>
          </a:p>
          <a:p>
            <a:endParaRPr lang="en-US" dirty="0"/>
          </a:p>
        </p:txBody>
      </p:sp>
      <p:sp>
        <p:nvSpPr>
          <p:cNvPr id="4" name="Footer Placeholder 3"/>
          <p:cNvSpPr>
            <a:spLocks noGrp="1"/>
          </p:cNvSpPr>
          <p:nvPr>
            <p:ph type="ftr" sz="quarter" idx="4"/>
          </p:nvPr>
        </p:nvSpPr>
        <p:spPr/>
        <p:txBody>
          <a:bodyPr/>
          <a:lstStyle/>
          <a:p>
            <a:pPr defTabSz="929579">
              <a:defRPr/>
            </a:pPr>
            <a:endParaRPr lang="en-US" dirty="0">
              <a:solidFill>
                <a:srgbClr val="000000"/>
              </a:solidFill>
              <a:latin typeface="Arial"/>
            </a:endParaRPr>
          </a:p>
        </p:txBody>
      </p:sp>
      <p:sp>
        <p:nvSpPr>
          <p:cNvPr id="5" name="Slide Number Placeholder 4"/>
          <p:cNvSpPr>
            <a:spLocks noGrp="1"/>
          </p:cNvSpPr>
          <p:nvPr>
            <p:ph type="sldNum" sz="quarter" idx="5"/>
          </p:nvPr>
        </p:nvSpPr>
        <p:spPr/>
        <p:txBody>
          <a:bodyPr/>
          <a:lstStyle/>
          <a:p>
            <a:pPr defTabSz="929579">
              <a:defRPr/>
            </a:pPr>
            <a:fld id="{3BCB6019-C597-45E5-9BB9-3AB06F108299}" type="slidenum">
              <a:rPr lang="en-US">
                <a:solidFill>
                  <a:srgbClr val="000000"/>
                </a:solidFill>
                <a:latin typeface="Arial"/>
              </a:rPr>
              <a:pPr defTabSz="929579">
                <a:defRPr/>
              </a:pPr>
              <a:t>75</a:t>
            </a:fld>
            <a:endParaRPr lang="en-US" dirty="0">
              <a:solidFill>
                <a:srgbClr val="000000"/>
              </a:solidFill>
              <a:latin typeface="Arial"/>
            </a:endParaRPr>
          </a:p>
        </p:txBody>
      </p:sp>
    </p:spTree>
    <p:extLst>
      <p:ext uri="{BB962C8B-B14F-4D97-AF65-F5344CB8AC3E}">
        <p14:creationId xmlns:p14="http://schemas.microsoft.com/office/powerpoint/2010/main" val="8817964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76</a:t>
            </a:fld>
            <a:endParaRPr lang="en-US" dirty="0"/>
          </a:p>
        </p:txBody>
      </p:sp>
    </p:spTree>
    <p:extLst>
      <p:ext uri="{BB962C8B-B14F-4D97-AF65-F5344CB8AC3E}">
        <p14:creationId xmlns:p14="http://schemas.microsoft.com/office/powerpoint/2010/main" val="332484547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dirty="0"/>
          </a:p>
        </p:txBody>
      </p:sp>
      <p:sp>
        <p:nvSpPr>
          <p:cNvPr id="5" name="Slide Number Placeholder 4"/>
          <p:cNvSpPr>
            <a:spLocks noGrp="1"/>
          </p:cNvSpPr>
          <p:nvPr>
            <p:ph type="sldNum" sz="quarter" idx="5"/>
          </p:nvPr>
        </p:nvSpPr>
        <p:spPr/>
        <p:txBody>
          <a:bodyPr/>
          <a:lstStyle/>
          <a:p>
            <a:fld id="{3BCB6019-C597-45E5-9BB9-3AB06F108299}" type="slidenum">
              <a:rPr lang="en-US" smtClean="0"/>
              <a:t>77</a:t>
            </a:fld>
            <a:endParaRPr lang="en-US" dirty="0"/>
          </a:p>
        </p:txBody>
      </p:sp>
    </p:spTree>
    <p:extLst>
      <p:ext uri="{BB962C8B-B14F-4D97-AF65-F5344CB8AC3E}">
        <p14:creationId xmlns:p14="http://schemas.microsoft.com/office/powerpoint/2010/main" val="103492122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defTabSz="929579">
              <a:defRPr/>
            </a:pPr>
            <a:endParaRPr lang="en-US" dirty="0">
              <a:solidFill>
                <a:srgbClr val="000000"/>
              </a:solidFill>
              <a:latin typeface="Arial"/>
            </a:endParaRPr>
          </a:p>
        </p:txBody>
      </p:sp>
      <p:sp>
        <p:nvSpPr>
          <p:cNvPr id="5" name="Slide Number Placeholder 4"/>
          <p:cNvSpPr>
            <a:spLocks noGrp="1"/>
          </p:cNvSpPr>
          <p:nvPr>
            <p:ph type="sldNum" sz="quarter" idx="5"/>
          </p:nvPr>
        </p:nvSpPr>
        <p:spPr/>
        <p:txBody>
          <a:bodyPr/>
          <a:lstStyle/>
          <a:p>
            <a:pPr defTabSz="929579">
              <a:defRPr/>
            </a:pPr>
            <a:fld id="{3BCB6019-C597-45E5-9BB9-3AB06F108299}" type="slidenum">
              <a:rPr lang="en-US">
                <a:solidFill>
                  <a:srgbClr val="000000"/>
                </a:solidFill>
                <a:latin typeface="Arial"/>
              </a:rPr>
              <a:pPr defTabSz="929579">
                <a:defRPr/>
              </a:pPr>
              <a:t>78</a:t>
            </a:fld>
            <a:endParaRPr lang="en-US" dirty="0">
              <a:solidFill>
                <a:srgbClr val="000000"/>
              </a:solidFill>
              <a:latin typeface="Arial"/>
            </a:endParaRPr>
          </a:p>
        </p:txBody>
      </p:sp>
    </p:spTree>
    <p:extLst>
      <p:ext uri="{BB962C8B-B14F-4D97-AF65-F5344CB8AC3E}">
        <p14:creationId xmlns:p14="http://schemas.microsoft.com/office/powerpoint/2010/main" val="206911784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79</a:t>
            </a:fld>
            <a:endParaRPr lang="en-US" dirty="0"/>
          </a:p>
        </p:txBody>
      </p:sp>
    </p:spTree>
    <p:extLst>
      <p:ext uri="{BB962C8B-B14F-4D97-AF65-F5344CB8AC3E}">
        <p14:creationId xmlns:p14="http://schemas.microsoft.com/office/powerpoint/2010/main" val="19268950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CB6019-C597-45E5-9BB9-3AB06F108299}"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4813004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80</a:t>
            </a:fld>
            <a:endParaRPr lang="en-US" dirty="0"/>
          </a:p>
        </p:txBody>
      </p:sp>
    </p:spTree>
    <p:extLst>
      <p:ext uri="{BB962C8B-B14F-4D97-AF65-F5344CB8AC3E}">
        <p14:creationId xmlns:p14="http://schemas.microsoft.com/office/powerpoint/2010/main" val="40340074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81</a:t>
            </a:fld>
            <a:endParaRPr lang="en-US" dirty="0"/>
          </a:p>
        </p:txBody>
      </p:sp>
    </p:spTree>
    <p:extLst>
      <p:ext uri="{BB962C8B-B14F-4D97-AF65-F5344CB8AC3E}">
        <p14:creationId xmlns:p14="http://schemas.microsoft.com/office/powerpoint/2010/main" val="281947130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82</a:t>
            </a:fld>
            <a:endParaRPr lang="en-US" dirty="0"/>
          </a:p>
        </p:txBody>
      </p:sp>
    </p:spTree>
    <p:extLst>
      <p:ext uri="{BB962C8B-B14F-4D97-AF65-F5344CB8AC3E}">
        <p14:creationId xmlns:p14="http://schemas.microsoft.com/office/powerpoint/2010/main" val="37459993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83</a:t>
            </a:fld>
            <a:endParaRPr lang="en-US" dirty="0"/>
          </a:p>
        </p:txBody>
      </p:sp>
    </p:spTree>
    <p:extLst>
      <p:ext uri="{BB962C8B-B14F-4D97-AF65-F5344CB8AC3E}">
        <p14:creationId xmlns:p14="http://schemas.microsoft.com/office/powerpoint/2010/main" val="128067280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ring: is a process normally recommended for dispersions where tablets or pellets are kept in the coater machine/ fluid bed / some cases you can put in am oven, in a temperature above the MFT (minimum film forming temperature)  (50 – 60 C) for a period of time to be defined (30 min to 4 hs). </a:t>
            </a:r>
          </a:p>
          <a:p>
            <a:r>
              <a:rPr lang="en-US" dirty="0"/>
              <a:t>The curing step is required to evaporate the excess of water that surrounds the polymer particles and to provide the complete coalescence of the particles – see the microscopy (polymer particles in droplets – after curing, a smooth polymer film).</a:t>
            </a:r>
          </a:p>
          <a:p>
            <a:endParaRPr lang="en-US" dirty="0"/>
          </a:p>
          <a:p>
            <a:r>
              <a:rPr lang="en-US" dirty="0"/>
              <a:t>Some dispersion might not require a curing step, or the curing time is low (30 min).</a:t>
            </a:r>
          </a:p>
          <a:p>
            <a:r>
              <a:rPr lang="en-US" dirty="0"/>
              <a:t>Without a curing you can find some lack of functionalit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might observe the need for curing during stability. Differences on drug release (reduce drug release or delay it) between T0 and T X stability is not uncommon for uncuring batches.</a:t>
            </a:r>
          </a:p>
        </p:txBody>
      </p:sp>
      <p:sp>
        <p:nvSpPr>
          <p:cNvPr id="4" name="Slide Number Placeholder 3"/>
          <p:cNvSpPr>
            <a:spLocks noGrp="1"/>
          </p:cNvSpPr>
          <p:nvPr>
            <p:ph type="sldNum" sz="quarter" idx="5"/>
          </p:nvPr>
        </p:nvSpPr>
        <p:spPr/>
        <p:txBody>
          <a:bodyPr/>
          <a:lstStyle/>
          <a:p>
            <a:fld id="{0A4F46E9-7904-4FD8-82D0-66E6EAD9EF88}" type="slidenum">
              <a:rPr lang="en-US" smtClean="0"/>
              <a:t>84</a:t>
            </a:fld>
            <a:endParaRPr lang="en-US" dirty="0"/>
          </a:p>
        </p:txBody>
      </p:sp>
    </p:spTree>
    <p:extLst>
      <p:ext uri="{BB962C8B-B14F-4D97-AF65-F5344CB8AC3E}">
        <p14:creationId xmlns:p14="http://schemas.microsoft.com/office/powerpoint/2010/main" val="298478541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85</a:t>
            </a:fld>
            <a:endParaRPr lang="en-US" dirty="0"/>
          </a:p>
        </p:txBody>
      </p:sp>
    </p:spTree>
    <p:extLst>
      <p:ext uri="{BB962C8B-B14F-4D97-AF65-F5344CB8AC3E}">
        <p14:creationId xmlns:p14="http://schemas.microsoft.com/office/powerpoint/2010/main" val="158613585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86</a:t>
            </a:fld>
            <a:endParaRPr lang="en-US" dirty="0"/>
          </a:p>
        </p:txBody>
      </p:sp>
    </p:spTree>
    <p:extLst>
      <p:ext uri="{BB962C8B-B14F-4D97-AF65-F5344CB8AC3E}">
        <p14:creationId xmlns:p14="http://schemas.microsoft.com/office/powerpoint/2010/main" val="362016010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87</a:t>
            </a:fld>
            <a:endParaRPr lang="en-US" dirty="0"/>
          </a:p>
        </p:txBody>
      </p:sp>
    </p:spTree>
    <p:extLst>
      <p:ext uri="{BB962C8B-B14F-4D97-AF65-F5344CB8AC3E}">
        <p14:creationId xmlns:p14="http://schemas.microsoft.com/office/powerpoint/2010/main" val="106698590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88</a:t>
            </a:fld>
            <a:endParaRPr lang="en-US" dirty="0"/>
          </a:p>
        </p:txBody>
      </p:sp>
    </p:spTree>
    <p:extLst>
      <p:ext uri="{BB962C8B-B14F-4D97-AF65-F5344CB8AC3E}">
        <p14:creationId xmlns:p14="http://schemas.microsoft.com/office/powerpoint/2010/main" val="85071095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89</a:t>
            </a:fld>
            <a:endParaRPr lang="en-US" dirty="0"/>
          </a:p>
        </p:txBody>
      </p:sp>
    </p:spTree>
    <p:extLst>
      <p:ext uri="{BB962C8B-B14F-4D97-AF65-F5344CB8AC3E}">
        <p14:creationId xmlns:p14="http://schemas.microsoft.com/office/powerpoint/2010/main" val="26923113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defTabSz="929579">
              <a:defRPr/>
            </a:pPr>
            <a:endParaRPr lang="en-US" dirty="0">
              <a:solidFill>
                <a:srgbClr val="000000"/>
              </a:solidFill>
              <a:latin typeface="Arial"/>
            </a:endParaRPr>
          </a:p>
        </p:txBody>
      </p:sp>
      <p:sp>
        <p:nvSpPr>
          <p:cNvPr id="5" name="Slide Number Placeholder 4"/>
          <p:cNvSpPr>
            <a:spLocks noGrp="1"/>
          </p:cNvSpPr>
          <p:nvPr>
            <p:ph type="sldNum" sz="quarter" idx="5"/>
          </p:nvPr>
        </p:nvSpPr>
        <p:spPr/>
        <p:txBody>
          <a:bodyPr/>
          <a:lstStyle/>
          <a:p>
            <a:pPr defTabSz="929579">
              <a:defRPr/>
            </a:pPr>
            <a:fld id="{3BCB6019-C597-45E5-9BB9-3AB06F108299}" type="slidenum">
              <a:rPr lang="en-US">
                <a:solidFill>
                  <a:srgbClr val="000000"/>
                </a:solidFill>
                <a:latin typeface="Arial"/>
              </a:rPr>
              <a:pPr defTabSz="929579">
                <a:defRPr/>
              </a:pPr>
              <a:t>9</a:t>
            </a:fld>
            <a:endParaRPr lang="en-US" dirty="0">
              <a:solidFill>
                <a:srgbClr val="000000"/>
              </a:solidFill>
              <a:latin typeface="Arial"/>
            </a:endParaRPr>
          </a:p>
        </p:txBody>
      </p:sp>
    </p:spTree>
    <p:extLst>
      <p:ext uri="{BB962C8B-B14F-4D97-AF65-F5344CB8AC3E}">
        <p14:creationId xmlns:p14="http://schemas.microsoft.com/office/powerpoint/2010/main" val="305109682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90</a:t>
            </a:fld>
            <a:endParaRPr lang="en-US" dirty="0"/>
          </a:p>
        </p:txBody>
      </p:sp>
    </p:spTree>
    <p:extLst>
      <p:ext uri="{BB962C8B-B14F-4D97-AF65-F5344CB8AC3E}">
        <p14:creationId xmlns:p14="http://schemas.microsoft.com/office/powerpoint/2010/main" val="33797011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91</a:t>
            </a:fld>
            <a:endParaRPr lang="en-US" dirty="0"/>
          </a:p>
        </p:txBody>
      </p:sp>
    </p:spTree>
    <p:extLst>
      <p:ext uri="{BB962C8B-B14F-4D97-AF65-F5344CB8AC3E}">
        <p14:creationId xmlns:p14="http://schemas.microsoft.com/office/powerpoint/2010/main" val="11842174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92</a:t>
            </a:fld>
            <a:endParaRPr lang="en-US" dirty="0"/>
          </a:p>
        </p:txBody>
      </p:sp>
    </p:spTree>
    <p:extLst>
      <p:ext uri="{BB962C8B-B14F-4D97-AF65-F5344CB8AC3E}">
        <p14:creationId xmlns:p14="http://schemas.microsoft.com/office/powerpoint/2010/main" val="112494391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93</a:t>
            </a:fld>
            <a:endParaRPr lang="en-US" dirty="0"/>
          </a:p>
        </p:txBody>
      </p:sp>
    </p:spTree>
    <p:extLst>
      <p:ext uri="{BB962C8B-B14F-4D97-AF65-F5344CB8AC3E}">
        <p14:creationId xmlns:p14="http://schemas.microsoft.com/office/powerpoint/2010/main" val="170196211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94</a:t>
            </a:fld>
            <a:endParaRPr lang="en-US" dirty="0"/>
          </a:p>
        </p:txBody>
      </p:sp>
    </p:spTree>
    <p:extLst>
      <p:ext uri="{BB962C8B-B14F-4D97-AF65-F5344CB8AC3E}">
        <p14:creationId xmlns:p14="http://schemas.microsoft.com/office/powerpoint/2010/main" val="135706614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dirty="0"/>
          </a:p>
        </p:txBody>
      </p:sp>
      <p:sp>
        <p:nvSpPr>
          <p:cNvPr id="5" name="Slide Number Placeholder 4"/>
          <p:cNvSpPr>
            <a:spLocks noGrp="1"/>
          </p:cNvSpPr>
          <p:nvPr>
            <p:ph type="sldNum" sz="quarter" idx="5"/>
          </p:nvPr>
        </p:nvSpPr>
        <p:spPr/>
        <p:txBody>
          <a:bodyPr/>
          <a:lstStyle/>
          <a:p>
            <a:fld id="{3BCB6019-C597-45E5-9BB9-3AB06F108299}" type="slidenum">
              <a:rPr lang="en-US" smtClean="0"/>
              <a:t>95</a:t>
            </a:fld>
            <a:endParaRPr lang="en-US" dirty="0"/>
          </a:p>
        </p:txBody>
      </p:sp>
    </p:spTree>
    <p:extLst>
      <p:ext uri="{BB962C8B-B14F-4D97-AF65-F5344CB8AC3E}">
        <p14:creationId xmlns:p14="http://schemas.microsoft.com/office/powerpoint/2010/main" val="271415851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en-US" smtClean="0"/>
              <a:t>96</a:t>
            </a:fld>
            <a:endParaRPr lang="en-US" dirty="0"/>
          </a:p>
        </p:txBody>
      </p:sp>
    </p:spTree>
    <p:extLst>
      <p:ext uri="{BB962C8B-B14F-4D97-AF65-F5344CB8AC3E}">
        <p14:creationId xmlns:p14="http://schemas.microsoft.com/office/powerpoint/2010/main" val="154033400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lculations are based on 6:4 because its on a mass ratio. 7 : 3 is on a molar ratio</a:t>
            </a:r>
          </a:p>
          <a:p>
            <a:r>
              <a:rPr lang="en-US" dirty="0"/>
              <a:t>If based on 7:3, then its 1.53 g of succinic acid, which equates to 1.5% w/w rel to polymer solution</a:t>
            </a:r>
          </a:p>
        </p:txBody>
      </p:sp>
      <p:sp>
        <p:nvSpPr>
          <p:cNvPr id="4" name="Footer Placeholder 3"/>
          <p:cNvSpPr>
            <a:spLocks noGrp="1"/>
          </p:cNvSpPr>
          <p:nvPr>
            <p:ph type="ftr" sz="quarter" idx="4"/>
          </p:nvPr>
        </p:nvSpPr>
        <p:spPr/>
        <p:txBody>
          <a:bodyPr/>
          <a:lstStyle/>
          <a:p>
            <a:endParaRPr lang="en-US" dirty="0"/>
          </a:p>
        </p:txBody>
      </p:sp>
      <p:sp>
        <p:nvSpPr>
          <p:cNvPr id="5" name="Slide Number Placeholder 4"/>
          <p:cNvSpPr>
            <a:spLocks noGrp="1"/>
          </p:cNvSpPr>
          <p:nvPr>
            <p:ph type="sldNum" sz="quarter" idx="5"/>
          </p:nvPr>
        </p:nvSpPr>
        <p:spPr/>
        <p:txBody>
          <a:bodyPr/>
          <a:lstStyle/>
          <a:p>
            <a:fld id="{3BCB6019-C597-45E5-9BB9-3AB06F108299}" type="slidenum">
              <a:rPr lang="en-US" smtClean="0"/>
              <a:t>97</a:t>
            </a:fld>
            <a:endParaRPr lang="en-US" dirty="0"/>
          </a:p>
        </p:txBody>
      </p:sp>
    </p:spTree>
    <p:extLst>
      <p:ext uri="{BB962C8B-B14F-4D97-AF65-F5344CB8AC3E}">
        <p14:creationId xmlns:p14="http://schemas.microsoft.com/office/powerpoint/2010/main" val="29153482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enutzerdefiniertes Layout">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3968A1E-5774-4FBF-B33D-33246827FA2C}"/>
              </a:ext>
            </a:extLst>
          </p:cNvPr>
          <p:cNvSpPr>
            <a:spLocks noGrp="1"/>
          </p:cNvSpPr>
          <p:nvPr>
            <p:ph type="dt" sz="half" idx="10"/>
          </p:nvPr>
        </p:nvSpPr>
        <p:spPr/>
        <p:txBody>
          <a:bodyPr/>
          <a:lstStyle/>
          <a:p>
            <a:fld id="{65010B03-D230-4701-9F37-B6F131066B93}" type="datetime1">
              <a:rPr lang="en-US" smtClean="0"/>
              <a:t>8/2/2023</a:t>
            </a:fld>
            <a:endParaRPr lang="en-US" dirty="0"/>
          </a:p>
        </p:txBody>
      </p:sp>
      <p:sp>
        <p:nvSpPr>
          <p:cNvPr id="3" name="Fußzeilenplatzhalter 2">
            <a:extLst>
              <a:ext uri="{FF2B5EF4-FFF2-40B4-BE49-F238E27FC236}">
                <a16:creationId xmlns:a16="http://schemas.microsoft.com/office/drawing/2014/main" id="{9B814E2C-65A8-4B4C-A488-296B14440993}"/>
              </a:ext>
            </a:extLst>
          </p:cNvPr>
          <p:cNvSpPr>
            <a:spLocks noGrp="1"/>
          </p:cNvSpPr>
          <p:nvPr>
            <p:ph type="ftr" sz="quarter" idx="11"/>
          </p:nvPr>
        </p:nvSpPr>
        <p:spPr/>
        <p:txBody>
          <a:bodyPr/>
          <a:lstStyle/>
          <a:p>
            <a:r>
              <a:rPr lang="en-US" dirty="0"/>
              <a:t>| Optional</a:t>
            </a:r>
          </a:p>
        </p:txBody>
      </p:sp>
      <p:sp>
        <p:nvSpPr>
          <p:cNvPr id="4" name="Foliennummernplatzhalter 3">
            <a:extLst>
              <a:ext uri="{FF2B5EF4-FFF2-40B4-BE49-F238E27FC236}">
                <a16:creationId xmlns:a16="http://schemas.microsoft.com/office/drawing/2014/main" id="{5E58CEEC-917F-4652-8701-CCABB57CFC37}"/>
              </a:ext>
            </a:extLst>
          </p:cNvPr>
          <p:cNvSpPr>
            <a:spLocks noGrp="1"/>
          </p:cNvSpPr>
          <p:nvPr>
            <p:ph type="sldNum" sz="quarter" idx="12"/>
          </p:nvPr>
        </p:nvSpPr>
        <p:spPr/>
        <p:txBody>
          <a:bodyPr/>
          <a:lstStyle/>
          <a:p>
            <a:fld id="{82EA1D04-CA53-4DE3-84A8-2B63E41036C9}" type="slidenum">
              <a:rPr lang="en-US" smtClean="0"/>
              <a:pPr/>
              <a:t>‹#›</a:t>
            </a:fld>
            <a:endParaRPr lang="en-US" dirty="0"/>
          </a:p>
        </p:txBody>
      </p:sp>
    </p:spTree>
    <p:extLst>
      <p:ext uri="{BB962C8B-B14F-4D97-AF65-F5344CB8AC3E}">
        <p14:creationId xmlns:p14="http://schemas.microsoft.com/office/powerpoint/2010/main" val="3397279603"/>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clipArtAndTx" preserve="1">
  <p:cSld name="Titel, ClipAr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08889C-9108-4E11-B334-A27EA54A23C7}"/>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Onlinebild-Platzhalter 2">
            <a:extLst>
              <a:ext uri="{FF2B5EF4-FFF2-40B4-BE49-F238E27FC236}">
                <a16:creationId xmlns:a16="http://schemas.microsoft.com/office/drawing/2014/main" id="{B7775F34-407A-48B2-9B1C-A932A0181C2A}"/>
              </a:ext>
            </a:extLst>
          </p:cNvPr>
          <p:cNvSpPr>
            <a:spLocks noGrp="1"/>
          </p:cNvSpPr>
          <p:nvPr>
            <p:ph type="clipArt" sz="half" idx="1"/>
          </p:nvPr>
        </p:nvSpPr>
        <p:spPr>
          <a:xfrm>
            <a:off x="212343" y="1965579"/>
            <a:ext cx="5800852" cy="3906012"/>
          </a:xfrm>
          <a:prstGeom prst="rect">
            <a:avLst/>
          </a:prstGeom>
        </p:spPr>
        <p:txBody>
          <a:bodyPr/>
          <a:lstStyle/>
          <a:p>
            <a:r>
              <a:rPr lang="en-US" dirty="0"/>
              <a:t>Click icon to add online image</a:t>
            </a:r>
            <a:endParaRPr lang="de-DE"/>
          </a:p>
        </p:txBody>
      </p:sp>
      <p:sp>
        <p:nvSpPr>
          <p:cNvPr id="4" name="Textplatzhalter 3">
            <a:extLst>
              <a:ext uri="{FF2B5EF4-FFF2-40B4-BE49-F238E27FC236}">
                <a16:creationId xmlns:a16="http://schemas.microsoft.com/office/drawing/2014/main" id="{137A6B39-BF7A-4209-AA3A-273F92455170}"/>
              </a:ext>
            </a:extLst>
          </p:cNvPr>
          <p:cNvSpPr>
            <a:spLocks noGrp="1"/>
          </p:cNvSpPr>
          <p:nvPr>
            <p:ph type="body"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0B3E23DC-3384-47E5-BCB1-F2B7270A9F8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B0F7007C-89FE-4D34-A5F7-11B79EA12849}"/>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A59EF9D1-1D6E-44E8-A7EE-5EC5CD3E4ADE}"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E9E62410-A838-493D-B4DF-071E984717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1395751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C5CC59-BC4F-4F35-899E-066A75D69A3B}"/>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Fußzeilenplatzhalter 2">
            <a:extLst>
              <a:ext uri="{FF2B5EF4-FFF2-40B4-BE49-F238E27FC236}">
                <a16:creationId xmlns:a16="http://schemas.microsoft.com/office/drawing/2014/main" id="{81FEAD91-A51C-43CD-8E4C-904A8749BF20}"/>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4" name="Datumsplatzhalter 3">
            <a:extLst>
              <a:ext uri="{FF2B5EF4-FFF2-40B4-BE49-F238E27FC236}">
                <a16:creationId xmlns:a16="http://schemas.microsoft.com/office/drawing/2014/main" id="{C6943F05-466E-47EB-A4DF-79F7329DE7AD}"/>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752000-55A0-4553-BBD4-CFFEEB173D5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Foliennummernplatzhalter 4">
            <a:extLst>
              <a:ext uri="{FF2B5EF4-FFF2-40B4-BE49-F238E27FC236}">
                <a16:creationId xmlns:a16="http://schemas.microsoft.com/office/drawing/2014/main" id="{EAAA4A8E-EFEB-4FA3-B265-63AFB751904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0283018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08E9903-ECD7-4C58-9A4B-8CEC2A22571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3" name="Datumsplatzhalter 2">
            <a:extLst>
              <a:ext uri="{FF2B5EF4-FFF2-40B4-BE49-F238E27FC236}">
                <a16:creationId xmlns:a16="http://schemas.microsoft.com/office/drawing/2014/main" id="{04AC508E-137C-4416-908D-2B01A21EC738}"/>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5D8B96A5-E1D7-454B-BFDF-E714B7BF1A08}"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FCAAE8AB-52F8-43B0-B5A9-664FB525BB6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7868259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el, Text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F2ABAC-561F-4606-A67C-1A55942027F2}"/>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33ED3FFE-CF79-4687-A078-C8E44A073B73}"/>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DBB7FF96-6611-4D4F-BCB0-01C1D31DC0C9}"/>
              </a:ext>
            </a:extLst>
          </p:cNvPr>
          <p:cNvSpPr>
            <a:spLocks noGrp="1"/>
          </p:cNvSpPr>
          <p:nvPr>
            <p:ph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E3020A3C-5997-4241-9E93-5058EC012B35}"/>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98AF161C-F4A7-4A48-827F-5711D99E558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F8FEEF0-7EAC-424F-8BDF-62D59EECC53C}"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B6411C8A-7FBB-42B8-812F-9D3862E75FA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9853895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AndTx" preserve="1">
  <p:cSld name="Titel, Inhal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A809E2-FF1C-4220-B806-F7A2CBB45B5B}"/>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84C654F8-BF58-4B3A-B336-3629ECE45454}"/>
              </a:ext>
            </a:extLst>
          </p:cNvPr>
          <p:cNvSpPr>
            <a:spLocks noGrp="1"/>
          </p:cNvSpPr>
          <p:nvPr>
            <p:ph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D12C4920-9938-4405-8A15-1CF4F1C9099F}"/>
              </a:ext>
            </a:extLst>
          </p:cNvPr>
          <p:cNvSpPr>
            <a:spLocks noGrp="1"/>
          </p:cNvSpPr>
          <p:nvPr>
            <p:ph type="body"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A7968547-6C9A-4A3F-9DF5-C094BF63FF4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9687ABFE-CCFA-4A9B-8529-F93712327C06}"/>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E41390A8-E354-4A21-9BC8-95E43BAF20C3}"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CB3FE862-F243-4638-A6BB-CD8B4AFF600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3654174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Only" preserve="1">
  <p:cSld name="Inhalt">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2CE1D32-E21C-47EA-A87F-E9B77F368C63}"/>
              </a:ext>
            </a:extLst>
          </p:cNvPr>
          <p:cNvSpPr>
            <a:spLocks noGrp="1"/>
          </p:cNvSpPr>
          <p:nvPr>
            <p:ph/>
          </p:nvPr>
        </p:nvSpPr>
        <p:spPr>
          <a:xfrm>
            <a:off x="212344" y="431800"/>
            <a:ext cx="11753977" cy="54403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3" name="Fußzeilenplatzhalter 2">
            <a:extLst>
              <a:ext uri="{FF2B5EF4-FFF2-40B4-BE49-F238E27FC236}">
                <a16:creationId xmlns:a16="http://schemas.microsoft.com/office/drawing/2014/main" id="{5F863ECE-AB9D-4E37-B422-CC40B5272EB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4" name="Datumsplatzhalter 3">
            <a:extLst>
              <a:ext uri="{FF2B5EF4-FFF2-40B4-BE49-F238E27FC236}">
                <a16:creationId xmlns:a16="http://schemas.microsoft.com/office/drawing/2014/main" id="{7656F73E-08AD-4984-AA4D-6A2047EA123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0CBFDB8-0ABA-4B5D-BB97-3F0F3764BA33}"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5" name="Foliennummernplatzhalter 4">
            <a:extLst>
              <a:ext uri="{FF2B5EF4-FFF2-40B4-BE49-F238E27FC236}">
                <a16:creationId xmlns:a16="http://schemas.microsoft.com/office/drawing/2014/main" id="{F2563ACE-B651-45D5-BB34-3B368EE9115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3600527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080E89-1E40-4B0D-BD55-CBE3C39C66EE}"/>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2353CF28-13C9-4E5C-9A41-1F6D684F3F08}"/>
              </a:ext>
            </a:extLst>
          </p:cNvPr>
          <p:cNvSpPr>
            <a:spLocks noGrp="1"/>
          </p:cNvSpPr>
          <p:nvPr>
            <p:ph idx="1"/>
          </p:nvPr>
        </p:nvSpPr>
        <p:spPr>
          <a:xfrm>
            <a:off x="212345" y="1965579"/>
            <a:ext cx="11753977"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Fußzeilenplatzhalter 3">
            <a:extLst>
              <a:ext uri="{FF2B5EF4-FFF2-40B4-BE49-F238E27FC236}">
                <a16:creationId xmlns:a16="http://schemas.microsoft.com/office/drawing/2014/main" id="{DB55761B-B9A2-4920-9B0D-35C5A79C73E2}"/>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5" name="Datumsplatzhalter 4">
            <a:extLst>
              <a:ext uri="{FF2B5EF4-FFF2-40B4-BE49-F238E27FC236}">
                <a16:creationId xmlns:a16="http://schemas.microsoft.com/office/drawing/2014/main" id="{5F670AE4-0FCB-4883-B7E4-B5754A2694C6}"/>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9681CFB-FE37-42E9-972B-7EE5E370AF9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0045A95C-6833-4457-B077-68A9637FCAC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8080619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Media" preserve="1">
  <p:cSld name="Titel, Text und Mediencli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A26DD6-5478-44D5-9C22-EA6102171B17}"/>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EDDA7DB3-D147-40F5-A85A-F22CDDCC7764}"/>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Medienplatzhalter 3">
            <a:extLst>
              <a:ext uri="{FF2B5EF4-FFF2-40B4-BE49-F238E27FC236}">
                <a16:creationId xmlns:a16="http://schemas.microsoft.com/office/drawing/2014/main" id="{60A14105-87B3-4C57-AD70-C6D6EB6C2BD5}"/>
              </a:ext>
            </a:extLst>
          </p:cNvPr>
          <p:cNvSpPr>
            <a:spLocks noGrp="1"/>
          </p:cNvSpPr>
          <p:nvPr>
            <p:ph type="media" sz="half" idx="2"/>
          </p:nvPr>
        </p:nvSpPr>
        <p:spPr>
          <a:xfrm>
            <a:off x="6165595" y="1965579"/>
            <a:ext cx="5800852" cy="3906012"/>
          </a:xfrm>
          <a:prstGeom prst="rect">
            <a:avLst/>
          </a:prstGeom>
        </p:spPr>
        <p:txBody>
          <a:bodyPr/>
          <a:lstStyle/>
          <a:p>
            <a:r>
              <a:rPr lang="en-US" dirty="0"/>
              <a:t>Click icon to add media</a:t>
            </a:r>
            <a:endParaRPr lang="de-DE"/>
          </a:p>
        </p:txBody>
      </p:sp>
      <p:sp>
        <p:nvSpPr>
          <p:cNvPr id="5" name="Fußzeilenplatzhalter 4">
            <a:extLst>
              <a:ext uri="{FF2B5EF4-FFF2-40B4-BE49-F238E27FC236}">
                <a16:creationId xmlns:a16="http://schemas.microsoft.com/office/drawing/2014/main" id="{26468F25-440D-4B20-B43E-2906F5F245F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0574263A-04B4-4BB1-BA72-C60C07FA968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9AD9D9-F800-41FA-B6C4-3F1480191AA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B444941E-A04D-406F-897B-1CB8D8B4F9D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8193336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mediaAndTx" preserve="1">
  <p:cSld name="Titel, Medienclip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639877-D01C-4856-BA52-624F29B860CE}"/>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Medienplatzhalter 2">
            <a:extLst>
              <a:ext uri="{FF2B5EF4-FFF2-40B4-BE49-F238E27FC236}">
                <a16:creationId xmlns:a16="http://schemas.microsoft.com/office/drawing/2014/main" id="{44221E77-11E0-4F51-8A81-F543833C9E60}"/>
              </a:ext>
            </a:extLst>
          </p:cNvPr>
          <p:cNvSpPr>
            <a:spLocks noGrp="1"/>
          </p:cNvSpPr>
          <p:nvPr>
            <p:ph type="media" sz="half" idx="1"/>
          </p:nvPr>
        </p:nvSpPr>
        <p:spPr>
          <a:xfrm>
            <a:off x="212343" y="1965579"/>
            <a:ext cx="5800852" cy="3906012"/>
          </a:xfrm>
          <a:prstGeom prst="rect">
            <a:avLst/>
          </a:prstGeom>
        </p:spPr>
        <p:txBody>
          <a:bodyPr/>
          <a:lstStyle/>
          <a:p>
            <a:r>
              <a:rPr lang="en-US" dirty="0"/>
              <a:t>Click icon to add media</a:t>
            </a:r>
            <a:endParaRPr lang="de-DE"/>
          </a:p>
        </p:txBody>
      </p:sp>
      <p:sp>
        <p:nvSpPr>
          <p:cNvPr id="4" name="Textplatzhalter 3">
            <a:extLst>
              <a:ext uri="{FF2B5EF4-FFF2-40B4-BE49-F238E27FC236}">
                <a16:creationId xmlns:a16="http://schemas.microsoft.com/office/drawing/2014/main" id="{D109FC1F-991B-4A03-80B8-3A8A5F2D0719}"/>
              </a:ext>
            </a:extLst>
          </p:cNvPr>
          <p:cNvSpPr>
            <a:spLocks noGrp="1"/>
          </p:cNvSpPr>
          <p:nvPr>
            <p:ph type="body"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311A9557-B4F9-4FC2-9332-363ACA4D445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095E73B0-6F01-42C0-B398-DB7C7D7E05A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8192C09A-BEA4-4445-B8BC-DEC53FCADD78}"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D8FAA16F-81A1-4CEB-8939-4AA044CBF6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004605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OverTx" preserve="1">
  <p:cSld name="Titel und Inhalt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8735A7-B28E-4745-8655-C9999B011673}"/>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135637BB-60B1-4488-8CF1-E3F06D5EBED0}"/>
              </a:ext>
            </a:extLst>
          </p:cNvPr>
          <p:cNvSpPr>
            <a:spLocks noGrp="1"/>
          </p:cNvSpPr>
          <p:nvPr>
            <p:ph sz="half" idx="1"/>
          </p:nvPr>
        </p:nvSpPr>
        <p:spPr>
          <a:xfrm>
            <a:off x="212344" y="1965579"/>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D4D5F2FC-4B25-456C-A90C-64CEA05B29FB}"/>
              </a:ext>
            </a:extLst>
          </p:cNvPr>
          <p:cNvSpPr>
            <a:spLocks noGrp="1"/>
          </p:cNvSpPr>
          <p:nvPr>
            <p:ph type="body" sz="half" idx="2"/>
          </p:nvPr>
        </p:nvSpPr>
        <p:spPr>
          <a:xfrm>
            <a:off x="212344" y="3994785"/>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2BD6C371-FE65-4294-97AD-25A76E97810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FC86BFFF-93A4-440C-B3C4-802614E81B7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3B742DD-8773-4E2A-9EEB-2648EDB3335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042C8699-C73C-4568-AB42-D32BC3096EB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3270438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ColTx" preserve="1">
  <p:cSld name="Titel und zweispaltig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A8E6BF-CDDE-4BBA-B7C7-CD86C7261BC8}"/>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8FC1550A-B9C7-4F29-A06E-E6249E7B3610}"/>
              </a:ext>
            </a:extLst>
          </p:cNvPr>
          <p:cNvSpPr>
            <a:spLocks noGrp="1"/>
          </p:cNvSpPr>
          <p:nvPr>
            <p:ph type="body" sz="half" idx="1"/>
          </p:nvPr>
        </p:nvSpPr>
        <p:spPr>
          <a:xfrm>
            <a:off x="212344" y="1965579"/>
            <a:ext cx="5800852" cy="3906012"/>
          </a:xfrm>
          <a:prstGeom prst="rect">
            <a:avLst/>
          </a:prstGeo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877FDF47-10EC-4B98-BEFE-5F17608FD7AF}"/>
              </a:ext>
            </a:extLst>
          </p:cNvPr>
          <p:cNvSpPr>
            <a:spLocks noGrp="1"/>
          </p:cNvSpPr>
          <p:nvPr>
            <p:ph type="body" sz="half" idx="2"/>
          </p:nvPr>
        </p:nvSpPr>
        <p:spPr>
          <a:xfrm>
            <a:off x="6165596" y="1965579"/>
            <a:ext cx="5800852" cy="3906012"/>
          </a:xfrm>
          <a:prstGeom prst="rect">
            <a:avLst/>
          </a:prstGeo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E08B4501-4886-4F90-AABA-29D3BFD5977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BB037D59-CDCB-4605-A031-5C299A6851E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E33138-ACF4-4AA0-BCDB-3A9F2443B8D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162E148D-DA16-4D47-86F8-5AC4C3F0BE9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1054023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OverObj" preserve="1">
  <p:cSld name="Titel und Text über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B682FF-DD0C-46E2-8C1C-A06AF64F5952}"/>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5DD7F0EF-78BF-43F5-9C29-474B537D6FB6}"/>
              </a:ext>
            </a:extLst>
          </p:cNvPr>
          <p:cNvSpPr>
            <a:spLocks noGrp="1"/>
          </p:cNvSpPr>
          <p:nvPr>
            <p:ph type="body" sz="half" idx="1"/>
          </p:nvPr>
        </p:nvSpPr>
        <p:spPr>
          <a:xfrm>
            <a:off x="212344" y="1965579"/>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12F11F21-0ACE-496A-A93D-B817BF62CFF8}"/>
              </a:ext>
            </a:extLst>
          </p:cNvPr>
          <p:cNvSpPr>
            <a:spLocks noGrp="1"/>
          </p:cNvSpPr>
          <p:nvPr>
            <p:ph sz="half" idx="2"/>
          </p:nvPr>
        </p:nvSpPr>
        <p:spPr>
          <a:xfrm>
            <a:off x="212344" y="3994785"/>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7F9D28A9-F404-4434-9C9A-358402724C97}"/>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06E3F372-F58D-4CA4-BFB3-29426E8445D5}"/>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F107B34-1A56-43EE-86C9-2DAE19548ED2}"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E8C92BCB-A68D-4FE6-8DC3-18BD6C232DA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4933528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A49E15-3CC2-4EE0-92C8-91165D511DA8}"/>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CE50D0BD-1B65-4BC9-A974-4C55A3FDEF28}"/>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DE89BA9B-96E6-486F-AB64-EA38AC71B787}"/>
              </a:ext>
            </a:extLst>
          </p:cNvPr>
          <p:cNvSpPr>
            <a:spLocks noGrp="1"/>
          </p:cNvSpPr>
          <p:nvPr>
            <p:ph sz="quarter" idx="2"/>
          </p:nvPr>
        </p:nvSpPr>
        <p:spPr>
          <a:xfrm>
            <a:off x="6165595"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Inhaltsplatzhalter 4">
            <a:extLst>
              <a:ext uri="{FF2B5EF4-FFF2-40B4-BE49-F238E27FC236}">
                <a16:creationId xmlns:a16="http://schemas.microsoft.com/office/drawing/2014/main" id="{E3A62A82-A2FB-4831-BF8E-0B8D27882DE9}"/>
              </a:ext>
            </a:extLst>
          </p:cNvPr>
          <p:cNvSpPr>
            <a:spLocks noGrp="1"/>
          </p:cNvSpPr>
          <p:nvPr>
            <p:ph sz="quarter" idx="3"/>
          </p:nvPr>
        </p:nvSpPr>
        <p:spPr>
          <a:xfrm>
            <a:off x="6165595" y="3994785"/>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07E8A134-6B88-4B2A-AE42-C5C2DE4BCF90}"/>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7" name="Datumsplatzhalter 6">
            <a:extLst>
              <a:ext uri="{FF2B5EF4-FFF2-40B4-BE49-F238E27FC236}">
                <a16:creationId xmlns:a16="http://schemas.microsoft.com/office/drawing/2014/main" id="{1C573FE7-AAD9-4572-A337-5461F2423AC5}"/>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0E0C30BE-3111-461B-8F9D-AEA244FE4A0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FF6D4B64-4848-48B9-9A84-A7C7BFCD319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1228256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2CBFF9-6AA9-4135-B013-124136065B66}"/>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6A8C003F-FDE2-4BCD-8446-E93BA74B902B}"/>
              </a:ext>
            </a:extLst>
          </p:cNvPr>
          <p:cNvSpPr>
            <a:spLocks noGrp="1"/>
          </p:cNvSpPr>
          <p:nvPr>
            <p:ph sz="quarter" idx="1"/>
          </p:nvPr>
        </p:nvSpPr>
        <p:spPr>
          <a:xfrm>
            <a:off x="212343"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7AF8FA0B-2B73-4F9E-8421-B7FAA861D2BC}"/>
              </a:ext>
            </a:extLst>
          </p:cNvPr>
          <p:cNvSpPr>
            <a:spLocks noGrp="1"/>
          </p:cNvSpPr>
          <p:nvPr>
            <p:ph sz="quarter" idx="2"/>
          </p:nvPr>
        </p:nvSpPr>
        <p:spPr>
          <a:xfrm>
            <a:off x="212343" y="3994785"/>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a:extLst>
              <a:ext uri="{FF2B5EF4-FFF2-40B4-BE49-F238E27FC236}">
                <a16:creationId xmlns:a16="http://schemas.microsoft.com/office/drawing/2014/main" id="{B6A06705-80A7-42BF-B2C5-248EA2910CCE}"/>
              </a:ext>
            </a:extLst>
          </p:cNvPr>
          <p:cNvSpPr>
            <a:spLocks noGrp="1"/>
          </p:cNvSpPr>
          <p:nvPr>
            <p:ph type="body" sz="half" idx="3"/>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68651DD0-4839-47C9-A9A9-3F5056FFCBA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7" name="Datumsplatzhalter 6">
            <a:extLst>
              <a:ext uri="{FF2B5EF4-FFF2-40B4-BE49-F238E27FC236}">
                <a16:creationId xmlns:a16="http://schemas.microsoft.com/office/drawing/2014/main" id="{38323B6D-9603-4517-B425-10C069E2500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8AF7673-4E49-421A-A8F9-8B568C2E52E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B1BFD5DC-90F2-4A91-AE88-C9A9192A247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3341296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OverTx" preserve="1">
  <p:cSld name="Titel und 2 Inhalte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2E6BCF-F13B-4DAE-838C-D4CFDC543608}"/>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5E4072EF-C701-4F8C-9B31-1260A74B6366}"/>
              </a:ext>
            </a:extLst>
          </p:cNvPr>
          <p:cNvSpPr>
            <a:spLocks noGrp="1"/>
          </p:cNvSpPr>
          <p:nvPr>
            <p:ph sz="quarter" idx="1"/>
          </p:nvPr>
        </p:nvSpPr>
        <p:spPr>
          <a:xfrm>
            <a:off x="212343"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2516D008-2F5C-4820-A061-6C39F314126D}"/>
              </a:ext>
            </a:extLst>
          </p:cNvPr>
          <p:cNvSpPr>
            <a:spLocks noGrp="1"/>
          </p:cNvSpPr>
          <p:nvPr>
            <p:ph sz="quarter" idx="2"/>
          </p:nvPr>
        </p:nvSpPr>
        <p:spPr>
          <a:xfrm>
            <a:off x="6165595"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a:extLst>
              <a:ext uri="{FF2B5EF4-FFF2-40B4-BE49-F238E27FC236}">
                <a16:creationId xmlns:a16="http://schemas.microsoft.com/office/drawing/2014/main" id="{6E0CE585-CC58-4405-A5B2-4146F97E314D}"/>
              </a:ext>
            </a:extLst>
          </p:cNvPr>
          <p:cNvSpPr>
            <a:spLocks noGrp="1"/>
          </p:cNvSpPr>
          <p:nvPr>
            <p:ph type="body" sz="half" idx="3"/>
          </p:nvPr>
        </p:nvSpPr>
        <p:spPr>
          <a:xfrm>
            <a:off x="212344" y="3994785"/>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D8156A72-D8B4-4EB6-8FFB-61C9B44B1EC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7" name="Datumsplatzhalter 6">
            <a:extLst>
              <a:ext uri="{FF2B5EF4-FFF2-40B4-BE49-F238E27FC236}">
                <a16:creationId xmlns:a16="http://schemas.microsoft.com/office/drawing/2014/main" id="{D0EFBFB9-D2F6-40AF-BCCC-A2A94354C2D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A2F219F5-2D10-43F8-A53B-34A1ADD86956}"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D28F30A4-BEA8-4D3F-B414-562C963D889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0363332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fourObj" preserve="1">
  <p:cSld name="Titel und vier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4E88C9-2E13-4233-97E7-A58EA56BF533}"/>
              </a:ext>
            </a:extLst>
          </p:cNvPr>
          <p:cNvSpPr>
            <a:spLocks noGrp="1"/>
          </p:cNvSpPr>
          <p:nvPr>
            <p:ph type="title" sz="quarter"/>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9D7B31FC-3EB7-4237-9F75-E570D381E0FE}"/>
              </a:ext>
            </a:extLst>
          </p:cNvPr>
          <p:cNvSpPr>
            <a:spLocks noGrp="1"/>
          </p:cNvSpPr>
          <p:nvPr>
            <p:ph sz="quarter" idx="1"/>
          </p:nvPr>
        </p:nvSpPr>
        <p:spPr>
          <a:xfrm>
            <a:off x="212344"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38A8875F-CFAA-4590-B879-3219CBD4BB93}"/>
              </a:ext>
            </a:extLst>
          </p:cNvPr>
          <p:cNvSpPr>
            <a:spLocks noGrp="1"/>
          </p:cNvSpPr>
          <p:nvPr>
            <p:ph sz="quarter" idx="2"/>
          </p:nvPr>
        </p:nvSpPr>
        <p:spPr>
          <a:xfrm>
            <a:off x="6165596"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Inhaltsplatzhalter 4">
            <a:extLst>
              <a:ext uri="{FF2B5EF4-FFF2-40B4-BE49-F238E27FC236}">
                <a16:creationId xmlns:a16="http://schemas.microsoft.com/office/drawing/2014/main" id="{CA4CB87F-0C22-4934-8CA1-76F88C95A477}"/>
              </a:ext>
            </a:extLst>
          </p:cNvPr>
          <p:cNvSpPr>
            <a:spLocks noGrp="1"/>
          </p:cNvSpPr>
          <p:nvPr>
            <p:ph sz="quarter" idx="3"/>
          </p:nvPr>
        </p:nvSpPr>
        <p:spPr>
          <a:xfrm>
            <a:off x="212344" y="3994785"/>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Inhaltsplatzhalter 5">
            <a:extLst>
              <a:ext uri="{FF2B5EF4-FFF2-40B4-BE49-F238E27FC236}">
                <a16:creationId xmlns:a16="http://schemas.microsoft.com/office/drawing/2014/main" id="{00020373-3ACB-4F0F-B502-F1E7C40F6322}"/>
              </a:ext>
            </a:extLst>
          </p:cNvPr>
          <p:cNvSpPr>
            <a:spLocks noGrp="1"/>
          </p:cNvSpPr>
          <p:nvPr>
            <p:ph sz="quarter" idx="4"/>
          </p:nvPr>
        </p:nvSpPr>
        <p:spPr>
          <a:xfrm>
            <a:off x="6165596" y="3994785"/>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Fußzeilenplatzhalter 6">
            <a:extLst>
              <a:ext uri="{FF2B5EF4-FFF2-40B4-BE49-F238E27FC236}">
                <a16:creationId xmlns:a16="http://schemas.microsoft.com/office/drawing/2014/main" id="{A7AE7A61-0107-4725-BF07-B2F2AA671499}"/>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8" name="Datumsplatzhalter 7">
            <a:extLst>
              <a:ext uri="{FF2B5EF4-FFF2-40B4-BE49-F238E27FC236}">
                <a16:creationId xmlns:a16="http://schemas.microsoft.com/office/drawing/2014/main" id="{42470242-CC3A-40B7-95C1-B059AF43DE2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4497A7C5-BC5F-48E8-AE9A-063AD7EF3F5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9" name="Foliennummernplatzhalter 8">
            <a:extLst>
              <a:ext uri="{FF2B5EF4-FFF2-40B4-BE49-F238E27FC236}">
                <a16:creationId xmlns:a16="http://schemas.microsoft.com/office/drawing/2014/main" id="{7F8F0835-9080-41B3-9513-4B6330021B2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8087646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Benutzerdefiniertes Layout">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3968A1E-5774-4FBF-B33D-33246827FA2C}"/>
              </a:ext>
            </a:extLst>
          </p:cNvPr>
          <p:cNvSpPr>
            <a:spLocks noGrp="1"/>
          </p:cNvSpPr>
          <p:nvPr>
            <p:ph type="dt" sz="half" idx="10"/>
          </p:nvPr>
        </p:nvSpPr>
        <p:spPr/>
        <p:txBody>
          <a:bodyPr/>
          <a:lstStyle/>
          <a:p>
            <a:fld id="{65010B03-D230-4701-9F37-B6F131066B93}" type="datetime1">
              <a:rPr lang="de-DE" smtClean="0"/>
              <a:t>02.08.2023</a:t>
            </a:fld>
            <a:endParaRPr lang="de-DE" dirty="0"/>
          </a:p>
        </p:txBody>
      </p:sp>
      <p:sp>
        <p:nvSpPr>
          <p:cNvPr id="3" name="Fußzeilenplatzhalter 2">
            <a:extLst>
              <a:ext uri="{FF2B5EF4-FFF2-40B4-BE49-F238E27FC236}">
                <a16:creationId xmlns:a16="http://schemas.microsoft.com/office/drawing/2014/main" id="{9B814E2C-65A8-4B4C-A488-296B14440993}"/>
              </a:ext>
            </a:extLst>
          </p:cNvPr>
          <p:cNvSpPr>
            <a:spLocks noGrp="1"/>
          </p:cNvSpPr>
          <p:nvPr>
            <p:ph type="ftr" sz="quarter" idx="11"/>
          </p:nvPr>
        </p:nvSpPr>
        <p:spPr/>
        <p:txBody>
          <a:bodyPr/>
          <a:lstStyle/>
          <a:p>
            <a:r>
              <a:rPr lang="de-DE"/>
              <a:t>| Optional</a:t>
            </a:r>
            <a:endParaRPr lang="de-DE" dirty="0"/>
          </a:p>
        </p:txBody>
      </p:sp>
      <p:sp>
        <p:nvSpPr>
          <p:cNvPr id="4" name="Foliennummernplatzhalter 3">
            <a:extLst>
              <a:ext uri="{FF2B5EF4-FFF2-40B4-BE49-F238E27FC236}">
                <a16:creationId xmlns:a16="http://schemas.microsoft.com/office/drawing/2014/main" id="{5E58CEEC-917F-4652-8701-CCABB57CFC37}"/>
              </a:ext>
            </a:extLst>
          </p:cNvPr>
          <p:cNvSpPr>
            <a:spLocks noGrp="1"/>
          </p:cNvSpPr>
          <p:nvPr>
            <p:ph type="sldNum" sz="quarter" idx="12"/>
          </p:nvPr>
        </p:nvSpPr>
        <p:spPr/>
        <p:txBody>
          <a:body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15740884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ASF_Finale_V10_2">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6C158954-2A4D-4D8C-BF47-5F0868C6CF35}"/>
              </a:ext>
            </a:extLst>
          </p:cNvPr>
          <p:cNvGrpSpPr/>
          <p:nvPr/>
        </p:nvGrpSpPr>
        <p:grpSpPr>
          <a:xfrm>
            <a:off x="2120" y="3"/>
            <a:ext cx="12187766" cy="6858001"/>
            <a:chOff x="2119" y="3"/>
            <a:chExt cx="12186180" cy="6858001"/>
          </a:xfrm>
        </p:grpSpPr>
        <p:pic>
          <p:nvPicPr>
            <p:cNvPr id="3" name="Picture 5" descr="C:\Documents and Settings\ROESSO\My Documents\Ablage\Corporate Design\PowerPoint\Logos Wizard\BASFc_Q_PPT_38_rot.ti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119" y="3"/>
              <a:ext cx="12186180" cy="6858001"/>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a:extLst>
                <a:ext uri="{FF2B5EF4-FFF2-40B4-BE49-F238E27FC236}">
                  <a16:creationId xmlns:a16="http://schemas.microsoft.com/office/drawing/2014/main" id="{3F0E9031-C6CC-4AD9-A413-D4FEDA99303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37439" y="2317598"/>
              <a:ext cx="6183516" cy="2234254"/>
            </a:xfrm>
            <a:prstGeom prst="rect">
              <a:avLst/>
            </a:prstGeom>
          </p:spPr>
        </p:pic>
      </p:grpSp>
    </p:spTree>
    <p:extLst>
      <p:ext uri="{BB962C8B-B14F-4D97-AF65-F5344CB8AC3E}">
        <p14:creationId xmlns:p14="http://schemas.microsoft.com/office/powerpoint/2010/main" val="26893373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ColTx" preserve="1">
  <p:cSld name="Titel und zweispaltig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A8E6BF-CDDE-4BBA-B7C7-CD86C7261BC8}"/>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8FC1550A-B9C7-4F29-A06E-E6249E7B3610}"/>
              </a:ext>
            </a:extLst>
          </p:cNvPr>
          <p:cNvSpPr>
            <a:spLocks noGrp="1"/>
          </p:cNvSpPr>
          <p:nvPr>
            <p:ph type="body" sz="half" idx="1"/>
          </p:nvPr>
        </p:nvSpPr>
        <p:spPr>
          <a:xfrm>
            <a:off x="212344" y="1965579"/>
            <a:ext cx="5800852" cy="3906012"/>
          </a:xfrm>
          <a:prstGeom prst="rect">
            <a:avLst/>
          </a:prstGeo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877FDF47-10EC-4B98-BEFE-5F17608FD7AF}"/>
              </a:ext>
            </a:extLst>
          </p:cNvPr>
          <p:cNvSpPr>
            <a:spLocks noGrp="1"/>
          </p:cNvSpPr>
          <p:nvPr>
            <p:ph type="body" sz="half" idx="2"/>
          </p:nvPr>
        </p:nvSpPr>
        <p:spPr>
          <a:xfrm>
            <a:off x="6165596" y="1965579"/>
            <a:ext cx="5800852" cy="3906012"/>
          </a:xfrm>
          <a:prstGeom prst="rect">
            <a:avLst/>
          </a:prstGeo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Fußzeilenplatzhalter 4">
            <a:extLst>
              <a:ext uri="{FF2B5EF4-FFF2-40B4-BE49-F238E27FC236}">
                <a16:creationId xmlns:a16="http://schemas.microsoft.com/office/drawing/2014/main" id="{E08B4501-4886-4F90-AABA-29D3BFD5977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BB037D59-CDCB-4605-A031-5C299A6851E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E33138-ACF4-4AA0-BCDB-3A9F2443B8D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162E148D-DA16-4D47-86F8-5AC4C3F0BE9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6898876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212345" y="1965579"/>
            <a:ext cx="11753977"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9134449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AE6E8A-5BA7-486D-B947-003A611BE206}"/>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abellenplatzhalter 2">
            <a:extLst>
              <a:ext uri="{FF2B5EF4-FFF2-40B4-BE49-F238E27FC236}">
                <a16:creationId xmlns:a16="http://schemas.microsoft.com/office/drawing/2014/main" id="{929C18BF-1B0A-4AB1-9EE5-095436AB506C}"/>
              </a:ext>
            </a:extLst>
          </p:cNvPr>
          <p:cNvSpPr>
            <a:spLocks noGrp="1"/>
          </p:cNvSpPr>
          <p:nvPr>
            <p:ph type="tbl" idx="1"/>
          </p:nvPr>
        </p:nvSpPr>
        <p:spPr>
          <a:xfrm>
            <a:off x="212345" y="1965579"/>
            <a:ext cx="11753977" cy="3906012"/>
          </a:xfrm>
          <a:prstGeom prst="rect">
            <a:avLst/>
          </a:prstGeom>
        </p:spPr>
        <p:txBody>
          <a:bodyPr/>
          <a:lstStyle/>
          <a:p>
            <a:r>
              <a:rPr lang="en-US" dirty="0"/>
              <a:t>Click icon to add table</a:t>
            </a:r>
            <a:endParaRPr lang="de-DE"/>
          </a:p>
        </p:txBody>
      </p:sp>
      <p:sp>
        <p:nvSpPr>
          <p:cNvPr id="4" name="Fußzeilenplatzhalter 3">
            <a:extLst>
              <a:ext uri="{FF2B5EF4-FFF2-40B4-BE49-F238E27FC236}">
                <a16:creationId xmlns:a16="http://schemas.microsoft.com/office/drawing/2014/main" id="{A8A05E60-490C-4331-A427-E892863F6E3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61CD60CA-E7F1-42CF-8422-C37F5528F46F}"/>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EA828A8A-A900-4765-BE54-8F6A7A59D33A}"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AF2BE9BB-1EE3-4AE2-8BF7-B88FBE8733D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79144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212345" y="1965579"/>
            <a:ext cx="11753977"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368FC967-E25B-4DC7-87C0-1C454DF70C3D}"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5411270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xAndChart" preserve="1">
  <p:cSld name="Titel, Text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570CFC-19A3-4FC1-8679-96D023530C0F}"/>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99065C2F-7019-46C6-80C2-90C127178AB8}"/>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iagrammplatzhalter 3">
            <a:extLst>
              <a:ext uri="{FF2B5EF4-FFF2-40B4-BE49-F238E27FC236}">
                <a16:creationId xmlns:a16="http://schemas.microsoft.com/office/drawing/2014/main" id="{88B10754-5428-423A-93CA-445D5DE8B485}"/>
              </a:ext>
            </a:extLst>
          </p:cNvPr>
          <p:cNvSpPr>
            <a:spLocks noGrp="1"/>
          </p:cNvSpPr>
          <p:nvPr>
            <p:ph type="chart" sz="half" idx="2"/>
          </p:nvPr>
        </p:nvSpPr>
        <p:spPr>
          <a:xfrm>
            <a:off x="6165595" y="1965579"/>
            <a:ext cx="5800852" cy="3906012"/>
          </a:xfrm>
          <a:prstGeom prst="rect">
            <a:avLst/>
          </a:prstGeom>
        </p:spPr>
        <p:txBody>
          <a:bodyPr/>
          <a:lstStyle/>
          <a:p>
            <a:r>
              <a:rPr lang="en-US" dirty="0"/>
              <a:t>Click icon to add chart</a:t>
            </a:r>
            <a:endParaRPr lang="de-DE"/>
          </a:p>
        </p:txBody>
      </p:sp>
      <p:sp>
        <p:nvSpPr>
          <p:cNvPr id="5" name="Fußzeilenplatzhalter 4">
            <a:extLst>
              <a:ext uri="{FF2B5EF4-FFF2-40B4-BE49-F238E27FC236}">
                <a16:creationId xmlns:a16="http://schemas.microsoft.com/office/drawing/2014/main" id="{9815BF5D-3067-4438-8FD2-AB351B3A436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8593090-51CA-4CA4-8050-35DEF5113D5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F31EDC-29F8-4FDE-A096-1A8A5A19E28A}"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38686210-6ED2-4620-8AD0-9A0AECDE200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8659895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chartAndTx" preserve="1">
  <p:cSld name="Titel, Diagramm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739942-E2E1-4118-934D-4EDEBD70569B}"/>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Diagrammplatzhalter 2">
            <a:extLst>
              <a:ext uri="{FF2B5EF4-FFF2-40B4-BE49-F238E27FC236}">
                <a16:creationId xmlns:a16="http://schemas.microsoft.com/office/drawing/2014/main" id="{EFA9D9D7-18E2-4D2F-97C2-B5B56484A2CC}"/>
              </a:ext>
            </a:extLst>
          </p:cNvPr>
          <p:cNvSpPr>
            <a:spLocks noGrp="1"/>
          </p:cNvSpPr>
          <p:nvPr>
            <p:ph type="chart" sz="half" idx="1"/>
          </p:nvPr>
        </p:nvSpPr>
        <p:spPr>
          <a:xfrm>
            <a:off x="212343" y="1965579"/>
            <a:ext cx="5800852" cy="3906012"/>
          </a:xfrm>
          <a:prstGeom prst="rect">
            <a:avLst/>
          </a:prstGeom>
        </p:spPr>
        <p:txBody>
          <a:bodyPr/>
          <a:lstStyle/>
          <a:p>
            <a:r>
              <a:rPr lang="en-US" dirty="0"/>
              <a:t>Click icon to add chart</a:t>
            </a:r>
            <a:endParaRPr lang="de-DE"/>
          </a:p>
        </p:txBody>
      </p:sp>
      <p:sp>
        <p:nvSpPr>
          <p:cNvPr id="4" name="Textplatzhalter 3">
            <a:extLst>
              <a:ext uri="{FF2B5EF4-FFF2-40B4-BE49-F238E27FC236}">
                <a16:creationId xmlns:a16="http://schemas.microsoft.com/office/drawing/2014/main" id="{67270A36-07B9-4B5B-8EA5-FC4A36502F14}"/>
              </a:ext>
            </a:extLst>
          </p:cNvPr>
          <p:cNvSpPr>
            <a:spLocks noGrp="1"/>
          </p:cNvSpPr>
          <p:nvPr>
            <p:ph type="body"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835D6173-567C-4DF7-8E5A-2F4401EC5BCC}"/>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19182B75-E9DD-4C82-8759-EC7BCDD8895A}"/>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AFAA40D-DF08-40E5-9F38-B7BC60CAE2A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F53177F6-3049-4C1A-BBCE-63A3197B4DA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2174428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97F078-4BE0-4FCC-A4F6-3F47654B1DE4}"/>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SmartArt-Platzhalter 2">
            <a:extLst>
              <a:ext uri="{FF2B5EF4-FFF2-40B4-BE49-F238E27FC236}">
                <a16:creationId xmlns:a16="http://schemas.microsoft.com/office/drawing/2014/main" id="{59842522-B689-4429-8668-A12EAE0FF73B}"/>
              </a:ext>
            </a:extLst>
          </p:cNvPr>
          <p:cNvSpPr>
            <a:spLocks noGrp="1"/>
          </p:cNvSpPr>
          <p:nvPr>
            <p:ph type="dgm" idx="1"/>
          </p:nvPr>
        </p:nvSpPr>
        <p:spPr>
          <a:xfrm>
            <a:off x="212345" y="1965579"/>
            <a:ext cx="11753977" cy="3906012"/>
          </a:xfrm>
          <a:prstGeom prst="rect">
            <a:avLst/>
          </a:prstGeom>
        </p:spPr>
        <p:txBody>
          <a:bodyPr/>
          <a:lstStyle/>
          <a:p>
            <a:r>
              <a:rPr lang="en-US" dirty="0"/>
              <a:t>Click icon to add SmartArt graphic</a:t>
            </a:r>
            <a:endParaRPr lang="de-DE"/>
          </a:p>
        </p:txBody>
      </p:sp>
      <p:sp>
        <p:nvSpPr>
          <p:cNvPr id="4" name="Fußzeilenplatzhalter 3">
            <a:extLst>
              <a:ext uri="{FF2B5EF4-FFF2-40B4-BE49-F238E27FC236}">
                <a16:creationId xmlns:a16="http://schemas.microsoft.com/office/drawing/2014/main" id="{DE2008AD-EC4B-49B9-92D6-1B8D349A637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B2C8BA3A-C496-4C05-B63D-8AB93B2B95C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F458B07D-B1E9-499A-953F-B5C3869B847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C2D12463-DC1C-4D03-BD29-5BAED045002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8541519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021F22-9201-4312-82BB-977424A9FDC8}"/>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Diagrammplatzhalter 2">
            <a:extLst>
              <a:ext uri="{FF2B5EF4-FFF2-40B4-BE49-F238E27FC236}">
                <a16:creationId xmlns:a16="http://schemas.microsoft.com/office/drawing/2014/main" id="{3B4E2F07-E33A-4677-B67C-2A8D3D8F588D}"/>
              </a:ext>
            </a:extLst>
          </p:cNvPr>
          <p:cNvSpPr>
            <a:spLocks noGrp="1"/>
          </p:cNvSpPr>
          <p:nvPr>
            <p:ph type="chart" idx="1"/>
          </p:nvPr>
        </p:nvSpPr>
        <p:spPr>
          <a:xfrm>
            <a:off x="212345" y="1965579"/>
            <a:ext cx="11753977" cy="3906012"/>
          </a:xfrm>
          <a:prstGeom prst="rect">
            <a:avLst/>
          </a:prstGeom>
        </p:spPr>
        <p:txBody>
          <a:bodyPr/>
          <a:lstStyle/>
          <a:p>
            <a:r>
              <a:rPr lang="en-US" dirty="0"/>
              <a:t>Click icon to add chart</a:t>
            </a:r>
            <a:endParaRPr lang="de-DE"/>
          </a:p>
        </p:txBody>
      </p:sp>
      <p:sp>
        <p:nvSpPr>
          <p:cNvPr id="4" name="Fußzeilenplatzhalter 3">
            <a:extLst>
              <a:ext uri="{FF2B5EF4-FFF2-40B4-BE49-F238E27FC236}">
                <a16:creationId xmlns:a16="http://schemas.microsoft.com/office/drawing/2014/main" id="{259A8878-DBD1-4A55-8181-4E9D32DD386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595FA3F9-A4B2-4E51-BF05-870A2E94510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550AD6C-84CC-4A5E-86D3-FC3E11464A67}"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B8E24E94-7A64-4263-93F5-D84EB45D40F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4461402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xAndClipArt" preserve="1">
  <p:cSld name="Titel, Text und ClipAr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7C4215-C923-45A6-BD7C-721C7241C5E1}"/>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0A2C6217-C13F-461A-A85F-6657A808B90C}"/>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Onlinebild-Platzhalter 3">
            <a:extLst>
              <a:ext uri="{FF2B5EF4-FFF2-40B4-BE49-F238E27FC236}">
                <a16:creationId xmlns:a16="http://schemas.microsoft.com/office/drawing/2014/main" id="{1D81F6CB-E450-4174-819C-3B0BDBCDE027}"/>
              </a:ext>
            </a:extLst>
          </p:cNvPr>
          <p:cNvSpPr>
            <a:spLocks noGrp="1"/>
          </p:cNvSpPr>
          <p:nvPr>
            <p:ph type="clipArt" sz="half" idx="2"/>
          </p:nvPr>
        </p:nvSpPr>
        <p:spPr>
          <a:xfrm>
            <a:off x="6165595" y="1965579"/>
            <a:ext cx="5800852" cy="3906012"/>
          </a:xfrm>
          <a:prstGeom prst="rect">
            <a:avLst/>
          </a:prstGeom>
        </p:spPr>
        <p:txBody>
          <a:bodyPr/>
          <a:lstStyle/>
          <a:p>
            <a:r>
              <a:rPr lang="en-US" dirty="0"/>
              <a:t>Click icon to add online image</a:t>
            </a:r>
            <a:endParaRPr lang="de-DE"/>
          </a:p>
        </p:txBody>
      </p:sp>
      <p:sp>
        <p:nvSpPr>
          <p:cNvPr id="5" name="Fußzeilenplatzhalter 4">
            <a:extLst>
              <a:ext uri="{FF2B5EF4-FFF2-40B4-BE49-F238E27FC236}">
                <a16:creationId xmlns:a16="http://schemas.microsoft.com/office/drawing/2014/main" id="{9F1F65BB-69FE-4D49-A6E4-4546478BCBF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5A38E248-9E58-4FBF-9D61-9EE23C39BB3B}"/>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B60F8D1-6788-4364-B4B7-3C4167F5F146}"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4E89B81A-4E05-43F4-AA44-F33F1430D19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5560211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clipArtAndTx" preserve="1">
  <p:cSld name="Titel, ClipAr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08889C-9108-4E11-B334-A27EA54A23C7}"/>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Onlinebild-Platzhalter 2">
            <a:extLst>
              <a:ext uri="{FF2B5EF4-FFF2-40B4-BE49-F238E27FC236}">
                <a16:creationId xmlns:a16="http://schemas.microsoft.com/office/drawing/2014/main" id="{B7775F34-407A-48B2-9B1C-A932A0181C2A}"/>
              </a:ext>
            </a:extLst>
          </p:cNvPr>
          <p:cNvSpPr>
            <a:spLocks noGrp="1"/>
          </p:cNvSpPr>
          <p:nvPr>
            <p:ph type="clipArt" sz="half" idx="1"/>
          </p:nvPr>
        </p:nvSpPr>
        <p:spPr>
          <a:xfrm>
            <a:off x="212343" y="1965579"/>
            <a:ext cx="5800852" cy="3906012"/>
          </a:xfrm>
          <a:prstGeom prst="rect">
            <a:avLst/>
          </a:prstGeom>
        </p:spPr>
        <p:txBody>
          <a:bodyPr/>
          <a:lstStyle/>
          <a:p>
            <a:r>
              <a:rPr lang="en-US" dirty="0"/>
              <a:t>Click icon to add online image</a:t>
            </a:r>
            <a:endParaRPr lang="de-DE"/>
          </a:p>
        </p:txBody>
      </p:sp>
      <p:sp>
        <p:nvSpPr>
          <p:cNvPr id="4" name="Textplatzhalter 3">
            <a:extLst>
              <a:ext uri="{FF2B5EF4-FFF2-40B4-BE49-F238E27FC236}">
                <a16:creationId xmlns:a16="http://schemas.microsoft.com/office/drawing/2014/main" id="{137A6B39-BF7A-4209-AA3A-273F92455170}"/>
              </a:ext>
            </a:extLst>
          </p:cNvPr>
          <p:cNvSpPr>
            <a:spLocks noGrp="1"/>
          </p:cNvSpPr>
          <p:nvPr>
            <p:ph type="body"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0B3E23DC-3384-47E5-BCB1-F2B7270A9F8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B0F7007C-89FE-4D34-A5F7-11B79EA12849}"/>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A59EF9D1-1D6E-44E8-A7EE-5EC5CD3E4ADE}"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E9E62410-A838-493D-B4DF-071E984717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5258358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C5CC59-BC4F-4F35-899E-066A75D69A3B}"/>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Fußzeilenplatzhalter 2">
            <a:extLst>
              <a:ext uri="{FF2B5EF4-FFF2-40B4-BE49-F238E27FC236}">
                <a16:creationId xmlns:a16="http://schemas.microsoft.com/office/drawing/2014/main" id="{81FEAD91-A51C-43CD-8E4C-904A8749BF20}"/>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Datumsplatzhalter 3">
            <a:extLst>
              <a:ext uri="{FF2B5EF4-FFF2-40B4-BE49-F238E27FC236}">
                <a16:creationId xmlns:a16="http://schemas.microsoft.com/office/drawing/2014/main" id="{C6943F05-466E-47EB-A4DF-79F7329DE7AD}"/>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752000-55A0-4553-BBD4-CFFEEB173D5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Foliennummernplatzhalter 4">
            <a:extLst>
              <a:ext uri="{FF2B5EF4-FFF2-40B4-BE49-F238E27FC236}">
                <a16:creationId xmlns:a16="http://schemas.microsoft.com/office/drawing/2014/main" id="{EAAA4A8E-EFEB-4FA3-B265-63AFB751904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0816216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08E9903-ECD7-4C58-9A4B-8CEC2A22571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 name="Datumsplatzhalter 2">
            <a:extLst>
              <a:ext uri="{FF2B5EF4-FFF2-40B4-BE49-F238E27FC236}">
                <a16:creationId xmlns:a16="http://schemas.microsoft.com/office/drawing/2014/main" id="{04AC508E-137C-4416-908D-2B01A21EC738}"/>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5D8B96A5-E1D7-454B-BFDF-E714B7BF1A08}"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Foliennummernplatzhalter 3">
            <a:extLst>
              <a:ext uri="{FF2B5EF4-FFF2-40B4-BE49-F238E27FC236}">
                <a16:creationId xmlns:a16="http://schemas.microsoft.com/office/drawing/2014/main" id="{FCAAE8AB-52F8-43B0-B5A9-664FB525BB6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6566313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AndObj" preserve="1">
  <p:cSld name="Titel, Text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F2ABAC-561F-4606-A67C-1A55942027F2}"/>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33ED3FFE-CF79-4687-A078-C8E44A073B73}"/>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DBB7FF96-6611-4D4F-BCB0-01C1D31DC0C9}"/>
              </a:ext>
            </a:extLst>
          </p:cNvPr>
          <p:cNvSpPr>
            <a:spLocks noGrp="1"/>
          </p:cNvSpPr>
          <p:nvPr>
            <p:ph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E3020A3C-5997-4241-9E93-5058EC012B35}"/>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98AF161C-F4A7-4A48-827F-5711D99E558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F8FEEF0-7EAC-424F-8BDF-62D59EECC53C}"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B6411C8A-7FBB-42B8-812F-9D3862E75FA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1287257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AndTx" preserve="1">
  <p:cSld name="Titel, Inhal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A809E2-FF1C-4220-B806-F7A2CBB45B5B}"/>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84C654F8-BF58-4B3A-B336-3629ECE45454}"/>
              </a:ext>
            </a:extLst>
          </p:cNvPr>
          <p:cNvSpPr>
            <a:spLocks noGrp="1"/>
          </p:cNvSpPr>
          <p:nvPr>
            <p:ph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D12C4920-9938-4405-8A15-1CF4F1C9099F}"/>
              </a:ext>
            </a:extLst>
          </p:cNvPr>
          <p:cNvSpPr>
            <a:spLocks noGrp="1"/>
          </p:cNvSpPr>
          <p:nvPr>
            <p:ph type="body"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A7968547-6C9A-4A3F-9DF5-C094BF63FF4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9687ABFE-CCFA-4A9B-8529-F93712327C06}"/>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E41390A8-E354-4A21-9BC8-95E43BAF20C3}"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CB3FE862-F243-4638-A6BB-CD8B4AFF600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9036780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AE6E8A-5BA7-486D-B947-003A611BE206}"/>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abellenplatzhalter 2">
            <a:extLst>
              <a:ext uri="{FF2B5EF4-FFF2-40B4-BE49-F238E27FC236}">
                <a16:creationId xmlns:a16="http://schemas.microsoft.com/office/drawing/2014/main" id="{929C18BF-1B0A-4AB1-9EE5-095436AB506C}"/>
              </a:ext>
            </a:extLst>
          </p:cNvPr>
          <p:cNvSpPr>
            <a:spLocks noGrp="1"/>
          </p:cNvSpPr>
          <p:nvPr>
            <p:ph type="tbl" idx="1"/>
          </p:nvPr>
        </p:nvSpPr>
        <p:spPr>
          <a:xfrm>
            <a:off x="212345" y="1965579"/>
            <a:ext cx="11753977" cy="3906012"/>
          </a:xfrm>
          <a:prstGeom prst="rect">
            <a:avLst/>
          </a:prstGeom>
        </p:spPr>
        <p:txBody>
          <a:bodyPr/>
          <a:lstStyle/>
          <a:p>
            <a:r>
              <a:rPr lang="en-US" dirty="0"/>
              <a:t>Click icon to add table</a:t>
            </a:r>
            <a:endParaRPr lang="de-DE"/>
          </a:p>
        </p:txBody>
      </p:sp>
      <p:sp>
        <p:nvSpPr>
          <p:cNvPr id="4" name="Fußzeilenplatzhalter 3">
            <a:extLst>
              <a:ext uri="{FF2B5EF4-FFF2-40B4-BE49-F238E27FC236}">
                <a16:creationId xmlns:a16="http://schemas.microsoft.com/office/drawing/2014/main" id="{A8A05E60-490C-4331-A427-E892863F6E3B}"/>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5" name="Datumsplatzhalter 4">
            <a:extLst>
              <a:ext uri="{FF2B5EF4-FFF2-40B4-BE49-F238E27FC236}">
                <a16:creationId xmlns:a16="http://schemas.microsoft.com/office/drawing/2014/main" id="{61CD60CA-E7F1-42CF-8422-C37F5528F46F}"/>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EA828A8A-A900-4765-BE54-8F6A7A59D33A}"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AF2BE9BB-1EE3-4AE2-8BF7-B88FBE8733D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9696509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Only" preserve="1">
  <p:cSld name="Inhalt">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2CE1D32-E21C-47EA-A87F-E9B77F368C63}"/>
              </a:ext>
            </a:extLst>
          </p:cNvPr>
          <p:cNvSpPr>
            <a:spLocks noGrp="1"/>
          </p:cNvSpPr>
          <p:nvPr>
            <p:ph/>
          </p:nvPr>
        </p:nvSpPr>
        <p:spPr>
          <a:xfrm>
            <a:off x="212344" y="431800"/>
            <a:ext cx="11753977" cy="54403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3" name="Fußzeilenplatzhalter 2">
            <a:extLst>
              <a:ext uri="{FF2B5EF4-FFF2-40B4-BE49-F238E27FC236}">
                <a16:creationId xmlns:a16="http://schemas.microsoft.com/office/drawing/2014/main" id="{5F863ECE-AB9D-4E37-B422-CC40B5272EB4}"/>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Datumsplatzhalter 3">
            <a:extLst>
              <a:ext uri="{FF2B5EF4-FFF2-40B4-BE49-F238E27FC236}">
                <a16:creationId xmlns:a16="http://schemas.microsoft.com/office/drawing/2014/main" id="{7656F73E-08AD-4984-AA4D-6A2047EA1233}"/>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0CBFDB8-0ABA-4B5D-BB97-3F0F3764BA33}"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Foliennummernplatzhalter 4">
            <a:extLst>
              <a:ext uri="{FF2B5EF4-FFF2-40B4-BE49-F238E27FC236}">
                <a16:creationId xmlns:a16="http://schemas.microsoft.com/office/drawing/2014/main" id="{F2563ACE-B651-45D5-BB34-3B368EE9115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2776294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080E89-1E40-4B0D-BD55-CBE3C39C66EE}"/>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2353CF28-13C9-4E5C-9A41-1F6D684F3F08}"/>
              </a:ext>
            </a:extLst>
          </p:cNvPr>
          <p:cNvSpPr>
            <a:spLocks noGrp="1"/>
          </p:cNvSpPr>
          <p:nvPr>
            <p:ph idx="1"/>
          </p:nvPr>
        </p:nvSpPr>
        <p:spPr>
          <a:xfrm>
            <a:off x="212345" y="1965579"/>
            <a:ext cx="11753977"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Fußzeilenplatzhalter 3">
            <a:extLst>
              <a:ext uri="{FF2B5EF4-FFF2-40B4-BE49-F238E27FC236}">
                <a16:creationId xmlns:a16="http://schemas.microsoft.com/office/drawing/2014/main" id="{DB55761B-B9A2-4920-9B0D-35C5A79C73E2}"/>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5" name="Datumsplatzhalter 4">
            <a:extLst>
              <a:ext uri="{FF2B5EF4-FFF2-40B4-BE49-F238E27FC236}">
                <a16:creationId xmlns:a16="http://schemas.microsoft.com/office/drawing/2014/main" id="{5F670AE4-0FCB-4883-B7E4-B5754A2694C6}"/>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9681CFB-FE37-42E9-972B-7EE5E370AF9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0045A95C-6833-4457-B077-68A9637FCAC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6391747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xAndMedia" preserve="1">
  <p:cSld name="Titel, Text und Mediencli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A26DD6-5478-44D5-9C22-EA6102171B17}"/>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EDDA7DB3-D147-40F5-A85A-F22CDDCC7764}"/>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Medienplatzhalter 3">
            <a:extLst>
              <a:ext uri="{FF2B5EF4-FFF2-40B4-BE49-F238E27FC236}">
                <a16:creationId xmlns:a16="http://schemas.microsoft.com/office/drawing/2014/main" id="{60A14105-87B3-4C57-AD70-C6D6EB6C2BD5}"/>
              </a:ext>
            </a:extLst>
          </p:cNvPr>
          <p:cNvSpPr>
            <a:spLocks noGrp="1"/>
          </p:cNvSpPr>
          <p:nvPr>
            <p:ph type="media" sz="half" idx="2"/>
          </p:nvPr>
        </p:nvSpPr>
        <p:spPr>
          <a:xfrm>
            <a:off x="6165595" y="1965579"/>
            <a:ext cx="5800852" cy="3906012"/>
          </a:xfrm>
          <a:prstGeom prst="rect">
            <a:avLst/>
          </a:prstGeom>
        </p:spPr>
        <p:txBody>
          <a:bodyPr/>
          <a:lstStyle/>
          <a:p>
            <a:r>
              <a:rPr lang="en-US" dirty="0"/>
              <a:t>Click icon to add media</a:t>
            </a:r>
            <a:endParaRPr lang="de-DE"/>
          </a:p>
        </p:txBody>
      </p:sp>
      <p:sp>
        <p:nvSpPr>
          <p:cNvPr id="5" name="Fußzeilenplatzhalter 4">
            <a:extLst>
              <a:ext uri="{FF2B5EF4-FFF2-40B4-BE49-F238E27FC236}">
                <a16:creationId xmlns:a16="http://schemas.microsoft.com/office/drawing/2014/main" id="{26468F25-440D-4B20-B43E-2906F5F245F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574263A-04B4-4BB1-BA72-C60C07FA968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2E9AD9D9-F800-41FA-B6C4-3F1480191AA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B444941E-A04D-406F-897B-1CB8D8B4F9D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392486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mediaAndTx" preserve="1">
  <p:cSld name="Titel, Medienclip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639877-D01C-4856-BA52-624F29B860CE}"/>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Medienplatzhalter 2">
            <a:extLst>
              <a:ext uri="{FF2B5EF4-FFF2-40B4-BE49-F238E27FC236}">
                <a16:creationId xmlns:a16="http://schemas.microsoft.com/office/drawing/2014/main" id="{44221E77-11E0-4F51-8A81-F543833C9E60}"/>
              </a:ext>
            </a:extLst>
          </p:cNvPr>
          <p:cNvSpPr>
            <a:spLocks noGrp="1"/>
          </p:cNvSpPr>
          <p:nvPr>
            <p:ph type="media" sz="half" idx="1"/>
          </p:nvPr>
        </p:nvSpPr>
        <p:spPr>
          <a:xfrm>
            <a:off x="212343" y="1965579"/>
            <a:ext cx="5800852" cy="3906012"/>
          </a:xfrm>
          <a:prstGeom prst="rect">
            <a:avLst/>
          </a:prstGeom>
        </p:spPr>
        <p:txBody>
          <a:bodyPr/>
          <a:lstStyle/>
          <a:p>
            <a:r>
              <a:rPr lang="en-US" dirty="0"/>
              <a:t>Click icon to add media</a:t>
            </a:r>
            <a:endParaRPr lang="de-DE"/>
          </a:p>
        </p:txBody>
      </p:sp>
      <p:sp>
        <p:nvSpPr>
          <p:cNvPr id="4" name="Textplatzhalter 3">
            <a:extLst>
              <a:ext uri="{FF2B5EF4-FFF2-40B4-BE49-F238E27FC236}">
                <a16:creationId xmlns:a16="http://schemas.microsoft.com/office/drawing/2014/main" id="{D109FC1F-991B-4A03-80B8-3A8A5F2D0719}"/>
              </a:ext>
            </a:extLst>
          </p:cNvPr>
          <p:cNvSpPr>
            <a:spLocks noGrp="1"/>
          </p:cNvSpPr>
          <p:nvPr>
            <p:ph type="body"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311A9557-B4F9-4FC2-9332-363ACA4D445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95E73B0-6F01-42C0-B398-DB7C7D7E05A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8192C09A-BEA4-4445-B8BC-DEC53FCADD78}"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D8FAA16F-81A1-4CEB-8939-4AA044CBF6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2117029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OverTx" preserve="1">
  <p:cSld name="Titel und Inhalt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8735A7-B28E-4745-8655-C9999B011673}"/>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135637BB-60B1-4488-8CF1-E3F06D5EBED0}"/>
              </a:ext>
            </a:extLst>
          </p:cNvPr>
          <p:cNvSpPr>
            <a:spLocks noGrp="1"/>
          </p:cNvSpPr>
          <p:nvPr>
            <p:ph sz="half" idx="1"/>
          </p:nvPr>
        </p:nvSpPr>
        <p:spPr>
          <a:xfrm>
            <a:off x="212344" y="1965579"/>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D4D5F2FC-4B25-456C-A90C-64CEA05B29FB}"/>
              </a:ext>
            </a:extLst>
          </p:cNvPr>
          <p:cNvSpPr>
            <a:spLocks noGrp="1"/>
          </p:cNvSpPr>
          <p:nvPr>
            <p:ph type="body" sz="half" idx="2"/>
          </p:nvPr>
        </p:nvSpPr>
        <p:spPr>
          <a:xfrm>
            <a:off x="212344" y="3994785"/>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2BD6C371-FE65-4294-97AD-25A76E97810F}"/>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FC86BFFF-93A4-440C-B3C4-802614E81B71}"/>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3B742DD-8773-4E2A-9EEB-2648EDB3335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042C8699-C73C-4568-AB42-D32BC3096EB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9473443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xOverObj" preserve="1">
  <p:cSld name="Titel und Text über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B682FF-DD0C-46E2-8C1C-A06AF64F5952}"/>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5DD7F0EF-78BF-43F5-9C29-474B537D6FB6}"/>
              </a:ext>
            </a:extLst>
          </p:cNvPr>
          <p:cNvSpPr>
            <a:spLocks noGrp="1"/>
          </p:cNvSpPr>
          <p:nvPr>
            <p:ph type="body" sz="half" idx="1"/>
          </p:nvPr>
        </p:nvSpPr>
        <p:spPr>
          <a:xfrm>
            <a:off x="212344" y="1965579"/>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12F11F21-0ACE-496A-A93D-B817BF62CFF8}"/>
              </a:ext>
            </a:extLst>
          </p:cNvPr>
          <p:cNvSpPr>
            <a:spLocks noGrp="1"/>
          </p:cNvSpPr>
          <p:nvPr>
            <p:ph sz="half" idx="2"/>
          </p:nvPr>
        </p:nvSpPr>
        <p:spPr>
          <a:xfrm>
            <a:off x="212344" y="3994785"/>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7F9D28A9-F404-4434-9C9A-358402724C97}"/>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Datumsplatzhalter 5">
            <a:extLst>
              <a:ext uri="{FF2B5EF4-FFF2-40B4-BE49-F238E27FC236}">
                <a16:creationId xmlns:a16="http://schemas.microsoft.com/office/drawing/2014/main" id="{06E3F372-F58D-4CA4-BFB3-29426E8445D5}"/>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F107B34-1A56-43EE-86C9-2DAE19548ED2}"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E8C92BCB-A68D-4FE6-8DC3-18BD6C232DA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0347622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A49E15-3CC2-4EE0-92C8-91165D511DA8}"/>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CE50D0BD-1B65-4BC9-A974-4C55A3FDEF28}"/>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DE89BA9B-96E6-486F-AB64-EA38AC71B787}"/>
              </a:ext>
            </a:extLst>
          </p:cNvPr>
          <p:cNvSpPr>
            <a:spLocks noGrp="1"/>
          </p:cNvSpPr>
          <p:nvPr>
            <p:ph sz="quarter" idx="2"/>
          </p:nvPr>
        </p:nvSpPr>
        <p:spPr>
          <a:xfrm>
            <a:off x="6165595"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Inhaltsplatzhalter 4">
            <a:extLst>
              <a:ext uri="{FF2B5EF4-FFF2-40B4-BE49-F238E27FC236}">
                <a16:creationId xmlns:a16="http://schemas.microsoft.com/office/drawing/2014/main" id="{E3A62A82-A2FB-4831-BF8E-0B8D27882DE9}"/>
              </a:ext>
            </a:extLst>
          </p:cNvPr>
          <p:cNvSpPr>
            <a:spLocks noGrp="1"/>
          </p:cNvSpPr>
          <p:nvPr>
            <p:ph sz="quarter" idx="3"/>
          </p:nvPr>
        </p:nvSpPr>
        <p:spPr>
          <a:xfrm>
            <a:off x="6165595" y="3994785"/>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07E8A134-6B88-4B2A-AE42-C5C2DE4BCF90}"/>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Datumsplatzhalter 6">
            <a:extLst>
              <a:ext uri="{FF2B5EF4-FFF2-40B4-BE49-F238E27FC236}">
                <a16:creationId xmlns:a16="http://schemas.microsoft.com/office/drawing/2014/main" id="{1C573FE7-AAD9-4572-A337-5461F2423AC5}"/>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0E0C30BE-3111-461B-8F9D-AEA244FE4A01}"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FF6D4B64-4848-48B9-9A84-A7C7BFCD319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4382952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2CBFF9-6AA9-4135-B013-124136065B66}"/>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6A8C003F-FDE2-4BCD-8446-E93BA74B902B}"/>
              </a:ext>
            </a:extLst>
          </p:cNvPr>
          <p:cNvSpPr>
            <a:spLocks noGrp="1"/>
          </p:cNvSpPr>
          <p:nvPr>
            <p:ph sz="quarter" idx="1"/>
          </p:nvPr>
        </p:nvSpPr>
        <p:spPr>
          <a:xfrm>
            <a:off x="212343"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7AF8FA0B-2B73-4F9E-8421-B7FAA861D2BC}"/>
              </a:ext>
            </a:extLst>
          </p:cNvPr>
          <p:cNvSpPr>
            <a:spLocks noGrp="1"/>
          </p:cNvSpPr>
          <p:nvPr>
            <p:ph sz="quarter" idx="2"/>
          </p:nvPr>
        </p:nvSpPr>
        <p:spPr>
          <a:xfrm>
            <a:off x="212343" y="3994785"/>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a:extLst>
              <a:ext uri="{FF2B5EF4-FFF2-40B4-BE49-F238E27FC236}">
                <a16:creationId xmlns:a16="http://schemas.microsoft.com/office/drawing/2014/main" id="{B6A06705-80A7-42BF-B2C5-248EA2910CCE}"/>
              </a:ext>
            </a:extLst>
          </p:cNvPr>
          <p:cNvSpPr>
            <a:spLocks noGrp="1"/>
          </p:cNvSpPr>
          <p:nvPr>
            <p:ph type="body" sz="half" idx="3"/>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68651DD0-4839-47C9-A9A9-3F5056FFCBA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Datumsplatzhalter 6">
            <a:extLst>
              <a:ext uri="{FF2B5EF4-FFF2-40B4-BE49-F238E27FC236}">
                <a16:creationId xmlns:a16="http://schemas.microsoft.com/office/drawing/2014/main" id="{38323B6D-9603-4517-B425-10C069E2500E}"/>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8AF7673-4E49-421A-A8F9-8B568C2E52E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B1BFD5DC-90F2-4A91-AE88-C9A9192A247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8094935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OverTx" preserve="1">
  <p:cSld name="Titel und 2 Inhalte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2E6BCF-F13B-4DAE-838C-D4CFDC543608}"/>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5E4072EF-C701-4F8C-9B31-1260A74B6366}"/>
              </a:ext>
            </a:extLst>
          </p:cNvPr>
          <p:cNvSpPr>
            <a:spLocks noGrp="1"/>
          </p:cNvSpPr>
          <p:nvPr>
            <p:ph sz="quarter" idx="1"/>
          </p:nvPr>
        </p:nvSpPr>
        <p:spPr>
          <a:xfrm>
            <a:off x="212343"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2516D008-2F5C-4820-A061-6C39F314126D}"/>
              </a:ext>
            </a:extLst>
          </p:cNvPr>
          <p:cNvSpPr>
            <a:spLocks noGrp="1"/>
          </p:cNvSpPr>
          <p:nvPr>
            <p:ph sz="quarter" idx="2"/>
          </p:nvPr>
        </p:nvSpPr>
        <p:spPr>
          <a:xfrm>
            <a:off x="6165595"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a:extLst>
              <a:ext uri="{FF2B5EF4-FFF2-40B4-BE49-F238E27FC236}">
                <a16:creationId xmlns:a16="http://schemas.microsoft.com/office/drawing/2014/main" id="{6E0CE585-CC58-4405-A5B2-4146F97E314D}"/>
              </a:ext>
            </a:extLst>
          </p:cNvPr>
          <p:cNvSpPr>
            <a:spLocks noGrp="1"/>
          </p:cNvSpPr>
          <p:nvPr>
            <p:ph type="body" sz="half" idx="3"/>
          </p:nvPr>
        </p:nvSpPr>
        <p:spPr>
          <a:xfrm>
            <a:off x="212344" y="3994785"/>
            <a:ext cx="11753977"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D8156A72-D8B4-4EB6-8FFB-61C9B44B1EC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Datumsplatzhalter 6">
            <a:extLst>
              <a:ext uri="{FF2B5EF4-FFF2-40B4-BE49-F238E27FC236}">
                <a16:creationId xmlns:a16="http://schemas.microsoft.com/office/drawing/2014/main" id="{D0EFBFB9-D2F6-40AF-BCCC-A2A94354C2D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A2F219F5-2D10-43F8-A53B-34A1ADD86956}"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Foliennummernplatzhalter 7">
            <a:extLst>
              <a:ext uri="{FF2B5EF4-FFF2-40B4-BE49-F238E27FC236}">
                <a16:creationId xmlns:a16="http://schemas.microsoft.com/office/drawing/2014/main" id="{D28F30A4-BEA8-4D3F-B414-562C963D889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7698115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fourObj" preserve="1">
  <p:cSld name="Titel und vier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4E88C9-2E13-4233-97E7-A58EA56BF533}"/>
              </a:ext>
            </a:extLst>
          </p:cNvPr>
          <p:cNvSpPr>
            <a:spLocks noGrp="1"/>
          </p:cNvSpPr>
          <p:nvPr>
            <p:ph type="title" sz="quarter"/>
          </p:nvPr>
        </p:nvSpPr>
        <p:spPr>
          <a:xfrm>
            <a:off x="219600" y="432000"/>
            <a:ext cx="11736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9D7B31FC-3EB7-4237-9F75-E570D381E0FE}"/>
              </a:ext>
            </a:extLst>
          </p:cNvPr>
          <p:cNvSpPr>
            <a:spLocks noGrp="1"/>
          </p:cNvSpPr>
          <p:nvPr>
            <p:ph sz="quarter" idx="1"/>
          </p:nvPr>
        </p:nvSpPr>
        <p:spPr>
          <a:xfrm>
            <a:off x="212344"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38A8875F-CFAA-4590-B879-3219CBD4BB93}"/>
              </a:ext>
            </a:extLst>
          </p:cNvPr>
          <p:cNvSpPr>
            <a:spLocks noGrp="1"/>
          </p:cNvSpPr>
          <p:nvPr>
            <p:ph sz="quarter" idx="2"/>
          </p:nvPr>
        </p:nvSpPr>
        <p:spPr>
          <a:xfrm>
            <a:off x="6165596" y="1965579"/>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Inhaltsplatzhalter 4">
            <a:extLst>
              <a:ext uri="{FF2B5EF4-FFF2-40B4-BE49-F238E27FC236}">
                <a16:creationId xmlns:a16="http://schemas.microsoft.com/office/drawing/2014/main" id="{CA4CB87F-0C22-4934-8CA1-76F88C95A477}"/>
              </a:ext>
            </a:extLst>
          </p:cNvPr>
          <p:cNvSpPr>
            <a:spLocks noGrp="1"/>
          </p:cNvSpPr>
          <p:nvPr>
            <p:ph sz="quarter" idx="3"/>
          </p:nvPr>
        </p:nvSpPr>
        <p:spPr>
          <a:xfrm>
            <a:off x="212344" y="3994785"/>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Inhaltsplatzhalter 5">
            <a:extLst>
              <a:ext uri="{FF2B5EF4-FFF2-40B4-BE49-F238E27FC236}">
                <a16:creationId xmlns:a16="http://schemas.microsoft.com/office/drawing/2014/main" id="{00020373-3ACB-4F0F-B502-F1E7C40F6322}"/>
              </a:ext>
            </a:extLst>
          </p:cNvPr>
          <p:cNvSpPr>
            <a:spLocks noGrp="1"/>
          </p:cNvSpPr>
          <p:nvPr>
            <p:ph sz="quarter" idx="4"/>
          </p:nvPr>
        </p:nvSpPr>
        <p:spPr>
          <a:xfrm>
            <a:off x="6165596" y="3994785"/>
            <a:ext cx="5800852"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Fußzeilenplatzhalter 6">
            <a:extLst>
              <a:ext uri="{FF2B5EF4-FFF2-40B4-BE49-F238E27FC236}">
                <a16:creationId xmlns:a16="http://schemas.microsoft.com/office/drawing/2014/main" id="{A7AE7A61-0107-4725-BF07-B2F2AA671499}"/>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Datumsplatzhalter 7">
            <a:extLst>
              <a:ext uri="{FF2B5EF4-FFF2-40B4-BE49-F238E27FC236}">
                <a16:creationId xmlns:a16="http://schemas.microsoft.com/office/drawing/2014/main" id="{42470242-CC3A-40B7-95C1-B059AF43DE2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4497A7C5-BC5F-48E8-AE9A-063AD7EF3F55}"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9" name="Foliennummernplatzhalter 8">
            <a:extLst>
              <a:ext uri="{FF2B5EF4-FFF2-40B4-BE49-F238E27FC236}">
                <a16:creationId xmlns:a16="http://schemas.microsoft.com/office/drawing/2014/main" id="{7F8F0835-9080-41B3-9513-4B6330021B2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0471730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AndChart" preserve="1">
  <p:cSld name="Titel, Text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570CFC-19A3-4FC1-8679-96D023530C0F}"/>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99065C2F-7019-46C6-80C2-90C127178AB8}"/>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iagrammplatzhalter 3">
            <a:extLst>
              <a:ext uri="{FF2B5EF4-FFF2-40B4-BE49-F238E27FC236}">
                <a16:creationId xmlns:a16="http://schemas.microsoft.com/office/drawing/2014/main" id="{88B10754-5428-423A-93CA-445D5DE8B485}"/>
              </a:ext>
            </a:extLst>
          </p:cNvPr>
          <p:cNvSpPr>
            <a:spLocks noGrp="1"/>
          </p:cNvSpPr>
          <p:nvPr>
            <p:ph type="chart" sz="half" idx="2"/>
          </p:nvPr>
        </p:nvSpPr>
        <p:spPr>
          <a:xfrm>
            <a:off x="6165595" y="1965579"/>
            <a:ext cx="5800852" cy="3906012"/>
          </a:xfrm>
          <a:prstGeom prst="rect">
            <a:avLst/>
          </a:prstGeom>
        </p:spPr>
        <p:txBody>
          <a:bodyPr/>
          <a:lstStyle/>
          <a:p>
            <a:r>
              <a:rPr lang="en-US" dirty="0"/>
              <a:t>Click icon to add chart</a:t>
            </a:r>
            <a:endParaRPr lang="de-DE"/>
          </a:p>
        </p:txBody>
      </p:sp>
      <p:sp>
        <p:nvSpPr>
          <p:cNvPr id="5" name="Fußzeilenplatzhalter 4">
            <a:extLst>
              <a:ext uri="{FF2B5EF4-FFF2-40B4-BE49-F238E27FC236}">
                <a16:creationId xmlns:a16="http://schemas.microsoft.com/office/drawing/2014/main" id="{9815BF5D-3067-4438-8FD2-AB351B3A436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08593090-51CA-4CA4-8050-35DEF5113D5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0F31EDC-29F8-4FDE-A096-1A8A5A19E28A}"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38686210-6ED2-4620-8AD0-9A0AECDE200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2018257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chartAndTx" preserve="1">
  <p:cSld name="Titel, Diagramm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739942-E2E1-4118-934D-4EDEBD70569B}"/>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Diagrammplatzhalter 2">
            <a:extLst>
              <a:ext uri="{FF2B5EF4-FFF2-40B4-BE49-F238E27FC236}">
                <a16:creationId xmlns:a16="http://schemas.microsoft.com/office/drawing/2014/main" id="{EFA9D9D7-18E2-4D2F-97C2-B5B56484A2CC}"/>
              </a:ext>
            </a:extLst>
          </p:cNvPr>
          <p:cNvSpPr>
            <a:spLocks noGrp="1"/>
          </p:cNvSpPr>
          <p:nvPr>
            <p:ph type="chart" sz="half" idx="1"/>
          </p:nvPr>
        </p:nvSpPr>
        <p:spPr>
          <a:xfrm>
            <a:off x="212343" y="1965579"/>
            <a:ext cx="5800852" cy="3906012"/>
          </a:xfrm>
          <a:prstGeom prst="rect">
            <a:avLst/>
          </a:prstGeom>
        </p:spPr>
        <p:txBody>
          <a:bodyPr/>
          <a:lstStyle/>
          <a:p>
            <a:r>
              <a:rPr lang="en-US" dirty="0"/>
              <a:t>Click icon to add chart</a:t>
            </a:r>
            <a:endParaRPr lang="de-DE"/>
          </a:p>
        </p:txBody>
      </p:sp>
      <p:sp>
        <p:nvSpPr>
          <p:cNvPr id="4" name="Textplatzhalter 3">
            <a:extLst>
              <a:ext uri="{FF2B5EF4-FFF2-40B4-BE49-F238E27FC236}">
                <a16:creationId xmlns:a16="http://schemas.microsoft.com/office/drawing/2014/main" id="{67270A36-07B9-4B5B-8EA5-FC4A36502F14}"/>
              </a:ext>
            </a:extLst>
          </p:cNvPr>
          <p:cNvSpPr>
            <a:spLocks noGrp="1"/>
          </p:cNvSpPr>
          <p:nvPr>
            <p:ph type="body" sz="half" idx="2"/>
          </p:nvPr>
        </p:nvSpPr>
        <p:spPr>
          <a:xfrm>
            <a:off x="6165595"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835D6173-567C-4DF7-8E5A-2F4401EC5BCC}"/>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19182B75-E9DD-4C82-8759-EC7BCDD8895A}"/>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CAFAA40D-DF08-40E5-9F38-B7BC60CAE2A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F53177F6-3049-4C1A-BBCE-63A3197B4DA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3766332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97F078-4BE0-4FCC-A4F6-3F47654B1DE4}"/>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SmartArt-Platzhalter 2">
            <a:extLst>
              <a:ext uri="{FF2B5EF4-FFF2-40B4-BE49-F238E27FC236}">
                <a16:creationId xmlns:a16="http://schemas.microsoft.com/office/drawing/2014/main" id="{59842522-B689-4429-8668-A12EAE0FF73B}"/>
              </a:ext>
            </a:extLst>
          </p:cNvPr>
          <p:cNvSpPr>
            <a:spLocks noGrp="1"/>
          </p:cNvSpPr>
          <p:nvPr>
            <p:ph type="dgm" idx="1"/>
          </p:nvPr>
        </p:nvSpPr>
        <p:spPr>
          <a:xfrm>
            <a:off x="212345" y="1965579"/>
            <a:ext cx="11753977" cy="3906012"/>
          </a:xfrm>
          <a:prstGeom prst="rect">
            <a:avLst/>
          </a:prstGeom>
        </p:spPr>
        <p:txBody>
          <a:bodyPr/>
          <a:lstStyle/>
          <a:p>
            <a:r>
              <a:rPr lang="en-US" dirty="0"/>
              <a:t>Click icon to add SmartArt graphic</a:t>
            </a:r>
            <a:endParaRPr lang="de-DE"/>
          </a:p>
        </p:txBody>
      </p:sp>
      <p:sp>
        <p:nvSpPr>
          <p:cNvPr id="4" name="Fußzeilenplatzhalter 3">
            <a:extLst>
              <a:ext uri="{FF2B5EF4-FFF2-40B4-BE49-F238E27FC236}">
                <a16:creationId xmlns:a16="http://schemas.microsoft.com/office/drawing/2014/main" id="{DE2008AD-EC4B-49B9-92D6-1B8D349A6371}"/>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5" name="Datumsplatzhalter 4">
            <a:extLst>
              <a:ext uri="{FF2B5EF4-FFF2-40B4-BE49-F238E27FC236}">
                <a16:creationId xmlns:a16="http://schemas.microsoft.com/office/drawing/2014/main" id="{B2C8BA3A-C496-4C05-B63D-8AB93B2B95C7}"/>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F458B07D-B1E9-499A-953F-B5C3869B847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C2D12463-DC1C-4D03-BD29-5BAED045002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338232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021F22-9201-4312-82BB-977424A9FDC8}"/>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Diagrammplatzhalter 2">
            <a:extLst>
              <a:ext uri="{FF2B5EF4-FFF2-40B4-BE49-F238E27FC236}">
                <a16:creationId xmlns:a16="http://schemas.microsoft.com/office/drawing/2014/main" id="{3B4E2F07-E33A-4677-B67C-2A8D3D8F588D}"/>
              </a:ext>
            </a:extLst>
          </p:cNvPr>
          <p:cNvSpPr>
            <a:spLocks noGrp="1"/>
          </p:cNvSpPr>
          <p:nvPr>
            <p:ph type="chart" idx="1"/>
          </p:nvPr>
        </p:nvSpPr>
        <p:spPr>
          <a:xfrm>
            <a:off x="212345" y="1965579"/>
            <a:ext cx="11753977" cy="3906012"/>
          </a:xfrm>
          <a:prstGeom prst="rect">
            <a:avLst/>
          </a:prstGeom>
        </p:spPr>
        <p:txBody>
          <a:bodyPr/>
          <a:lstStyle/>
          <a:p>
            <a:r>
              <a:rPr lang="en-US" dirty="0"/>
              <a:t>Click icon to add chart</a:t>
            </a:r>
            <a:endParaRPr lang="de-DE"/>
          </a:p>
        </p:txBody>
      </p:sp>
      <p:sp>
        <p:nvSpPr>
          <p:cNvPr id="4" name="Fußzeilenplatzhalter 3">
            <a:extLst>
              <a:ext uri="{FF2B5EF4-FFF2-40B4-BE49-F238E27FC236}">
                <a16:creationId xmlns:a16="http://schemas.microsoft.com/office/drawing/2014/main" id="{259A8878-DBD1-4A55-8181-4E9D32DD386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5" name="Datumsplatzhalter 4">
            <a:extLst>
              <a:ext uri="{FF2B5EF4-FFF2-40B4-BE49-F238E27FC236}">
                <a16:creationId xmlns:a16="http://schemas.microsoft.com/office/drawing/2014/main" id="{595FA3F9-A4B2-4E51-BF05-870A2E94510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550AD6C-84CC-4A5E-86D3-FC3E11464A67}"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Foliennummernplatzhalter 5">
            <a:extLst>
              <a:ext uri="{FF2B5EF4-FFF2-40B4-BE49-F238E27FC236}">
                <a16:creationId xmlns:a16="http://schemas.microsoft.com/office/drawing/2014/main" id="{B8E24E94-7A64-4263-93F5-D84EB45D40F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5067029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xAndClipArt" preserve="1">
  <p:cSld name="Titel, Text und ClipAr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7C4215-C923-45A6-BD7C-721C7241C5E1}"/>
              </a:ext>
            </a:extLst>
          </p:cNvPr>
          <p:cNvSpPr>
            <a:spLocks noGrp="1"/>
          </p:cNvSpPr>
          <p:nvPr>
            <p:ph type="title"/>
          </p:nvPr>
        </p:nvSpPr>
        <p:spPr>
          <a:xfrm>
            <a:off x="219600" y="432000"/>
            <a:ext cx="11736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0A2C6217-C13F-461A-A85F-6657A808B90C}"/>
              </a:ext>
            </a:extLst>
          </p:cNvPr>
          <p:cNvSpPr>
            <a:spLocks noGrp="1"/>
          </p:cNvSpPr>
          <p:nvPr>
            <p:ph type="body" sz="half" idx="1"/>
          </p:nvPr>
        </p:nvSpPr>
        <p:spPr>
          <a:xfrm>
            <a:off x="212343" y="1965579"/>
            <a:ext cx="5800852"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Onlinebild-Platzhalter 3">
            <a:extLst>
              <a:ext uri="{FF2B5EF4-FFF2-40B4-BE49-F238E27FC236}">
                <a16:creationId xmlns:a16="http://schemas.microsoft.com/office/drawing/2014/main" id="{1D81F6CB-E450-4174-819C-3B0BDBCDE027}"/>
              </a:ext>
            </a:extLst>
          </p:cNvPr>
          <p:cNvSpPr>
            <a:spLocks noGrp="1"/>
          </p:cNvSpPr>
          <p:nvPr>
            <p:ph type="clipArt" sz="half" idx="2"/>
          </p:nvPr>
        </p:nvSpPr>
        <p:spPr>
          <a:xfrm>
            <a:off x="6165595" y="1965579"/>
            <a:ext cx="5800852" cy="3906012"/>
          </a:xfrm>
          <a:prstGeom prst="rect">
            <a:avLst/>
          </a:prstGeom>
        </p:spPr>
        <p:txBody>
          <a:bodyPr/>
          <a:lstStyle/>
          <a:p>
            <a:r>
              <a:rPr lang="en-US" dirty="0"/>
              <a:t>Click icon to add online image</a:t>
            </a:r>
            <a:endParaRPr lang="de-DE"/>
          </a:p>
        </p:txBody>
      </p:sp>
      <p:sp>
        <p:nvSpPr>
          <p:cNvPr id="5" name="Fußzeilenplatzhalter 4">
            <a:extLst>
              <a:ext uri="{FF2B5EF4-FFF2-40B4-BE49-F238E27FC236}">
                <a16:creationId xmlns:a16="http://schemas.microsoft.com/office/drawing/2014/main" id="{9F1F65BB-69FE-4D49-A6E4-4546478BCBF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6" name="Datumsplatzhalter 5">
            <a:extLst>
              <a:ext uri="{FF2B5EF4-FFF2-40B4-BE49-F238E27FC236}">
                <a16:creationId xmlns:a16="http://schemas.microsoft.com/office/drawing/2014/main" id="{5A38E248-9E58-4FBF-9D61-9EE23C39BB3B}"/>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1B60F8D1-6788-4364-B4B7-3C4167F5F146}"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7" name="Foliennummernplatzhalter 6">
            <a:extLst>
              <a:ext uri="{FF2B5EF4-FFF2-40B4-BE49-F238E27FC236}">
                <a16:creationId xmlns:a16="http://schemas.microsoft.com/office/drawing/2014/main" id="{4E89B81A-4E05-43F4-AA44-F33F1430D19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82012857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tags" Target="../tags/tag3.xml"/><Relationship Id="rId3" Type="http://schemas.openxmlformats.org/officeDocument/2006/relationships/slideLayout" Target="../slideLayouts/slideLayout4.xml"/><Relationship Id="rId21" Type="http://schemas.openxmlformats.org/officeDocument/2006/relationships/slideLayout" Target="../slideLayouts/slideLayout22.xml"/><Relationship Id="rId34" Type="http://schemas.openxmlformats.org/officeDocument/2006/relationships/image" Target="../media/image7.gif"/><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theme" Target="../theme/theme2.xml"/><Relationship Id="rId33" Type="http://schemas.openxmlformats.org/officeDocument/2006/relationships/image" Target="../media/image6.gi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29"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32" Type="http://schemas.openxmlformats.org/officeDocument/2006/relationships/image" Target="../media/image5.gif"/><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28" Type="http://schemas.openxmlformats.org/officeDocument/2006/relationships/image" Target="../media/image1.emf"/><Relationship Id="rId10" Type="http://schemas.openxmlformats.org/officeDocument/2006/relationships/slideLayout" Target="../slideLayouts/slideLayout11.xml"/><Relationship Id="rId19" Type="http://schemas.openxmlformats.org/officeDocument/2006/relationships/slideLayout" Target="../slideLayouts/slideLayout20.xml"/><Relationship Id="rId31" Type="http://schemas.openxmlformats.org/officeDocument/2006/relationships/image" Target="../media/image4.png"/><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oleObject" Target="../embeddings/oleObject2.bin"/><Relationship Id="rId30" Type="http://schemas.openxmlformats.org/officeDocument/2006/relationships/image" Target="../media/image3.gif"/><Relationship Id="rId35" Type="http://schemas.openxmlformats.org/officeDocument/2006/relationships/image" Target="../media/image8.gif"/></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3.xml"/><Relationship Id="rId1" Type="http://schemas.openxmlformats.org/officeDocument/2006/relationships/slideLayout" Target="../slideLayouts/slideLayout26.xml"/><Relationship Id="rId5" Type="http://schemas.openxmlformats.org/officeDocument/2006/relationships/image" Target="../media/image9.emf"/><Relationship Id="rId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oleObject" Target="../embeddings/oleObject4.bin"/><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image" Target="../media/image8.gif"/><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tags" Target="../tags/tag5.xml"/><Relationship Id="rId33" Type="http://schemas.openxmlformats.org/officeDocument/2006/relationships/image" Target="../media/image7.gif"/><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image" Target="../media/image3.gif"/><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theme" Target="../theme/theme4.xml"/><Relationship Id="rId32" Type="http://schemas.openxmlformats.org/officeDocument/2006/relationships/image" Target="../media/image6.gif"/><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image" Target="../media/image2.png"/><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image" Target="../media/image5.gif"/><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image" Target="../media/image1.emf"/><Relationship Id="rId3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D4DA74-1506-0640-EE46-93909CE7F25F}"/>
              </a:ext>
            </a:extLst>
          </p:cNvPr>
          <p:cNvGraphicFramePr>
            <a:graphicFrameLocks noChangeAspect="1"/>
          </p:cNvGraphicFramePr>
          <p:nvPr userDrawn="1">
            <p:custDataLst>
              <p:tags r:id="rId3"/>
            </p:custDataLst>
            <p:extLst>
              <p:ext uri="{D42A27DB-BD31-4B8C-83A1-F6EECF244321}">
                <p14:modId xmlns:p14="http://schemas.microsoft.com/office/powerpoint/2010/main" val="2240202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a:extLst>
                          <a:ext uri="{FF2B5EF4-FFF2-40B4-BE49-F238E27FC236}">
                            <a16:creationId xmlns:a16="http://schemas.microsoft.com/office/drawing/2014/main" id="{A5D4DA74-1506-0640-EE46-93909CE7F2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umsplatzhalter 5">
            <a:extLst>
              <a:ext uri="{FF2B5EF4-FFF2-40B4-BE49-F238E27FC236}">
                <a16:creationId xmlns:a16="http://schemas.microsoft.com/office/drawing/2014/main" id="{44D2B04B-1A28-4740-887F-6AE17A61FB1D}"/>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30ADC56B-D071-4D8E-B8E2-E8ECD656CE26}" type="datetimeFigureOut">
              <a:rPr lang="en-US" smtClean="0"/>
              <a:t>8/2/2023</a:t>
            </a:fld>
            <a:endParaRPr lang="en-US" dirty="0"/>
          </a:p>
        </p:txBody>
      </p:sp>
      <p:sp>
        <p:nvSpPr>
          <p:cNvPr id="5" name="Fußzeilenplatzhalter 6">
            <a:extLst>
              <a:ext uri="{FF2B5EF4-FFF2-40B4-BE49-F238E27FC236}">
                <a16:creationId xmlns:a16="http://schemas.microsoft.com/office/drawing/2014/main" id="{367FD070-A64E-48E3-982E-4565503869A1}"/>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r>
              <a:rPr lang="en-US"/>
              <a:t>| Optional</a:t>
            </a:r>
            <a:endParaRPr lang="en-US" dirty="0"/>
          </a:p>
        </p:txBody>
      </p:sp>
      <p:sp>
        <p:nvSpPr>
          <p:cNvPr id="6" name="Foliennummernplatzhalter 7">
            <a:extLst>
              <a:ext uri="{FF2B5EF4-FFF2-40B4-BE49-F238E27FC236}">
                <a16:creationId xmlns:a16="http://schemas.microsoft.com/office/drawing/2014/main" id="{08AB417C-C855-4F55-B8B7-4214CFB7ADB8}"/>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059AA252-B3C0-4900-A522-87FC35B031E0}" type="slidenum">
              <a:rPr lang="en-US" smtClean="0"/>
              <a:t>‹#›</a:t>
            </a:fld>
            <a:endParaRPr lang="en-US" dirty="0"/>
          </a:p>
        </p:txBody>
      </p:sp>
      <p:sp>
        <p:nvSpPr>
          <p:cNvPr id="7" name="Title Placeholder 6">
            <a:extLst>
              <a:ext uri="{FF2B5EF4-FFF2-40B4-BE49-F238E27FC236}">
                <a16:creationId xmlns:a16="http://schemas.microsoft.com/office/drawing/2014/main" id="{AB50BB68-EE03-6F33-38C8-E2433B1A816C}"/>
              </a:ext>
            </a:extLst>
          </p:cNvPr>
          <p:cNvSpPr>
            <a:spLocks noGrp="1"/>
          </p:cNvSpPr>
          <p:nvPr>
            <p:ph type="title"/>
          </p:nvPr>
        </p:nvSpPr>
        <p:spPr>
          <a:xfrm>
            <a:off x="838200" y="365125"/>
            <a:ext cx="10515600" cy="1325563"/>
          </a:xfrm>
          <a:prstGeom prst="rect">
            <a:avLst/>
          </a:prstGeom>
        </p:spPr>
        <p:txBody>
          <a:bodyPr vert="horz" lIns="0" tIns="0" rIns="0" bIns="0" rtlCol="0" anchor="t">
            <a:normAutofit/>
          </a:bodyPr>
          <a:lstStyle/>
          <a:p>
            <a:r>
              <a:rPr lang="en-US"/>
              <a:t>Click to edit Master title style</a:t>
            </a:r>
          </a:p>
        </p:txBody>
      </p:sp>
      <p:sp>
        <p:nvSpPr>
          <p:cNvPr id="8" name="Text Placeholder 7">
            <a:extLst>
              <a:ext uri="{FF2B5EF4-FFF2-40B4-BE49-F238E27FC236}">
                <a16:creationId xmlns:a16="http://schemas.microsoft.com/office/drawing/2014/main" id="{E5DF3E7B-8839-FA15-7A52-C8124A8BEE61}"/>
              </a:ext>
            </a:extLst>
          </p:cNvPr>
          <p:cNvSpPr>
            <a:spLocks noGrp="1"/>
          </p:cNvSpPr>
          <p:nvPr>
            <p:ph type="body" idx="1"/>
          </p:nvPr>
        </p:nvSpPr>
        <p:spPr>
          <a:xfrm>
            <a:off x="838200" y="1825625"/>
            <a:ext cx="10515600"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9416038"/>
      </p:ext>
    </p:extLst>
  </p:cSld>
  <p:clrMap bg1="lt1" tx1="dk1" bg2="lt2" tx2="dk2" accent1="accent1" accent2="accent2" accent3="accent3" accent4="accent4" accent5="accent5" accent6="accent6" hlink="hlink" folHlink="folHlink"/>
  <p:sldLayoutIdLst>
    <p:sldLayoutId id="2147483734" r:id="rId1"/>
  </p:sldLayoutIdLst>
  <p:hf hdr="0" ftr="0" dt="0"/>
  <p:txStyles>
    <p:title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p:titleStyle>
    <p:body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lang="de-DE" sz="2000" b="0" i="0" kern="1200" baseline="0" dirty="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lang="de-DE" sz="2000" b="0" i="0" kern="1200" baseline="0" dirty="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lang="de-DE" sz="2000" b="0" i="0" kern="1200" baseline="0" dirty="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5pPr>
      <a:lvl6pPr marL="20808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6pPr>
      <a:lvl7pPr marL="25380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7pPr>
      <a:lvl8pPr marL="29952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smtClean="0">
          <a:solidFill>
            <a:schemeClr val="tx1"/>
          </a:solidFill>
          <a:latin typeface="Arial" panose="020B0604020202020204" pitchFamily="34" charset="0"/>
          <a:ea typeface="+mn-ea"/>
          <a:cs typeface="+mn-cs"/>
        </a:defRPr>
      </a:lvl8pPr>
      <a:lvl9pPr marL="3452400" indent="-266400" algn="l" defTabSz="914400" rtl="0" eaLnBrk="1" latinLnBrk="0" hangingPunct="1">
        <a:lnSpc>
          <a:spcPct val="90000"/>
        </a:lnSpc>
        <a:spcBef>
          <a:spcPts val="500"/>
        </a:spcBef>
        <a:buFont typeface="Arial" panose="020B0604020202020204" pitchFamily="34" charset="0"/>
        <a:buChar char="•"/>
        <a:defRPr lang="de-DE" sz="2000" b="0" i="0" kern="1200" baseline="0" dirty="0">
          <a:solidFill>
            <a:schemeClr val="tx1"/>
          </a:solidFill>
          <a:latin typeface="Arial" panose="020B0604020202020204" pitchFamily="34" charset="0"/>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36">
          <p15:clr>
            <a:srgbClr val="F26B43"/>
          </p15:clr>
        </p15:guide>
        <p15:guide id="4" pos="7544">
          <p15:clr>
            <a:srgbClr val="F26B43"/>
          </p15:clr>
        </p15:guide>
        <p15:guide id="5" orient="horz" pos="136">
          <p15:clr>
            <a:srgbClr val="F26B43"/>
          </p15:clr>
        </p15:guide>
        <p15:guide id="6" orient="horz" pos="41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0F2AD89-0084-F349-7C77-1F59EDC5B560}"/>
              </a:ext>
            </a:extLst>
          </p:cNvPr>
          <p:cNvGraphicFramePr>
            <a:graphicFrameLocks noChangeAspect="1"/>
          </p:cNvGraphicFramePr>
          <p:nvPr userDrawn="1">
            <p:custDataLst>
              <p:tags r:id="rId26"/>
            </p:custDataLst>
            <p:extLst>
              <p:ext uri="{D42A27DB-BD31-4B8C-83A1-F6EECF244321}">
                <p14:modId xmlns:p14="http://schemas.microsoft.com/office/powerpoint/2010/main" val="805769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47" imgH="346" progId="TCLayout.ActiveDocument.1">
                  <p:embed/>
                </p:oleObj>
              </mc:Choice>
              <mc:Fallback>
                <p:oleObj name="think-cell Slide" r:id="rId27" imgW="347" imgH="346" progId="TCLayout.ActiveDocument.1">
                  <p:embed/>
                  <p:pic>
                    <p:nvPicPr>
                      <p:cNvPr id="13" name="Object 12" hidden="1">
                        <a:extLst>
                          <a:ext uri="{FF2B5EF4-FFF2-40B4-BE49-F238E27FC236}">
                            <a16:creationId xmlns:a16="http://schemas.microsoft.com/office/drawing/2014/main" id="{B0F2AD89-0084-F349-7C77-1F59EDC5B560}"/>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5" name="Fußzeilenplatzhalter 4"/>
          <p:cNvSpPr>
            <a:spLocks noGrp="1"/>
          </p:cNvSpPr>
          <p:nvPr>
            <p:ph type="ftr" sz="quarter" idx="3"/>
          </p:nvPr>
        </p:nvSpPr>
        <p:spPr>
          <a:xfrm>
            <a:off x="1368000" y="6516000"/>
            <a:ext cx="7920000" cy="169200"/>
          </a:xfrm>
          <a:prstGeom prst="rect">
            <a:avLst/>
          </a:prstGeom>
        </p:spPr>
        <p:txBody>
          <a:bodyPr vert="horz"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p>
        </p:txBody>
      </p:sp>
      <p:sp>
        <p:nvSpPr>
          <p:cNvPr id="4" name="Datumsplatzhalter 3"/>
          <p:cNvSpPr>
            <a:spLocks noGrp="1"/>
          </p:cNvSpPr>
          <p:nvPr>
            <p:ph type="dt" sz="half" idx="2"/>
          </p:nvPr>
        </p:nvSpPr>
        <p:spPr>
          <a:xfrm>
            <a:off x="687600" y="6516000"/>
            <a:ext cx="468000" cy="151200"/>
          </a:xfrm>
          <a:prstGeom prst="rect">
            <a:avLst/>
          </a:prstGeom>
        </p:spPr>
        <p:txBody>
          <a:bodyPr vert="horz" wrap="none"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fld id="{C2DB60D2-BC6A-46E6-9CF7-E32531D2CD2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a:ln>
                <a:noFill/>
              </a:ln>
              <a:solidFill>
                <a:srgbClr val="000000"/>
              </a:solidFill>
              <a:effectLst/>
              <a:uLnTx/>
              <a:uFillTx/>
              <a:latin typeface="Arial" panose="020B0604020202020204"/>
              <a:cs typeface="Arial"/>
            </a:endParaRPr>
          </a:p>
        </p:txBody>
      </p:sp>
      <p:sp>
        <p:nvSpPr>
          <p:cNvPr id="6" name="Foliennummernplatzhalter 5"/>
          <p:cNvSpPr>
            <a:spLocks noGrp="1"/>
          </p:cNvSpPr>
          <p:nvPr>
            <p:ph type="sldNum" sz="quarter" idx="4"/>
          </p:nvPr>
        </p:nvSpPr>
        <p:spPr>
          <a:xfrm>
            <a:off x="226800" y="6516000"/>
            <a:ext cx="360000" cy="151200"/>
          </a:xfrm>
          <a:prstGeom prst="rect">
            <a:avLst/>
          </a:prstGeom>
        </p:spPr>
        <p:txBody>
          <a:bodyPr vert="horz" lIns="0" tIns="0" rIns="0" bIns="0" rtlCol="0" anchor="t">
            <a:noAutofit/>
          </a:bodyPr>
          <a:lstStyle>
            <a:lvl1pPr marL="0" algn="l" defTabSz="914400" rtl="0" eaLnBrk="1" latinLnBrk="0" hangingPunct="1">
              <a:lnSpc>
                <a:spcPct val="100000"/>
              </a:lnSpc>
              <a:spcBef>
                <a:spcPts val="110"/>
              </a:spcBef>
              <a:spcAft>
                <a:spcPts val="110"/>
              </a:spcAft>
              <a:buNone/>
              <a:defRPr sz="900" b="1"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a:ln>
                <a:noFill/>
              </a:ln>
              <a:solidFill>
                <a:srgbClr val="000000"/>
              </a:solidFill>
              <a:effectLst/>
              <a:uLnTx/>
              <a:uFillTx/>
              <a:latin typeface="Arial" panose="020B0604020202020204"/>
              <a:cs typeface="Arial"/>
            </a:endParaRPr>
          </a:p>
        </p:txBody>
      </p:sp>
      <p:grpSp>
        <p:nvGrpSpPr>
          <p:cNvPr id="7" name="Gruppieren 6">
            <a:extLst>
              <a:ext uri="{FF2B5EF4-FFF2-40B4-BE49-F238E27FC236}">
                <a16:creationId xmlns:a16="http://schemas.microsoft.com/office/drawing/2014/main" id="{6DAAB4C8-AEFE-4A52-B5FE-12254CCF05E3}"/>
              </a:ext>
            </a:extLst>
          </p:cNvPr>
          <p:cNvGrpSpPr/>
          <p:nvPr/>
        </p:nvGrpSpPr>
        <p:grpSpPr>
          <a:xfrm>
            <a:off x="9601200" y="6091200"/>
            <a:ext cx="2592000" cy="540000"/>
            <a:chOff x="9597600" y="6091200"/>
            <a:chExt cx="2592000" cy="540000"/>
          </a:xfrm>
        </p:grpSpPr>
        <p:sp>
          <p:nvSpPr>
            <p:cNvPr id="10" name="Rechteck 9">
              <a:extLst>
                <a:ext uri="{FF2B5EF4-FFF2-40B4-BE49-F238E27FC236}">
                  <a16:creationId xmlns:a16="http://schemas.microsoft.com/office/drawing/2014/main" id="{197E5F5D-9039-493D-9DC1-A5E70DAEDE09}"/>
                </a:ext>
              </a:extLst>
            </p:cNvPr>
            <p:cNvSpPr/>
            <p:nvPr userDrawn="1"/>
          </p:nvSpPr>
          <p:spPr>
            <a:xfrm>
              <a:off x="9597600" y="6091200"/>
              <a:ext cx="2592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cs typeface="Arial"/>
              </a:endParaRPr>
            </a:p>
          </p:txBody>
        </p:sp>
        <p:pic>
          <p:nvPicPr>
            <p:cNvPr id="11" name="Grafik 10">
              <a:extLst>
                <a:ext uri="{FF2B5EF4-FFF2-40B4-BE49-F238E27FC236}">
                  <a16:creationId xmlns:a16="http://schemas.microsoft.com/office/drawing/2014/main" id="{30DF2564-4DFA-485C-B2BF-1D3760A38745}"/>
                </a:ext>
              </a:extLst>
            </p:cNvPr>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a:off x="9730800" y="6224400"/>
              <a:ext cx="808391" cy="292882"/>
            </a:xfrm>
            <a:prstGeom prst="rect">
              <a:avLst/>
            </a:prstGeom>
          </p:spPr>
        </p:pic>
      </p:grpSp>
      <p:sp>
        <p:nvSpPr>
          <p:cNvPr id="8" name="Title Placeholder 7">
            <a:extLst>
              <a:ext uri="{FF2B5EF4-FFF2-40B4-BE49-F238E27FC236}">
                <a16:creationId xmlns:a16="http://schemas.microsoft.com/office/drawing/2014/main" id="{4742E5E4-F5B3-8448-1A28-AFF77AD4E0DC}"/>
              </a:ext>
            </a:extLst>
          </p:cNvPr>
          <p:cNvSpPr>
            <a:spLocks noGrp="1"/>
          </p:cNvSpPr>
          <p:nvPr>
            <p:ph type="title"/>
          </p:nvPr>
        </p:nvSpPr>
        <p:spPr>
          <a:xfrm>
            <a:off x="219600" y="432000"/>
            <a:ext cx="11736000" cy="853200"/>
          </a:xfrm>
          <a:prstGeom prst="rect">
            <a:avLst/>
          </a:prstGeom>
        </p:spPr>
        <p:txBody>
          <a:bodyPr vert="horz" lIns="0" tIns="0" rIns="0" bIns="0" rtlCol="0" anchor="t">
            <a:noAutofit/>
          </a:bodyPr>
          <a:lstStyle/>
          <a:p>
            <a:r>
              <a:rPr lang="en-US"/>
              <a:t>Click to edit Master title style</a:t>
            </a:r>
          </a:p>
        </p:txBody>
      </p:sp>
      <p:sp>
        <p:nvSpPr>
          <p:cNvPr id="9" name="Text Placeholder 8">
            <a:extLst>
              <a:ext uri="{FF2B5EF4-FFF2-40B4-BE49-F238E27FC236}">
                <a16:creationId xmlns:a16="http://schemas.microsoft.com/office/drawing/2014/main" id="{C1045C0C-269B-0188-5602-D321D1BA251F}"/>
              </a:ext>
            </a:extLst>
          </p:cNvPr>
          <p:cNvSpPr>
            <a:spLocks noGrp="1"/>
          </p:cNvSpPr>
          <p:nvPr>
            <p:ph type="body" idx="1"/>
          </p:nvPr>
        </p:nvSpPr>
        <p:spPr>
          <a:xfrm>
            <a:off x="212400" y="1965600"/>
            <a:ext cx="11754000" cy="390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descr="Icon&#10;&#10;Description automatically generated">
            <a:extLst>
              <a:ext uri="{FF2B5EF4-FFF2-40B4-BE49-F238E27FC236}">
                <a16:creationId xmlns:a16="http://schemas.microsoft.com/office/drawing/2014/main" id="{61ADF745-CECA-5087-E71E-7FFD63EF9B71}"/>
              </a:ext>
            </a:extLst>
          </p:cNvPr>
          <p:cNvPicPr>
            <a:picLocks noChangeAspect="1"/>
          </p:cNvPicPr>
          <p:nvPr userDrawn="1"/>
        </p:nvPicPr>
        <p:blipFill>
          <a:blip r:embed="rId30"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8882980" y="6288551"/>
            <a:ext cx="331889" cy="274320"/>
          </a:xfrm>
          <a:prstGeom prst="rect">
            <a:avLst/>
          </a:prstGeom>
        </p:spPr>
      </p:pic>
      <p:pic>
        <p:nvPicPr>
          <p:cNvPr id="14" name="Picture 13" descr="Icon&#10;&#10;Description automatically generated">
            <a:extLst>
              <a:ext uri="{FF2B5EF4-FFF2-40B4-BE49-F238E27FC236}">
                <a16:creationId xmlns:a16="http://schemas.microsoft.com/office/drawing/2014/main" id="{ADAE4F2C-5E5F-AF5F-C740-DCF0378EB75B}"/>
              </a:ext>
            </a:extLst>
          </p:cNvPr>
          <p:cNvPicPr>
            <a:picLocks noChangeAspect="1"/>
          </p:cNvPicPr>
          <p:nvPr userDrawn="1"/>
        </p:nvPicPr>
        <p:blipFill>
          <a:blip r:embed="rId31"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8460185" y="6287506"/>
            <a:ext cx="229556" cy="274320"/>
          </a:xfrm>
          <a:prstGeom prst="rect">
            <a:avLst/>
          </a:prstGeom>
        </p:spPr>
      </p:pic>
      <p:pic>
        <p:nvPicPr>
          <p:cNvPr id="16" name="Picture 15" descr="Logo, icon&#10;&#10;Description automatically generated">
            <a:extLst>
              <a:ext uri="{FF2B5EF4-FFF2-40B4-BE49-F238E27FC236}">
                <a16:creationId xmlns:a16="http://schemas.microsoft.com/office/drawing/2014/main" id="{1E32EA25-B623-F1E1-63E4-6F059BEBD125}"/>
              </a:ext>
            </a:extLst>
          </p:cNvPr>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a:off x="6319963" y="6287506"/>
            <a:ext cx="399503" cy="274320"/>
          </a:xfrm>
          <a:prstGeom prst="rect">
            <a:avLst/>
          </a:prstGeom>
        </p:spPr>
      </p:pic>
      <p:pic>
        <p:nvPicPr>
          <p:cNvPr id="18" name="Picture 17" descr="Icon&#10;&#10;Description automatically generated">
            <a:extLst>
              <a:ext uri="{FF2B5EF4-FFF2-40B4-BE49-F238E27FC236}">
                <a16:creationId xmlns:a16="http://schemas.microsoft.com/office/drawing/2014/main" id="{87A24930-E9AF-C1E1-5DFC-7B82D010838A}"/>
              </a:ext>
            </a:extLst>
          </p:cNvPr>
          <p:cNvPicPr>
            <a:picLocks noChangeAspect="1"/>
          </p:cNvPicPr>
          <p:nvPr userDrawn="1"/>
        </p:nvPicPr>
        <p:blipFill>
          <a:blip r:embed="rId33"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7941209" y="6287506"/>
            <a:ext cx="325736" cy="274320"/>
          </a:xfrm>
          <a:prstGeom prst="rect">
            <a:avLst/>
          </a:prstGeom>
        </p:spPr>
      </p:pic>
      <p:pic>
        <p:nvPicPr>
          <p:cNvPr id="20" name="Picture 19" descr="Logo, icon&#10;&#10;Description automatically generated">
            <a:extLst>
              <a:ext uri="{FF2B5EF4-FFF2-40B4-BE49-F238E27FC236}">
                <a16:creationId xmlns:a16="http://schemas.microsoft.com/office/drawing/2014/main" id="{D6C9C5DB-ED5A-28F6-50CF-B7F5EA94AD8F}"/>
              </a:ext>
            </a:extLst>
          </p:cNvPr>
          <p:cNvPicPr>
            <a:picLocks noChangeAspect="1"/>
          </p:cNvPicPr>
          <p:nvPr userDrawn="1"/>
        </p:nvPicPr>
        <p:blipFill>
          <a:blip r:embed="rId34"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6912706" y="6287793"/>
            <a:ext cx="274016" cy="274320"/>
          </a:xfrm>
          <a:prstGeom prst="rect">
            <a:avLst/>
          </a:prstGeom>
        </p:spPr>
      </p:pic>
      <p:pic>
        <p:nvPicPr>
          <p:cNvPr id="22" name="Picture 21" descr="Icon&#10;&#10;Description automatically generated">
            <a:extLst>
              <a:ext uri="{FF2B5EF4-FFF2-40B4-BE49-F238E27FC236}">
                <a16:creationId xmlns:a16="http://schemas.microsoft.com/office/drawing/2014/main" id="{9A596F7C-CB5F-7534-83F1-ECDFC06EA16C}"/>
              </a:ext>
            </a:extLst>
          </p:cNvPr>
          <p:cNvPicPr>
            <a:picLocks noChangeAspect="1"/>
          </p:cNvPicPr>
          <p:nvPr userDrawn="1"/>
        </p:nvPicPr>
        <p:blipFill>
          <a:blip r:embed="rId35"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7379962" y="6287506"/>
            <a:ext cx="368007" cy="274320"/>
          </a:xfrm>
          <a:prstGeom prst="rect">
            <a:avLst/>
          </a:prstGeom>
        </p:spPr>
      </p:pic>
    </p:spTree>
    <p:extLst>
      <p:ext uri="{BB962C8B-B14F-4D97-AF65-F5344CB8AC3E}">
        <p14:creationId xmlns:p14="http://schemas.microsoft.com/office/powerpoint/2010/main" val="1704283414"/>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 id="2147483767" r:id="rId24"/>
  </p:sldLayoutIdLst>
  <p:hf hdr="0" ftr="0"/>
  <p:txStyles>
    <p:titleStyle>
      <a:lvl1pPr algn="l" defTabSz="914400"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p:titleStyle>
    <p:body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36">
          <p15:clr>
            <a:srgbClr val="F26B43"/>
          </p15:clr>
        </p15:guide>
        <p15:guide id="2" orient="horz" pos="4184">
          <p15:clr>
            <a:srgbClr val="F26B43"/>
          </p15:clr>
        </p15:guide>
        <p15:guide id="3" orient="horz" pos="4048">
          <p15:clr>
            <a:srgbClr val="F26B43"/>
          </p15:clr>
        </p15:guide>
        <p15:guide id="4" orient="horz" pos="1272">
          <p15:clr>
            <a:srgbClr val="F26B43"/>
          </p15:clr>
        </p15:guide>
        <p15:guide id="5" pos="144">
          <p15:clr>
            <a:srgbClr val="F26B43"/>
          </p15:clr>
        </p15:guide>
        <p15:guide id="6" orient="horz"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3"/>
            </p:custDataLst>
            <p:extLst>
              <p:ext uri="{D42A27DB-BD31-4B8C-83A1-F6EECF244321}">
                <p14:modId xmlns:p14="http://schemas.microsoft.com/office/powerpoint/2010/main" val="125560944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k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3393526272"/>
      </p:ext>
    </p:extLst>
  </p:cSld>
  <p:clrMap bg1="lt1" tx1="dk1" bg2="lt2" tx2="dk2" accent1="accent1" accent2="accent2" accent3="accent3" accent4="accent4" accent5="accent5" accent6="accent6" hlink="hlink" folHlink="folHlink"/>
  <p:sldLayoutIdLst>
    <p:sldLayoutId id="2147483761" r:id="rId1"/>
  </p:sldLayoutIdLst>
  <p:hf hdr="0" ftr="0" dt="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675EC58-E88E-DAB6-A6F3-510E8B0ED28F}"/>
              </a:ext>
            </a:extLst>
          </p:cNvPr>
          <p:cNvGraphicFramePr>
            <a:graphicFrameLocks noChangeAspect="1"/>
          </p:cNvGraphicFramePr>
          <p:nvPr userDrawn="1">
            <p:custDataLst>
              <p:tags r:id="rId25"/>
            </p:custDataLst>
            <p:extLst>
              <p:ext uri="{D42A27DB-BD31-4B8C-83A1-F6EECF244321}">
                <p14:modId xmlns:p14="http://schemas.microsoft.com/office/powerpoint/2010/main" val="2839384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47" imgH="346" progId="TCLayout.ActiveDocument.1">
                  <p:embed/>
                </p:oleObj>
              </mc:Choice>
              <mc:Fallback>
                <p:oleObj name="think-cell Slide" r:id="rId26" imgW="347" imgH="346" progId="TCLayout.ActiveDocument.1">
                  <p:embed/>
                  <p:pic>
                    <p:nvPicPr>
                      <p:cNvPr id="13" name="think-cell data - do not delete" hidden="1">
                        <a:extLst>
                          <a:ext uri="{FF2B5EF4-FFF2-40B4-BE49-F238E27FC236}">
                            <a16:creationId xmlns:a16="http://schemas.microsoft.com/office/drawing/2014/main" id="{2675EC58-E88E-DAB6-A6F3-510E8B0ED28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5" name="Fußzeilenplatzhalter 4"/>
          <p:cNvSpPr>
            <a:spLocks noGrp="1"/>
          </p:cNvSpPr>
          <p:nvPr>
            <p:ph type="ftr" sz="quarter" idx="3"/>
          </p:nvPr>
        </p:nvSpPr>
        <p:spPr>
          <a:xfrm>
            <a:off x="1368000" y="6516000"/>
            <a:ext cx="7920000" cy="169200"/>
          </a:xfrm>
          <a:prstGeom prst="rect">
            <a:avLst/>
          </a:prstGeom>
        </p:spPr>
        <p:txBody>
          <a:bodyPr vert="horz"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de-DE" sz="900" b="0" i="0" u="none" strike="noStrike" kern="1200" cap="none" spc="0" normalizeH="0" baseline="0" noProof="0">
                <a:ln>
                  <a:noFill/>
                </a:ln>
                <a:solidFill>
                  <a:srgbClr val="000000"/>
                </a:solidFill>
                <a:effectLst/>
                <a:uLnTx/>
                <a:uFillTx/>
                <a:latin typeface="Arial" panose="020B0604020202020204"/>
                <a:cs typeface="Arial"/>
              </a:rPr>
              <a:t>| Optional</a:t>
            </a:r>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4" name="Datumsplatzhalter 3"/>
          <p:cNvSpPr>
            <a:spLocks noGrp="1"/>
          </p:cNvSpPr>
          <p:nvPr>
            <p:ph type="dt" sz="half" idx="2"/>
          </p:nvPr>
        </p:nvSpPr>
        <p:spPr>
          <a:xfrm>
            <a:off x="687600" y="6516000"/>
            <a:ext cx="468000" cy="151200"/>
          </a:xfrm>
          <a:prstGeom prst="rect">
            <a:avLst/>
          </a:prstGeom>
        </p:spPr>
        <p:txBody>
          <a:bodyPr vert="horz" wrap="none" lIns="0" tIns="0" rIns="0" bIns="0" rtlCol="0" anchor="t" anchorCtr="0">
            <a:noAutofit/>
          </a:bodyPr>
          <a:lstStyle>
            <a:lvl1pPr marL="0" algn="l" defTabSz="914400" rtl="0" eaLnBrk="1" latinLnBrk="0" hangingPunct="1">
              <a:lnSpc>
                <a:spcPct val="100000"/>
              </a:lnSpc>
              <a:spcBef>
                <a:spcPts val="110"/>
              </a:spcBef>
              <a:spcAft>
                <a:spcPts val="110"/>
              </a:spcAft>
              <a:buNone/>
              <a:defRPr sz="900" b="0"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fld id="{C2DB60D2-BC6A-46E6-9CF7-E32531D2CD29}" type="datetime1">
              <a:rPr kumimoji="0" lang="de-DE" sz="900" b="0" i="0" u="none" strike="noStrike" kern="1200" cap="none" spc="0" normalizeH="0" baseline="0" noProof="0" smtClean="0">
                <a:ln>
                  <a:noFill/>
                </a:ln>
                <a:solidFill>
                  <a:srgbClr val="000000"/>
                </a:solidFill>
                <a:effectLst/>
                <a:uLnTx/>
                <a:uFillTx/>
                <a:latin typeface="Arial" panose="020B0604020202020204"/>
                <a:cs typeface="Arial"/>
              </a:rPr>
              <a:t>02.08.2023</a:t>
            </a:fld>
            <a:endParaRPr kumimoji="0" lang="de-DE"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liennummernplatzhalter 5"/>
          <p:cNvSpPr>
            <a:spLocks noGrp="1"/>
          </p:cNvSpPr>
          <p:nvPr>
            <p:ph type="sldNum" sz="quarter" idx="4"/>
          </p:nvPr>
        </p:nvSpPr>
        <p:spPr>
          <a:xfrm>
            <a:off x="226800" y="6516000"/>
            <a:ext cx="360000" cy="151200"/>
          </a:xfrm>
          <a:prstGeom prst="rect">
            <a:avLst/>
          </a:prstGeom>
        </p:spPr>
        <p:txBody>
          <a:bodyPr vert="horz" lIns="0" tIns="0" rIns="0" bIns="0" rtlCol="0" anchor="t">
            <a:noAutofit/>
          </a:bodyPr>
          <a:lstStyle>
            <a:lvl1pPr marL="0" algn="l" defTabSz="914400" rtl="0" eaLnBrk="1" latinLnBrk="0" hangingPunct="1">
              <a:lnSpc>
                <a:spcPct val="100000"/>
              </a:lnSpc>
              <a:spcBef>
                <a:spcPts val="110"/>
              </a:spcBef>
              <a:spcAft>
                <a:spcPts val="110"/>
              </a:spcAft>
              <a:buNone/>
              <a:defRPr sz="900" b="1" i="0">
                <a:solidFill>
                  <a:schemeClr val="tx1"/>
                </a:solidFill>
                <a:latin typeface="+mn-lt"/>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de-DE"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a:t>
            </a:fld>
            <a:endParaRPr kumimoji="0" lang="de-DE" sz="900" b="1" i="0" u="none" strike="noStrike" kern="1200" cap="none" spc="0" normalizeH="0" baseline="0" noProof="0" dirty="0">
              <a:ln>
                <a:noFill/>
              </a:ln>
              <a:solidFill>
                <a:srgbClr val="000000"/>
              </a:solidFill>
              <a:effectLst/>
              <a:uLnTx/>
              <a:uFillTx/>
              <a:latin typeface="Arial" panose="020B0604020202020204"/>
              <a:cs typeface="Arial"/>
            </a:endParaRPr>
          </a:p>
        </p:txBody>
      </p:sp>
      <p:grpSp>
        <p:nvGrpSpPr>
          <p:cNvPr id="7" name="Gruppieren 6">
            <a:extLst>
              <a:ext uri="{FF2B5EF4-FFF2-40B4-BE49-F238E27FC236}">
                <a16:creationId xmlns:a16="http://schemas.microsoft.com/office/drawing/2014/main" id="{6DAAB4C8-AEFE-4A52-B5FE-12254CCF05E3}"/>
              </a:ext>
            </a:extLst>
          </p:cNvPr>
          <p:cNvGrpSpPr/>
          <p:nvPr/>
        </p:nvGrpSpPr>
        <p:grpSpPr>
          <a:xfrm>
            <a:off x="9601200" y="6091200"/>
            <a:ext cx="2592000" cy="540000"/>
            <a:chOff x="9597600" y="6091200"/>
            <a:chExt cx="2592000" cy="540000"/>
          </a:xfrm>
        </p:grpSpPr>
        <p:sp>
          <p:nvSpPr>
            <p:cNvPr id="10" name="Rechteck 9">
              <a:extLst>
                <a:ext uri="{FF2B5EF4-FFF2-40B4-BE49-F238E27FC236}">
                  <a16:creationId xmlns:a16="http://schemas.microsoft.com/office/drawing/2014/main" id="{197E5F5D-9039-493D-9DC1-A5E70DAEDE09}"/>
                </a:ext>
              </a:extLst>
            </p:cNvPr>
            <p:cNvSpPr/>
            <p:nvPr userDrawn="1"/>
          </p:nvSpPr>
          <p:spPr>
            <a:xfrm>
              <a:off x="9597600" y="6091200"/>
              <a:ext cx="2592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cs typeface="Arial"/>
              </a:endParaRPr>
            </a:p>
          </p:txBody>
        </p:sp>
        <p:pic>
          <p:nvPicPr>
            <p:cNvPr id="11" name="Grafik 10">
              <a:extLst>
                <a:ext uri="{FF2B5EF4-FFF2-40B4-BE49-F238E27FC236}">
                  <a16:creationId xmlns:a16="http://schemas.microsoft.com/office/drawing/2014/main" id="{30DF2564-4DFA-485C-B2BF-1D3760A38745}"/>
                </a:ext>
              </a:extLst>
            </p:cNvPr>
            <p:cNvPicPr>
              <a:picLocks noChangeAspect="1"/>
            </p:cNvPicPr>
            <p:nvPr userDrawn="1"/>
          </p:nvPicPr>
          <p:blipFill>
            <a:blip r:embed="rId28" cstate="email">
              <a:extLst>
                <a:ext uri="{28A0092B-C50C-407E-A947-70E740481C1C}">
                  <a14:useLocalDpi xmlns:a14="http://schemas.microsoft.com/office/drawing/2010/main"/>
                </a:ext>
              </a:extLst>
            </a:blip>
            <a:stretch>
              <a:fillRect/>
            </a:stretch>
          </p:blipFill>
          <p:spPr>
            <a:xfrm>
              <a:off x="9730800" y="6224400"/>
              <a:ext cx="808391" cy="292882"/>
            </a:xfrm>
            <a:prstGeom prst="rect">
              <a:avLst/>
            </a:prstGeom>
          </p:spPr>
        </p:pic>
      </p:grpSp>
      <p:sp>
        <p:nvSpPr>
          <p:cNvPr id="8" name="Title Placeholder 7">
            <a:extLst>
              <a:ext uri="{FF2B5EF4-FFF2-40B4-BE49-F238E27FC236}">
                <a16:creationId xmlns:a16="http://schemas.microsoft.com/office/drawing/2014/main" id="{4742E5E4-F5B3-8448-1A28-AFF77AD4E0DC}"/>
              </a:ext>
            </a:extLst>
          </p:cNvPr>
          <p:cNvSpPr>
            <a:spLocks noGrp="1"/>
          </p:cNvSpPr>
          <p:nvPr>
            <p:ph type="title"/>
          </p:nvPr>
        </p:nvSpPr>
        <p:spPr>
          <a:xfrm>
            <a:off x="219600" y="432000"/>
            <a:ext cx="11736000" cy="853200"/>
          </a:xfrm>
          <a:prstGeom prst="rect">
            <a:avLst/>
          </a:prstGeom>
        </p:spPr>
        <p:txBody>
          <a:bodyPr vert="horz" lIns="0" tIns="0" rIns="0" bIns="0" rtlCol="0" anchor="t">
            <a:noAutofit/>
          </a:bodyPr>
          <a:lstStyle/>
          <a:p>
            <a:r>
              <a:rPr lang="en-US"/>
              <a:t>Click to edit Master title style</a:t>
            </a:r>
          </a:p>
        </p:txBody>
      </p:sp>
      <p:sp>
        <p:nvSpPr>
          <p:cNvPr id="9" name="Text Placeholder 8">
            <a:extLst>
              <a:ext uri="{FF2B5EF4-FFF2-40B4-BE49-F238E27FC236}">
                <a16:creationId xmlns:a16="http://schemas.microsoft.com/office/drawing/2014/main" id="{C1045C0C-269B-0188-5602-D321D1BA251F}"/>
              </a:ext>
            </a:extLst>
          </p:cNvPr>
          <p:cNvSpPr>
            <a:spLocks noGrp="1"/>
          </p:cNvSpPr>
          <p:nvPr>
            <p:ph type="body" idx="1"/>
          </p:nvPr>
        </p:nvSpPr>
        <p:spPr>
          <a:xfrm>
            <a:off x="212400" y="1965600"/>
            <a:ext cx="11754000" cy="390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descr="Icon&#10;&#10;Description automatically generated">
            <a:extLst>
              <a:ext uri="{FF2B5EF4-FFF2-40B4-BE49-F238E27FC236}">
                <a16:creationId xmlns:a16="http://schemas.microsoft.com/office/drawing/2014/main" id="{61ADF745-CECA-5087-E71E-7FFD63EF9B71}"/>
              </a:ext>
            </a:extLst>
          </p:cNvPr>
          <p:cNvPicPr>
            <a:picLocks noChangeAspect="1"/>
          </p:cNvPicPr>
          <p:nvPr userDrawn="1"/>
        </p:nvPicPr>
        <p:blipFill>
          <a:blip r:embed="rId29"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8882980" y="6288551"/>
            <a:ext cx="331889" cy="274320"/>
          </a:xfrm>
          <a:prstGeom prst="rect">
            <a:avLst/>
          </a:prstGeom>
        </p:spPr>
      </p:pic>
      <p:pic>
        <p:nvPicPr>
          <p:cNvPr id="14" name="Picture 13" descr="Icon&#10;&#10;Description automatically generated">
            <a:extLst>
              <a:ext uri="{FF2B5EF4-FFF2-40B4-BE49-F238E27FC236}">
                <a16:creationId xmlns:a16="http://schemas.microsoft.com/office/drawing/2014/main" id="{ADAE4F2C-5E5F-AF5F-C740-DCF0378EB75B}"/>
              </a:ext>
            </a:extLst>
          </p:cNvPr>
          <p:cNvPicPr>
            <a:picLocks noChangeAspect="1"/>
          </p:cNvPicPr>
          <p:nvPr userDrawn="1"/>
        </p:nvPicPr>
        <p:blipFill>
          <a:blip r:embed="rId30"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8460185" y="6287506"/>
            <a:ext cx="229556" cy="274320"/>
          </a:xfrm>
          <a:prstGeom prst="rect">
            <a:avLst/>
          </a:prstGeom>
        </p:spPr>
      </p:pic>
      <p:pic>
        <p:nvPicPr>
          <p:cNvPr id="16" name="Picture 15" descr="Logo, icon&#10;&#10;Description automatically generated">
            <a:extLst>
              <a:ext uri="{FF2B5EF4-FFF2-40B4-BE49-F238E27FC236}">
                <a16:creationId xmlns:a16="http://schemas.microsoft.com/office/drawing/2014/main" id="{1E32EA25-B623-F1E1-63E4-6F059BEBD125}"/>
              </a:ext>
            </a:extLst>
          </p:cNvPr>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a:xfrm>
            <a:off x="6319963" y="6287506"/>
            <a:ext cx="399503" cy="274320"/>
          </a:xfrm>
          <a:prstGeom prst="rect">
            <a:avLst/>
          </a:prstGeom>
        </p:spPr>
      </p:pic>
      <p:pic>
        <p:nvPicPr>
          <p:cNvPr id="18" name="Picture 17" descr="Icon&#10;&#10;Description automatically generated">
            <a:extLst>
              <a:ext uri="{FF2B5EF4-FFF2-40B4-BE49-F238E27FC236}">
                <a16:creationId xmlns:a16="http://schemas.microsoft.com/office/drawing/2014/main" id="{87A24930-E9AF-C1E1-5DFC-7B82D010838A}"/>
              </a:ext>
            </a:extLst>
          </p:cNvPr>
          <p:cNvPicPr>
            <a:picLocks noChangeAspect="1"/>
          </p:cNvPicPr>
          <p:nvPr userDrawn="1"/>
        </p:nvPicPr>
        <p:blipFill>
          <a:blip r:embed="rId32"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7941209" y="6287506"/>
            <a:ext cx="325736" cy="274320"/>
          </a:xfrm>
          <a:prstGeom prst="rect">
            <a:avLst/>
          </a:prstGeom>
        </p:spPr>
      </p:pic>
      <p:pic>
        <p:nvPicPr>
          <p:cNvPr id="20" name="Picture 19" descr="Logo, icon&#10;&#10;Description automatically generated">
            <a:extLst>
              <a:ext uri="{FF2B5EF4-FFF2-40B4-BE49-F238E27FC236}">
                <a16:creationId xmlns:a16="http://schemas.microsoft.com/office/drawing/2014/main" id="{D6C9C5DB-ED5A-28F6-50CF-B7F5EA94AD8F}"/>
              </a:ext>
            </a:extLst>
          </p:cNvPr>
          <p:cNvPicPr>
            <a:picLocks noChangeAspect="1"/>
          </p:cNvPicPr>
          <p:nvPr userDrawn="1"/>
        </p:nvPicPr>
        <p:blipFill>
          <a:blip r:embed="rId33"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6912706" y="6287793"/>
            <a:ext cx="274016" cy="274320"/>
          </a:xfrm>
          <a:prstGeom prst="rect">
            <a:avLst/>
          </a:prstGeom>
        </p:spPr>
      </p:pic>
      <p:pic>
        <p:nvPicPr>
          <p:cNvPr id="22" name="Picture 21" descr="Icon&#10;&#10;Description automatically generated">
            <a:extLst>
              <a:ext uri="{FF2B5EF4-FFF2-40B4-BE49-F238E27FC236}">
                <a16:creationId xmlns:a16="http://schemas.microsoft.com/office/drawing/2014/main" id="{9A596F7C-CB5F-7534-83F1-ECDFC06EA16C}"/>
              </a:ext>
            </a:extLst>
          </p:cNvPr>
          <p:cNvPicPr>
            <a:picLocks noChangeAspect="1"/>
          </p:cNvPicPr>
          <p:nvPr userDrawn="1"/>
        </p:nvPicPr>
        <p:blipFill>
          <a:blip r:embed="rId34"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7379962" y="6287506"/>
            <a:ext cx="368007" cy="274320"/>
          </a:xfrm>
          <a:prstGeom prst="rect">
            <a:avLst/>
          </a:prstGeom>
        </p:spPr>
      </p:pic>
    </p:spTree>
    <p:extLst>
      <p:ext uri="{BB962C8B-B14F-4D97-AF65-F5344CB8AC3E}">
        <p14:creationId xmlns:p14="http://schemas.microsoft.com/office/powerpoint/2010/main" val="1988822274"/>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Lst>
  <p:hf hdr="0" ftr="0"/>
  <p:txStyles>
    <p:titleStyle>
      <a:lvl1pPr algn="l" defTabSz="914400"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p:titleStyle>
    <p:body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36">
          <p15:clr>
            <a:srgbClr val="F26B43"/>
          </p15:clr>
        </p15:guide>
        <p15:guide id="2" orient="horz" pos="4184">
          <p15:clr>
            <a:srgbClr val="F26B43"/>
          </p15:clr>
        </p15:guide>
        <p15:guide id="3" orient="horz" pos="4048">
          <p15:clr>
            <a:srgbClr val="F26B43"/>
          </p15:clr>
        </p15:guide>
        <p15:guide id="4" orient="horz" pos="1272">
          <p15:clr>
            <a:srgbClr val="F26B43"/>
          </p15:clr>
        </p15:guide>
        <p15:guide id="5" pos="144">
          <p15:clr>
            <a:srgbClr val="F26B43"/>
          </p15:clr>
        </p15:guide>
        <p15:guide id="6" orient="horz" pos="38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8.xml"/><Relationship Id="rId7" Type="http://schemas.openxmlformats.org/officeDocument/2006/relationships/image" Target="../media/image12.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5.bin"/><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14.png"/></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1.xml"/><Relationship Id="rId7" Type="http://schemas.openxmlformats.org/officeDocument/2006/relationships/image" Target="../media/image26.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0.emf"/><Relationship Id="rId5" Type="http://schemas.openxmlformats.org/officeDocument/2006/relationships/oleObject" Target="../embeddings/oleObject14.bin"/><Relationship Id="rId4" Type="http://schemas.openxmlformats.org/officeDocument/2006/relationships/notesSlide" Target="../notesSlides/notesSlide10.xml"/><Relationship Id="rId9" Type="http://schemas.openxmlformats.org/officeDocument/2006/relationships/image" Target="../media/image28.jpeg"/></Relationships>
</file>

<file path=ppt/slides/_rels/slide11.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slideLayout" Target="../slideLayouts/slideLayout11.xml"/><Relationship Id="rId7" Type="http://schemas.openxmlformats.org/officeDocument/2006/relationships/image" Target="../media/image29.jpe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1.xml"/><Relationship Id="rId9"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32.emf"/><Relationship Id="rId5" Type="http://schemas.openxmlformats.org/officeDocument/2006/relationships/image" Target="../media/image12.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36.emf"/><Relationship Id="rId3" Type="http://schemas.openxmlformats.org/officeDocument/2006/relationships/tags" Target="../tags/tag28.xml"/><Relationship Id="rId7" Type="http://schemas.openxmlformats.org/officeDocument/2006/relationships/image" Target="../media/image12.emf"/><Relationship Id="rId12" Type="http://schemas.openxmlformats.org/officeDocument/2006/relationships/oleObject" Target="../embeddings/oleObject21.bin"/><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oleObject" Target="../embeddings/oleObject18.bin"/><Relationship Id="rId11" Type="http://schemas.openxmlformats.org/officeDocument/2006/relationships/image" Target="../media/image35.wmf"/><Relationship Id="rId5" Type="http://schemas.openxmlformats.org/officeDocument/2006/relationships/notesSlide" Target="../notesSlides/notesSlide14.xml"/><Relationship Id="rId10" Type="http://schemas.openxmlformats.org/officeDocument/2006/relationships/oleObject" Target="../embeddings/oleObject20.bin"/><Relationship Id="rId4" Type="http://schemas.openxmlformats.org/officeDocument/2006/relationships/slideLayout" Target="../slideLayouts/slideLayout3.xml"/><Relationship Id="rId9" Type="http://schemas.openxmlformats.org/officeDocument/2006/relationships/image" Target="../media/image34.w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19.xml"/><Relationship Id="rId7" Type="http://schemas.openxmlformats.org/officeDocument/2006/relationships/image" Target="../media/image38.png"/><Relationship Id="rId2" Type="http://schemas.openxmlformats.org/officeDocument/2006/relationships/slideLayout" Target="../slideLayouts/slideLayout3.xml"/><Relationship Id="rId1" Type="http://schemas.openxmlformats.org/officeDocument/2006/relationships/tags" Target="../tags/tag33.xml"/><Relationship Id="rId6" Type="http://schemas.openxmlformats.org/officeDocument/2006/relationships/image" Target="../media/image37.png"/><Relationship Id="rId5" Type="http://schemas.openxmlformats.org/officeDocument/2006/relationships/image" Target="../media/image12.emf"/><Relationship Id="rId4" Type="http://schemas.openxmlformats.org/officeDocument/2006/relationships/oleObject" Target="../embeddings/oleObject25.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5.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1.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notesSlide" Target="../notesSlides/notesSlide21.xml"/><Relationship Id="rId7" Type="http://schemas.openxmlformats.org/officeDocument/2006/relationships/image" Target="../media/image41.emf"/><Relationship Id="rId2" Type="http://schemas.openxmlformats.org/officeDocument/2006/relationships/slideLayout" Target="../slideLayouts/slideLayout11.xml"/><Relationship Id="rId1" Type="http://schemas.openxmlformats.org/officeDocument/2006/relationships/tags" Target="../tags/tag35.xml"/><Relationship Id="rId6" Type="http://schemas.openxmlformats.org/officeDocument/2006/relationships/image" Target="../media/image40.jpeg"/><Relationship Id="rId5" Type="http://schemas.openxmlformats.org/officeDocument/2006/relationships/image" Target="../media/image12.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1.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3.xml.rels><?xml version="1.0" encoding="UTF-8" standalone="yes"?>
<Relationships xmlns="http://schemas.openxmlformats.org/package/2006/relationships"><Relationship Id="rId8" Type="http://schemas.openxmlformats.org/officeDocument/2006/relationships/diagramQuickStyle" Target="../diagrams/quickStyle2.xml"/><Relationship Id="rId13" Type="http://schemas.openxmlformats.org/officeDocument/2006/relationships/image" Target="../media/image44.png"/><Relationship Id="rId18" Type="http://schemas.microsoft.com/office/2007/relationships/hdphoto" Target="../media/hdphoto4.wdp"/><Relationship Id="rId3" Type="http://schemas.openxmlformats.org/officeDocument/2006/relationships/notesSlide" Target="../notesSlides/notesSlide23.xml"/><Relationship Id="rId7" Type="http://schemas.openxmlformats.org/officeDocument/2006/relationships/diagramLayout" Target="../diagrams/layout2.xml"/><Relationship Id="rId12" Type="http://schemas.microsoft.com/office/2007/relationships/hdphoto" Target="../media/hdphoto1.wdp"/><Relationship Id="rId17" Type="http://schemas.openxmlformats.org/officeDocument/2006/relationships/image" Target="../media/image46.png"/><Relationship Id="rId2" Type="http://schemas.openxmlformats.org/officeDocument/2006/relationships/slideLayout" Target="../slideLayouts/slideLayout3.xml"/><Relationship Id="rId16" Type="http://schemas.microsoft.com/office/2007/relationships/hdphoto" Target="../media/hdphoto3.wdp"/><Relationship Id="rId1" Type="http://schemas.openxmlformats.org/officeDocument/2006/relationships/tags" Target="../tags/tag37.xml"/><Relationship Id="rId6" Type="http://schemas.openxmlformats.org/officeDocument/2006/relationships/diagramData" Target="../diagrams/data2.xml"/><Relationship Id="rId11" Type="http://schemas.openxmlformats.org/officeDocument/2006/relationships/image" Target="../media/image43.png"/><Relationship Id="rId5" Type="http://schemas.openxmlformats.org/officeDocument/2006/relationships/image" Target="../media/image1.emf"/><Relationship Id="rId15" Type="http://schemas.openxmlformats.org/officeDocument/2006/relationships/image" Target="../media/image45.png"/><Relationship Id="rId10" Type="http://schemas.microsoft.com/office/2007/relationships/diagramDrawing" Target="../diagrams/drawing2.xml"/><Relationship Id="rId4" Type="http://schemas.openxmlformats.org/officeDocument/2006/relationships/oleObject" Target="../embeddings/oleObject29.bin"/><Relationship Id="rId9" Type="http://schemas.openxmlformats.org/officeDocument/2006/relationships/diagramColors" Target="../diagrams/colors2.xml"/><Relationship Id="rId14" Type="http://schemas.microsoft.com/office/2007/relationships/hdphoto" Target="../media/hdphoto2.wdp"/></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48.png"/><Relationship Id="rId2" Type="http://schemas.openxmlformats.org/officeDocument/2006/relationships/slideLayout" Target="../slideLayouts/slideLayout3.xml"/><Relationship Id="rId1" Type="http://schemas.openxmlformats.org/officeDocument/2006/relationships/tags" Target="../tags/tag38.x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notesSlide" Target="../notesSlides/notesSlide26.xml"/><Relationship Id="rId7" Type="http://schemas.openxmlformats.org/officeDocument/2006/relationships/diagramLayout" Target="../diagrams/layout3.xml"/><Relationship Id="rId2" Type="http://schemas.openxmlformats.org/officeDocument/2006/relationships/slideLayout" Target="../slideLayouts/slideLayout11.xml"/><Relationship Id="rId1" Type="http://schemas.openxmlformats.org/officeDocument/2006/relationships/tags" Target="../tags/tag41.xml"/><Relationship Id="rId6" Type="http://schemas.openxmlformats.org/officeDocument/2006/relationships/diagramData" Target="../diagrams/data3.xml"/><Relationship Id="rId5" Type="http://schemas.openxmlformats.org/officeDocument/2006/relationships/image" Target="../media/image1.emf"/><Relationship Id="rId10" Type="http://schemas.microsoft.com/office/2007/relationships/diagramDrawing" Target="../diagrams/drawing3.xml"/><Relationship Id="rId4" Type="http://schemas.openxmlformats.org/officeDocument/2006/relationships/oleObject" Target="../embeddings/oleObject32.bin"/><Relationship Id="rId9" Type="http://schemas.openxmlformats.org/officeDocument/2006/relationships/diagramColors" Target="../diagrams/colors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1.xml"/><Relationship Id="rId1" Type="http://schemas.openxmlformats.org/officeDocument/2006/relationships/tags" Target="../tags/tag42.x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3.xml"/><Relationship Id="rId1" Type="http://schemas.openxmlformats.org/officeDocument/2006/relationships/tags" Target="../tags/tag43.xml"/><Relationship Id="rId5" Type="http://schemas.openxmlformats.org/officeDocument/2006/relationships/image" Target="../media/image12.emf"/><Relationship Id="rId4" Type="http://schemas.openxmlformats.org/officeDocument/2006/relationships/oleObject" Target="../embeddings/oleObject34.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44.xml"/><Relationship Id="rId5" Type="http://schemas.openxmlformats.org/officeDocument/2006/relationships/image" Target="../media/image49.emf"/><Relationship Id="rId4" Type="http://schemas.openxmlformats.org/officeDocument/2006/relationships/oleObject" Target="../embeddings/oleObject3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xml"/><Relationship Id="rId1" Type="http://schemas.openxmlformats.org/officeDocument/2006/relationships/tags" Target="../tags/tag11.xml"/><Relationship Id="rId6" Type="http://schemas.openxmlformats.org/officeDocument/2006/relationships/image" Target="../media/image15.emf"/><Relationship Id="rId5" Type="http://schemas.openxmlformats.org/officeDocument/2006/relationships/image" Target="../media/image12.emf"/><Relationship Id="rId4" Type="http://schemas.openxmlformats.org/officeDocument/2006/relationships/oleObject" Target="../embeddings/oleObject7.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50.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49.emf"/><Relationship Id="rId5" Type="http://schemas.openxmlformats.org/officeDocument/2006/relationships/oleObject" Target="../embeddings/oleObject36.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51.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49.emf"/><Relationship Id="rId5" Type="http://schemas.openxmlformats.org/officeDocument/2006/relationships/oleObject" Target="../embeddings/oleObject37.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2.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49.emf"/><Relationship Id="rId5" Type="http://schemas.openxmlformats.org/officeDocument/2006/relationships/oleObject" Target="../embeddings/oleObject38.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53.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3.jpeg"/><Relationship Id="rId5" Type="http://schemas.openxmlformats.org/officeDocument/2006/relationships/notesSlide" Target="../notesSlides/notesSlide33.xml"/><Relationship Id="rId4"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xml"/><Relationship Id="rId1" Type="http://schemas.openxmlformats.org/officeDocument/2006/relationships/tags" Target="../tags/tag54.xml"/><Relationship Id="rId5" Type="http://schemas.openxmlformats.org/officeDocument/2006/relationships/image" Target="../media/image12.emf"/><Relationship Id="rId4" Type="http://schemas.openxmlformats.org/officeDocument/2006/relationships/oleObject" Target="../embeddings/oleObject39.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xml"/><Relationship Id="rId1" Type="http://schemas.openxmlformats.org/officeDocument/2006/relationships/tags" Target="../tags/tag55.xml"/><Relationship Id="rId6" Type="http://schemas.openxmlformats.org/officeDocument/2006/relationships/image" Target="../media/image54.jpeg"/><Relationship Id="rId5" Type="http://schemas.openxmlformats.org/officeDocument/2006/relationships/image" Target="../media/image12.emf"/><Relationship Id="rId4" Type="http://schemas.openxmlformats.org/officeDocument/2006/relationships/oleObject" Target="../embeddings/oleObject40.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tags" Target="../tags/tag56.xml"/><Relationship Id="rId6" Type="http://schemas.openxmlformats.org/officeDocument/2006/relationships/image" Target="../media/image55.jpeg"/><Relationship Id="rId5" Type="http://schemas.openxmlformats.org/officeDocument/2006/relationships/image" Target="../media/image12.emf"/><Relationship Id="rId4" Type="http://schemas.openxmlformats.org/officeDocument/2006/relationships/oleObject" Target="../embeddings/oleObject41.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57.xml"/><Relationship Id="rId6" Type="http://schemas.openxmlformats.org/officeDocument/2006/relationships/chart" Target="../charts/chart5.xml"/><Relationship Id="rId5" Type="http://schemas.openxmlformats.org/officeDocument/2006/relationships/image" Target="../media/image12.emf"/><Relationship Id="rId4" Type="http://schemas.openxmlformats.org/officeDocument/2006/relationships/oleObject" Target="../embeddings/oleObject42.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xml"/><Relationship Id="rId1" Type="http://schemas.openxmlformats.org/officeDocument/2006/relationships/tags" Target="../tags/tag58.xml"/><Relationship Id="rId6" Type="http://schemas.openxmlformats.org/officeDocument/2006/relationships/chart" Target="../charts/chart6.xml"/><Relationship Id="rId5" Type="http://schemas.openxmlformats.org/officeDocument/2006/relationships/image" Target="../media/image12.emf"/><Relationship Id="rId4" Type="http://schemas.openxmlformats.org/officeDocument/2006/relationships/oleObject" Target="../embeddings/oleObject43.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57.jpeg"/><Relationship Id="rId2" Type="http://schemas.openxmlformats.org/officeDocument/2006/relationships/slideLayout" Target="../slideLayouts/slideLayout3.xml"/><Relationship Id="rId1" Type="http://schemas.openxmlformats.org/officeDocument/2006/relationships/tags" Target="../tags/tag59.xml"/><Relationship Id="rId6" Type="http://schemas.openxmlformats.org/officeDocument/2006/relationships/image" Target="../media/image56.jpe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4.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slideLayout" Target="../slideLayouts/slideLayout11.xml"/><Relationship Id="rId7" Type="http://schemas.openxmlformats.org/officeDocument/2006/relationships/image" Target="../media/image17.jpeg"/><Relationship Id="rId12" Type="http://schemas.openxmlformats.org/officeDocument/2006/relationships/hyperlink" Target="https://www.nature.com/articles/s41598-017-12359-7" TargetMode="Externa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6.emf"/><Relationship Id="rId11" Type="http://schemas.openxmlformats.org/officeDocument/2006/relationships/hyperlink" Target="https://www.ncbi.nlm.nih.gov/pmc/articles/PMC3277801/" TargetMode="External"/><Relationship Id="rId5" Type="http://schemas.openxmlformats.org/officeDocument/2006/relationships/oleObject" Target="../embeddings/oleObject8.bin"/><Relationship Id="rId10" Type="http://schemas.openxmlformats.org/officeDocument/2006/relationships/hyperlink" Target="https://www.ncbi.nlm.nih.gov/pmc/articles/PMC7433678/" TargetMode="External"/><Relationship Id="rId4" Type="http://schemas.openxmlformats.org/officeDocument/2006/relationships/notesSlide" Target="../notesSlides/notesSlide4.xml"/><Relationship Id="rId9" Type="http://schemas.openxmlformats.org/officeDocument/2006/relationships/image" Target="../media/image19.jpeg"/></Relationships>
</file>

<file path=ppt/slides/_rels/slide40.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notesSlide" Target="../notesSlides/notesSlide40.xml"/><Relationship Id="rId7" Type="http://schemas.openxmlformats.org/officeDocument/2006/relationships/image" Target="../media/image59.jpeg"/><Relationship Id="rId2" Type="http://schemas.openxmlformats.org/officeDocument/2006/relationships/slideLayout" Target="../slideLayouts/slideLayout3.xml"/><Relationship Id="rId1" Type="http://schemas.openxmlformats.org/officeDocument/2006/relationships/tags" Target="../tags/tag60.xml"/><Relationship Id="rId6" Type="http://schemas.openxmlformats.org/officeDocument/2006/relationships/image" Target="../media/image58.emf"/><Relationship Id="rId5" Type="http://schemas.openxmlformats.org/officeDocument/2006/relationships/image" Target="../media/image12.emf"/><Relationship Id="rId4" Type="http://schemas.openxmlformats.org/officeDocument/2006/relationships/oleObject" Target="../embeddings/oleObject45.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62.jpeg"/><Relationship Id="rId2" Type="http://schemas.openxmlformats.org/officeDocument/2006/relationships/slideLayout" Target="../slideLayouts/slideLayout3.xml"/><Relationship Id="rId1" Type="http://schemas.openxmlformats.org/officeDocument/2006/relationships/tags" Target="../tags/tag61.xml"/><Relationship Id="rId6" Type="http://schemas.openxmlformats.org/officeDocument/2006/relationships/image" Target="../media/image61.jpe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3.xml"/><Relationship Id="rId1" Type="http://schemas.openxmlformats.org/officeDocument/2006/relationships/tags" Target="../tags/tag62.xml"/><Relationship Id="rId6" Type="http://schemas.openxmlformats.org/officeDocument/2006/relationships/chart" Target="../charts/chart7.x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64.png"/><Relationship Id="rId2" Type="http://schemas.openxmlformats.org/officeDocument/2006/relationships/slideLayout" Target="../slideLayouts/slideLayout3.xml"/><Relationship Id="rId1" Type="http://schemas.openxmlformats.org/officeDocument/2006/relationships/tags" Target="../tags/tag63.xml"/><Relationship Id="rId6" Type="http://schemas.openxmlformats.org/officeDocument/2006/relationships/image" Target="../media/image63.png"/><Relationship Id="rId5" Type="http://schemas.openxmlformats.org/officeDocument/2006/relationships/image" Target="../media/image12.emf"/><Relationship Id="rId4" Type="http://schemas.openxmlformats.org/officeDocument/2006/relationships/oleObject" Target="../embeddings/oleObject48.bin"/></Relationships>
</file>

<file path=ppt/slides/_rels/slide44.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notesSlide" Target="../notesSlides/notesSlide44.xml"/><Relationship Id="rId7" Type="http://schemas.openxmlformats.org/officeDocument/2006/relationships/image" Target="cid:1DCB3D00-5FFE-4049-BE19-8F1ABF66326F" TargetMode="External"/><Relationship Id="rId2" Type="http://schemas.openxmlformats.org/officeDocument/2006/relationships/slideLayout" Target="../slideLayouts/slideLayout3.xml"/><Relationship Id="rId1" Type="http://schemas.openxmlformats.org/officeDocument/2006/relationships/tags" Target="../tags/tag64.xml"/><Relationship Id="rId6" Type="http://schemas.openxmlformats.org/officeDocument/2006/relationships/image" Target="../media/image65.jpeg"/><Relationship Id="rId5" Type="http://schemas.openxmlformats.org/officeDocument/2006/relationships/image" Target="../media/image1.emf"/><Relationship Id="rId4" Type="http://schemas.openxmlformats.org/officeDocument/2006/relationships/oleObject" Target="../embeddings/oleObject49.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xml"/><Relationship Id="rId1" Type="http://schemas.openxmlformats.org/officeDocument/2006/relationships/tags" Target="../tags/tag65.xml"/><Relationship Id="rId6" Type="http://schemas.openxmlformats.org/officeDocument/2006/relationships/chart" Target="../charts/chart8.xml"/><Relationship Id="rId5" Type="http://schemas.openxmlformats.org/officeDocument/2006/relationships/image" Target="../media/image1.emf"/><Relationship Id="rId4" Type="http://schemas.openxmlformats.org/officeDocument/2006/relationships/oleObject" Target="../embeddings/oleObject50.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xml"/><Relationship Id="rId1" Type="http://schemas.openxmlformats.org/officeDocument/2006/relationships/tags" Target="../tags/tag66.xml"/><Relationship Id="rId6" Type="http://schemas.openxmlformats.org/officeDocument/2006/relationships/chart" Target="../charts/chart9.xml"/><Relationship Id="rId5" Type="http://schemas.openxmlformats.org/officeDocument/2006/relationships/image" Target="../media/image12.emf"/><Relationship Id="rId4" Type="http://schemas.openxmlformats.org/officeDocument/2006/relationships/oleObject" Target="../embeddings/oleObject51.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3.xml"/><Relationship Id="rId1" Type="http://schemas.openxmlformats.org/officeDocument/2006/relationships/tags" Target="../tags/tag67.xml"/><Relationship Id="rId5" Type="http://schemas.openxmlformats.org/officeDocument/2006/relationships/image" Target="../media/image12.emf"/><Relationship Id="rId4" Type="http://schemas.openxmlformats.org/officeDocument/2006/relationships/oleObject" Target="../embeddings/oleObject52.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3.xml"/><Relationship Id="rId1" Type="http://schemas.openxmlformats.org/officeDocument/2006/relationships/tags" Target="../tags/tag68.xml"/><Relationship Id="rId6" Type="http://schemas.openxmlformats.org/officeDocument/2006/relationships/chart" Target="../charts/chart10.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68.jpeg"/><Relationship Id="rId2" Type="http://schemas.openxmlformats.org/officeDocument/2006/relationships/slideLayout" Target="../slideLayouts/slideLayout3.xml"/><Relationship Id="rId1" Type="http://schemas.openxmlformats.org/officeDocument/2006/relationships/tags" Target="../tags/tag69.xml"/><Relationship Id="rId6" Type="http://schemas.openxmlformats.org/officeDocument/2006/relationships/image" Target="../media/image67.png"/><Relationship Id="rId5" Type="http://schemas.openxmlformats.org/officeDocument/2006/relationships/image" Target="../media/image1.emf"/><Relationship Id="rId4" Type="http://schemas.openxmlformats.org/officeDocument/2006/relationships/oleObject" Target="../embeddings/oleObject54.bin"/></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1.xml"/><Relationship Id="rId7" Type="http://schemas.openxmlformats.org/officeDocument/2006/relationships/diagramData" Target="../diagrams/data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0.emf"/><Relationship Id="rId11" Type="http://schemas.microsoft.com/office/2007/relationships/diagramDrawing" Target="../diagrams/drawing1.xml"/><Relationship Id="rId5" Type="http://schemas.openxmlformats.org/officeDocument/2006/relationships/oleObject" Target="../embeddings/oleObject9.bin"/><Relationship Id="rId10" Type="http://schemas.openxmlformats.org/officeDocument/2006/relationships/diagramColors" Target="../diagrams/colors1.xml"/><Relationship Id="rId4" Type="http://schemas.openxmlformats.org/officeDocument/2006/relationships/notesSlide" Target="../notesSlides/notesSlide5.xml"/><Relationship Id="rId9" Type="http://schemas.openxmlformats.org/officeDocument/2006/relationships/diagramQuickStyle" Target="../diagrams/quickStyle1.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3.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3.xml"/><Relationship Id="rId1" Type="http://schemas.openxmlformats.org/officeDocument/2006/relationships/tags" Target="../tags/tag71.xml"/><Relationship Id="rId6" Type="http://schemas.openxmlformats.org/officeDocument/2006/relationships/chart" Target="../charts/chart11.xml"/><Relationship Id="rId5" Type="http://schemas.openxmlformats.org/officeDocument/2006/relationships/image" Target="../media/image1.emf"/><Relationship Id="rId4" Type="http://schemas.openxmlformats.org/officeDocument/2006/relationships/oleObject" Target="../embeddings/oleObject56.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3.xml"/><Relationship Id="rId1" Type="http://schemas.openxmlformats.org/officeDocument/2006/relationships/tags" Target="../tags/tag72.xml"/><Relationship Id="rId6" Type="http://schemas.openxmlformats.org/officeDocument/2006/relationships/chart" Target="../charts/chart12.xml"/><Relationship Id="rId5" Type="http://schemas.openxmlformats.org/officeDocument/2006/relationships/image" Target="../media/image1.emf"/><Relationship Id="rId4" Type="http://schemas.openxmlformats.org/officeDocument/2006/relationships/oleObject" Target="../embeddings/oleObject57.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xml"/><Relationship Id="rId1" Type="http://schemas.openxmlformats.org/officeDocument/2006/relationships/tags" Target="../tags/tag73.xml"/><Relationship Id="rId6" Type="http://schemas.openxmlformats.org/officeDocument/2006/relationships/chart" Target="../charts/chart13.x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3.xml"/><Relationship Id="rId1" Type="http://schemas.openxmlformats.org/officeDocument/2006/relationships/tags" Target="../tags/tag74.xml"/><Relationship Id="rId6" Type="http://schemas.openxmlformats.org/officeDocument/2006/relationships/image" Target="../media/image69.jpeg"/><Relationship Id="rId5" Type="http://schemas.openxmlformats.org/officeDocument/2006/relationships/image" Target="../media/image1.emf"/><Relationship Id="rId4" Type="http://schemas.openxmlformats.org/officeDocument/2006/relationships/oleObject" Target="../embeddings/oleObject59.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28.xml"/><Relationship Id="rId1" Type="http://schemas.openxmlformats.org/officeDocument/2006/relationships/tags" Target="../tags/tag75.x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8.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image" Target="../media/image71.jpeg"/><Relationship Id="rId2" Type="http://schemas.openxmlformats.org/officeDocument/2006/relationships/slideLayout" Target="../slideLayouts/slideLayout3.xml"/><Relationship Id="rId1" Type="http://schemas.openxmlformats.org/officeDocument/2006/relationships/tags" Target="../tags/tag77.xml"/><Relationship Id="rId6" Type="http://schemas.openxmlformats.org/officeDocument/2006/relationships/image" Target="../media/image70.jpe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3.xml"/><Relationship Id="rId1" Type="http://schemas.openxmlformats.org/officeDocument/2006/relationships/tags" Target="../tags/tag78.xml"/><Relationship Id="rId6" Type="http://schemas.openxmlformats.org/officeDocument/2006/relationships/chart" Target="../charts/chart14.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3.xml"/><Relationship Id="rId1" Type="http://schemas.openxmlformats.org/officeDocument/2006/relationships/tags" Target="../tags/tag79.xml"/><Relationship Id="rId6" Type="http://schemas.openxmlformats.org/officeDocument/2006/relationships/chart" Target="../charts/chart15.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xml"/><Relationship Id="rId1" Type="http://schemas.openxmlformats.org/officeDocument/2006/relationships/tags" Target="../tags/tag16.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3.xml"/><Relationship Id="rId1" Type="http://schemas.openxmlformats.org/officeDocument/2006/relationships/tags" Target="../tags/tag80.xml"/><Relationship Id="rId6" Type="http://schemas.openxmlformats.org/officeDocument/2006/relationships/chart" Target="../charts/chart16.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72.png"/><Relationship Id="rId2" Type="http://schemas.openxmlformats.org/officeDocument/2006/relationships/slideLayout" Target="../slideLayouts/slideLayout3.xml"/><Relationship Id="rId1" Type="http://schemas.openxmlformats.org/officeDocument/2006/relationships/tags" Target="../tags/tag81.xml"/><Relationship Id="rId6" Type="http://schemas.openxmlformats.org/officeDocument/2006/relationships/chart" Target="../charts/chart17.x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7" Type="http://schemas.openxmlformats.org/officeDocument/2006/relationships/chart" Target="../charts/chart19.xml"/><Relationship Id="rId2" Type="http://schemas.openxmlformats.org/officeDocument/2006/relationships/slideLayout" Target="../slideLayouts/slideLayout3.xml"/><Relationship Id="rId1" Type="http://schemas.openxmlformats.org/officeDocument/2006/relationships/tags" Target="../tags/tag82.xml"/><Relationship Id="rId6" Type="http://schemas.openxmlformats.org/officeDocument/2006/relationships/chart" Target="../charts/chart18.xml"/><Relationship Id="rId5" Type="http://schemas.openxmlformats.org/officeDocument/2006/relationships/image" Target="../media/image12.emf"/><Relationship Id="rId4" Type="http://schemas.openxmlformats.org/officeDocument/2006/relationships/oleObject" Target="../embeddings/oleObject67.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3.xml"/><Relationship Id="rId1" Type="http://schemas.openxmlformats.org/officeDocument/2006/relationships/tags" Target="../tags/tag83.xml"/><Relationship Id="rId6" Type="http://schemas.openxmlformats.org/officeDocument/2006/relationships/chart" Target="../charts/chart20.xml"/><Relationship Id="rId5" Type="http://schemas.openxmlformats.org/officeDocument/2006/relationships/image" Target="../media/image12.emf"/><Relationship Id="rId4" Type="http://schemas.openxmlformats.org/officeDocument/2006/relationships/oleObject" Target="../embeddings/oleObject68.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3.xml"/><Relationship Id="rId1" Type="http://schemas.openxmlformats.org/officeDocument/2006/relationships/tags" Target="../tags/tag84.xml"/><Relationship Id="rId6" Type="http://schemas.openxmlformats.org/officeDocument/2006/relationships/image" Target="../media/image15.emf"/><Relationship Id="rId5" Type="http://schemas.openxmlformats.org/officeDocument/2006/relationships/image" Target="../media/image1.emf"/><Relationship Id="rId4" Type="http://schemas.openxmlformats.org/officeDocument/2006/relationships/oleObject" Target="../embeddings/oleObject69.bin"/></Relationships>
</file>

<file path=ppt/slides/_rels/slide65.xml.rels><?xml version="1.0" encoding="UTF-8" standalone="yes"?>
<Relationships xmlns="http://schemas.openxmlformats.org/package/2006/relationships"><Relationship Id="rId8" Type="http://schemas.openxmlformats.org/officeDocument/2006/relationships/image" Target="../media/image75.jpeg"/><Relationship Id="rId3" Type="http://schemas.openxmlformats.org/officeDocument/2006/relationships/notesSlide" Target="../notesSlides/notesSlide65.xml"/><Relationship Id="rId7" Type="http://schemas.openxmlformats.org/officeDocument/2006/relationships/image" Target="../media/image74.jpeg"/><Relationship Id="rId2" Type="http://schemas.openxmlformats.org/officeDocument/2006/relationships/slideLayout" Target="../slideLayouts/slideLayout3.xml"/><Relationship Id="rId1" Type="http://schemas.openxmlformats.org/officeDocument/2006/relationships/tags" Target="../tags/tag85.xml"/><Relationship Id="rId6" Type="http://schemas.openxmlformats.org/officeDocument/2006/relationships/image" Target="../media/image73.jpeg"/><Relationship Id="rId11" Type="http://schemas.openxmlformats.org/officeDocument/2006/relationships/image" Target="../media/image78.jpeg"/><Relationship Id="rId5" Type="http://schemas.openxmlformats.org/officeDocument/2006/relationships/image" Target="../media/image49.emf"/><Relationship Id="rId10" Type="http://schemas.openxmlformats.org/officeDocument/2006/relationships/image" Target="../media/image77.jpeg"/><Relationship Id="rId4" Type="http://schemas.openxmlformats.org/officeDocument/2006/relationships/oleObject" Target="../embeddings/oleObject70.bin"/><Relationship Id="rId9" Type="http://schemas.openxmlformats.org/officeDocument/2006/relationships/image" Target="../media/image76.jpe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6.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3.xml"/><Relationship Id="rId1" Type="http://schemas.openxmlformats.org/officeDocument/2006/relationships/tags" Target="../tags/tag86.xml"/><Relationship Id="rId6" Type="http://schemas.openxmlformats.org/officeDocument/2006/relationships/image" Target="../media/image79.jpeg"/><Relationship Id="rId5" Type="http://schemas.openxmlformats.org/officeDocument/2006/relationships/image" Target="../media/image1.emf"/><Relationship Id="rId4" Type="http://schemas.openxmlformats.org/officeDocument/2006/relationships/oleObject" Target="../embeddings/oleObject71.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81.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80.emf"/><Relationship Id="rId5" Type="http://schemas.openxmlformats.org/officeDocument/2006/relationships/oleObject" Target="../embeddings/oleObject72.bin"/><Relationship Id="rId4" Type="http://schemas.openxmlformats.org/officeDocument/2006/relationships/notesSlide" Target="../notesSlides/notesSlide68.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82.emf"/><Relationship Id="rId5" Type="http://schemas.openxmlformats.org/officeDocument/2006/relationships/oleObject" Target="../embeddings/oleObject73.bin"/><Relationship Id="rId4" Type="http://schemas.openxmlformats.org/officeDocument/2006/relationships/notesSlide" Target="../notesSlides/notesSlide6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83.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80.emf"/><Relationship Id="rId5" Type="http://schemas.openxmlformats.org/officeDocument/2006/relationships/oleObject" Target="../embeddings/oleObject74.bin"/><Relationship Id="rId4" Type="http://schemas.openxmlformats.org/officeDocument/2006/relationships/notesSlide" Target="../notesSlides/notesSlide70.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6.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3.xml"/><Relationship Id="rId1" Type="http://schemas.openxmlformats.org/officeDocument/2006/relationships/tags" Target="../tags/tag93.xml"/><Relationship Id="rId6" Type="http://schemas.openxmlformats.org/officeDocument/2006/relationships/image" Target="../media/image84.jpeg"/><Relationship Id="rId5" Type="http://schemas.openxmlformats.org/officeDocument/2006/relationships/image" Target="../media/image1.emf"/><Relationship Id="rId4" Type="http://schemas.openxmlformats.org/officeDocument/2006/relationships/oleObject" Target="../embeddings/oleObject75.bin"/></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86.jpe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85.emf"/><Relationship Id="rId5" Type="http://schemas.openxmlformats.org/officeDocument/2006/relationships/oleObject" Target="../embeddings/oleObject76.bin"/><Relationship Id="rId4" Type="http://schemas.openxmlformats.org/officeDocument/2006/relationships/notesSlide" Target="../notesSlides/notesSlide73.xml"/></Relationships>
</file>

<file path=ppt/slides/_rels/slide74.xml.rels><?xml version="1.0" encoding="UTF-8" standalone="yes"?>
<Relationships xmlns="http://schemas.openxmlformats.org/package/2006/relationships"><Relationship Id="rId8" Type="http://schemas.openxmlformats.org/officeDocument/2006/relationships/image" Target="../media/image87.emf"/><Relationship Id="rId3" Type="http://schemas.openxmlformats.org/officeDocument/2006/relationships/slideLayout" Target="../slideLayouts/slideLayout3.xml"/><Relationship Id="rId7" Type="http://schemas.openxmlformats.org/officeDocument/2006/relationships/oleObject" Target="../embeddings/oleObject78.bin"/><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49.emf"/><Relationship Id="rId5" Type="http://schemas.openxmlformats.org/officeDocument/2006/relationships/oleObject" Target="../embeddings/oleObject77.bin"/><Relationship Id="rId4" Type="http://schemas.openxmlformats.org/officeDocument/2006/relationships/notesSlide" Target="../notesSlides/notesSlide74.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image" Target="../media/image89.wmf"/><Relationship Id="rId2" Type="http://schemas.openxmlformats.org/officeDocument/2006/relationships/slideLayout" Target="../slideLayouts/slideLayout11.xml"/><Relationship Id="rId1" Type="http://schemas.openxmlformats.org/officeDocument/2006/relationships/tags" Target="../tags/tag98.xml"/><Relationship Id="rId6" Type="http://schemas.openxmlformats.org/officeDocument/2006/relationships/image" Target="../media/image88.png"/><Relationship Id="rId5" Type="http://schemas.openxmlformats.org/officeDocument/2006/relationships/image" Target="../media/image12.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11.xml"/><Relationship Id="rId1" Type="http://schemas.openxmlformats.org/officeDocument/2006/relationships/tags" Target="../tags/tag99.xml"/><Relationship Id="rId6" Type="http://schemas.openxmlformats.org/officeDocument/2006/relationships/chart" Target="../charts/chart21.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22.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49.emf"/><Relationship Id="rId5" Type="http://schemas.openxmlformats.org/officeDocument/2006/relationships/oleObject" Target="../embeddings/oleObject81.bin"/><Relationship Id="rId4" Type="http://schemas.openxmlformats.org/officeDocument/2006/relationships/notesSlide" Target="../notesSlides/notesSlide77.xml"/></Relationships>
</file>

<file path=ppt/slides/_rels/slide78.xml.rels><?xml version="1.0" encoding="UTF-8" standalone="yes"?>
<Relationships xmlns="http://schemas.openxmlformats.org/package/2006/relationships"><Relationship Id="rId8" Type="http://schemas.microsoft.com/office/2007/relationships/hdphoto" Target="../media/hdphoto5.wdp"/><Relationship Id="rId13" Type="http://schemas.openxmlformats.org/officeDocument/2006/relationships/image" Target="../media/image93.png"/><Relationship Id="rId18" Type="http://schemas.microsoft.com/office/2007/relationships/hdphoto" Target="../media/hdphoto10.wdp"/><Relationship Id="rId26" Type="http://schemas.openxmlformats.org/officeDocument/2006/relationships/image" Target="../media/image102.jpeg"/><Relationship Id="rId3" Type="http://schemas.openxmlformats.org/officeDocument/2006/relationships/slideLayout" Target="../slideLayouts/slideLayout11.xml"/><Relationship Id="rId21" Type="http://schemas.openxmlformats.org/officeDocument/2006/relationships/image" Target="../media/image97.jpeg"/><Relationship Id="rId7" Type="http://schemas.openxmlformats.org/officeDocument/2006/relationships/image" Target="../media/image90.png"/><Relationship Id="rId12" Type="http://schemas.microsoft.com/office/2007/relationships/hdphoto" Target="../media/hdphoto7.wdp"/><Relationship Id="rId17" Type="http://schemas.openxmlformats.org/officeDocument/2006/relationships/image" Target="../media/image95.png"/><Relationship Id="rId25" Type="http://schemas.openxmlformats.org/officeDocument/2006/relationships/image" Target="../media/image101.jpeg"/><Relationship Id="rId2" Type="http://schemas.openxmlformats.org/officeDocument/2006/relationships/tags" Target="../tags/tag103.xml"/><Relationship Id="rId16" Type="http://schemas.microsoft.com/office/2007/relationships/hdphoto" Target="../media/hdphoto9.wdp"/><Relationship Id="rId20" Type="http://schemas.microsoft.com/office/2007/relationships/hdphoto" Target="../media/hdphoto11.wdp"/><Relationship Id="rId29" Type="http://schemas.openxmlformats.org/officeDocument/2006/relationships/image" Target="../media/image105.jpeg"/><Relationship Id="rId1" Type="http://schemas.openxmlformats.org/officeDocument/2006/relationships/tags" Target="../tags/tag102.xml"/><Relationship Id="rId6" Type="http://schemas.openxmlformats.org/officeDocument/2006/relationships/image" Target="../media/image12.emf"/><Relationship Id="rId11" Type="http://schemas.openxmlformats.org/officeDocument/2006/relationships/image" Target="../media/image92.png"/><Relationship Id="rId24" Type="http://schemas.openxmlformats.org/officeDocument/2006/relationships/image" Target="../media/image100.png"/><Relationship Id="rId5" Type="http://schemas.openxmlformats.org/officeDocument/2006/relationships/oleObject" Target="../embeddings/oleObject82.bin"/><Relationship Id="rId15" Type="http://schemas.openxmlformats.org/officeDocument/2006/relationships/image" Target="../media/image94.png"/><Relationship Id="rId23" Type="http://schemas.openxmlformats.org/officeDocument/2006/relationships/image" Target="../media/image99.emf"/><Relationship Id="rId28" Type="http://schemas.openxmlformats.org/officeDocument/2006/relationships/image" Target="../media/image104.jpeg"/><Relationship Id="rId10" Type="http://schemas.microsoft.com/office/2007/relationships/hdphoto" Target="../media/hdphoto6.wdp"/><Relationship Id="rId19" Type="http://schemas.openxmlformats.org/officeDocument/2006/relationships/image" Target="../media/image96.png"/><Relationship Id="rId4" Type="http://schemas.openxmlformats.org/officeDocument/2006/relationships/notesSlide" Target="../notesSlides/notesSlide78.xml"/><Relationship Id="rId9" Type="http://schemas.openxmlformats.org/officeDocument/2006/relationships/image" Target="../media/image91.png"/><Relationship Id="rId14" Type="http://schemas.microsoft.com/office/2007/relationships/hdphoto" Target="../media/hdphoto8.wdp"/><Relationship Id="rId22" Type="http://schemas.openxmlformats.org/officeDocument/2006/relationships/image" Target="../media/image98.png"/><Relationship Id="rId27" Type="http://schemas.openxmlformats.org/officeDocument/2006/relationships/image" Target="../media/image103.jpe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tags" Target="../tags/tag18.xml"/><Relationship Id="rId6" Type="http://schemas.openxmlformats.org/officeDocument/2006/relationships/image" Target="../media/image22.jpeg"/><Relationship Id="rId5" Type="http://schemas.openxmlformats.org/officeDocument/2006/relationships/image" Target="../media/image20.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8" Type="http://schemas.openxmlformats.org/officeDocument/2006/relationships/image" Target="../media/image107.emf"/><Relationship Id="rId3" Type="http://schemas.openxmlformats.org/officeDocument/2006/relationships/slideLayout" Target="../slideLayouts/slideLayout3.xml"/><Relationship Id="rId7" Type="http://schemas.openxmlformats.org/officeDocument/2006/relationships/image" Target="../media/image106.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49.emf"/><Relationship Id="rId5" Type="http://schemas.openxmlformats.org/officeDocument/2006/relationships/oleObject" Target="../embeddings/oleObject83.bin"/><Relationship Id="rId4" Type="http://schemas.openxmlformats.org/officeDocument/2006/relationships/notesSlide" Target="../notesSlides/notesSlide82.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7" Type="http://schemas.openxmlformats.org/officeDocument/2006/relationships/image" Target="../media/image109.png"/><Relationship Id="rId2" Type="http://schemas.openxmlformats.org/officeDocument/2006/relationships/slideLayout" Target="../slideLayouts/slideLayout11.xml"/><Relationship Id="rId1" Type="http://schemas.openxmlformats.org/officeDocument/2006/relationships/tags" Target="../tags/tag106.xml"/><Relationship Id="rId6" Type="http://schemas.openxmlformats.org/officeDocument/2006/relationships/image" Target="../media/image108.png"/><Relationship Id="rId5" Type="http://schemas.openxmlformats.org/officeDocument/2006/relationships/image" Target="../media/image1.emf"/><Relationship Id="rId4" Type="http://schemas.openxmlformats.org/officeDocument/2006/relationships/oleObject" Target="../embeddings/oleObject84.bin"/></Relationships>
</file>

<file path=ppt/slides/_rels/slide84.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image" Target="../media/image49.emf"/><Relationship Id="rId18" Type="http://schemas.openxmlformats.org/officeDocument/2006/relationships/image" Target="../media/image114.png"/><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oleObject" Target="../embeddings/oleObject85.bin"/><Relationship Id="rId17" Type="http://schemas.openxmlformats.org/officeDocument/2006/relationships/image" Target="../media/image113.wmf"/><Relationship Id="rId2" Type="http://schemas.openxmlformats.org/officeDocument/2006/relationships/tags" Target="../tags/tag108.xml"/><Relationship Id="rId16" Type="http://schemas.openxmlformats.org/officeDocument/2006/relationships/image" Target="../media/image112.png"/><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notesSlide" Target="../notesSlides/notesSlide84.xml"/><Relationship Id="rId5" Type="http://schemas.openxmlformats.org/officeDocument/2006/relationships/tags" Target="../tags/tag111.xml"/><Relationship Id="rId15" Type="http://schemas.openxmlformats.org/officeDocument/2006/relationships/image" Target="../media/image111.emf"/><Relationship Id="rId10" Type="http://schemas.openxmlformats.org/officeDocument/2006/relationships/slideLayout" Target="../slideLayouts/slideLayout3.xml"/><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image" Target="../media/image110.wmf"/></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3.xml"/><Relationship Id="rId1" Type="http://schemas.openxmlformats.org/officeDocument/2006/relationships/tags" Target="../tags/tag116.xml"/><Relationship Id="rId5" Type="http://schemas.openxmlformats.org/officeDocument/2006/relationships/image" Target="../media/image1.emf"/><Relationship Id="rId4" Type="http://schemas.openxmlformats.org/officeDocument/2006/relationships/oleObject" Target="../embeddings/oleObject86.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7" Type="http://schemas.openxmlformats.org/officeDocument/2006/relationships/image" Target="../media/image115.emf"/><Relationship Id="rId2" Type="http://schemas.openxmlformats.org/officeDocument/2006/relationships/slideLayout" Target="../slideLayouts/slideLayout3.xml"/><Relationship Id="rId1" Type="http://schemas.openxmlformats.org/officeDocument/2006/relationships/tags" Target="../tags/tag117.xml"/><Relationship Id="rId6" Type="http://schemas.openxmlformats.org/officeDocument/2006/relationships/oleObject" Target="../embeddings/oleObject88.bin"/><Relationship Id="rId5" Type="http://schemas.openxmlformats.org/officeDocument/2006/relationships/image" Target="../media/image1.emf"/><Relationship Id="rId4" Type="http://schemas.openxmlformats.org/officeDocument/2006/relationships/oleObject" Target="../embeddings/oleObject87.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7" Type="http://schemas.openxmlformats.org/officeDocument/2006/relationships/image" Target="../media/image116.png"/><Relationship Id="rId2" Type="http://schemas.openxmlformats.org/officeDocument/2006/relationships/slideLayout" Target="../slideLayouts/slideLayout3.xml"/><Relationship Id="rId1" Type="http://schemas.openxmlformats.org/officeDocument/2006/relationships/tags" Target="../tags/tag118.xml"/><Relationship Id="rId6" Type="http://schemas.openxmlformats.org/officeDocument/2006/relationships/chart" Target="../charts/chart23.xml"/><Relationship Id="rId5" Type="http://schemas.openxmlformats.org/officeDocument/2006/relationships/image" Target="../media/image1.emf"/><Relationship Id="rId4" Type="http://schemas.openxmlformats.org/officeDocument/2006/relationships/oleObject" Target="../embeddings/oleObject89.bin"/></Relationships>
</file>

<file path=ppt/slides/_rels/slide88.xml.rels><?xml version="1.0" encoding="UTF-8" standalone="yes"?>
<Relationships xmlns="http://schemas.openxmlformats.org/package/2006/relationships"><Relationship Id="rId8" Type="http://schemas.openxmlformats.org/officeDocument/2006/relationships/image" Target="../media/image117.jpeg"/><Relationship Id="rId3" Type="http://schemas.openxmlformats.org/officeDocument/2006/relationships/notesSlide" Target="../notesSlides/notesSlide88.xml"/><Relationship Id="rId7" Type="http://schemas.openxmlformats.org/officeDocument/2006/relationships/image" Target="../media/image117.png"/><Relationship Id="rId2" Type="http://schemas.openxmlformats.org/officeDocument/2006/relationships/slideLayout" Target="../slideLayouts/slideLayout3.xml"/><Relationship Id="rId1" Type="http://schemas.openxmlformats.org/officeDocument/2006/relationships/tags" Target="../tags/tag119.xml"/><Relationship Id="rId6" Type="http://schemas.openxmlformats.org/officeDocument/2006/relationships/chart" Target="../charts/chart24.xml"/><Relationship Id="rId5" Type="http://schemas.openxmlformats.org/officeDocument/2006/relationships/image" Target="../media/image1.emf"/><Relationship Id="rId4" Type="http://schemas.openxmlformats.org/officeDocument/2006/relationships/oleObject" Target="../embeddings/oleObject90.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3.xml"/><Relationship Id="rId1" Type="http://schemas.openxmlformats.org/officeDocument/2006/relationships/tags" Target="../tags/tag120.xml"/><Relationship Id="rId5" Type="http://schemas.openxmlformats.org/officeDocument/2006/relationships/image" Target="../media/image1.emf"/><Relationship Id="rId4" Type="http://schemas.openxmlformats.org/officeDocument/2006/relationships/oleObject" Target="../embeddings/oleObject91.bin"/></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9.xml"/><Relationship Id="rId7" Type="http://schemas.openxmlformats.org/officeDocument/2006/relationships/image" Target="../media/image24.png"/><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23.png"/><Relationship Id="rId5" Type="http://schemas.openxmlformats.org/officeDocument/2006/relationships/image" Target="../media/image12.emf"/><Relationship Id="rId4" Type="http://schemas.openxmlformats.org/officeDocument/2006/relationships/oleObject" Target="../embeddings/oleObject13.bin"/></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11.xml"/><Relationship Id="rId1" Type="http://schemas.openxmlformats.org/officeDocument/2006/relationships/tags" Target="../tags/tag121.xml"/><Relationship Id="rId5" Type="http://schemas.openxmlformats.org/officeDocument/2006/relationships/image" Target="../media/image12.emf"/><Relationship Id="rId4" Type="http://schemas.openxmlformats.org/officeDocument/2006/relationships/oleObject" Target="../embeddings/oleObject92.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11.xml"/><Relationship Id="rId1" Type="http://schemas.openxmlformats.org/officeDocument/2006/relationships/tags" Target="../tags/tag122.xml"/><Relationship Id="rId5" Type="http://schemas.openxmlformats.org/officeDocument/2006/relationships/image" Target="../media/image12.emf"/><Relationship Id="rId4" Type="http://schemas.openxmlformats.org/officeDocument/2006/relationships/oleObject" Target="../embeddings/oleObject93.bin"/></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11.xml"/><Relationship Id="rId1" Type="http://schemas.openxmlformats.org/officeDocument/2006/relationships/tags" Target="../tags/tag123.xml"/><Relationship Id="rId5" Type="http://schemas.openxmlformats.org/officeDocument/2006/relationships/image" Target="../media/image12.emf"/><Relationship Id="rId4" Type="http://schemas.openxmlformats.org/officeDocument/2006/relationships/oleObject" Target="../embeddings/oleObject94.bin"/></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11.xml"/><Relationship Id="rId1" Type="http://schemas.openxmlformats.org/officeDocument/2006/relationships/tags" Target="../tags/tag124.xml"/><Relationship Id="rId5" Type="http://schemas.openxmlformats.org/officeDocument/2006/relationships/image" Target="../media/image12.emf"/><Relationship Id="rId4" Type="http://schemas.openxmlformats.org/officeDocument/2006/relationships/oleObject" Target="../embeddings/oleObject95.bin"/></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11.xml"/><Relationship Id="rId1" Type="http://schemas.openxmlformats.org/officeDocument/2006/relationships/tags" Target="../tags/tag125.xml"/><Relationship Id="rId5" Type="http://schemas.openxmlformats.org/officeDocument/2006/relationships/image" Target="../media/image1.emf"/><Relationship Id="rId4" Type="http://schemas.openxmlformats.org/officeDocument/2006/relationships/oleObject" Target="../embeddings/oleObject96.bin"/></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11.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oleObject" Target="../embeddings/oleObject97.bin"/></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11.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oleObject" Target="../embeddings/oleObject98.bin"/></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9C9E79E-D040-BF2E-D58F-6D88B61270D4}"/>
              </a:ext>
            </a:extLst>
          </p:cNvPr>
          <p:cNvGraphicFramePr>
            <a:graphicFrameLocks noChangeAspect="1"/>
          </p:cNvGraphicFramePr>
          <p:nvPr>
            <p:custDataLst>
              <p:tags r:id="rId1"/>
            </p:custDataLst>
            <p:extLst>
              <p:ext uri="{D42A27DB-BD31-4B8C-83A1-F6EECF244321}">
                <p14:modId xmlns:p14="http://schemas.microsoft.com/office/powerpoint/2010/main" val="2657615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6" imgH="416" progId="TCLayout.ActiveDocument.1">
                  <p:embed/>
                </p:oleObj>
              </mc:Choice>
              <mc:Fallback>
                <p:oleObj name="think-cell Slide" r:id="rId6" imgW="416" imgH="416" progId="TCLayout.ActiveDocument.1">
                  <p:embed/>
                  <p:pic>
                    <p:nvPicPr>
                      <p:cNvPr id="2" name="think-cell data - do not delete" hidden="1">
                        <a:extLst>
                          <a:ext uri="{FF2B5EF4-FFF2-40B4-BE49-F238E27FC236}">
                            <a16:creationId xmlns:a16="http://schemas.microsoft.com/office/drawing/2014/main" id="{99C9E79E-D040-BF2E-D58F-6D88B61270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E90BB9C-08D3-8EE1-E199-96ECE9699E2E}"/>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0" y="0"/>
            <a:ext cx="12192001" cy="6858000"/>
          </a:xfrm>
          <a:prstGeom prst="rect">
            <a:avLst/>
          </a:prstGeom>
        </p:spPr>
      </p:pic>
      <p:grpSp>
        <p:nvGrpSpPr>
          <p:cNvPr id="10" name="Gruppieren 9">
            <a:extLst>
              <a:ext uri="{FF2B5EF4-FFF2-40B4-BE49-F238E27FC236}">
                <a16:creationId xmlns:a16="http://schemas.microsoft.com/office/drawing/2014/main" id="{D294205D-DB7A-4FC3-B34E-BCAEB501AE48}"/>
              </a:ext>
            </a:extLst>
          </p:cNvPr>
          <p:cNvGrpSpPr/>
          <p:nvPr/>
        </p:nvGrpSpPr>
        <p:grpSpPr>
          <a:xfrm>
            <a:off x="-7079195" y="864000"/>
            <a:ext cx="13917600" cy="1080000"/>
            <a:chOff x="-6603522" y="864000"/>
            <a:chExt cx="13917600" cy="1080000"/>
          </a:xfrm>
        </p:grpSpPr>
        <p:sp>
          <p:nvSpPr>
            <p:cNvPr id="12" name="Rechteck 11">
              <a:extLst>
                <a:ext uri="{FF2B5EF4-FFF2-40B4-BE49-F238E27FC236}">
                  <a16:creationId xmlns:a16="http://schemas.microsoft.com/office/drawing/2014/main" id="{D2CFBEA7-A4E1-40A6-A816-02296D0B4887}"/>
                </a:ext>
              </a:extLst>
            </p:cNvPr>
            <p:cNvSpPr>
              <a:spLocks noChangeAspect="1"/>
            </p:cNvSpPr>
            <p:nvPr userDrawn="1"/>
          </p:nvSpPr>
          <p:spPr>
            <a:xfrm>
              <a:off x="-6603522" y="864000"/>
              <a:ext cx="13917600" cy="108000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prstClr val="black"/>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fik 12">
              <a:extLst>
                <a:ext uri="{FF2B5EF4-FFF2-40B4-BE49-F238E27FC236}">
                  <a16:creationId xmlns:a16="http://schemas.microsoft.com/office/drawing/2014/main" id="{2E3561A4-C038-4114-8F37-E6272B87895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424044" y="1123200"/>
              <a:ext cx="1620001" cy="58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prstClr val="black"/>
                  </a:solidFill>
                </a14:hiddenLine>
              </a:ext>
            </a:extLst>
          </p:spPr>
        </p:pic>
        <p:pic>
          <p:nvPicPr>
            <p:cNvPr id="14" name="Grafik 13">
              <a:extLst>
                <a:ext uri="{FF2B5EF4-FFF2-40B4-BE49-F238E27FC236}">
                  <a16:creationId xmlns:a16="http://schemas.microsoft.com/office/drawing/2014/main" id="{A89D01D0-0CF3-44A0-9FD0-03DA8023B40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333488" y="1123200"/>
              <a:ext cx="1620001" cy="58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prstClr val="black"/>
                  </a:solidFill>
                </a14:hiddenLine>
              </a:ext>
            </a:extLst>
          </p:spPr>
        </p:pic>
      </p:grpSp>
      <p:sp>
        <p:nvSpPr>
          <p:cNvPr id="15" name="Rechteck 14">
            <a:extLst>
              <a:ext uri="{FF2B5EF4-FFF2-40B4-BE49-F238E27FC236}">
                <a16:creationId xmlns:a16="http://schemas.microsoft.com/office/drawing/2014/main" id="{B586682B-CC45-40D6-AC29-8C5EC37BFAA2}"/>
              </a:ext>
            </a:extLst>
          </p:cNvPr>
          <p:cNvSpPr/>
          <p:nvPr>
            <p:custDataLst>
              <p:tags r:id="rId2"/>
            </p:custDataLst>
          </p:nvPr>
        </p:nvSpPr>
        <p:spPr>
          <a:xfrm>
            <a:off x="-7079195" y="1944000"/>
            <a:ext cx="13917600" cy="2556256"/>
          </a:xfrm>
          <a:prstGeom prst="rect">
            <a:avLst/>
          </a:prstGeom>
          <a:solidFill>
            <a:schemeClr val="bg1">
              <a:alpha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prstClr val="black"/>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el 1">
            <a:extLst>
              <a:ext uri="{FF2B5EF4-FFF2-40B4-BE49-F238E27FC236}">
                <a16:creationId xmlns:a16="http://schemas.microsoft.com/office/drawing/2014/main" id="{70504074-E145-4B4E-B7E8-1208178905FF}"/>
              </a:ext>
            </a:extLst>
          </p:cNvPr>
          <p:cNvSpPr txBox="1">
            <a:spLocks/>
          </p:cNvSpPr>
          <p:nvPr>
            <p:custDataLst>
              <p:tags r:id="rId3"/>
            </p:custDataLst>
          </p:nvPr>
        </p:nvSpPr>
        <p:spPr>
          <a:xfrm>
            <a:off x="432000" y="2160000"/>
            <a:ext cx="5464632" cy="212423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gn="l" fontAlgn="base"/>
            <a:r>
              <a:rPr lang="en-US" b="1" i="0" u="none" strike="noStrike" dirty="0">
                <a:effectLst/>
                <a:latin typeface="Arial" panose="020B0604020202020204" pitchFamily="34" charset="0"/>
              </a:rPr>
              <a:t>Taste-Masking film coating:   </a:t>
            </a:r>
          </a:p>
          <a:p>
            <a:pPr algn="l" fontAlgn="base"/>
            <a:r>
              <a:rPr lang="en-US" dirty="0">
                <a:latin typeface="Arial" panose="020B0604020202020204" pitchFamily="34" charset="0"/>
              </a:rPr>
              <a:t> </a:t>
            </a:r>
            <a:r>
              <a:rPr lang="en-US" b="1" i="0" u="none" strike="noStrike" dirty="0">
                <a:effectLst/>
                <a:latin typeface="Arial" panose="020B0604020202020204" pitchFamily="34" charset="0"/>
              </a:rPr>
              <a:t>Kollicoat</a:t>
            </a:r>
            <a:r>
              <a:rPr lang="en-US" b="1" i="0" u="none" strike="noStrike" baseline="30000" dirty="0">
                <a:effectLst/>
                <a:latin typeface="Arial" panose="020B0604020202020204" pitchFamily="34" charset="0"/>
              </a:rPr>
              <a:t>®</a:t>
            </a:r>
            <a:r>
              <a:rPr lang="en-US" b="1" i="0" u="none" strike="noStrike" dirty="0">
                <a:effectLst/>
                <a:latin typeface="Arial" panose="020B0604020202020204" pitchFamily="34" charset="0"/>
              </a:rPr>
              <a:t> Smartseal</a:t>
            </a:r>
          </a:p>
          <a:p>
            <a:pPr algn="l" fontAlgn="base"/>
            <a:endParaRPr lang="en-US" dirty="0">
              <a:solidFill>
                <a:srgbClr val="C50022"/>
              </a:solidFill>
              <a:latin typeface="Arial" panose="020B0604020202020204" pitchFamily="34" charset="0"/>
            </a:endParaRPr>
          </a:p>
          <a:p>
            <a:pPr algn="l" fontAlgn="base"/>
            <a:endParaRPr lang="en-US" dirty="0">
              <a:solidFill>
                <a:srgbClr val="C50022"/>
              </a:solidFill>
              <a:latin typeface="Arial" panose="020B0604020202020204" pitchFamily="34" charset="0"/>
            </a:endParaRPr>
          </a:p>
          <a:p>
            <a:pPr algn="l" fontAlgn="base"/>
            <a:endParaRPr lang="en-US" dirty="0">
              <a:solidFill>
                <a:srgbClr val="C50022"/>
              </a:solidFill>
              <a:latin typeface="Arial" panose="020B0604020202020204" pitchFamily="34" charset="0"/>
            </a:endParaRPr>
          </a:p>
          <a:p>
            <a:pPr algn="l" fontAlgn="base"/>
            <a:endParaRPr lang="en-US" dirty="0">
              <a:solidFill>
                <a:srgbClr val="C50022"/>
              </a:solidFill>
              <a:latin typeface="Arial" panose="020B0604020202020204" pitchFamily="34" charset="0"/>
            </a:endParaRPr>
          </a:p>
          <a:p>
            <a:pPr algn="l" fontAlgn="base"/>
            <a:r>
              <a:rPr lang="en-US" sz="2000" b="0" i="0" dirty="0">
                <a:solidFill>
                  <a:srgbClr val="C50022"/>
                </a:solidFill>
                <a:effectLst/>
                <a:latin typeface="Arial" panose="020B0604020202020204" pitchFamily="34" charset="0"/>
              </a:rPr>
              <a:t>BASF Pharma Solutions</a:t>
            </a:r>
            <a:r>
              <a:rPr lang="en-US" b="0" i="0" dirty="0">
                <a:solidFill>
                  <a:srgbClr val="000000"/>
                </a:solidFill>
                <a:effectLst/>
                <a:latin typeface="Arial" panose="020B0604020202020204" pitchFamily="34" charset="0"/>
              </a:rPr>
              <a:t>​</a:t>
            </a:r>
            <a:endParaRPr lang="en-US" b="0" i="0" dirty="0">
              <a:solidFill>
                <a:srgbClr val="000000"/>
              </a:solidFill>
              <a:effectLst/>
              <a:latin typeface="Segoe UI" panose="020B0502040204020203" pitchFamily="34" charset="0"/>
            </a:endParaRPr>
          </a:p>
        </p:txBody>
      </p:sp>
    </p:spTree>
    <p:extLst>
      <p:ext uri="{BB962C8B-B14F-4D97-AF65-F5344CB8AC3E}">
        <p14:creationId xmlns:p14="http://schemas.microsoft.com/office/powerpoint/2010/main" val="3126549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61C90D0-908A-4626-850A-FD84466DC12B}"/>
              </a:ext>
            </a:extLst>
          </p:cNvPr>
          <p:cNvGraphicFramePr>
            <a:graphicFrameLocks noChangeAspect="1"/>
          </p:cNvGraphicFramePr>
          <p:nvPr>
            <p:custDataLst>
              <p:tags r:id="rId1"/>
            </p:custDataLst>
            <p:extLst>
              <p:ext uri="{D42A27DB-BD31-4B8C-83A1-F6EECF244321}">
                <p14:modId xmlns:p14="http://schemas.microsoft.com/office/powerpoint/2010/main" val="2342467513"/>
              </p:ext>
            </p:extLst>
          </p:nvPr>
        </p:nvGraphicFramePr>
        <p:xfrm>
          <a:off x="2912" y="2565"/>
          <a:ext cx="2117" cy="2117"/>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461C90D0-908A-4626-850A-FD84466DC12B}"/>
                          </a:ext>
                        </a:extLst>
                      </p:cNvPr>
                      <p:cNvPicPr/>
                      <p:nvPr/>
                    </p:nvPicPr>
                    <p:blipFill>
                      <a:blip r:embed="rId6"/>
                      <a:stretch>
                        <a:fillRect/>
                      </a:stretch>
                    </p:blipFill>
                    <p:spPr>
                      <a:xfrm>
                        <a:off x="2912" y="2565"/>
                        <a:ext cx="2117" cy="2117"/>
                      </a:xfrm>
                      <a:prstGeom prst="rect">
                        <a:avLst/>
                      </a:prstGeom>
                    </p:spPr>
                  </p:pic>
                </p:oleObj>
              </mc:Fallback>
            </mc:AlternateContent>
          </a:graphicData>
        </a:graphic>
      </p:graphicFrame>
      <p:pic>
        <p:nvPicPr>
          <p:cNvPr id="59" name="Picture 58">
            <a:extLst>
              <a:ext uri="{FF2B5EF4-FFF2-40B4-BE49-F238E27FC236}">
                <a16:creationId xmlns:a16="http://schemas.microsoft.com/office/drawing/2014/main" id="{17EF39E7-2A41-A540-1DBA-C9134314450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495729" y="4237069"/>
            <a:ext cx="2260630" cy="1869694"/>
          </a:xfrm>
          <a:prstGeom prst="rect">
            <a:avLst/>
          </a:prstGeom>
        </p:spPr>
      </p:pic>
      <p:pic>
        <p:nvPicPr>
          <p:cNvPr id="55" name="Picture 54">
            <a:extLst>
              <a:ext uri="{FF2B5EF4-FFF2-40B4-BE49-F238E27FC236}">
                <a16:creationId xmlns:a16="http://schemas.microsoft.com/office/drawing/2014/main" id="{2AF7DB41-F5FF-F4FA-04B0-8ABEC9603C8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344735" y="1969339"/>
            <a:ext cx="2799748" cy="2154588"/>
          </a:xfrm>
          <a:prstGeom prst="rect">
            <a:avLst/>
          </a:prstGeom>
        </p:spPr>
      </p:pic>
      <p:sp>
        <p:nvSpPr>
          <p:cNvPr id="6" name="Rectangle 5" hidden="1">
            <a:extLst>
              <a:ext uri="{FF2B5EF4-FFF2-40B4-BE49-F238E27FC236}">
                <a16:creationId xmlns:a16="http://schemas.microsoft.com/office/drawing/2014/main" id="{C4F81242-8F01-4562-BC92-1AFF16A83521}"/>
              </a:ext>
            </a:extLst>
          </p:cNvPr>
          <p:cNvSpPr/>
          <p:nvPr>
            <p:custDataLst>
              <p:tags r:id="rId2"/>
            </p:custDataLst>
          </p:nvPr>
        </p:nvSpPr>
        <p:spPr>
          <a:xfrm>
            <a:off x="795" y="448"/>
            <a:ext cx="211639" cy="211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1"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8FC01437-AB19-46D8-9E77-89EEC63F40EC}"/>
              </a:ext>
            </a:extLst>
          </p:cNvPr>
          <p:cNvSpPr>
            <a:spLocks noGrp="1"/>
          </p:cNvSpPr>
          <p:nvPr>
            <p:ph type="title"/>
          </p:nvPr>
        </p:nvSpPr>
        <p:spPr>
          <a:xfrm>
            <a:off x="156862" y="166901"/>
            <a:ext cx="11878275" cy="853200"/>
          </a:xfrm>
        </p:spPr>
        <p:txBody>
          <a:bodyPr vert="horz"/>
          <a:lstStyle/>
          <a:p>
            <a:r>
              <a:rPr lang="en-US" dirty="0"/>
              <a:t>Kollicoat</a:t>
            </a:r>
            <a:r>
              <a:rPr lang="en-US" baseline="30000" dirty="0"/>
              <a:t>®</a:t>
            </a:r>
            <a:r>
              <a:rPr lang="en-US" dirty="0"/>
              <a:t> Smartseal: Your first option for Taste-Masking Film-Coating</a:t>
            </a:r>
            <a:endParaRPr lang="en-US" i="1" dirty="0">
              <a:solidFill>
                <a:srgbClr val="F39500"/>
              </a:solidFill>
            </a:endParaRPr>
          </a:p>
        </p:txBody>
      </p:sp>
      <p:sp>
        <p:nvSpPr>
          <p:cNvPr id="11" name="Abgerundetes Rechteck 39">
            <a:extLst>
              <a:ext uri="{FF2B5EF4-FFF2-40B4-BE49-F238E27FC236}">
                <a16:creationId xmlns:a16="http://schemas.microsoft.com/office/drawing/2014/main" id="{DC6A176E-0B07-4AC1-A295-45B13399C2FF}"/>
              </a:ext>
            </a:extLst>
          </p:cNvPr>
          <p:cNvSpPr/>
          <p:nvPr/>
        </p:nvSpPr>
        <p:spPr>
          <a:xfrm>
            <a:off x="4340971" y="3187937"/>
            <a:ext cx="762170" cy="756071"/>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13" name="Textfeld 23">
            <a:extLst>
              <a:ext uri="{FF2B5EF4-FFF2-40B4-BE49-F238E27FC236}">
                <a16:creationId xmlns:a16="http://schemas.microsoft.com/office/drawing/2014/main" id="{5EB4BF16-938F-41AC-BDCF-2D8839E85030}"/>
              </a:ext>
            </a:extLst>
          </p:cNvPr>
          <p:cNvSpPr txBox="1">
            <a:spLocks noChangeArrowheads="1"/>
          </p:cNvSpPr>
          <p:nvPr/>
        </p:nvSpPr>
        <p:spPr bwMode="auto">
          <a:xfrm>
            <a:off x="2581499" y="3156878"/>
            <a:ext cx="171389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itchFamily="34" charset="0"/>
              </a:rPr>
              <a:t>Deprotonated basic amino</a:t>
            </a:r>
            <a:b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itchFamily="34" charset="0"/>
              </a:rPr>
            </a:b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itchFamily="34" charset="0"/>
              </a:rPr>
              <a:t>functional group</a:t>
            </a:r>
          </a:p>
        </p:txBody>
      </p:sp>
      <p:sp>
        <p:nvSpPr>
          <p:cNvPr id="14" name="Textfeld 23">
            <a:extLst>
              <a:ext uri="{FF2B5EF4-FFF2-40B4-BE49-F238E27FC236}">
                <a16:creationId xmlns:a16="http://schemas.microsoft.com/office/drawing/2014/main" id="{6BD80A55-3FC2-451E-88BD-8266EB4685F4}"/>
              </a:ext>
            </a:extLst>
          </p:cNvPr>
          <p:cNvSpPr txBox="1">
            <a:spLocks noChangeArrowheads="1"/>
          </p:cNvSpPr>
          <p:nvPr/>
        </p:nvSpPr>
        <p:spPr bwMode="auto">
          <a:xfrm>
            <a:off x="2559721" y="5302915"/>
            <a:ext cx="153743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itchFamily="34" charset="0"/>
              </a:rPr>
              <a:t>Protonated basic amino functional group</a:t>
            </a:r>
          </a:p>
        </p:txBody>
      </p:sp>
      <p:pic>
        <p:nvPicPr>
          <p:cNvPr id="15" name="Grafik 10">
            <a:extLst>
              <a:ext uri="{FF2B5EF4-FFF2-40B4-BE49-F238E27FC236}">
                <a16:creationId xmlns:a16="http://schemas.microsoft.com/office/drawing/2014/main" id="{6FB84949-FA86-428A-9F48-F533284DD411}"/>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8170562" y="1316715"/>
            <a:ext cx="3024336" cy="4439028"/>
          </a:xfrm>
          <a:prstGeom prst="rect">
            <a:avLst/>
          </a:prstGeom>
        </p:spPr>
      </p:pic>
      <p:sp>
        <p:nvSpPr>
          <p:cNvPr id="16" name="Oval 12">
            <a:extLst>
              <a:ext uri="{FF2B5EF4-FFF2-40B4-BE49-F238E27FC236}">
                <a16:creationId xmlns:a16="http://schemas.microsoft.com/office/drawing/2014/main" id="{C2F639B4-8489-445F-BEED-B0631D85D08B}"/>
              </a:ext>
            </a:extLst>
          </p:cNvPr>
          <p:cNvSpPr>
            <a:spLocks noChangeArrowheads="1"/>
          </p:cNvSpPr>
          <p:nvPr/>
        </p:nvSpPr>
        <p:spPr bwMode="auto">
          <a:xfrm>
            <a:off x="10032038" y="2457863"/>
            <a:ext cx="146544" cy="141267"/>
          </a:xfrm>
          <a:prstGeom prst="ellipse">
            <a:avLst/>
          </a:prstGeom>
          <a:solidFill>
            <a:schemeClr val="bg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 name="Oval 13">
            <a:extLst>
              <a:ext uri="{FF2B5EF4-FFF2-40B4-BE49-F238E27FC236}">
                <a16:creationId xmlns:a16="http://schemas.microsoft.com/office/drawing/2014/main" id="{7D7D2BC4-ACB1-4134-80E7-1E69CA962E75}"/>
              </a:ext>
            </a:extLst>
          </p:cNvPr>
          <p:cNvSpPr>
            <a:spLocks noChangeArrowheads="1"/>
          </p:cNvSpPr>
          <p:nvPr/>
        </p:nvSpPr>
        <p:spPr bwMode="auto">
          <a:xfrm>
            <a:off x="9900341" y="4417685"/>
            <a:ext cx="146544" cy="141267"/>
          </a:xfrm>
          <a:prstGeom prst="ellipse">
            <a:avLst/>
          </a:prstGeom>
          <a:solidFill>
            <a:schemeClr val="bg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18" name="Gerade Verbindung 7">
            <a:extLst>
              <a:ext uri="{FF2B5EF4-FFF2-40B4-BE49-F238E27FC236}">
                <a16:creationId xmlns:a16="http://schemas.microsoft.com/office/drawing/2014/main" id="{15E4D32C-173F-4E1B-8686-44FEC9890EC3}"/>
              </a:ext>
            </a:extLst>
          </p:cNvPr>
          <p:cNvCxnSpPr>
            <a:cxnSpLocks/>
          </p:cNvCxnSpPr>
          <p:nvPr/>
        </p:nvCxnSpPr>
        <p:spPr>
          <a:xfrm flipV="1">
            <a:off x="10080818" y="2577569"/>
            <a:ext cx="0" cy="96023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DAFA507E-9553-46C8-87BB-0A3CF1EE6098}"/>
              </a:ext>
            </a:extLst>
          </p:cNvPr>
          <p:cNvSpPr>
            <a:spLocks noChangeArrowheads="1"/>
          </p:cNvSpPr>
          <p:nvPr/>
        </p:nvSpPr>
        <p:spPr bwMode="auto">
          <a:xfrm>
            <a:off x="6656916" y="2333093"/>
            <a:ext cx="994660" cy="350891"/>
          </a:xfrm>
          <a:prstGeom prst="rect">
            <a:avLst/>
          </a:prstGeom>
          <a:solidFill>
            <a:schemeClr val="bg1"/>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H ˃ 5.5</a:t>
            </a:r>
          </a:p>
        </p:txBody>
      </p:sp>
      <p:sp>
        <p:nvSpPr>
          <p:cNvPr id="20" name="Rectangle 16">
            <a:extLst>
              <a:ext uri="{FF2B5EF4-FFF2-40B4-BE49-F238E27FC236}">
                <a16:creationId xmlns:a16="http://schemas.microsoft.com/office/drawing/2014/main" id="{1FA098B6-5D7A-4AD1-8303-2B81372D84EA}"/>
              </a:ext>
            </a:extLst>
          </p:cNvPr>
          <p:cNvSpPr>
            <a:spLocks noChangeArrowheads="1"/>
          </p:cNvSpPr>
          <p:nvPr/>
        </p:nvSpPr>
        <p:spPr bwMode="auto">
          <a:xfrm>
            <a:off x="6396890" y="4369233"/>
            <a:ext cx="1005915" cy="350892"/>
          </a:xfrm>
          <a:prstGeom prst="rect">
            <a:avLst/>
          </a:prstGeom>
          <a:solidFill>
            <a:schemeClr val="bg1"/>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H &lt; 5.5</a:t>
            </a:r>
          </a:p>
        </p:txBody>
      </p:sp>
      <p:sp>
        <p:nvSpPr>
          <p:cNvPr id="21" name="Textfeld 6">
            <a:extLst>
              <a:ext uri="{FF2B5EF4-FFF2-40B4-BE49-F238E27FC236}">
                <a16:creationId xmlns:a16="http://schemas.microsoft.com/office/drawing/2014/main" id="{2316B960-8B9F-4555-B880-7D87C5E85B49}"/>
              </a:ext>
            </a:extLst>
          </p:cNvPr>
          <p:cNvSpPr txBox="1">
            <a:spLocks noChangeArrowheads="1"/>
          </p:cNvSpPr>
          <p:nvPr/>
        </p:nvSpPr>
        <p:spPr bwMode="auto">
          <a:xfrm>
            <a:off x="6207696" y="2673790"/>
            <a:ext cx="2390217" cy="373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l" defTabSz="265113" rtl="0" eaLnBrk="1" fontAlgn="auto" latinLnBrk="0" hangingPunct="1">
              <a:lnSpc>
                <a:spcPct val="110000"/>
              </a:lnSpc>
              <a:spcBef>
                <a:spcPts val="0"/>
              </a:spcBef>
              <a:spcAft>
                <a:spcPts val="600"/>
              </a:spcAft>
              <a:buClr>
                <a:srgbClr val="0070C0"/>
              </a:buClr>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nsoluble in saliva</a:t>
            </a:r>
          </a:p>
        </p:txBody>
      </p:sp>
      <p:sp>
        <p:nvSpPr>
          <p:cNvPr id="22" name="Textfeld 37">
            <a:extLst>
              <a:ext uri="{FF2B5EF4-FFF2-40B4-BE49-F238E27FC236}">
                <a16:creationId xmlns:a16="http://schemas.microsoft.com/office/drawing/2014/main" id="{18BF766D-D204-4278-95C2-9B884FE8AC6E}"/>
              </a:ext>
            </a:extLst>
          </p:cNvPr>
          <p:cNvSpPr txBox="1">
            <a:spLocks noChangeArrowheads="1"/>
          </p:cNvSpPr>
          <p:nvPr/>
        </p:nvSpPr>
        <p:spPr bwMode="auto">
          <a:xfrm>
            <a:off x="6097248" y="4710930"/>
            <a:ext cx="225768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indent="0">
              <a:lnSpc>
                <a:spcPct val="110000"/>
              </a:lnSpc>
              <a:spcAft>
                <a:spcPts val="600"/>
              </a:spcAft>
              <a:buClr>
                <a:srgbClr val="0070C0"/>
              </a:buClr>
              <a:defRPr>
                <a:latin typeface="Arial" panose="020B0604020202020204" pitchFamily="34" charset="0"/>
                <a:cs typeface="Arial" panose="020B0604020202020204" pitchFamily="34" charset="0"/>
              </a:defRPr>
            </a:lvl1pPr>
            <a:lvl2pPr marL="742950" indent="-285750" eaLnBrk="0" hangingPunct="0">
              <a:defRPr>
                <a:latin typeface="Calibri" pitchFamily="34" charset="0"/>
                <a:cs typeface="Arial" charset="0"/>
              </a:defRPr>
            </a:lvl2pPr>
            <a:lvl3pPr marL="1143000" indent="-228600" eaLnBrk="0" hangingPunct="0">
              <a:defRPr>
                <a:latin typeface="Calibri" pitchFamily="34" charset="0"/>
                <a:cs typeface="Arial" charset="0"/>
              </a:defRPr>
            </a:lvl3pPr>
            <a:lvl4pPr marL="1600200" indent="-228600" eaLnBrk="0" hangingPunct="0">
              <a:defRPr>
                <a:latin typeface="Calibri" pitchFamily="34" charset="0"/>
                <a:cs typeface="Arial" charset="0"/>
              </a:defRPr>
            </a:lvl4pPr>
            <a:lvl5pPr marL="2057400" indent="-228600" eaLnBrk="0" hangingPunct="0">
              <a:defRPr>
                <a:latin typeface="Calibri" pitchFamily="34" charset="0"/>
                <a:cs typeface="Arial" charset="0"/>
              </a:defRPr>
            </a:lvl5pPr>
            <a:lvl6pPr marL="2514600" indent="-228600" eaLnBrk="0" fontAlgn="base" hangingPunct="0">
              <a:spcBef>
                <a:spcPct val="0"/>
              </a:spcBef>
              <a:spcAft>
                <a:spcPct val="0"/>
              </a:spcAft>
              <a:defRPr>
                <a:latin typeface="Calibri" pitchFamily="34" charset="0"/>
                <a:cs typeface="Arial" charset="0"/>
              </a:defRPr>
            </a:lvl6pPr>
            <a:lvl7pPr marL="2971800" indent="-228600" eaLnBrk="0" fontAlgn="base" hangingPunct="0">
              <a:spcBef>
                <a:spcPct val="0"/>
              </a:spcBef>
              <a:spcAft>
                <a:spcPct val="0"/>
              </a:spcAft>
              <a:defRPr>
                <a:latin typeface="Calibri" pitchFamily="34" charset="0"/>
                <a:cs typeface="Arial" charset="0"/>
              </a:defRPr>
            </a:lvl7pPr>
            <a:lvl8pPr marL="3429000" indent="-228600" eaLnBrk="0" fontAlgn="base" hangingPunct="0">
              <a:spcBef>
                <a:spcPct val="0"/>
              </a:spcBef>
              <a:spcAft>
                <a:spcPct val="0"/>
              </a:spcAft>
              <a:defRPr>
                <a:latin typeface="Calibri" pitchFamily="34" charset="0"/>
                <a:cs typeface="Arial" charset="0"/>
              </a:defRPr>
            </a:lvl8pPr>
            <a:lvl9pPr marL="3886200" indent="-228600" eaLnBrk="0" fontAlgn="base" hangingPunct="0">
              <a:spcBef>
                <a:spcPct val="0"/>
              </a:spcBef>
              <a:spcAft>
                <a:spcPct val="0"/>
              </a:spcAft>
              <a:defRPr>
                <a:latin typeface="Calibri" pitchFamily="34" charset="0"/>
                <a:cs typeface="Arial" charset="0"/>
              </a:defRPr>
            </a:lvl9pPr>
          </a:lstStyle>
          <a:p>
            <a:pPr marL="0" marR="0" lvl="0" indent="0" algn="l" defTabSz="914400" rtl="0" eaLnBrk="1" fontAlgn="auto" latinLnBrk="0" hangingPunct="1">
              <a:lnSpc>
                <a:spcPct val="100000"/>
              </a:lnSpc>
              <a:spcBef>
                <a:spcPts val="0"/>
              </a:spcBef>
              <a:spcAft>
                <a:spcPts val="600"/>
              </a:spcAft>
              <a:buClr>
                <a:srgbClr val="0070C0"/>
              </a:buClr>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Readily soluble</a:t>
            </a:r>
            <a:b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n the stomach</a:t>
            </a:r>
          </a:p>
        </p:txBody>
      </p:sp>
      <p:cxnSp>
        <p:nvCxnSpPr>
          <p:cNvPr id="23" name="Gerader Verbinder 18">
            <a:extLst>
              <a:ext uri="{FF2B5EF4-FFF2-40B4-BE49-F238E27FC236}">
                <a16:creationId xmlns:a16="http://schemas.microsoft.com/office/drawing/2014/main" id="{E8F2740C-D322-445E-A313-C308B42B916C}"/>
              </a:ext>
            </a:extLst>
          </p:cNvPr>
          <p:cNvCxnSpPr>
            <a:cxnSpLocks/>
          </p:cNvCxnSpPr>
          <p:nvPr/>
        </p:nvCxnSpPr>
        <p:spPr>
          <a:xfrm>
            <a:off x="8758650" y="3537799"/>
            <a:ext cx="1322169"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4" name="Gerader Verbinder 19">
            <a:extLst>
              <a:ext uri="{FF2B5EF4-FFF2-40B4-BE49-F238E27FC236}">
                <a16:creationId xmlns:a16="http://schemas.microsoft.com/office/drawing/2014/main" id="{E1FF42E2-0B5F-477C-B103-839B347502B0}"/>
              </a:ext>
            </a:extLst>
          </p:cNvPr>
          <p:cNvCxnSpPr>
            <a:cxnSpLocks/>
          </p:cNvCxnSpPr>
          <p:nvPr/>
        </p:nvCxnSpPr>
        <p:spPr>
          <a:xfrm flipH="1">
            <a:off x="8755923" y="4470031"/>
            <a:ext cx="1144419"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5" name="Rechteck 20">
            <a:extLst>
              <a:ext uri="{FF2B5EF4-FFF2-40B4-BE49-F238E27FC236}">
                <a16:creationId xmlns:a16="http://schemas.microsoft.com/office/drawing/2014/main" id="{CC2CE4A5-509A-4C93-8687-4DBAEFAFD335}"/>
              </a:ext>
            </a:extLst>
          </p:cNvPr>
          <p:cNvSpPr/>
          <p:nvPr/>
        </p:nvSpPr>
        <p:spPr>
          <a:xfrm>
            <a:off x="2516756" y="2044701"/>
            <a:ext cx="6239164" cy="194309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28" name="Rechteck 23">
            <a:extLst>
              <a:ext uri="{FF2B5EF4-FFF2-40B4-BE49-F238E27FC236}">
                <a16:creationId xmlns:a16="http://schemas.microsoft.com/office/drawing/2014/main" id="{155D6774-62A4-4064-83C9-86A2DA6A4514}"/>
              </a:ext>
            </a:extLst>
          </p:cNvPr>
          <p:cNvSpPr/>
          <p:nvPr/>
        </p:nvSpPr>
        <p:spPr>
          <a:xfrm>
            <a:off x="2516755" y="4126068"/>
            <a:ext cx="6241894" cy="202730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29" name="TextBox 28">
            <a:extLst>
              <a:ext uri="{FF2B5EF4-FFF2-40B4-BE49-F238E27FC236}">
                <a16:creationId xmlns:a16="http://schemas.microsoft.com/office/drawing/2014/main" id="{762B1720-5276-4E15-9C45-7F3DB6E463FB}"/>
              </a:ext>
            </a:extLst>
          </p:cNvPr>
          <p:cNvSpPr txBox="1"/>
          <p:nvPr/>
        </p:nvSpPr>
        <p:spPr>
          <a:xfrm>
            <a:off x="2207657" y="953055"/>
            <a:ext cx="800007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ct val="0"/>
              </a:spcAft>
              <a:buClrTx/>
              <a:buSzTx/>
              <a:buFont typeface="Wingdings" panose="05000000000000000000" pitchFamily="2" charset="2"/>
              <a:buNone/>
              <a:tabLst/>
              <a:defRPr/>
            </a:pPr>
            <a:r>
              <a:rPr kumimoji="0" lang="en-US" altLang="de-DE" b="1" i="0" u="none" strike="noStrike" kern="1200" cap="none" spc="0" normalizeH="0" baseline="0" noProof="0" dirty="0">
                <a:ln>
                  <a:noFill/>
                </a:ln>
                <a:solidFill>
                  <a:schemeClr val="accent1"/>
                </a:solidFill>
                <a:effectLst/>
                <a:uLnTx/>
                <a:uFillTx/>
                <a:latin typeface="Arial" panose="020B0604020202020204"/>
                <a:cs typeface="Arial"/>
              </a:rPr>
              <a:t>Copolymer of methyl- methacrylate &amp; diethylaminoethyl methacrylate</a:t>
            </a:r>
          </a:p>
        </p:txBody>
      </p:sp>
      <p:sp>
        <p:nvSpPr>
          <p:cNvPr id="8" name="Footer Placeholder 11">
            <a:extLst>
              <a:ext uri="{FF2B5EF4-FFF2-40B4-BE49-F238E27FC236}">
                <a16:creationId xmlns:a16="http://schemas.microsoft.com/office/drawing/2014/main" id="{539D0343-2B70-FB3F-7301-432C61161A03}"/>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31" name="TextBox 30">
            <a:extLst>
              <a:ext uri="{FF2B5EF4-FFF2-40B4-BE49-F238E27FC236}">
                <a16:creationId xmlns:a16="http://schemas.microsoft.com/office/drawing/2014/main" id="{9C17FF76-ACEE-7371-B78B-5C3B9225E04C}"/>
              </a:ext>
            </a:extLst>
          </p:cNvPr>
          <p:cNvSpPr txBox="1"/>
          <p:nvPr/>
        </p:nvSpPr>
        <p:spPr>
          <a:xfrm>
            <a:off x="5902639" y="5480894"/>
            <a:ext cx="2257689" cy="369332"/>
          </a:xfrm>
          <a:prstGeom prst="rect">
            <a:avLst/>
          </a:prstGeom>
          <a:noFill/>
        </p:spPr>
        <p:txBody>
          <a:bodyPr wrap="square">
            <a:spAutoFit/>
          </a:bodyPr>
          <a:lstStyle/>
          <a:p>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Symbol" pitchFamily="18" charset="2"/>
              </a:rPr>
              <a:t> Instant Release</a:t>
            </a:r>
            <a:endParaRPr lang="en-US" dirty="0"/>
          </a:p>
        </p:txBody>
      </p:sp>
      <p:sp>
        <p:nvSpPr>
          <p:cNvPr id="33" name="TextBox 32">
            <a:extLst>
              <a:ext uri="{FF2B5EF4-FFF2-40B4-BE49-F238E27FC236}">
                <a16:creationId xmlns:a16="http://schemas.microsoft.com/office/drawing/2014/main" id="{2C0D0285-E747-EC86-8274-10D2CEE09520}"/>
              </a:ext>
            </a:extLst>
          </p:cNvPr>
          <p:cNvSpPr txBox="1"/>
          <p:nvPr/>
        </p:nvSpPr>
        <p:spPr>
          <a:xfrm>
            <a:off x="6290585" y="3246883"/>
            <a:ext cx="2862816" cy="369332"/>
          </a:xfrm>
          <a:prstGeom prst="rect">
            <a:avLst/>
          </a:prstGeom>
          <a:noFill/>
        </p:spPr>
        <p:txBody>
          <a:bodyPr wrap="square">
            <a:spAutoFit/>
          </a:bodyPr>
          <a:lstStyle/>
          <a:p>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Symbol" pitchFamily="18" charset="2"/>
              </a:rPr>
              <a:t> No release</a:t>
            </a:r>
            <a:endParaRPr lang="en-US" dirty="0"/>
          </a:p>
        </p:txBody>
      </p:sp>
      <p:sp>
        <p:nvSpPr>
          <p:cNvPr id="56" name="Abgerundetes Rechteck 39">
            <a:extLst>
              <a:ext uri="{FF2B5EF4-FFF2-40B4-BE49-F238E27FC236}">
                <a16:creationId xmlns:a16="http://schemas.microsoft.com/office/drawing/2014/main" id="{F7816895-11B3-6F30-5BDA-15528B5B49E1}"/>
              </a:ext>
            </a:extLst>
          </p:cNvPr>
          <p:cNvSpPr/>
          <p:nvPr/>
        </p:nvSpPr>
        <p:spPr>
          <a:xfrm>
            <a:off x="4317698" y="5357261"/>
            <a:ext cx="778263" cy="742933"/>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10" name="Slide Number Placeholder 9">
            <a:extLst>
              <a:ext uri="{FF2B5EF4-FFF2-40B4-BE49-F238E27FC236}">
                <a16:creationId xmlns:a16="http://schemas.microsoft.com/office/drawing/2014/main" id="{B79780F0-7F06-83AA-273D-8F315B57FA5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0</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0591455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3598B3F-0338-6FD9-B3E1-A612BCB0DCE9}"/>
              </a:ext>
            </a:extLst>
          </p:cNvPr>
          <p:cNvGraphicFramePr>
            <a:graphicFrameLocks noChangeAspect="1"/>
          </p:cNvGraphicFramePr>
          <p:nvPr>
            <p:custDataLst>
              <p:tags r:id="rId1"/>
            </p:custDataLst>
            <p:extLst>
              <p:ext uri="{D42A27DB-BD31-4B8C-83A1-F6EECF244321}">
                <p14:modId xmlns:p14="http://schemas.microsoft.com/office/powerpoint/2010/main" val="3758336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6" progId="TCLayout.ActiveDocument.1">
                  <p:embed/>
                </p:oleObj>
              </mc:Choice>
              <mc:Fallback>
                <p:oleObj name="think-cell Slide" r:id="rId5" imgW="347" imgH="346" progId="TCLayout.ActiveDocument.1">
                  <p:embed/>
                  <p:pic>
                    <p:nvPicPr>
                      <p:cNvPr id="6" name="Object 5" hidden="1">
                        <a:extLst>
                          <a:ext uri="{FF2B5EF4-FFF2-40B4-BE49-F238E27FC236}">
                            <a16:creationId xmlns:a16="http://schemas.microsoft.com/office/drawing/2014/main" id="{13598B3F-0338-6FD9-B3E1-A612BCB0DC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1A58D21-E0ED-422F-B286-0009C7AA04B4}"/>
              </a:ext>
            </a:extLst>
          </p:cNvPr>
          <p:cNvSpPr>
            <a:spLocks noGrp="1"/>
          </p:cNvSpPr>
          <p:nvPr>
            <p:ph type="title"/>
            <p:custDataLst>
              <p:tags r:id="rId2"/>
            </p:custDataLst>
          </p:nvPr>
        </p:nvSpPr>
        <p:spPr>
          <a:xfrm>
            <a:off x="487460" y="180409"/>
            <a:ext cx="11603911" cy="853200"/>
          </a:xfrm>
        </p:spPr>
        <p:txBody>
          <a:bodyPr vert="horz"/>
          <a:lstStyle/>
          <a:p>
            <a:r>
              <a:rPr lang="en-US" sz="2800" dirty="0"/>
              <a:t>Kollicoat</a:t>
            </a:r>
            <a:r>
              <a:rPr lang="en-US" sz="2800" baseline="30000" dirty="0"/>
              <a:t>®</a:t>
            </a:r>
            <a:r>
              <a:rPr lang="en-US" sz="2800" dirty="0"/>
              <a:t> Smartseal</a:t>
            </a:r>
          </a:p>
        </p:txBody>
      </p:sp>
      <p:sp>
        <p:nvSpPr>
          <p:cNvPr id="5" name="Rechteck 4">
            <a:extLst>
              <a:ext uri="{FF2B5EF4-FFF2-40B4-BE49-F238E27FC236}">
                <a16:creationId xmlns:a16="http://schemas.microsoft.com/office/drawing/2014/main" id="{4401A7B6-BEDF-4664-91CD-29FFE676B409}"/>
              </a:ext>
            </a:extLst>
          </p:cNvPr>
          <p:cNvSpPr/>
          <p:nvPr/>
        </p:nvSpPr>
        <p:spPr>
          <a:xfrm>
            <a:off x="1254642" y="1261982"/>
            <a:ext cx="4549435" cy="463789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feld 6">
            <a:extLst>
              <a:ext uri="{FF2B5EF4-FFF2-40B4-BE49-F238E27FC236}">
                <a16:creationId xmlns:a16="http://schemas.microsoft.com/office/drawing/2014/main" id="{EDAD61DE-32F5-4B43-AFD8-485E71406648}"/>
              </a:ext>
            </a:extLst>
          </p:cNvPr>
          <p:cNvSpPr txBox="1"/>
          <p:nvPr/>
        </p:nvSpPr>
        <p:spPr>
          <a:xfrm>
            <a:off x="1318437" y="1826213"/>
            <a:ext cx="4380614" cy="2168688"/>
          </a:xfrm>
          <a:prstGeom prst="rect">
            <a:avLst/>
          </a:prstGeom>
          <a:solidFill>
            <a:schemeClr val="bg1"/>
          </a:solidFill>
        </p:spPr>
        <p:txBody>
          <a:bodyPr wrap="square" rtlCol="0">
            <a:noAutofit/>
          </a:bodyPr>
          <a:lstStyle/>
          <a:p>
            <a:pPr>
              <a:lnSpc>
                <a:spcPct val="150000"/>
              </a:lnSpc>
              <a:spcAft>
                <a:spcPts val="1200"/>
              </a:spcAft>
              <a:buClr>
                <a:srgbClr val="C00000"/>
              </a:buClr>
            </a:pPr>
            <a:r>
              <a:rPr lang="en-US" b="1" dirty="0">
                <a:solidFill>
                  <a:schemeClr val="accent1"/>
                </a:solidFill>
              </a:rPr>
              <a:t>Kollicoat</a:t>
            </a:r>
            <a:r>
              <a:rPr lang="en-US" b="1" baseline="30000" dirty="0">
                <a:solidFill>
                  <a:schemeClr val="accent1"/>
                </a:solidFill>
              </a:rPr>
              <a:t>®</a:t>
            </a:r>
            <a:r>
              <a:rPr lang="en-US" b="1" dirty="0">
                <a:solidFill>
                  <a:schemeClr val="accent1"/>
                </a:solidFill>
              </a:rPr>
              <a:t> Smartseal 30 DP </a:t>
            </a:r>
          </a:p>
          <a:p>
            <a:pPr marL="233363" indent="-233363" defTabSz="685800">
              <a:spcAft>
                <a:spcPts val="500"/>
              </a:spcAft>
              <a:buClr>
                <a:schemeClr val="accent1"/>
              </a:buClr>
              <a:buFont typeface="Wingdings" panose="05000000000000000000" pitchFamily="2" charset="2"/>
              <a:buChar char="n"/>
              <a:defRPr/>
            </a:pPr>
            <a:r>
              <a:rPr lang="en-US" dirty="0">
                <a:solidFill>
                  <a:srgbClr val="000000"/>
                </a:solidFill>
              </a:rPr>
              <a:t>Aqueous dispersion allowing for easy, reliable, and efficient processing.</a:t>
            </a:r>
          </a:p>
          <a:p>
            <a:pPr marL="233363" indent="-233363" defTabSz="685800">
              <a:spcAft>
                <a:spcPts val="500"/>
              </a:spcAft>
              <a:buClr>
                <a:schemeClr val="accent1"/>
              </a:buClr>
              <a:buFont typeface="Wingdings" panose="05000000000000000000" pitchFamily="2" charset="2"/>
              <a:buChar char="n"/>
              <a:defRPr/>
            </a:pPr>
            <a:r>
              <a:rPr lang="en-US" kern="0" dirty="0"/>
              <a:t>For aqueous coating.</a:t>
            </a:r>
          </a:p>
        </p:txBody>
      </p:sp>
      <p:sp>
        <p:nvSpPr>
          <p:cNvPr id="11" name="Rechteck 10">
            <a:extLst>
              <a:ext uri="{FF2B5EF4-FFF2-40B4-BE49-F238E27FC236}">
                <a16:creationId xmlns:a16="http://schemas.microsoft.com/office/drawing/2014/main" id="{9E621CB2-1013-4F73-AE88-C5C1F68D4C9D}"/>
              </a:ext>
            </a:extLst>
          </p:cNvPr>
          <p:cNvSpPr/>
          <p:nvPr/>
        </p:nvSpPr>
        <p:spPr>
          <a:xfrm>
            <a:off x="6387923" y="1263821"/>
            <a:ext cx="4549434" cy="463789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feld 12">
            <a:extLst>
              <a:ext uri="{FF2B5EF4-FFF2-40B4-BE49-F238E27FC236}">
                <a16:creationId xmlns:a16="http://schemas.microsoft.com/office/drawing/2014/main" id="{E4E3363A-C8FC-4FDE-9FE1-F92EA1E3D736}"/>
              </a:ext>
            </a:extLst>
          </p:cNvPr>
          <p:cNvSpPr txBox="1"/>
          <p:nvPr/>
        </p:nvSpPr>
        <p:spPr>
          <a:xfrm>
            <a:off x="1254641" y="1315724"/>
            <a:ext cx="4558771" cy="456747"/>
          </a:xfrm>
          <a:prstGeom prst="rect">
            <a:avLst/>
          </a:prstGeom>
          <a:noFill/>
        </p:spPr>
        <p:txBody>
          <a:bodyPr wrap="square" rtlCol="0">
            <a:noAutofit/>
          </a:bodyPr>
          <a:lstStyle/>
          <a:p>
            <a:pPr algn="ctr">
              <a:lnSpc>
                <a:spcPct val="150000"/>
              </a:lnSpc>
              <a:buClr>
                <a:srgbClr val="C00000"/>
              </a:buClr>
            </a:pPr>
            <a:r>
              <a:rPr lang="en-US" b="1" dirty="0"/>
              <a:t>Polymer Dispersion</a:t>
            </a:r>
          </a:p>
        </p:txBody>
      </p:sp>
      <p:sp>
        <p:nvSpPr>
          <p:cNvPr id="15" name="Textfeld 14">
            <a:extLst>
              <a:ext uri="{FF2B5EF4-FFF2-40B4-BE49-F238E27FC236}">
                <a16:creationId xmlns:a16="http://schemas.microsoft.com/office/drawing/2014/main" id="{FEA1E098-E9C8-4F8E-8953-B4454299052C}"/>
              </a:ext>
            </a:extLst>
          </p:cNvPr>
          <p:cNvSpPr txBox="1"/>
          <p:nvPr/>
        </p:nvSpPr>
        <p:spPr>
          <a:xfrm>
            <a:off x="6397259" y="1315723"/>
            <a:ext cx="4549434" cy="456747"/>
          </a:xfrm>
          <a:prstGeom prst="rect">
            <a:avLst/>
          </a:prstGeom>
          <a:noFill/>
        </p:spPr>
        <p:txBody>
          <a:bodyPr wrap="square" rtlCol="0">
            <a:noAutofit/>
          </a:bodyPr>
          <a:lstStyle/>
          <a:p>
            <a:pPr algn="ctr">
              <a:lnSpc>
                <a:spcPct val="150000"/>
              </a:lnSpc>
              <a:buClr>
                <a:srgbClr val="C00000"/>
              </a:buClr>
            </a:pPr>
            <a:r>
              <a:rPr lang="en-US" b="1" dirty="0"/>
              <a:t>Polymer Powder</a:t>
            </a:r>
          </a:p>
        </p:txBody>
      </p:sp>
      <p:sp>
        <p:nvSpPr>
          <p:cNvPr id="16" name="Textfeld 15">
            <a:extLst>
              <a:ext uri="{FF2B5EF4-FFF2-40B4-BE49-F238E27FC236}">
                <a16:creationId xmlns:a16="http://schemas.microsoft.com/office/drawing/2014/main" id="{65AD2A8D-E276-47CB-8F3A-D9BCA6EF7937}"/>
              </a:ext>
            </a:extLst>
          </p:cNvPr>
          <p:cNvSpPr txBox="1"/>
          <p:nvPr/>
        </p:nvSpPr>
        <p:spPr>
          <a:xfrm>
            <a:off x="6470390" y="1772470"/>
            <a:ext cx="4476303" cy="2174954"/>
          </a:xfrm>
          <a:prstGeom prst="rect">
            <a:avLst/>
          </a:prstGeom>
          <a:noFill/>
        </p:spPr>
        <p:txBody>
          <a:bodyPr wrap="square" rtlCol="0">
            <a:spAutoFit/>
          </a:bodyPr>
          <a:lstStyle/>
          <a:p>
            <a:pPr>
              <a:lnSpc>
                <a:spcPct val="150000"/>
              </a:lnSpc>
              <a:spcBef>
                <a:spcPts val="1200"/>
              </a:spcBef>
              <a:buClr>
                <a:srgbClr val="C00000"/>
              </a:buClr>
            </a:pPr>
            <a:r>
              <a:rPr lang="en-US" b="1" dirty="0">
                <a:solidFill>
                  <a:schemeClr val="accent1"/>
                </a:solidFill>
              </a:rPr>
              <a:t>Kollicoat</a:t>
            </a:r>
            <a:r>
              <a:rPr lang="en-US" b="1" baseline="30000" dirty="0">
                <a:solidFill>
                  <a:schemeClr val="accent1"/>
                </a:solidFill>
              </a:rPr>
              <a:t>®</a:t>
            </a:r>
            <a:r>
              <a:rPr lang="en-US" b="1" dirty="0">
                <a:solidFill>
                  <a:schemeClr val="accent1"/>
                </a:solidFill>
              </a:rPr>
              <a:t> Smartseal 100 P</a:t>
            </a:r>
          </a:p>
          <a:p>
            <a:pPr marL="287338" indent="-234950" defTabSz="685800">
              <a:spcBef>
                <a:spcPts val="1200"/>
              </a:spcBef>
              <a:spcAft>
                <a:spcPts val="500"/>
              </a:spcAft>
              <a:buClr>
                <a:schemeClr val="accent1"/>
              </a:buClr>
              <a:buFont typeface="Wingdings" panose="05000000000000000000" pitchFamily="2" charset="2"/>
              <a:buChar char="n"/>
              <a:defRPr/>
            </a:pPr>
            <a:r>
              <a:rPr lang="en-US" kern="0" dirty="0"/>
              <a:t>For aqueous &amp; organic coating.</a:t>
            </a:r>
          </a:p>
          <a:p>
            <a:pPr marL="287338" indent="-234950" defTabSz="685800">
              <a:spcAft>
                <a:spcPts val="500"/>
              </a:spcAft>
              <a:buClr>
                <a:schemeClr val="accent1"/>
              </a:buClr>
              <a:buFont typeface="Wingdings" panose="05000000000000000000" pitchFamily="2" charset="2"/>
              <a:buChar char="n"/>
              <a:defRPr/>
            </a:pPr>
            <a:r>
              <a:rPr lang="en-US" kern="0" dirty="0"/>
              <a:t>Re-constitution of an aqueous dispersion after partial neutralization possible</a:t>
            </a:r>
          </a:p>
          <a:p>
            <a:pPr marL="287338" indent="-234950" defTabSz="685800">
              <a:spcAft>
                <a:spcPts val="500"/>
              </a:spcAft>
              <a:buClr>
                <a:schemeClr val="accent1"/>
              </a:buClr>
              <a:buFont typeface="Wingdings" panose="05000000000000000000" pitchFamily="2" charset="2"/>
              <a:buChar char="n"/>
              <a:defRPr/>
            </a:pPr>
            <a:r>
              <a:rPr lang="en-US" kern="0" dirty="0"/>
              <a:t>Suitable for melting coating and HME</a:t>
            </a:r>
          </a:p>
        </p:txBody>
      </p:sp>
      <p:pic>
        <p:nvPicPr>
          <p:cNvPr id="18" name="Grafik 17">
            <a:extLst>
              <a:ext uri="{FF2B5EF4-FFF2-40B4-BE49-F238E27FC236}">
                <a16:creationId xmlns:a16="http://schemas.microsoft.com/office/drawing/2014/main" id="{933B9F61-79AC-453D-BC1F-5D53B5FBD6E7}"/>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761165" y="4124585"/>
            <a:ext cx="3491319" cy="1685798"/>
          </a:xfrm>
          <a:prstGeom prst="rect">
            <a:avLst/>
          </a:prstGeom>
        </p:spPr>
      </p:pic>
      <p:pic>
        <p:nvPicPr>
          <p:cNvPr id="24" name="Picture 4" descr="https://www.fiberglassmarinesupply.com/sites/default/files/imagecache/product_full/product_images/talc%2520powder.jpg">
            <a:extLst>
              <a:ext uri="{FF2B5EF4-FFF2-40B4-BE49-F238E27FC236}">
                <a16:creationId xmlns:a16="http://schemas.microsoft.com/office/drawing/2014/main" id="{775B68CC-0ABC-A4C0-1883-F55180A21A75}"/>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132233" y="3863876"/>
            <a:ext cx="3343139" cy="2089739"/>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3">
            <a:extLst>
              <a:ext uri="{FF2B5EF4-FFF2-40B4-BE49-F238E27FC236}">
                <a16:creationId xmlns:a16="http://schemas.microsoft.com/office/drawing/2014/main" id="{5A1D9E4E-D055-D817-FBC9-0690B0CF1BBE}"/>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pic>
        <p:nvPicPr>
          <p:cNvPr id="4" name="Grafik 21">
            <a:extLst>
              <a:ext uri="{FF2B5EF4-FFF2-40B4-BE49-F238E27FC236}">
                <a16:creationId xmlns:a16="http://schemas.microsoft.com/office/drawing/2014/main" id="{4CAA99CD-F662-5BA9-7098-FDF005C0004E}"/>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6518186" y="4450306"/>
            <a:ext cx="2152061" cy="997183"/>
          </a:xfrm>
          <a:prstGeom prst="rect">
            <a:avLst/>
          </a:prstGeom>
        </p:spPr>
      </p:pic>
      <p:sp>
        <p:nvSpPr>
          <p:cNvPr id="12" name="Slide Number Placeholder 11">
            <a:extLst>
              <a:ext uri="{FF2B5EF4-FFF2-40B4-BE49-F238E27FC236}">
                <a16:creationId xmlns:a16="http://schemas.microsoft.com/office/drawing/2014/main" id="{E92F2D7F-8108-D2DC-4E38-73BE3BABC0F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1</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2214533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0FA9723-6124-E6ED-4957-C0F4C221C01E}"/>
              </a:ext>
            </a:extLst>
          </p:cNvPr>
          <p:cNvGraphicFramePr>
            <a:graphicFrameLocks noChangeAspect="1"/>
          </p:cNvGraphicFramePr>
          <p:nvPr>
            <p:custDataLst>
              <p:tags r:id="rId1"/>
            </p:custDataLst>
            <p:extLst>
              <p:ext uri="{D42A27DB-BD31-4B8C-83A1-F6EECF244321}">
                <p14:modId xmlns:p14="http://schemas.microsoft.com/office/powerpoint/2010/main" val="449465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7" name="think-cell data - do not delete" hidden="1">
                        <a:extLst>
                          <a:ext uri="{FF2B5EF4-FFF2-40B4-BE49-F238E27FC236}">
                            <a16:creationId xmlns:a16="http://schemas.microsoft.com/office/drawing/2014/main" id="{C0FA9723-6124-E6ED-4957-C0F4C221C0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1BF5F5-984A-CE49-7D55-BFCE0C415436}"/>
              </a:ext>
            </a:extLst>
          </p:cNvPr>
          <p:cNvSpPr>
            <a:spLocks noGrp="1"/>
          </p:cNvSpPr>
          <p:nvPr>
            <p:ph type="title"/>
          </p:nvPr>
        </p:nvSpPr>
        <p:spPr/>
        <p:txBody>
          <a:bodyPr vert="horz"/>
          <a:lstStyle/>
          <a:p>
            <a:r>
              <a:rPr lang="en-US" dirty="0"/>
              <a:t>Kollicoat Smartseal</a:t>
            </a:r>
            <a:r>
              <a:rPr lang="en-US" baseline="30000" dirty="0"/>
              <a:t>®</a:t>
            </a:r>
            <a:r>
              <a:rPr lang="en-US" dirty="0"/>
              <a:t> film coating formulation &amp; application guide</a:t>
            </a:r>
          </a:p>
        </p:txBody>
      </p:sp>
      <p:sp>
        <p:nvSpPr>
          <p:cNvPr id="3" name="Text Placeholder 2">
            <a:extLst>
              <a:ext uri="{FF2B5EF4-FFF2-40B4-BE49-F238E27FC236}">
                <a16:creationId xmlns:a16="http://schemas.microsoft.com/office/drawing/2014/main" id="{4702627A-9B9F-5F21-9D01-C3D8BFFD0881}"/>
              </a:ext>
            </a:extLst>
          </p:cNvPr>
          <p:cNvSpPr>
            <a:spLocks noGrp="1"/>
          </p:cNvSpPr>
          <p:nvPr>
            <p:ph type="body" idx="1"/>
          </p:nvPr>
        </p:nvSpPr>
        <p:spPr>
          <a:xfrm>
            <a:off x="475994" y="947057"/>
            <a:ext cx="6583680" cy="4747625"/>
          </a:xfrm>
        </p:spPr>
        <p:txBody>
          <a:bodyPr vert="horz" anchor="ctr"/>
          <a:lstStyle/>
          <a:p>
            <a:r>
              <a:rPr lang="en-US" sz="1800" dirty="0">
                <a:latin typeface="Arial   "/>
              </a:rPr>
              <a:t>Antioxidant incorporation </a:t>
            </a:r>
          </a:p>
          <a:p>
            <a:r>
              <a:rPr lang="en-US" sz="1800" dirty="0">
                <a:effectLst/>
                <a:latin typeface="Arial   "/>
              </a:rPr>
              <a:t>Plasticizer selection </a:t>
            </a:r>
          </a:p>
          <a:p>
            <a:r>
              <a:rPr lang="en-US" sz="1800" dirty="0">
                <a:latin typeface="Arial   "/>
              </a:rPr>
              <a:t>Anti-tacking agent</a:t>
            </a:r>
          </a:p>
          <a:p>
            <a:r>
              <a:rPr lang="en-US" sz="1800" dirty="0">
                <a:latin typeface="Arial   "/>
              </a:rPr>
              <a:t>Curing step</a:t>
            </a:r>
          </a:p>
          <a:p>
            <a:r>
              <a:rPr lang="en-US" sz="1800" dirty="0">
                <a:latin typeface="Arial   "/>
              </a:rPr>
              <a:t>Formulation summary</a:t>
            </a:r>
          </a:p>
          <a:p>
            <a:r>
              <a:rPr lang="en-US" sz="1800" dirty="0">
                <a:effectLst/>
                <a:latin typeface="Arial   "/>
              </a:rPr>
              <a:t>Application guide for Kollicoat</a:t>
            </a:r>
            <a:r>
              <a:rPr lang="en-US" sz="1800" baseline="30000" dirty="0"/>
              <a:t>®</a:t>
            </a:r>
            <a:r>
              <a:rPr lang="en-US" sz="1800" dirty="0">
                <a:effectLst/>
                <a:latin typeface="Arial   "/>
              </a:rPr>
              <a:t> Smartseal 30 D</a:t>
            </a:r>
          </a:p>
          <a:p>
            <a:r>
              <a:rPr lang="en-US" sz="1800" dirty="0">
                <a:effectLst/>
                <a:latin typeface="Arial   "/>
              </a:rPr>
              <a:t>Application guide for Kollicoat</a:t>
            </a:r>
            <a:r>
              <a:rPr lang="en-US" sz="1800" baseline="30000" dirty="0"/>
              <a:t> ®</a:t>
            </a:r>
            <a:r>
              <a:rPr lang="en-US" sz="1800" dirty="0">
                <a:effectLst/>
                <a:latin typeface="Arial   "/>
              </a:rPr>
              <a:t> Smartseal 100 </a:t>
            </a:r>
            <a:r>
              <a:rPr lang="en-US" sz="1800" dirty="0">
                <a:latin typeface="Arial   "/>
              </a:rPr>
              <a:t>P in water pre-neutralized with acid </a:t>
            </a:r>
            <a:endParaRPr lang="en-US" sz="1800" dirty="0">
              <a:effectLst/>
              <a:latin typeface="Arial   "/>
            </a:endParaRPr>
          </a:p>
          <a:p>
            <a:r>
              <a:rPr lang="en-US" sz="1800" dirty="0">
                <a:effectLst/>
                <a:latin typeface="Arial   "/>
              </a:rPr>
              <a:t>Application guide for Kollicoat</a:t>
            </a:r>
            <a:r>
              <a:rPr lang="en-US" sz="1800" baseline="30000" dirty="0"/>
              <a:t> ®</a:t>
            </a:r>
            <a:r>
              <a:rPr lang="en-US" sz="1800" dirty="0">
                <a:effectLst/>
                <a:latin typeface="Arial   "/>
              </a:rPr>
              <a:t> Smartseal 100 </a:t>
            </a:r>
            <a:r>
              <a:rPr lang="en-US" sz="1800" dirty="0">
                <a:latin typeface="Arial   "/>
              </a:rPr>
              <a:t>P in organic solvents </a:t>
            </a:r>
            <a:endParaRPr lang="en-US" dirty="0"/>
          </a:p>
        </p:txBody>
      </p:sp>
      <p:sp>
        <p:nvSpPr>
          <p:cNvPr id="5" name="Slide Number Placeholder 4">
            <a:extLst>
              <a:ext uri="{FF2B5EF4-FFF2-40B4-BE49-F238E27FC236}">
                <a16:creationId xmlns:a16="http://schemas.microsoft.com/office/drawing/2014/main" id="{D5740DF4-0D02-E7FD-4E43-56946F0BE93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2</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36" name="Picture 35">
            <a:extLst>
              <a:ext uri="{FF2B5EF4-FFF2-40B4-BE49-F238E27FC236}">
                <a16:creationId xmlns:a16="http://schemas.microsoft.com/office/drawing/2014/main" id="{BA7C25B5-42A4-17BC-C433-C85592B24302}"/>
              </a:ext>
            </a:extLst>
          </p:cNvPr>
          <p:cNvPicPr>
            <a:picLocks noChangeAspect="1"/>
          </p:cNvPicPr>
          <p:nvPr/>
        </p:nvPicPr>
        <p:blipFill rotWithShape="1">
          <a:blip r:embed="rId6"/>
          <a:srcRect t="32969"/>
          <a:stretch/>
        </p:blipFill>
        <p:spPr>
          <a:xfrm>
            <a:off x="7316068" y="1285200"/>
            <a:ext cx="4656332" cy="4409482"/>
          </a:xfrm>
          <a:prstGeom prst="rect">
            <a:avLst/>
          </a:prstGeom>
        </p:spPr>
      </p:pic>
      <p:sp>
        <p:nvSpPr>
          <p:cNvPr id="38" name="Footer Placeholder 11">
            <a:extLst>
              <a:ext uri="{FF2B5EF4-FFF2-40B4-BE49-F238E27FC236}">
                <a16:creationId xmlns:a16="http://schemas.microsoft.com/office/drawing/2014/main" id="{2E44188D-CFAE-6A6E-A4A3-E6826BBC080C}"/>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27565959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B3BC61B9-9F99-FB46-3B98-4E6ABCDCB5DA}"/>
              </a:ext>
            </a:extLst>
          </p:cNvPr>
          <p:cNvGraphicFramePr>
            <a:graphicFrameLocks noChangeAspect="1"/>
          </p:cNvGraphicFramePr>
          <p:nvPr>
            <p:custDataLst>
              <p:tags r:id="rId1"/>
            </p:custDataLst>
            <p:extLst>
              <p:ext uri="{D42A27DB-BD31-4B8C-83A1-F6EECF244321}">
                <p14:modId xmlns:p14="http://schemas.microsoft.com/office/powerpoint/2010/main" val="1377517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14" name="think-cell data - do not delete" hidden="1">
                        <a:extLst>
                          <a:ext uri="{FF2B5EF4-FFF2-40B4-BE49-F238E27FC236}">
                            <a16:creationId xmlns:a16="http://schemas.microsoft.com/office/drawing/2014/main" id="{B3BC61B9-9F99-FB46-3B98-4E6ABCDCB5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4B37AB96-9648-A836-1035-7E397878F80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325022" y="1726861"/>
            <a:ext cx="3277725" cy="2522422"/>
          </a:xfrm>
          <a:prstGeom prst="rect">
            <a:avLst/>
          </a:prstGeom>
        </p:spPr>
      </p:pic>
      <p:sp>
        <p:nvSpPr>
          <p:cNvPr id="2" name="Title 1">
            <a:extLst>
              <a:ext uri="{FF2B5EF4-FFF2-40B4-BE49-F238E27FC236}">
                <a16:creationId xmlns:a16="http://schemas.microsoft.com/office/drawing/2014/main" id="{21D85687-03B4-BD87-B25C-275BE60F150A}"/>
              </a:ext>
            </a:extLst>
          </p:cNvPr>
          <p:cNvSpPr>
            <a:spLocks noGrp="1"/>
          </p:cNvSpPr>
          <p:nvPr>
            <p:ph type="title"/>
          </p:nvPr>
        </p:nvSpPr>
        <p:spPr/>
        <p:txBody>
          <a:bodyPr vert="horz"/>
          <a:lstStyle/>
          <a:p>
            <a:r>
              <a:rPr lang="en-US" dirty="0"/>
              <a:t>Kollicoat</a:t>
            </a:r>
            <a:r>
              <a:rPr lang="en-US" baseline="30000" dirty="0"/>
              <a:t>®</a:t>
            </a:r>
            <a:r>
              <a:rPr lang="en-US" dirty="0"/>
              <a:t> Smartseal </a:t>
            </a:r>
            <a:r>
              <a:rPr lang="en-US" sz="2800" dirty="0"/>
              <a:t>Formulation: Antioxidant Incorporation </a:t>
            </a:r>
            <a:endParaRPr lang="en-US" dirty="0"/>
          </a:p>
        </p:txBody>
      </p:sp>
      <p:sp>
        <p:nvSpPr>
          <p:cNvPr id="6" name="Text Box 5">
            <a:extLst>
              <a:ext uri="{FF2B5EF4-FFF2-40B4-BE49-F238E27FC236}">
                <a16:creationId xmlns:a16="http://schemas.microsoft.com/office/drawing/2014/main" id="{9165901B-8867-5E16-C1BE-F6449D0FBC7B}"/>
              </a:ext>
            </a:extLst>
          </p:cNvPr>
          <p:cNvSpPr txBox="1">
            <a:spLocks noChangeArrowheads="1"/>
          </p:cNvSpPr>
          <p:nvPr/>
        </p:nvSpPr>
        <p:spPr bwMode="auto">
          <a:xfrm>
            <a:off x="507829" y="4505387"/>
            <a:ext cx="9839325" cy="17030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285750" marR="0" lvl="0" indent="-285750" defTabSz="914400" rtl="0" eaLnBrk="1" fontAlgn="base" latinLnBrk="0" hangingPunct="1">
              <a:lnSpc>
                <a:spcPct val="150000"/>
              </a:lnSpc>
              <a:spcBef>
                <a:spcPct val="0"/>
              </a:spcBef>
              <a:spcAft>
                <a:spcPct val="0"/>
              </a:spcAft>
              <a:buClr>
                <a:schemeClr val="accent1"/>
              </a:buClr>
              <a:buSzTx/>
              <a:buFont typeface="Arial" panose="020B0604020202020204" pitchFamily="34" charset="0"/>
              <a:buChar char="■"/>
              <a:tabLst/>
              <a:defRPr/>
            </a:pPr>
            <a:r>
              <a:rPr kumimoji="0" lang="en-US" altLang="en-US" b="0" i="0" u="none" strike="noStrike" kern="1200" cap="none" spc="0" normalizeH="0" baseline="0" noProof="0" dirty="0">
                <a:ln>
                  <a:noFill/>
                </a:ln>
                <a:effectLst/>
                <a:uLnTx/>
                <a:uFillTx/>
                <a:latin typeface="Arial" panose="020B0604020202020204" pitchFamily="34" charset="0"/>
                <a:cs typeface="Arial" panose="020B0604020202020204" pitchFamily="34" charset="0"/>
              </a:rPr>
              <a:t>An antioxidant </a:t>
            </a:r>
            <a:r>
              <a:rPr lang="en-US" altLang="en-US" dirty="0">
                <a:latin typeface="Arial" panose="020B0604020202020204" pitchFamily="34" charset="0"/>
                <a:cs typeface="Arial" panose="020B0604020202020204" pitchFamily="34" charset="0"/>
              </a:rPr>
              <a:t>is recommended </a:t>
            </a:r>
            <a:r>
              <a:rPr kumimoji="0" lang="en-US" altLang="en-US" b="0" i="0" u="none" strike="noStrike" kern="1200" cap="none" spc="0" normalizeH="0" baseline="0" noProof="0" dirty="0">
                <a:ln>
                  <a:noFill/>
                </a:ln>
                <a:effectLst/>
                <a:uLnTx/>
                <a:uFillTx/>
                <a:latin typeface="Arial" panose="020B0604020202020204" pitchFamily="34" charset="0"/>
                <a:cs typeface="Arial" panose="020B0604020202020204" pitchFamily="34" charset="0"/>
              </a:rPr>
              <a:t>to stabilize the amino ester moiety of the polymer</a:t>
            </a:r>
            <a:r>
              <a:rPr lang="en-US" altLang="en-US" dirty="0">
                <a:latin typeface="Arial" panose="020B0604020202020204" pitchFamily="34" charset="0"/>
                <a:cs typeface="Arial" panose="020B0604020202020204" pitchFamily="34" charset="0"/>
              </a:rPr>
              <a:t>.</a:t>
            </a:r>
          </a:p>
          <a:p>
            <a:pPr marL="285750" marR="0" lvl="0" indent="-285750" defTabSz="914400" rtl="0" eaLnBrk="1" fontAlgn="base" latinLnBrk="0" hangingPunct="1">
              <a:lnSpc>
                <a:spcPct val="150000"/>
              </a:lnSpc>
              <a:spcBef>
                <a:spcPct val="0"/>
              </a:spcBef>
              <a:spcAft>
                <a:spcPct val="0"/>
              </a:spcAft>
              <a:buClr>
                <a:schemeClr val="accent1"/>
              </a:buClr>
              <a:buSzTx/>
              <a:buFont typeface="Arial" panose="020B0604020202020204" pitchFamily="34" charset="0"/>
              <a:buChar char="■"/>
              <a:tabLst/>
              <a:defRPr/>
            </a:pPr>
            <a:r>
              <a:rPr lang="en-US" altLang="en-US" dirty="0">
                <a:latin typeface="Arial" panose="020B0604020202020204" pitchFamily="34" charset="0"/>
                <a:cs typeface="Arial" panose="020B0604020202020204" pitchFamily="34" charset="0"/>
              </a:rPr>
              <a:t>Antioxidant is mandatory for any Kollicoat</a:t>
            </a:r>
            <a:r>
              <a:rPr lang="en-US" altLang="en-US" baseline="30000" dirty="0">
                <a:latin typeface="Arial" panose="020B0604020202020204" pitchFamily="34" charset="0"/>
                <a:cs typeface="Arial" panose="020B0604020202020204" pitchFamily="34" charset="0"/>
              </a:rPr>
              <a:t>®</a:t>
            </a:r>
            <a:r>
              <a:rPr lang="en-US" altLang="en-US" dirty="0">
                <a:latin typeface="Arial" panose="020B0604020202020204" pitchFamily="34" charset="0"/>
                <a:cs typeface="Arial" panose="020B0604020202020204" pitchFamily="34" charset="0"/>
              </a:rPr>
              <a:t> Smartseal film in close contact with lactose </a:t>
            </a:r>
          </a:p>
          <a:p>
            <a:pPr marL="285750" marR="0" lvl="0" indent="-285750" defTabSz="914400" rtl="0" eaLnBrk="1" fontAlgn="base" latinLnBrk="0" hangingPunct="1">
              <a:lnSpc>
                <a:spcPct val="150000"/>
              </a:lnSpc>
              <a:spcBef>
                <a:spcPct val="0"/>
              </a:spcBef>
              <a:spcAft>
                <a:spcPct val="0"/>
              </a:spcAft>
              <a:buClr>
                <a:schemeClr val="accent1"/>
              </a:buClr>
              <a:buSzTx/>
              <a:buFont typeface="Arial" panose="020B0604020202020204" pitchFamily="34" charset="0"/>
              <a:buChar char="■"/>
              <a:tabLst/>
              <a:defRPr/>
            </a:pPr>
            <a:r>
              <a:rPr kumimoji="0" lang="en-US" altLang="en-US" b="0" i="0" u="none" strike="noStrike" kern="1200" cap="none" spc="0" normalizeH="0" baseline="0" noProof="0" dirty="0">
                <a:ln>
                  <a:noFill/>
                </a:ln>
                <a:effectLst/>
                <a:uLnTx/>
                <a:uFillTx/>
                <a:latin typeface="Arial" panose="020B0604020202020204" pitchFamily="34" charset="0"/>
                <a:cs typeface="Arial" panose="020B0604020202020204" pitchFamily="34" charset="0"/>
              </a:rPr>
              <a:t>Without it, yellowing and </a:t>
            </a:r>
            <a:r>
              <a:rPr lang="en-US" altLang="en-US" dirty="0">
                <a:latin typeface="Arial" panose="020B0604020202020204" pitchFamily="34" charset="0"/>
                <a:cs typeface="Arial" panose="020B0604020202020204" pitchFamily="34" charset="0"/>
              </a:rPr>
              <a:t>differences on the</a:t>
            </a:r>
            <a:r>
              <a:rPr kumimoji="0" lang="en-US" altLang="en-US" b="0" i="0" u="none" strike="noStrike" kern="1200" cap="none" spc="0" normalizeH="0" baseline="0" noProof="0" dirty="0">
                <a:ln>
                  <a:noFill/>
                </a:ln>
                <a:effectLst/>
                <a:uLnTx/>
                <a:uFillTx/>
                <a:latin typeface="Arial" panose="020B0604020202020204" pitchFamily="34" charset="0"/>
                <a:cs typeface="Arial" panose="020B0604020202020204" pitchFamily="34" charset="0"/>
              </a:rPr>
              <a:t> dissolution may appear under stress conditions.</a:t>
            </a:r>
          </a:p>
          <a:p>
            <a:pPr marL="285750" indent="-285750" fontAlgn="base">
              <a:lnSpc>
                <a:spcPct val="150000"/>
              </a:lnSpc>
              <a:spcBef>
                <a:spcPct val="0"/>
              </a:spcBef>
              <a:spcAft>
                <a:spcPct val="0"/>
              </a:spcAft>
              <a:buClr>
                <a:schemeClr val="accent1"/>
              </a:buClr>
              <a:buFont typeface="Arial" panose="020B0604020202020204" pitchFamily="34" charset="0"/>
              <a:buChar char="■"/>
              <a:defRPr/>
            </a:pPr>
            <a:r>
              <a:rPr kumimoji="0" lang="en-US" altLang="en-US" b="0" i="0" u="none" strike="noStrike" kern="1200" cap="none" spc="0" normalizeH="0" baseline="0" noProof="0" dirty="0">
                <a:ln>
                  <a:noFill/>
                </a:ln>
                <a:effectLst/>
                <a:uLnTx/>
                <a:uFillTx/>
                <a:latin typeface="Arial" panose="020B0604020202020204" pitchFamily="34" charset="0"/>
                <a:cs typeface="Arial" panose="020B0604020202020204" pitchFamily="34" charset="0"/>
              </a:rPr>
              <a:t>BHT is the recommended antioxidant. Its plasticizing effect should be considered. </a:t>
            </a:r>
          </a:p>
        </p:txBody>
      </p:sp>
      <p:sp>
        <p:nvSpPr>
          <p:cNvPr id="7" name="Line 9">
            <a:extLst>
              <a:ext uri="{FF2B5EF4-FFF2-40B4-BE49-F238E27FC236}">
                <a16:creationId xmlns:a16="http://schemas.microsoft.com/office/drawing/2014/main" id="{8B4F03AB-5757-A727-94A9-D8B247FD3457}"/>
              </a:ext>
            </a:extLst>
          </p:cNvPr>
          <p:cNvSpPr>
            <a:spLocks noChangeShapeType="1"/>
          </p:cNvSpPr>
          <p:nvPr/>
        </p:nvSpPr>
        <p:spPr bwMode="auto">
          <a:xfrm>
            <a:off x="755650" y="2913063"/>
            <a:ext cx="6985000" cy="0"/>
          </a:xfrm>
          <a:prstGeom prst="line">
            <a:avLst/>
          </a:prstGeom>
          <a:noFill/>
          <a:ln w="285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 name="Textfeld 23">
            <a:extLst>
              <a:ext uri="{FF2B5EF4-FFF2-40B4-BE49-F238E27FC236}">
                <a16:creationId xmlns:a16="http://schemas.microsoft.com/office/drawing/2014/main" id="{35028986-5CB1-FC01-C66A-F0B7B91F0FE6}"/>
              </a:ext>
            </a:extLst>
          </p:cNvPr>
          <p:cNvSpPr txBox="1">
            <a:spLocks noChangeArrowheads="1"/>
          </p:cNvSpPr>
          <p:nvPr/>
        </p:nvSpPr>
        <p:spPr bwMode="auto">
          <a:xfrm>
            <a:off x="10136678" y="4161998"/>
            <a:ext cx="171389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Arial" panose="020B0604020202020204" pitchFamily="34" charset="0"/>
                <a:cs typeface="Arial" pitchFamily="34" charset="0"/>
              </a:rPr>
              <a:t>Basic amino</a:t>
            </a:r>
            <a:br>
              <a:rPr kumimoji="0" lang="en-US" sz="1400" b="0" i="0" u="none" strike="noStrike" kern="1200" cap="none" spc="0" normalizeH="0" baseline="0" noProof="0" dirty="0">
                <a:ln>
                  <a:noFill/>
                </a:ln>
                <a:effectLst/>
                <a:uLnTx/>
                <a:uFillTx/>
                <a:latin typeface="Arial" panose="020B0604020202020204" pitchFamily="34" charset="0"/>
                <a:cs typeface="Arial" pitchFamily="34" charset="0"/>
              </a:rPr>
            </a:br>
            <a:r>
              <a:rPr kumimoji="0" lang="en-US" sz="1400" b="0" i="0" u="none" strike="noStrike" kern="1200" cap="none" spc="0" normalizeH="0" baseline="0" noProof="0" dirty="0">
                <a:ln>
                  <a:noFill/>
                </a:ln>
                <a:effectLst/>
                <a:uLnTx/>
                <a:uFillTx/>
                <a:latin typeface="Arial" panose="020B0604020202020204" pitchFamily="34" charset="0"/>
                <a:cs typeface="Arial" pitchFamily="34" charset="0"/>
              </a:rPr>
              <a:t>functional group</a:t>
            </a:r>
          </a:p>
        </p:txBody>
      </p:sp>
      <p:sp>
        <p:nvSpPr>
          <p:cNvPr id="9" name="Rectangle: Rounded Corners 3">
            <a:extLst>
              <a:ext uri="{FF2B5EF4-FFF2-40B4-BE49-F238E27FC236}">
                <a16:creationId xmlns:a16="http://schemas.microsoft.com/office/drawing/2014/main" id="{18A3B97F-F7DC-9AF7-B1D0-0F518874DAC4}"/>
              </a:ext>
            </a:extLst>
          </p:cNvPr>
          <p:cNvSpPr/>
          <p:nvPr/>
        </p:nvSpPr>
        <p:spPr>
          <a:xfrm>
            <a:off x="9545886" y="3289473"/>
            <a:ext cx="835995" cy="849057"/>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10" name="TextBox 4">
            <a:extLst>
              <a:ext uri="{FF2B5EF4-FFF2-40B4-BE49-F238E27FC236}">
                <a16:creationId xmlns:a16="http://schemas.microsoft.com/office/drawing/2014/main" id="{82117C90-FD0A-7412-3D66-7D797FF93686}"/>
              </a:ext>
            </a:extLst>
          </p:cNvPr>
          <p:cNvSpPr txBox="1"/>
          <p:nvPr/>
        </p:nvSpPr>
        <p:spPr>
          <a:xfrm>
            <a:off x="637668" y="4249283"/>
            <a:ext cx="3654847"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a:cs typeface="Arial"/>
              </a:rPr>
              <a:t>*In aqueous coating, hydrophilic antioxidants can be used alternatively. </a:t>
            </a:r>
          </a:p>
        </p:txBody>
      </p:sp>
      <p:graphicFrame>
        <p:nvGraphicFramePr>
          <p:cNvPr id="12" name="Tabelle 17">
            <a:extLst>
              <a:ext uri="{FF2B5EF4-FFF2-40B4-BE49-F238E27FC236}">
                <a16:creationId xmlns:a16="http://schemas.microsoft.com/office/drawing/2014/main" id="{04BABA06-4285-302F-F611-3D1F17049D3F}"/>
              </a:ext>
            </a:extLst>
          </p:cNvPr>
          <p:cNvGraphicFramePr>
            <a:graphicFrameLocks noGrp="1"/>
          </p:cNvGraphicFramePr>
          <p:nvPr>
            <p:extLst>
              <p:ext uri="{D42A27DB-BD31-4B8C-83A1-F6EECF244321}">
                <p14:modId xmlns:p14="http://schemas.microsoft.com/office/powerpoint/2010/main" val="2881888923"/>
              </p:ext>
            </p:extLst>
          </p:nvPr>
        </p:nvGraphicFramePr>
        <p:xfrm>
          <a:off x="528149" y="1794303"/>
          <a:ext cx="7569372" cy="2316480"/>
        </p:xfrm>
        <a:graphic>
          <a:graphicData uri="http://schemas.openxmlformats.org/drawingml/2006/table">
            <a:tbl>
              <a:tblPr firstRow="1" bandRow="1">
                <a:tableStyleId>{3B4B98B0-60AC-42C2-AFA5-B58CD77FA1E5}</a:tableStyleId>
              </a:tblPr>
              <a:tblGrid>
                <a:gridCol w="3784686">
                  <a:extLst>
                    <a:ext uri="{9D8B030D-6E8A-4147-A177-3AD203B41FA5}">
                      <a16:colId xmlns:a16="http://schemas.microsoft.com/office/drawing/2014/main" val="3827183472"/>
                    </a:ext>
                  </a:extLst>
                </a:gridCol>
                <a:gridCol w="3784686">
                  <a:extLst>
                    <a:ext uri="{9D8B030D-6E8A-4147-A177-3AD203B41FA5}">
                      <a16:colId xmlns:a16="http://schemas.microsoft.com/office/drawing/2014/main" val="2606556407"/>
                    </a:ext>
                  </a:extLst>
                </a:gridCol>
              </a:tblGrid>
              <a:tr h="326315">
                <a:tc>
                  <a:txBody>
                    <a:bodyPr/>
                    <a:lstStyle/>
                    <a:p>
                      <a:pPr algn="ctr"/>
                      <a:r>
                        <a:rPr lang="en-US" sz="2000" b="1" dirty="0"/>
                        <a:t>Antioxidant </a:t>
                      </a:r>
                    </a:p>
                  </a:txBody>
                  <a:tcPr/>
                </a:tc>
                <a:tc>
                  <a:txBody>
                    <a:bodyPr/>
                    <a:lstStyle/>
                    <a:p>
                      <a:pPr algn="ctr"/>
                      <a:r>
                        <a:rPr lang="en-US" sz="2000" b="1" dirty="0"/>
                        <a:t>Amount</a:t>
                      </a:r>
                    </a:p>
                  </a:txBody>
                  <a:tcPr/>
                </a:tc>
                <a:extLst>
                  <a:ext uri="{0D108BD9-81ED-4DB2-BD59-A6C34878D82A}">
                    <a16:rowId xmlns:a16="http://schemas.microsoft.com/office/drawing/2014/main" val="4225830917"/>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800" u="none" strike="noStrike" kern="0" cap="none" spc="0" normalizeH="0" baseline="0" noProof="0" dirty="0">
                          <a:ln>
                            <a:noFill/>
                          </a:ln>
                          <a:effectLst/>
                          <a:uLnTx/>
                          <a:uFillTx/>
                        </a:rPr>
                        <a:t>Butylated hydroxytoluene (BHT)</a:t>
                      </a:r>
                      <a:endParaRPr kumimoji="0" lang="en-US" altLang="en-US" sz="1800" b="1" i="0" u="none" strike="noStrike" kern="0" cap="none" spc="0" normalizeH="0" baseline="0" noProof="0" dirty="0">
                        <a:ln>
                          <a:noFill/>
                        </a:ln>
                        <a:solidFill>
                          <a:srgbClr val="004A96"/>
                        </a:solidFill>
                        <a:effectLst/>
                        <a:uLnTx/>
                        <a:uFillTx/>
                        <a:latin typeface="+mn-lt"/>
                        <a:cs typeface="Arial" panose="020B0604020202020204" pitchFamily="34"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800" u="none" strike="noStrike" kern="0" cap="none" spc="0" normalizeH="0" baseline="0" noProof="0" dirty="0">
                          <a:ln>
                            <a:noFill/>
                          </a:ln>
                          <a:effectLst/>
                          <a:uLnTx/>
                          <a:uFillTx/>
                        </a:rPr>
                        <a:t>1 - 2.5% related to polymer</a:t>
                      </a:r>
                    </a:p>
                    <a:p>
                      <a:endParaRPr lang="en-US" sz="1800" dirty="0"/>
                    </a:p>
                  </a:txBody>
                  <a:tcPr/>
                </a:tc>
                <a:extLst>
                  <a:ext uri="{0D108BD9-81ED-4DB2-BD59-A6C34878D82A}">
                    <a16:rowId xmlns:a16="http://schemas.microsoft.com/office/drawing/2014/main" val="2714525836"/>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800" u="none" strike="noStrike" kern="0" cap="none" spc="0" normalizeH="0" baseline="0" noProof="0" dirty="0">
                          <a:ln>
                            <a:noFill/>
                          </a:ln>
                          <a:effectLst/>
                          <a:uLnTx/>
                          <a:uFillTx/>
                        </a:rPr>
                        <a:t>N-acetylcysteine</a:t>
                      </a:r>
                      <a:endParaRPr kumimoji="0" lang="en-US" altLang="en-US" sz="1800" b="0" i="0" u="none" strike="noStrike" kern="0" cap="none" spc="0" normalizeH="0" baseline="0" noProof="0" dirty="0">
                        <a:ln>
                          <a:noFill/>
                        </a:ln>
                        <a:solidFill>
                          <a:srgbClr val="000000"/>
                        </a:solidFill>
                        <a:effectLst/>
                        <a:uLnTx/>
                        <a:uFillTx/>
                        <a:latin typeface="+mn-lt"/>
                        <a:cs typeface="Arial" panose="020B0604020202020204" pitchFamily="34"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800" u="none" strike="noStrike" kern="0" cap="none" spc="0" normalizeH="0" baseline="0" noProof="0" dirty="0">
                          <a:ln>
                            <a:noFill/>
                          </a:ln>
                          <a:effectLst/>
                          <a:uLnTx/>
                          <a:uFillTx/>
                        </a:rPr>
                        <a:t>1 - 2.5% related to polymer</a:t>
                      </a:r>
                    </a:p>
                    <a:p>
                      <a:endParaRPr lang="en-US" sz="1800" dirty="0"/>
                    </a:p>
                  </a:txBody>
                  <a:tcPr/>
                </a:tc>
                <a:extLst>
                  <a:ext uri="{0D108BD9-81ED-4DB2-BD59-A6C34878D82A}">
                    <a16:rowId xmlns:a16="http://schemas.microsoft.com/office/drawing/2014/main" val="3295552508"/>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800" u="none" strike="noStrike" kern="0" cap="none" spc="0" normalizeH="0" baseline="0" noProof="0" dirty="0">
                          <a:ln>
                            <a:noFill/>
                          </a:ln>
                          <a:effectLst/>
                          <a:uLnTx/>
                          <a:uFillTx/>
                        </a:rPr>
                        <a:t>Sodium carbonate*</a:t>
                      </a:r>
                      <a:endParaRPr kumimoji="0" lang="en-US" altLang="en-US" sz="1800" b="0" i="0" u="none" strike="noStrike" kern="0" cap="none" spc="0" normalizeH="0" baseline="0" noProof="0" dirty="0">
                        <a:ln>
                          <a:noFill/>
                        </a:ln>
                        <a:solidFill>
                          <a:srgbClr val="000000"/>
                        </a:solidFill>
                        <a:effectLst/>
                        <a:uLnTx/>
                        <a:uFillTx/>
                        <a:latin typeface="+mn-lt"/>
                        <a:cs typeface="Arial" panose="020B0604020202020204" pitchFamily="34"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800" u="none" strike="noStrike" kern="0" cap="none" spc="0" normalizeH="0" baseline="0" noProof="0" dirty="0">
                          <a:ln>
                            <a:noFill/>
                          </a:ln>
                          <a:effectLst/>
                          <a:uLnTx/>
                          <a:uFillTx/>
                        </a:rPr>
                        <a:t>1 - 2.5% related to polymer</a:t>
                      </a:r>
                    </a:p>
                    <a:p>
                      <a:endParaRPr lang="en-US" sz="1800" dirty="0"/>
                    </a:p>
                  </a:txBody>
                  <a:tcPr/>
                </a:tc>
                <a:extLst>
                  <a:ext uri="{0D108BD9-81ED-4DB2-BD59-A6C34878D82A}">
                    <a16:rowId xmlns:a16="http://schemas.microsoft.com/office/drawing/2014/main" val="2302845212"/>
                  </a:ext>
                </a:extLst>
              </a:tr>
            </a:tbl>
          </a:graphicData>
        </a:graphic>
      </p:graphicFrame>
      <p:sp>
        <p:nvSpPr>
          <p:cNvPr id="11" name="Footer Placeholder 11">
            <a:extLst>
              <a:ext uri="{FF2B5EF4-FFF2-40B4-BE49-F238E27FC236}">
                <a16:creationId xmlns:a16="http://schemas.microsoft.com/office/drawing/2014/main" id="{C64A6A26-48E5-AC94-F118-7D2DFD9783FA}"/>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15" name="Slide Number Placeholder 14">
            <a:extLst>
              <a:ext uri="{FF2B5EF4-FFF2-40B4-BE49-F238E27FC236}">
                <a16:creationId xmlns:a16="http://schemas.microsoft.com/office/drawing/2014/main" id="{0196F9C8-6634-7136-6647-BB60FD4BD64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3</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17" name="Rectangle 16">
            <a:extLst>
              <a:ext uri="{FF2B5EF4-FFF2-40B4-BE49-F238E27FC236}">
                <a16:creationId xmlns:a16="http://schemas.microsoft.com/office/drawing/2014/main" id="{D90A9932-94C3-BD5D-DAD7-851361101888}"/>
              </a:ext>
            </a:extLst>
          </p:cNvPr>
          <p:cNvSpPr/>
          <p:nvPr/>
        </p:nvSpPr>
        <p:spPr>
          <a:xfrm>
            <a:off x="348814" y="2149646"/>
            <a:ext cx="7887402" cy="705916"/>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357109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E5172D-7054-E579-AEE6-C53228ACD3D1}"/>
              </a:ext>
            </a:extLst>
          </p:cNvPr>
          <p:cNvGraphicFramePr>
            <a:graphicFrameLocks noChangeAspect="1"/>
          </p:cNvGraphicFramePr>
          <p:nvPr>
            <p:custDataLst>
              <p:tags r:id="rId1"/>
            </p:custDataLst>
            <p:extLst>
              <p:ext uri="{D42A27DB-BD31-4B8C-83A1-F6EECF244321}">
                <p14:modId xmlns:p14="http://schemas.microsoft.com/office/powerpoint/2010/main" val="3137259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6" imgH="416" progId="TCLayout.ActiveDocument.1">
                  <p:embed/>
                </p:oleObj>
              </mc:Choice>
              <mc:Fallback>
                <p:oleObj name="think-cell Slide" r:id="rId6" imgW="416" imgH="416" progId="TCLayout.ActiveDocument.1">
                  <p:embed/>
                  <p:pic>
                    <p:nvPicPr>
                      <p:cNvPr id="5" name="Object 4" hidden="1">
                        <a:extLst>
                          <a:ext uri="{FF2B5EF4-FFF2-40B4-BE49-F238E27FC236}">
                            <a16:creationId xmlns:a16="http://schemas.microsoft.com/office/drawing/2014/main" id="{91E5172D-7054-E579-AEE6-C53228ACD3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5DA83C-4377-0D95-13E8-471805376240}"/>
              </a:ext>
            </a:extLst>
          </p:cNvPr>
          <p:cNvSpPr>
            <a:spLocks noGrp="1"/>
          </p:cNvSpPr>
          <p:nvPr>
            <p:ph type="title"/>
          </p:nvPr>
        </p:nvSpPr>
        <p:spPr>
          <a:xfrm>
            <a:off x="263899" y="270121"/>
            <a:ext cx="11736000" cy="853200"/>
          </a:xfrm>
        </p:spPr>
        <p:txBody>
          <a:bodyPr vert="horz"/>
          <a:lstStyle/>
          <a:p>
            <a:r>
              <a:rPr lang="en-US" dirty="0"/>
              <a:t>Kollicoat</a:t>
            </a:r>
            <a:r>
              <a:rPr lang="en-US" baseline="30000" dirty="0"/>
              <a:t>®</a:t>
            </a:r>
            <a:r>
              <a:rPr lang="en-US" dirty="0"/>
              <a:t> Smartseal </a:t>
            </a:r>
            <a:r>
              <a:rPr lang="en-US" sz="2800" dirty="0"/>
              <a:t>Formulation: Plasticizer</a:t>
            </a:r>
          </a:p>
        </p:txBody>
      </p:sp>
      <p:sp>
        <p:nvSpPr>
          <p:cNvPr id="3" name="Text Placeholder 2">
            <a:extLst>
              <a:ext uri="{FF2B5EF4-FFF2-40B4-BE49-F238E27FC236}">
                <a16:creationId xmlns:a16="http://schemas.microsoft.com/office/drawing/2014/main" id="{92763E5B-8403-7AA4-6667-14A3E3BB58E2}"/>
              </a:ext>
            </a:extLst>
          </p:cNvPr>
          <p:cNvSpPr>
            <a:spLocks noGrp="1"/>
          </p:cNvSpPr>
          <p:nvPr>
            <p:ph type="body" idx="1"/>
          </p:nvPr>
        </p:nvSpPr>
        <p:spPr>
          <a:xfrm>
            <a:off x="684492" y="2851768"/>
            <a:ext cx="8650008" cy="3396632"/>
          </a:xfrm>
        </p:spPr>
        <p:txBody>
          <a:bodyPr/>
          <a:lstStyle/>
          <a:p>
            <a:pPr>
              <a:lnSpc>
                <a:spcPct val="150000"/>
              </a:lnSpc>
            </a:pPr>
            <a:r>
              <a:rPr lang="en-US" sz="1800" b="1" dirty="0"/>
              <a:t>Plasticizers</a:t>
            </a:r>
            <a:r>
              <a:rPr lang="en-US" sz="1800" dirty="0"/>
              <a:t> are used to </a:t>
            </a:r>
            <a:r>
              <a:rPr lang="en-US" sz="1800" b="1" dirty="0"/>
              <a:t>improve film elasticity and flexibility </a:t>
            </a:r>
            <a:r>
              <a:rPr lang="en-US" sz="1800" dirty="0"/>
              <a:t>of high brittle polymers by </a:t>
            </a:r>
            <a:r>
              <a:rPr lang="en-US" sz="1800" b="1" dirty="0"/>
              <a:t>increasing polymer chains mobility.</a:t>
            </a:r>
          </a:p>
          <a:p>
            <a:pPr>
              <a:lnSpc>
                <a:spcPct val="150000"/>
              </a:lnSpc>
            </a:pPr>
            <a:r>
              <a:rPr lang="en-US" sz="1800" dirty="0"/>
              <a:t>Higher mobility </a:t>
            </a:r>
            <a:r>
              <a:rPr lang="en-US" sz="1800" b="1" dirty="0"/>
              <a:t>reduces the polymer glass transition </a:t>
            </a:r>
            <a:r>
              <a:rPr lang="en-US" sz="1800" dirty="0"/>
              <a:t>(</a:t>
            </a:r>
            <a:r>
              <a:rPr lang="en-US" sz="1800" dirty="0" err="1"/>
              <a:t>Tg</a:t>
            </a:r>
            <a:r>
              <a:rPr lang="en-US" sz="1800" dirty="0"/>
              <a:t>) and the required </a:t>
            </a:r>
            <a:r>
              <a:rPr lang="en-US" sz="1800" b="1" dirty="0"/>
              <a:t>minimum film forming temperature </a:t>
            </a:r>
            <a:r>
              <a:rPr lang="en-US" sz="1800" dirty="0"/>
              <a:t>(MFFT).</a:t>
            </a:r>
          </a:p>
          <a:p>
            <a:pPr>
              <a:lnSpc>
                <a:spcPct val="150000"/>
              </a:lnSpc>
            </a:pPr>
            <a:r>
              <a:rPr lang="en-US" sz="1800" dirty="0"/>
              <a:t>Kollicoat</a:t>
            </a:r>
            <a:r>
              <a:rPr lang="en-US" sz="2400" baseline="30000" dirty="0"/>
              <a:t>®</a:t>
            </a:r>
            <a:r>
              <a:rPr lang="en-US" sz="1800" dirty="0"/>
              <a:t> Smartseal require a plasticizer to reduce MFFT in aqueous films.</a:t>
            </a:r>
          </a:p>
          <a:p>
            <a:pPr>
              <a:lnSpc>
                <a:spcPct val="150000"/>
              </a:lnSpc>
            </a:pPr>
            <a:r>
              <a:rPr lang="en-US" sz="1800" dirty="0"/>
              <a:t>A </a:t>
            </a:r>
            <a:r>
              <a:rPr lang="en-US" sz="1800" b="1" dirty="0"/>
              <a:t>hydrophobic plasticizer </a:t>
            </a:r>
            <a:r>
              <a:rPr lang="en-US" sz="1800" dirty="0"/>
              <a:t>is preferred due to the lipophilicity of the polymer</a:t>
            </a:r>
          </a:p>
          <a:p>
            <a:pPr>
              <a:lnSpc>
                <a:spcPct val="150000"/>
              </a:lnSpc>
            </a:pPr>
            <a:endParaRPr lang="en-US" sz="1800" dirty="0"/>
          </a:p>
        </p:txBody>
      </p:sp>
      <p:sp>
        <p:nvSpPr>
          <p:cNvPr id="14" name="TextBox 13">
            <a:extLst>
              <a:ext uri="{FF2B5EF4-FFF2-40B4-BE49-F238E27FC236}">
                <a16:creationId xmlns:a16="http://schemas.microsoft.com/office/drawing/2014/main" id="{7D4E46E7-840C-1B33-DD44-2EAFE51B73E3}"/>
              </a:ext>
            </a:extLst>
          </p:cNvPr>
          <p:cNvSpPr txBox="1"/>
          <p:nvPr/>
        </p:nvSpPr>
        <p:spPr>
          <a:xfrm>
            <a:off x="9142616" y="4958774"/>
            <a:ext cx="3140478"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C00000"/>
              </a:buClr>
              <a:buSzTx/>
              <a:buFontTx/>
              <a:buNone/>
              <a:tabLst/>
              <a:defRPr/>
            </a:pPr>
            <a:r>
              <a:rPr kumimoji="0" lang="en-US" sz="1100" b="0" u="none" strike="noStrike" kern="1200" cap="none" spc="0" normalizeH="0" baseline="0" noProof="0" dirty="0">
                <a:ln>
                  <a:noFill/>
                </a:ln>
                <a:solidFill>
                  <a:srgbClr val="000000"/>
                </a:solidFill>
                <a:effectLst/>
                <a:uLnTx/>
                <a:uFillTx/>
                <a:latin typeface="Arial"/>
                <a:cs typeface="Arial"/>
              </a:rPr>
              <a:t>Lack of plasticizer can lead to a polymer crack </a:t>
            </a:r>
          </a:p>
        </p:txBody>
      </p:sp>
      <p:graphicFrame>
        <p:nvGraphicFramePr>
          <p:cNvPr id="6" name="Object 1">
            <a:extLst>
              <a:ext uri="{FF2B5EF4-FFF2-40B4-BE49-F238E27FC236}">
                <a16:creationId xmlns:a16="http://schemas.microsoft.com/office/drawing/2014/main" id="{DFB2ED21-37F2-877C-7159-AB6430E1243D}"/>
              </a:ext>
            </a:extLst>
          </p:cNvPr>
          <p:cNvGraphicFramePr>
            <a:graphicFrameLocks/>
          </p:cNvGraphicFramePr>
          <p:nvPr>
            <p:custDataLst>
              <p:tags r:id="rId2"/>
            </p:custDataLst>
            <p:extLst>
              <p:ext uri="{D42A27DB-BD31-4B8C-83A1-F6EECF244321}">
                <p14:modId xmlns:p14="http://schemas.microsoft.com/office/powerpoint/2010/main" val="2731959551"/>
              </p:ext>
            </p:extLst>
          </p:nvPr>
        </p:nvGraphicFramePr>
        <p:xfrm>
          <a:off x="9985221" y="1889320"/>
          <a:ext cx="1662280" cy="1326659"/>
        </p:xfrm>
        <a:graphic>
          <a:graphicData uri="http://schemas.openxmlformats.org/presentationml/2006/ole">
            <mc:AlternateContent xmlns:mc="http://schemas.openxmlformats.org/markup-compatibility/2006">
              <mc:Choice xmlns:v="urn:schemas-microsoft-com:vml" Requires="v">
                <p:oleObj name="ClipArt" r:id="rId8" imgW="5371920" imgH="4041720" progId="">
                  <p:embed/>
                </p:oleObj>
              </mc:Choice>
              <mc:Fallback>
                <p:oleObj name="ClipArt" r:id="rId8" imgW="5371920" imgH="4041720" progId="">
                  <p:embed/>
                  <p:pic>
                    <p:nvPicPr>
                      <p:cNvPr id="6" name="Object 1">
                        <a:extLst>
                          <a:ext uri="{FF2B5EF4-FFF2-40B4-BE49-F238E27FC236}">
                            <a16:creationId xmlns:a16="http://schemas.microsoft.com/office/drawing/2014/main" id="{DFB2ED21-37F2-877C-7159-AB6430E1243D}"/>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85221" y="1889320"/>
                        <a:ext cx="1662280" cy="1326659"/>
                      </a:xfrm>
                      <a:prstGeom prst="rect">
                        <a:avLst/>
                      </a:prstGeom>
                      <a:noFill/>
                      <a:ln>
                        <a:noFill/>
                      </a:ln>
                      <a:effectLst/>
                    </p:spPr>
                  </p:pic>
                </p:oleObj>
              </mc:Fallback>
            </mc:AlternateContent>
          </a:graphicData>
        </a:graphic>
      </p:graphicFrame>
      <p:graphicFrame>
        <p:nvGraphicFramePr>
          <p:cNvPr id="7" name="Object 2">
            <a:extLst>
              <a:ext uri="{FF2B5EF4-FFF2-40B4-BE49-F238E27FC236}">
                <a16:creationId xmlns:a16="http://schemas.microsoft.com/office/drawing/2014/main" id="{DB26D0D0-CAF8-4EC8-A9BD-F971B14722AA}"/>
              </a:ext>
            </a:extLst>
          </p:cNvPr>
          <p:cNvGraphicFramePr>
            <a:graphicFrameLocks/>
          </p:cNvGraphicFramePr>
          <p:nvPr>
            <p:custDataLst>
              <p:tags r:id="rId3"/>
            </p:custDataLst>
            <p:extLst>
              <p:ext uri="{D42A27DB-BD31-4B8C-83A1-F6EECF244321}">
                <p14:modId xmlns:p14="http://schemas.microsoft.com/office/powerpoint/2010/main" val="191254056"/>
              </p:ext>
            </p:extLst>
          </p:nvPr>
        </p:nvGraphicFramePr>
        <p:xfrm>
          <a:off x="9985221" y="3480327"/>
          <a:ext cx="1662280" cy="1344904"/>
        </p:xfrm>
        <a:graphic>
          <a:graphicData uri="http://schemas.openxmlformats.org/presentationml/2006/ole">
            <mc:AlternateContent xmlns:mc="http://schemas.openxmlformats.org/markup-compatibility/2006">
              <mc:Choice xmlns:v="urn:schemas-microsoft-com:vml" Requires="v">
                <p:oleObj name="ClipArt" r:id="rId10" imgW="4913280" imgH="3695400" progId="">
                  <p:embed/>
                </p:oleObj>
              </mc:Choice>
              <mc:Fallback>
                <p:oleObj name="ClipArt" r:id="rId10" imgW="4913280" imgH="3695400" progId="">
                  <p:embed/>
                  <p:pic>
                    <p:nvPicPr>
                      <p:cNvPr id="7" name="Object 2">
                        <a:extLst>
                          <a:ext uri="{FF2B5EF4-FFF2-40B4-BE49-F238E27FC236}">
                            <a16:creationId xmlns:a16="http://schemas.microsoft.com/office/drawing/2014/main" id="{DB26D0D0-CAF8-4EC8-A9BD-F971B14722AA}"/>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85221" y="3480327"/>
                        <a:ext cx="1662280" cy="1344904"/>
                      </a:xfrm>
                      <a:prstGeom prst="rect">
                        <a:avLst/>
                      </a:prstGeom>
                      <a:noFill/>
                      <a:ln>
                        <a:noFill/>
                      </a:ln>
                      <a:effectLst/>
                    </p:spPr>
                  </p:pic>
                </p:oleObj>
              </mc:Fallback>
            </mc:AlternateContent>
          </a:graphicData>
        </a:graphic>
      </p:graphicFrame>
      <p:sp>
        <p:nvSpPr>
          <p:cNvPr id="8" name="Footer Placeholder 11">
            <a:extLst>
              <a:ext uri="{FF2B5EF4-FFF2-40B4-BE49-F238E27FC236}">
                <a16:creationId xmlns:a16="http://schemas.microsoft.com/office/drawing/2014/main" id="{DD0E43C1-B3E0-826D-55FB-2CAA75071B8C}"/>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11" name="Rectangle 5">
            <a:extLst>
              <a:ext uri="{FF2B5EF4-FFF2-40B4-BE49-F238E27FC236}">
                <a16:creationId xmlns:a16="http://schemas.microsoft.com/office/drawing/2014/main" id="{E8B09ABD-D876-84AD-3F26-583300335AE8}"/>
              </a:ext>
            </a:extLst>
          </p:cNvPr>
          <p:cNvSpPr>
            <a:spLocks noChangeArrowheads="1"/>
          </p:cNvSpPr>
          <p:nvPr/>
        </p:nvSpPr>
        <p:spPr bwMode="auto">
          <a:xfrm>
            <a:off x="1441361" y="966307"/>
            <a:ext cx="7701255" cy="1584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7866" tIns="33338" rIns="67866" bIns="33338"/>
          <a:lstStyle/>
          <a:p>
            <a:pPr marL="71438" lvl="1" defTabSz="571500">
              <a:lnSpc>
                <a:spcPct val="125000"/>
              </a:lnSpc>
              <a:buClr>
                <a:srgbClr val="C50022"/>
              </a:buClr>
              <a:buSzPct val="80000"/>
              <a:defRPr/>
            </a:pPr>
            <a:r>
              <a:rPr lang="en-US" sz="2000" b="1" dirty="0">
                <a:latin typeface="+mj-lt"/>
                <a:cs typeface="Arial" panose="020B0604020202020204" pitchFamily="34" charset="0"/>
              </a:rPr>
              <a:t>Kollicoat</a:t>
            </a:r>
            <a:r>
              <a:rPr lang="en-US" sz="2000" b="1" baseline="30000" dirty="0">
                <a:latin typeface="+mj-lt"/>
              </a:rPr>
              <a:t>®</a:t>
            </a:r>
            <a:r>
              <a:rPr lang="en-US" sz="2000" b="1" dirty="0">
                <a:latin typeface="+mj-lt"/>
                <a:cs typeface="Arial" panose="020B0604020202020204" pitchFamily="34" charset="0"/>
              </a:rPr>
              <a:t> Smartseal</a:t>
            </a:r>
            <a:r>
              <a:rPr lang="en-US" sz="2000" dirty="0">
                <a:latin typeface="+mj-lt"/>
                <a:cs typeface="Arial" panose="020B0604020202020204" pitchFamily="34" charset="0"/>
              </a:rPr>
              <a:t>: </a:t>
            </a:r>
            <a:r>
              <a:rPr lang="en-US" sz="2000" b="1" dirty="0">
                <a:solidFill>
                  <a:schemeClr val="accent1"/>
                </a:solidFill>
                <a:latin typeface="+mj-lt"/>
                <a:cs typeface="Arial" panose="020B0604020202020204" pitchFamily="34" charset="0"/>
              </a:rPr>
              <a:t>MMA : DEAEMA </a:t>
            </a:r>
            <a:r>
              <a:rPr lang="en-US" sz="2000" dirty="0">
                <a:solidFill>
                  <a:srgbClr val="000000"/>
                </a:solidFill>
                <a:latin typeface="+mj-lt"/>
                <a:cs typeface="Arial" panose="020B0604020202020204" pitchFamily="34" charset="0"/>
              </a:rPr>
              <a:t>(7:3) copolymer</a:t>
            </a:r>
          </a:p>
          <a:p>
            <a:pPr marL="398860" lvl="1" indent="-327422" defTabSz="571500">
              <a:lnSpc>
                <a:spcPct val="125000"/>
              </a:lnSpc>
              <a:buClr>
                <a:srgbClr val="C50022"/>
              </a:buClr>
              <a:buSzPct val="80000"/>
              <a:buFont typeface="Wingdings" pitchFamily="2" charset="2"/>
              <a:buChar char="n"/>
              <a:defRPr/>
            </a:pPr>
            <a:r>
              <a:rPr lang="en-US" sz="2000" b="1" dirty="0" err="1">
                <a:latin typeface="+mj-lt"/>
                <a:cs typeface="Arial" panose="020B0604020202020204" pitchFamily="34" charset="0"/>
              </a:rPr>
              <a:t>Tg</a:t>
            </a:r>
            <a:r>
              <a:rPr lang="en-US" sz="2000" b="1" dirty="0">
                <a:latin typeface="+mj-lt"/>
                <a:cs typeface="Arial" panose="020B0604020202020204" pitchFamily="34" charset="0"/>
              </a:rPr>
              <a:t>: </a:t>
            </a:r>
            <a:r>
              <a:rPr lang="en-US" sz="2000" b="1" dirty="0">
                <a:solidFill>
                  <a:schemeClr val="accent1"/>
                </a:solidFill>
                <a:latin typeface="+mj-lt"/>
                <a:cs typeface="Arial" panose="020B0604020202020204" pitchFamily="34" charset="0"/>
                <a:sym typeface="Symbol" panose="05050102010706020507" pitchFamily="18" charset="2"/>
              </a:rPr>
              <a:t> 63 °C</a:t>
            </a:r>
          </a:p>
          <a:p>
            <a:pPr marL="398860" lvl="1" indent="-327422" defTabSz="571500">
              <a:lnSpc>
                <a:spcPct val="125000"/>
              </a:lnSpc>
              <a:buClr>
                <a:srgbClr val="C50022"/>
              </a:buClr>
              <a:buSzPct val="80000"/>
              <a:buFont typeface="Wingdings" pitchFamily="2" charset="2"/>
              <a:buChar char="n"/>
              <a:defRPr/>
            </a:pPr>
            <a:r>
              <a:rPr lang="en-US" sz="2000" b="1" dirty="0">
                <a:solidFill>
                  <a:srgbClr val="000000"/>
                </a:solidFill>
                <a:latin typeface="+mj-lt"/>
                <a:cs typeface="Arial" panose="020B0604020202020204" pitchFamily="34" charset="0"/>
              </a:rPr>
              <a:t>MFFT</a:t>
            </a:r>
            <a:r>
              <a:rPr lang="en-US" sz="2000" dirty="0">
                <a:solidFill>
                  <a:srgbClr val="000000"/>
                </a:solidFill>
                <a:latin typeface="+mj-lt"/>
                <a:cs typeface="Arial" panose="020B0604020202020204" pitchFamily="34" charset="0"/>
              </a:rPr>
              <a:t>: </a:t>
            </a:r>
            <a:r>
              <a:rPr lang="en-US" sz="2000" b="1" dirty="0">
                <a:solidFill>
                  <a:schemeClr val="accent1"/>
                </a:solidFill>
                <a:latin typeface="+mj-lt"/>
                <a:cs typeface="Arial" panose="020B0604020202020204" pitchFamily="34" charset="0"/>
                <a:sym typeface="Symbol" panose="05050102010706020507" pitchFamily="18" charset="2"/>
              </a:rPr>
              <a:t> 57 °C</a:t>
            </a:r>
          </a:p>
          <a:p>
            <a:pPr marL="398860" lvl="1" indent="-327422" defTabSz="571500">
              <a:lnSpc>
                <a:spcPct val="125000"/>
              </a:lnSpc>
              <a:buClr>
                <a:srgbClr val="C50022"/>
              </a:buClr>
              <a:buSzPct val="80000"/>
              <a:buFont typeface="Wingdings" pitchFamily="2" charset="2"/>
              <a:buChar char="n"/>
              <a:defRPr/>
            </a:pPr>
            <a:r>
              <a:rPr lang="en-US" sz="2000" dirty="0">
                <a:solidFill>
                  <a:srgbClr val="000000"/>
                </a:solidFill>
                <a:latin typeface="+mj-lt"/>
                <a:cs typeface="Arial" panose="020B0604020202020204" pitchFamily="34" charset="0"/>
                <a:sym typeface="Symbol" panose="05050102010706020507" pitchFamily="18" charset="2"/>
              </a:rPr>
              <a:t>Water doesn‘t act as a plasticizer: </a:t>
            </a:r>
            <a:r>
              <a:rPr lang="en-US" sz="2000" b="1" dirty="0">
                <a:solidFill>
                  <a:schemeClr val="accent1"/>
                </a:solidFill>
                <a:latin typeface="+mj-lt"/>
                <a:cs typeface="Arial" panose="020B0604020202020204" pitchFamily="34" charset="0"/>
                <a:sym typeface="Symbol" panose="05050102010706020507" pitchFamily="18" charset="2"/>
              </a:rPr>
              <a:t>Tg ≈ MFFT</a:t>
            </a:r>
            <a:endParaRPr lang="en-US" sz="2000" b="1" dirty="0">
              <a:solidFill>
                <a:schemeClr val="accent1"/>
              </a:solidFill>
              <a:latin typeface="+mj-lt"/>
              <a:cs typeface="Arial" panose="020B0604020202020204" pitchFamily="34" charset="0"/>
            </a:endParaRPr>
          </a:p>
        </p:txBody>
      </p:sp>
      <p:sp>
        <p:nvSpPr>
          <p:cNvPr id="12" name="Rechteck 5">
            <a:extLst>
              <a:ext uri="{FF2B5EF4-FFF2-40B4-BE49-F238E27FC236}">
                <a16:creationId xmlns:a16="http://schemas.microsoft.com/office/drawing/2014/main" id="{CF53EA03-FFFC-4503-99FA-170299DB4D6F}"/>
              </a:ext>
            </a:extLst>
          </p:cNvPr>
          <p:cNvSpPr/>
          <p:nvPr/>
        </p:nvSpPr>
        <p:spPr>
          <a:xfrm>
            <a:off x="1441361" y="902052"/>
            <a:ext cx="8197538" cy="1810994"/>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srgbClr val="FFFFFF"/>
              </a:solidFill>
              <a:latin typeface="Arial" panose="020B0604020202020204"/>
              <a:cs typeface="Arial"/>
            </a:endParaRPr>
          </a:p>
        </p:txBody>
      </p:sp>
      <p:graphicFrame>
        <p:nvGraphicFramePr>
          <p:cNvPr id="22" name="Objekt 2">
            <a:extLst>
              <a:ext uri="{FF2B5EF4-FFF2-40B4-BE49-F238E27FC236}">
                <a16:creationId xmlns:a16="http://schemas.microsoft.com/office/drawing/2014/main" id="{DC592877-5AC7-4BF4-FBC9-62C321EB9651}"/>
              </a:ext>
            </a:extLst>
          </p:cNvPr>
          <p:cNvGraphicFramePr>
            <a:graphicFrameLocks noChangeAspect="1"/>
          </p:cNvGraphicFramePr>
          <p:nvPr>
            <p:extLst>
              <p:ext uri="{D42A27DB-BD31-4B8C-83A1-F6EECF244321}">
                <p14:modId xmlns:p14="http://schemas.microsoft.com/office/powerpoint/2010/main" val="3033408044"/>
              </p:ext>
            </p:extLst>
          </p:nvPr>
        </p:nvGraphicFramePr>
        <p:xfrm>
          <a:off x="7877375" y="1230062"/>
          <a:ext cx="1735250" cy="1301775"/>
        </p:xfrm>
        <a:graphic>
          <a:graphicData uri="http://schemas.openxmlformats.org/presentationml/2006/ole">
            <mc:AlternateContent xmlns:mc="http://schemas.openxmlformats.org/markup-compatibility/2006">
              <mc:Choice xmlns:v="urn:schemas-microsoft-com:vml" Requires="v">
                <p:oleObj name="MDLDrawObject Class" r:id="rId12" imgW="3038536" imgH="2552946" progId="MDLDrawOLE.MDLDrawObject.1">
                  <p:embed/>
                </p:oleObj>
              </mc:Choice>
              <mc:Fallback>
                <p:oleObj name="MDLDrawObject Class" r:id="rId12" imgW="3038536" imgH="2552946" progId="MDLDrawOLE.MDLDrawObject.1">
                  <p:embed/>
                  <p:pic>
                    <p:nvPicPr>
                      <p:cNvPr id="22" name="Objekt 2">
                        <a:extLst>
                          <a:ext uri="{FF2B5EF4-FFF2-40B4-BE49-F238E27FC236}">
                            <a16:creationId xmlns:a16="http://schemas.microsoft.com/office/drawing/2014/main" id="{DC592877-5AC7-4BF4-FBC9-62C321EB9651}"/>
                          </a:ext>
                        </a:extLst>
                      </p:cNvPr>
                      <p:cNvPicPr>
                        <a:picLocks noChangeAspect="1" noChangeArrowheads="1"/>
                      </p:cNvPicPr>
                      <p:nvPr/>
                    </p:nvPicPr>
                    <p:blipFill>
                      <a:blip r:embed="rId13"/>
                      <a:srcRect/>
                      <a:stretch>
                        <a:fillRect/>
                      </a:stretch>
                    </p:blipFill>
                    <p:spPr bwMode="auto">
                      <a:xfrm>
                        <a:off x="7877375" y="1230062"/>
                        <a:ext cx="1735250" cy="1301775"/>
                      </a:xfrm>
                      <a:prstGeom prst="rect">
                        <a:avLst/>
                      </a:prstGeom>
                      <a:noFill/>
                      <a:ln>
                        <a:noFill/>
                      </a:ln>
                    </p:spPr>
                  </p:pic>
                </p:oleObj>
              </mc:Fallback>
            </mc:AlternateContent>
          </a:graphicData>
        </a:graphic>
      </p:graphicFrame>
      <p:sp>
        <p:nvSpPr>
          <p:cNvPr id="13" name="Slide Number Placeholder 12">
            <a:extLst>
              <a:ext uri="{FF2B5EF4-FFF2-40B4-BE49-F238E27FC236}">
                <a16:creationId xmlns:a16="http://schemas.microsoft.com/office/drawing/2014/main" id="{6EE1BCB3-A709-7AE6-8D44-96AB05796A5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4</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3854263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1E5F155-CD55-5D69-A75A-DB49FC092D6D}"/>
              </a:ext>
            </a:extLst>
          </p:cNvPr>
          <p:cNvGraphicFramePr>
            <a:graphicFrameLocks noChangeAspect="1"/>
          </p:cNvGraphicFramePr>
          <p:nvPr>
            <p:custDataLst>
              <p:tags r:id="rId1"/>
            </p:custDataLst>
            <p:extLst>
              <p:ext uri="{D42A27DB-BD31-4B8C-83A1-F6EECF244321}">
                <p14:modId xmlns:p14="http://schemas.microsoft.com/office/powerpoint/2010/main" val="1542108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think-cell data - do not delete" hidden="1">
                        <a:extLst>
                          <a:ext uri="{FF2B5EF4-FFF2-40B4-BE49-F238E27FC236}">
                            <a16:creationId xmlns:a16="http://schemas.microsoft.com/office/drawing/2014/main" id="{01E5F155-CD55-5D69-A75A-DB49FC092D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973F929-3850-3EF2-3950-8C09AB1DEEC3}"/>
              </a:ext>
            </a:extLst>
          </p:cNvPr>
          <p:cNvSpPr>
            <a:spLocks noGrp="1"/>
          </p:cNvSpPr>
          <p:nvPr>
            <p:ph type="title"/>
          </p:nvPr>
        </p:nvSpPr>
        <p:spPr/>
        <p:txBody>
          <a:bodyPr vert="horz"/>
          <a:lstStyle/>
          <a:p>
            <a:r>
              <a:rPr lang="en-US" dirty="0"/>
              <a:t>Kollicoat</a:t>
            </a:r>
            <a:r>
              <a:rPr lang="en-US" baseline="30000" dirty="0"/>
              <a:t>®</a:t>
            </a:r>
            <a:r>
              <a:rPr lang="en-US" dirty="0"/>
              <a:t> Smartseal </a:t>
            </a:r>
            <a:r>
              <a:rPr lang="en-US" sz="2800" dirty="0"/>
              <a:t>Formulation: Plasticizer</a:t>
            </a:r>
            <a:endParaRPr lang="en-US" dirty="0"/>
          </a:p>
        </p:txBody>
      </p:sp>
      <p:sp>
        <p:nvSpPr>
          <p:cNvPr id="5" name="Slide Number Placeholder 4">
            <a:extLst>
              <a:ext uri="{FF2B5EF4-FFF2-40B4-BE49-F238E27FC236}">
                <a16:creationId xmlns:a16="http://schemas.microsoft.com/office/drawing/2014/main" id="{11E7175F-8643-4AB6-67A2-3AE503F7AA5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5</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9" name="Textfeld 11">
            <a:extLst>
              <a:ext uri="{FF2B5EF4-FFF2-40B4-BE49-F238E27FC236}">
                <a16:creationId xmlns:a16="http://schemas.microsoft.com/office/drawing/2014/main" id="{7AAAF43B-D148-C870-6BDB-BB9D629C434F}"/>
              </a:ext>
            </a:extLst>
          </p:cNvPr>
          <p:cNvSpPr txBox="1"/>
          <p:nvPr/>
        </p:nvSpPr>
        <p:spPr>
          <a:xfrm>
            <a:off x="586800" y="1285200"/>
            <a:ext cx="6185475" cy="4906046"/>
          </a:xfrm>
          <a:prstGeom prst="rect">
            <a:avLst/>
          </a:prstGeom>
          <a:noFill/>
          <a:ln w="25400">
            <a:solidFill>
              <a:schemeClr val="accent1"/>
            </a:solidFill>
          </a:ln>
        </p:spPr>
        <p:txBody>
          <a:bodyPr wrap="square" rtlCol="0">
            <a:noAutofit/>
          </a:bodyPr>
          <a:lstStyle>
            <a:defPPr lvl="0">
              <a:defRPr lang="de-DE"/>
            </a:defPPr>
            <a:lvl1pPr marL="108000">
              <a:defRPr sz="1600">
                <a:latin typeface="Arial" pitchFamily="34" charset="0"/>
                <a:cs typeface="Arial" pitchFamily="34" charset="0"/>
              </a:defRPr>
            </a:lvl1pPr>
          </a:lstStyle>
          <a:p>
            <a:pPr algn="ctr"/>
            <a:r>
              <a:rPr lang="en-US" sz="1800" b="1" dirty="0"/>
              <a:t>Tg</a:t>
            </a:r>
            <a:r>
              <a:rPr lang="en-US" sz="1800" b="1" baseline="-25000" dirty="0"/>
              <a:t>2</a:t>
            </a:r>
            <a:r>
              <a:rPr lang="en-US" sz="1800" b="1" dirty="0"/>
              <a:t> and Tm</a:t>
            </a:r>
            <a:r>
              <a:rPr lang="en-US" sz="1800" b="1" baseline="-25000" dirty="0"/>
              <a:t>2</a:t>
            </a:r>
            <a:r>
              <a:rPr lang="en-US" sz="1800" b="1" dirty="0"/>
              <a:t> of Kollicoat</a:t>
            </a:r>
            <a:r>
              <a:rPr lang="en-US" sz="1800" b="1" baseline="30000" dirty="0"/>
              <a:t>®</a:t>
            </a:r>
            <a:r>
              <a:rPr lang="en-US" sz="1800" b="1" dirty="0"/>
              <a:t> Smartseal films,</a:t>
            </a:r>
          </a:p>
          <a:p>
            <a:pPr algn="ctr"/>
            <a:r>
              <a:rPr lang="en-US" sz="1800" b="1" dirty="0"/>
              <a:t>as function of plasticizer (plasticizer content 13%)</a:t>
            </a:r>
          </a:p>
        </p:txBody>
      </p:sp>
      <p:graphicFrame>
        <p:nvGraphicFramePr>
          <p:cNvPr id="10" name="Chart 9">
            <a:extLst>
              <a:ext uri="{FF2B5EF4-FFF2-40B4-BE49-F238E27FC236}">
                <a16:creationId xmlns:a16="http://schemas.microsoft.com/office/drawing/2014/main" id="{7734CB84-E449-C208-5550-CA9C3C6737A8}"/>
              </a:ext>
            </a:extLst>
          </p:cNvPr>
          <p:cNvGraphicFramePr>
            <a:graphicFrameLocks noGrp="1"/>
          </p:cNvGraphicFramePr>
          <p:nvPr>
            <p:extLst>
              <p:ext uri="{D42A27DB-BD31-4B8C-83A1-F6EECF244321}">
                <p14:modId xmlns:p14="http://schemas.microsoft.com/office/powerpoint/2010/main" val="3794982451"/>
              </p:ext>
            </p:extLst>
          </p:nvPr>
        </p:nvGraphicFramePr>
        <p:xfrm>
          <a:off x="586800" y="1943096"/>
          <a:ext cx="6118800" cy="4248149"/>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feld 9">
            <a:extLst>
              <a:ext uri="{FF2B5EF4-FFF2-40B4-BE49-F238E27FC236}">
                <a16:creationId xmlns:a16="http://schemas.microsoft.com/office/drawing/2014/main" id="{F8635B6B-7AAF-B501-385B-B7A1A2314161}"/>
              </a:ext>
            </a:extLst>
          </p:cNvPr>
          <p:cNvSpPr txBox="1"/>
          <p:nvPr/>
        </p:nvSpPr>
        <p:spPr>
          <a:xfrm rot="5400000">
            <a:off x="5044309" y="3646041"/>
            <a:ext cx="1686680" cy="276999"/>
          </a:xfrm>
          <a:prstGeom prst="rect">
            <a:avLst/>
          </a:prstGeom>
          <a:noFill/>
        </p:spPr>
        <p:txBody>
          <a:bodyPr wrap="none" rtlCol="0">
            <a:spAutoFit/>
          </a:bodyPr>
          <a:lstStyle/>
          <a:p>
            <a:r>
              <a:rPr lang="en-US" sz="1200" b="1" dirty="0">
                <a:latin typeface="Arial" pitchFamily="34" charset="0"/>
                <a:cs typeface="Arial" pitchFamily="34" charset="0"/>
              </a:rPr>
              <a:t>Kollicoat</a:t>
            </a:r>
            <a:r>
              <a:rPr lang="en-US" sz="1200" b="1" baseline="30000" dirty="0">
                <a:latin typeface="Arial" pitchFamily="34" charset="0"/>
                <a:cs typeface="Arial" pitchFamily="34" charset="0"/>
              </a:rPr>
              <a:t>®</a:t>
            </a:r>
            <a:r>
              <a:rPr lang="en-US" sz="1200" b="1" dirty="0">
                <a:latin typeface="Arial" pitchFamily="34" charset="0"/>
                <a:cs typeface="Arial" pitchFamily="34" charset="0"/>
              </a:rPr>
              <a:t> Smartseal</a:t>
            </a:r>
          </a:p>
        </p:txBody>
      </p:sp>
      <p:sp>
        <p:nvSpPr>
          <p:cNvPr id="14" name="Textfeld 7">
            <a:extLst>
              <a:ext uri="{FF2B5EF4-FFF2-40B4-BE49-F238E27FC236}">
                <a16:creationId xmlns:a16="http://schemas.microsoft.com/office/drawing/2014/main" id="{A8CAB658-095A-9216-CE94-901E2FF62D86}"/>
              </a:ext>
            </a:extLst>
          </p:cNvPr>
          <p:cNvSpPr txBox="1"/>
          <p:nvPr/>
        </p:nvSpPr>
        <p:spPr>
          <a:xfrm>
            <a:off x="7648575" y="1521111"/>
            <a:ext cx="3615202" cy="4339650"/>
          </a:xfrm>
          <a:prstGeom prst="rect">
            <a:avLst/>
          </a:prstGeom>
          <a:noFill/>
        </p:spPr>
        <p:txBody>
          <a:bodyPr wrap="square" rtlCol="0">
            <a:spAutoFit/>
          </a:bodyPr>
          <a:lstStyle/>
          <a:p>
            <a:pPr>
              <a:tabLst>
                <a:tab pos="3946525" algn="r"/>
              </a:tabLst>
            </a:pPr>
            <a:r>
              <a:rPr lang="en-US" sz="1200" b="1" dirty="0">
                <a:latin typeface="Arial" pitchFamily="34" charset="0"/>
                <a:cs typeface="Arial" pitchFamily="34" charset="0"/>
              </a:rPr>
              <a:t>Film formulation</a:t>
            </a:r>
          </a:p>
          <a:p>
            <a:pPr marL="265113" lvl="1">
              <a:tabLst>
                <a:tab pos="3946525" algn="r"/>
              </a:tabLst>
            </a:pPr>
            <a:r>
              <a:rPr lang="en-US" sz="1200" dirty="0">
                <a:latin typeface="Arial" pitchFamily="34" charset="0"/>
                <a:cs typeface="Arial" pitchFamily="34" charset="0"/>
              </a:rPr>
              <a:t>Kollicoat</a:t>
            </a:r>
            <a:r>
              <a:rPr lang="en-US" sz="1200" baseline="30000" dirty="0">
                <a:latin typeface="Arial" pitchFamily="34" charset="0"/>
                <a:cs typeface="Arial" pitchFamily="34" charset="0"/>
              </a:rPr>
              <a:t>®</a:t>
            </a:r>
            <a:r>
              <a:rPr lang="en-US" sz="1200" dirty="0">
                <a:latin typeface="Arial" pitchFamily="34" charset="0"/>
                <a:cs typeface="Arial" pitchFamily="34" charset="0"/>
              </a:rPr>
              <a:t> Smartseal 30 D	88.5%</a:t>
            </a:r>
          </a:p>
          <a:p>
            <a:pPr marL="265113" lvl="1">
              <a:tabLst>
                <a:tab pos="3946525" algn="r"/>
              </a:tabLst>
            </a:pPr>
            <a:r>
              <a:rPr lang="en-US" sz="1200" dirty="0">
                <a:latin typeface="Arial" pitchFamily="34" charset="0"/>
                <a:cs typeface="Arial" pitchFamily="34" charset="0"/>
              </a:rPr>
              <a:t>Plasticizer (13%)	11.5%</a:t>
            </a:r>
          </a:p>
          <a:p>
            <a:pPr>
              <a:tabLst>
                <a:tab pos="3946525" algn="r"/>
              </a:tabLst>
            </a:pPr>
            <a:endParaRPr lang="en-US" sz="1200" b="1" dirty="0">
              <a:latin typeface="Arial" pitchFamily="34" charset="0"/>
              <a:cs typeface="Arial" pitchFamily="34" charset="0"/>
            </a:endParaRPr>
          </a:p>
          <a:p>
            <a:pPr>
              <a:tabLst>
                <a:tab pos="3946525" algn="r"/>
              </a:tabLst>
            </a:pPr>
            <a:r>
              <a:rPr lang="en-US" sz="1200" b="1" dirty="0">
                <a:latin typeface="Arial" pitchFamily="34" charset="0"/>
                <a:cs typeface="Arial" pitchFamily="34" charset="0"/>
              </a:rPr>
              <a:t>Preparation isolated films</a:t>
            </a:r>
          </a:p>
          <a:p>
            <a:pPr marL="266700" lvl="1">
              <a:tabLst>
                <a:tab pos="3946525" algn="r"/>
              </a:tabLst>
            </a:pPr>
            <a:r>
              <a:rPr lang="en-US" sz="1200" dirty="0">
                <a:latin typeface="Arial" pitchFamily="34" charset="0"/>
                <a:cs typeface="Arial" pitchFamily="34" charset="0"/>
              </a:rPr>
              <a:t>Method	sprayed onto a Teflon roll</a:t>
            </a:r>
          </a:p>
          <a:p>
            <a:pPr marL="266700" lvl="1">
              <a:tabLst>
                <a:tab pos="3946525" algn="r"/>
              </a:tabLst>
            </a:pPr>
            <a:r>
              <a:rPr lang="en-US" sz="1200" dirty="0">
                <a:latin typeface="Arial" pitchFamily="34" charset="0"/>
                <a:cs typeface="Arial" pitchFamily="34" charset="0"/>
              </a:rPr>
              <a:t>Spray rate	7.0 g/min</a:t>
            </a:r>
          </a:p>
          <a:p>
            <a:pPr marL="266700" lvl="1">
              <a:tabLst>
                <a:tab pos="3946525" algn="r"/>
              </a:tabLst>
            </a:pPr>
            <a:r>
              <a:rPr lang="en-US" sz="1200" dirty="0">
                <a:latin typeface="Arial" pitchFamily="34" charset="0"/>
                <a:cs typeface="Arial" pitchFamily="34" charset="0"/>
              </a:rPr>
              <a:t>Tube diameter	1 mm</a:t>
            </a:r>
          </a:p>
          <a:p>
            <a:pPr marL="266700" lvl="1">
              <a:tabLst>
                <a:tab pos="3946525" algn="r"/>
              </a:tabLst>
            </a:pPr>
            <a:r>
              <a:rPr lang="en-US" sz="1200" dirty="0">
                <a:latin typeface="Arial" pitchFamily="34" charset="0"/>
                <a:cs typeface="Arial" pitchFamily="34" charset="0"/>
              </a:rPr>
              <a:t>Nozzle bore	0.8 mm</a:t>
            </a:r>
          </a:p>
          <a:p>
            <a:pPr marL="266700" lvl="1">
              <a:tabLst>
                <a:tab pos="3946525" algn="r"/>
              </a:tabLst>
            </a:pPr>
            <a:r>
              <a:rPr lang="en-US" sz="1200" dirty="0">
                <a:latin typeface="Arial" pitchFamily="34" charset="0"/>
                <a:cs typeface="Arial" pitchFamily="34" charset="0"/>
              </a:rPr>
              <a:t>Nozzle speed	2.5</a:t>
            </a:r>
          </a:p>
          <a:p>
            <a:pPr marL="266700" lvl="1">
              <a:tabLst>
                <a:tab pos="3946525" algn="r"/>
              </a:tabLst>
            </a:pPr>
            <a:r>
              <a:rPr lang="en-US" sz="1200" dirty="0">
                <a:latin typeface="Arial" pitchFamily="34" charset="0"/>
                <a:cs typeface="Arial" pitchFamily="34" charset="0"/>
              </a:rPr>
              <a:t>Distance nozzle from roll	5.5 cm</a:t>
            </a:r>
          </a:p>
          <a:p>
            <a:pPr marL="266700" lvl="1">
              <a:tabLst>
                <a:tab pos="3946525" algn="r"/>
              </a:tabLst>
            </a:pPr>
            <a:r>
              <a:rPr lang="en-US" sz="1200" dirty="0">
                <a:latin typeface="Arial" pitchFamily="34" charset="0"/>
                <a:cs typeface="Arial" pitchFamily="34" charset="0"/>
              </a:rPr>
              <a:t>Roll speed	1.8</a:t>
            </a:r>
          </a:p>
          <a:p>
            <a:pPr marL="266700" lvl="1">
              <a:tabLst>
                <a:tab pos="3946525" algn="r"/>
              </a:tabLst>
            </a:pPr>
            <a:r>
              <a:rPr lang="en-US" sz="1200" dirty="0">
                <a:latin typeface="Arial" pitchFamily="34" charset="0"/>
                <a:cs typeface="Arial" pitchFamily="34" charset="0"/>
              </a:rPr>
              <a:t>Spraying pressure	1.0 bar</a:t>
            </a:r>
          </a:p>
          <a:p>
            <a:pPr marL="266700" lvl="1">
              <a:tabLst>
                <a:tab pos="3946525" algn="r"/>
              </a:tabLst>
            </a:pPr>
            <a:r>
              <a:rPr lang="en-US" sz="1200" dirty="0">
                <a:latin typeface="Arial" pitchFamily="34" charset="0"/>
                <a:cs typeface="Arial" pitchFamily="34" charset="0"/>
              </a:rPr>
              <a:t>Heater temperature	~110°C</a:t>
            </a:r>
          </a:p>
          <a:p>
            <a:pPr marL="266700" lvl="1">
              <a:tabLst>
                <a:tab pos="3946525" algn="r"/>
              </a:tabLst>
            </a:pPr>
            <a:r>
              <a:rPr lang="en-US" sz="1200" dirty="0">
                <a:latin typeface="Arial" pitchFamily="34" charset="0"/>
                <a:cs typeface="Arial" pitchFamily="34" charset="0"/>
              </a:rPr>
              <a:t>Film surface temperature	32 – 34°C</a:t>
            </a:r>
          </a:p>
          <a:p>
            <a:pPr marL="266700" lvl="1">
              <a:tabLst>
                <a:tab pos="3946525" algn="r"/>
              </a:tabLst>
            </a:pPr>
            <a:r>
              <a:rPr lang="en-US" sz="1200" dirty="0">
                <a:latin typeface="Arial" pitchFamily="34" charset="0"/>
                <a:cs typeface="Arial" pitchFamily="34" charset="0"/>
              </a:rPr>
              <a:t>Layer thickness	75 – 100 µm</a:t>
            </a:r>
          </a:p>
          <a:p>
            <a:pPr>
              <a:tabLst>
                <a:tab pos="3946525" algn="r"/>
              </a:tabLst>
            </a:pPr>
            <a:endParaRPr lang="en-US" sz="1200" b="1" dirty="0">
              <a:latin typeface="Arial" pitchFamily="34" charset="0"/>
              <a:cs typeface="Arial" pitchFamily="34" charset="0"/>
            </a:endParaRPr>
          </a:p>
          <a:p>
            <a:pPr>
              <a:tabLst>
                <a:tab pos="3946525" algn="r"/>
              </a:tabLst>
            </a:pPr>
            <a:r>
              <a:rPr lang="en-US" sz="1200" b="1" dirty="0">
                <a:latin typeface="Arial" pitchFamily="34" charset="0"/>
                <a:cs typeface="Arial" pitchFamily="34" charset="0"/>
              </a:rPr>
              <a:t>T</a:t>
            </a:r>
            <a:r>
              <a:rPr lang="en-US" sz="1200" b="1" baseline="-25000" dirty="0">
                <a:latin typeface="Arial" pitchFamily="34" charset="0"/>
                <a:cs typeface="Arial" pitchFamily="34" charset="0"/>
              </a:rPr>
              <a:t>g</a:t>
            </a:r>
            <a:r>
              <a:rPr lang="en-US" sz="1200" b="1" dirty="0">
                <a:latin typeface="Arial" pitchFamily="34" charset="0"/>
                <a:cs typeface="Arial" pitchFamily="34" charset="0"/>
              </a:rPr>
              <a:t> measuring</a:t>
            </a:r>
          </a:p>
          <a:p>
            <a:pPr marL="266700" lvl="1">
              <a:tabLst>
                <a:tab pos="3946525" algn="r"/>
              </a:tabLst>
            </a:pPr>
            <a:r>
              <a:rPr lang="en-US" sz="1200" dirty="0">
                <a:latin typeface="Arial" pitchFamily="34" charset="0"/>
                <a:cs typeface="Arial" pitchFamily="34" charset="0"/>
              </a:rPr>
              <a:t>Equipment	DSC Q2000 V24.4 Build 116</a:t>
            </a:r>
          </a:p>
          <a:p>
            <a:pPr marL="266700" lvl="1">
              <a:tabLst>
                <a:tab pos="3946525" algn="r"/>
              </a:tabLst>
            </a:pPr>
            <a:r>
              <a:rPr lang="en-US" sz="1200" dirty="0">
                <a:latin typeface="Arial" pitchFamily="34" charset="0"/>
                <a:cs typeface="Arial" pitchFamily="34" charset="0"/>
              </a:rPr>
              <a:t>Sample	8 – 9 mg</a:t>
            </a:r>
          </a:p>
          <a:p>
            <a:pPr marL="266700" lvl="1">
              <a:tabLst>
                <a:tab pos="3946525" algn="r"/>
              </a:tabLst>
            </a:pPr>
            <a:r>
              <a:rPr lang="en-US" sz="1200" dirty="0">
                <a:latin typeface="Arial" pitchFamily="34" charset="0"/>
                <a:cs typeface="Arial" pitchFamily="34" charset="0"/>
              </a:rPr>
              <a:t>Preparation	prev. fast cooling from 150°C</a:t>
            </a:r>
          </a:p>
          <a:p>
            <a:pPr marL="266700" lvl="1">
              <a:tabLst>
                <a:tab pos="3946525" algn="r"/>
              </a:tabLst>
            </a:pPr>
            <a:r>
              <a:rPr lang="en-US" sz="1200" dirty="0">
                <a:latin typeface="Arial" pitchFamily="34" charset="0"/>
                <a:cs typeface="Arial" pitchFamily="34" charset="0"/>
              </a:rPr>
              <a:t>Heating	20 K/min</a:t>
            </a:r>
          </a:p>
          <a:p>
            <a:pPr marL="266700" lvl="1">
              <a:tabLst>
                <a:tab pos="3946525" algn="r"/>
              </a:tabLst>
            </a:pPr>
            <a:r>
              <a:rPr lang="en-US" sz="1200" dirty="0">
                <a:latin typeface="Arial" pitchFamily="34" charset="0"/>
                <a:cs typeface="Arial" pitchFamily="34" charset="0"/>
              </a:rPr>
              <a:t>Value	n=1</a:t>
            </a:r>
          </a:p>
        </p:txBody>
      </p:sp>
      <p:sp>
        <p:nvSpPr>
          <p:cNvPr id="2" name="Footer Placeholder 11">
            <a:extLst>
              <a:ext uri="{FF2B5EF4-FFF2-40B4-BE49-F238E27FC236}">
                <a16:creationId xmlns:a16="http://schemas.microsoft.com/office/drawing/2014/main" id="{53FA7D62-1C0C-A17D-417F-8C102F792AC5}"/>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3" name="Rectangle 2">
            <a:extLst>
              <a:ext uri="{FF2B5EF4-FFF2-40B4-BE49-F238E27FC236}">
                <a16:creationId xmlns:a16="http://schemas.microsoft.com/office/drawing/2014/main" id="{5C363A1E-32D9-AA71-5275-179229CDE21E}"/>
              </a:ext>
            </a:extLst>
          </p:cNvPr>
          <p:cNvSpPr/>
          <p:nvPr/>
        </p:nvSpPr>
        <p:spPr>
          <a:xfrm>
            <a:off x="606495" y="4200525"/>
            <a:ext cx="5084861" cy="118110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p>
        </p:txBody>
      </p:sp>
      <p:cxnSp>
        <p:nvCxnSpPr>
          <p:cNvPr id="12" name="Straight Connector 11">
            <a:extLst>
              <a:ext uri="{FF2B5EF4-FFF2-40B4-BE49-F238E27FC236}">
                <a16:creationId xmlns:a16="http://schemas.microsoft.com/office/drawing/2014/main" id="{2D63B486-48D6-7BB1-017B-5BAAC8322207}"/>
              </a:ext>
            </a:extLst>
          </p:cNvPr>
          <p:cNvCxnSpPr>
            <a:cxnSpLocks/>
          </p:cNvCxnSpPr>
          <p:nvPr/>
        </p:nvCxnSpPr>
        <p:spPr>
          <a:xfrm flipV="1">
            <a:off x="4378960" y="2103120"/>
            <a:ext cx="0" cy="349504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98697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1E5F155-CD55-5D69-A75A-DB49FC092D6D}"/>
              </a:ext>
            </a:extLst>
          </p:cNvPr>
          <p:cNvGraphicFramePr>
            <a:graphicFrameLocks noChangeAspect="1"/>
          </p:cNvGraphicFramePr>
          <p:nvPr>
            <p:custDataLst>
              <p:tags r:id="rId1"/>
            </p:custDataLst>
            <p:extLst>
              <p:ext uri="{D42A27DB-BD31-4B8C-83A1-F6EECF244321}">
                <p14:modId xmlns:p14="http://schemas.microsoft.com/office/powerpoint/2010/main" val="745282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think-cell data - do not delete" hidden="1">
                        <a:extLst>
                          <a:ext uri="{FF2B5EF4-FFF2-40B4-BE49-F238E27FC236}">
                            <a16:creationId xmlns:a16="http://schemas.microsoft.com/office/drawing/2014/main" id="{01E5F155-CD55-5D69-A75A-DB49FC092D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973F929-3850-3EF2-3950-8C09AB1DEEC3}"/>
              </a:ext>
            </a:extLst>
          </p:cNvPr>
          <p:cNvSpPr>
            <a:spLocks noGrp="1"/>
          </p:cNvSpPr>
          <p:nvPr>
            <p:ph type="title"/>
          </p:nvPr>
        </p:nvSpPr>
        <p:spPr/>
        <p:txBody>
          <a:bodyPr vert="horz"/>
          <a:lstStyle/>
          <a:p>
            <a:r>
              <a:rPr lang="en-US" dirty="0"/>
              <a:t>Kollicoat</a:t>
            </a:r>
            <a:r>
              <a:rPr lang="en-US" baseline="30000" dirty="0"/>
              <a:t>®</a:t>
            </a:r>
            <a:r>
              <a:rPr lang="en-US" dirty="0"/>
              <a:t> Smartseal </a:t>
            </a:r>
            <a:r>
              <a:rPr lang="en-US" sz="2800" dirty="0"/>
              <a:t>Formulation: Plasticizer + BHT</a:t>
            </a:r>
            <a:endParaRPr lang="en-US" dirty="0"/>
          </a:p>
        </p:txBody>
      </p:sp>
      <p:sp>
        <p:nvSpPr>
          <p:cNvPr id="5" name="Slide Number Placeholder 4">
            <a:extLst>
              <a:ext uri="{FF2B5EF4-FFF2-40B4-BE49-F238E27FC236}">
                <a16:creationId xmlns:a16="http://schemas.microsoft.com/office/drawing/2014/main" id="{11E7175F-8643-4AB6-67A2-3AE503F7AA5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6</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2" name="Footer Placeholder 11">
            <a:extLst>
              <a:ext uri="{FF2B5EF4-FFF2-40B4-BE49-F238E27FC236}">
                <a16:creationId xmlns:a16="http://schemas.microsoft.com/office/drawing/2014/main" id="{53FA7D62-1C0C-A17D-417F-8C102F792AC5}"/>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t>BASF Pharma Solutions - Orals Platform</a:t>
            </a:r>
          </a:p>
        </p:txBody>
      </p:sp>
      <p:sp>
        <p:nvSpPr>
          <p:cNvPr id="3" name="Rectangle 2">
            <a:extLst>
              <a:ext uri="{FF2B5EF4-FFF2-40B4-BE49-F238E27FC236}">
                <a16:creationId xmlns:a16="http://schemas.microsoft.com/office/drawing/2014/main" id="{5C363A1E-32D9-AA71-5275-179229CDE21E}"/>
              </a:ext>
            </a:extLst>
          </p:cNvPr>
          <p:cNvSpPr/>
          <p:nvPr/>
        </p:nvSpPr>
        <p:spPr>
          <a:xfrm>
            <a:off x="952991" y="2304600"/>
            <a:ext cx="4564801" cy="1835886"/>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p>
        </p:txBody>
      </p:sp>
      <p:sp>
        <p:nvSpPr>
          <p:cNvPr id="13" name="Textfeld 11">
            <a:extLst>
              <a:ext uri="{FF2B5EF4-FFF2-40B4-BE49-F238E27FC236}">
                <a16:creationId xmlns:a16="http://schemas.microsoft.com/office/drawing/2014/main" id="{C1E80E9C-85A3-7811-FD94-C3C27FBE733E}"/>
              </a:ext>
            </a:extLst>
          </p:cNvPr>
          <p:cNvSpPr txBox="1"/>
          <p:nvPr/>
        </p:nvSpPr>
        <p:spPr>
          <a:xfrm>
            <a:off x="952992" y="1063511"/>
            <a:ext cx="5607529" cy="4813414"/>
          </a:xfrm>
          <a:prstGeom prst="rect">
            <a:avLst/>
          </a:prstGeom>
          <a:noFill/>
          <a:ln w="25400">
            <a:solidFill>
              <a:schemeClr val="accent1"/>
            </a:solidFill>
          </a:ln>
        </p:spPr>
        <p:txBody>
          <a:bodyPr wrap="square" rtlCol="0">
            <a:noAutofit/>
          </a:bodyPr>
          <a:lstStyle>
            <a:defPPr lvl="0">
              <a:defRPr lang="de-DE"/>
            </a:defPPr>
            <a:lvl1pPr marL="108000">
              <a:defRPr sz="1600">
                <a:latin typeface="Arial" pitchFamily="34" charset="0"/>
                <a:cs typeface="Arial" pitchFamily="34" charset="0"/>
              </a:defRPr>
            </a:lvl1pPr>
          </a:lstStyle>
          <a:p>
            <a:pPr algn="ctr"/>
            <a:r>
              <a:rPr lang="en-US" sz="1800" dirty="0"/>
              <a:t>T</a:t>
            </a:r>
            <a:r>
              <a:rPr lang="en-US" sz="1800" baseline="-25000" dirty="0"/>
              <a:t>g2</a:t>
            </a:r>
            <a:r>
              <a:rPr lang="en-US" sz="1800" dirty="0"/>
              <a:t> of Kollicoat</a:t>
            </a:r>
            <a:r>
              <a:rPr lang="en-US" sz="1800" baseline="30000" dirty="0"/>
              <a:t>®</a:t>
            </a:r>
            <a:r>
              <a:rPr lang="en-US" sz="1800" dirty="0"/>
              <a:t> Smartseal films, as function of plasticizer (13%) and BHT (2.5%)</a:t>
            </a:r>
          </a:p>
        </p:txBody>
      </p:sp>
      <p:graphicFrame>
        <p:nvGraphicFramePr>
          <p:cNvPr id="15" name="Diagramm 17">
            <a:extLst>
              <a:ext uri="{FF2B5EF4-FFF2-40B4-BE49-F238E27FC236}">
                <a16:creationId xmlns:a16="http://schemas.microsoft.com/office/drawing/2014/main" id="{B78C3923-F3E2-CBD1-B857-620BE2D493AF}"/>
              </a:ext>
            </a:extLst>
          </p:cNvPr>
          <p:cNvGraphicFramePr>
            <a:graphicFrameLocks noGrp="1"/>
          </p:cNvGraphicFramePr>
          <p:nvPr>
            <p:extLst>
              <p:ext uri="{D42A27DB-BD31-4B8C-83A1-F6EECF244321}">
                <p14:modId xmlns:p14="http://schemas.microsoft.com/office/powerpoint/2010/main" val="1289559991"/>
              </p:ext>
            </p:extLst>
          </p:nvPr>
        </p:nvGraphicFramePr>
        <p:xfrm>
          <a:off x="898169" y="1566861"/>
          <a:ext cx="5607529" cy="4248150"/>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feld 9">
            <a:extLst>
              <a:ext uri="{FF2B5EF4-FFF2-40B4-BE49-F238E27FC236}">
                <a16:creationId xmlns:a16="http://schemas.microsoft.com/office/drawing/2014/main" id="{EBB04EAA-B45F-04C4-A0C2-548C65F32E5A}"/>
              </a:ext>
            </a:extLst>
          </p:cNvPr>
          <p:cNvSpPr txBox="1"/>
          <p:nvPr/>
        </p:nvSpPr>
        <p:spPr>
          <a:xfrm rot="5400000">
            <a:off x="4993445" y="4135154"/>
            <a:ext cx="1463862" cy="246221"/>
          </a:xfrm>
          <a:prstGeom prst="rect">
            <a:avLst/>
          </a:prstGeom>
          <a:noFill/>
        </p:spPr>
        <p:txBody>
          <a:bodyPr wrap="none" rtlCol="0">
            <a:spAutoFit/>
          </a:bodyPr>
          <a:lstStyle/>
          <a:p>
            <a:r>
              <a:rPr lang="en-US" sz="1000" b="1" dirty="0">
                <a:latin typeface="Arial" pitchFamily="34" charset="0"/>
                <a:cs typeface="Arial" pitchFamily="34" charset="0"/>
              </a:rPr>
              <a:t>Kollicoat</a:t>
            </a:r>
            <a:r>
              <a:rPr lang="en-US" sz="1000" b="1" baseline="30000" dirty="0">
                <a:latin typeface="Arial" pitchFamily="34" charset="0"/>
                <a:cs typeface="Arial" pitchFamily="34" charset="0"/>
              </a:rPr>
              <a:t>®</a:t>
            </a:r>
            <a:r>
              <a:rPr lang="en-US" sz="1000" b="1" dirty="0">
                <a:latin typeface="Arial" pitchFamily="34" charset="0"/>
                <a:cs typeface="Arial" pitchFamily="34" charset="0"/>
              </a:rPr>
              <a:t> Smartseal</a:t>
            </a:r>
          </a:p>
        </p:txBody>
      </p:sp>
      <p:sp>
        <p:nvSpPr>
          <p:cNvPr id="17" name="Textfeld 11">
            <a:extLst>
              <a:ext uri="{FF2B5EF4-FFF2-40B4-BE49-F238E27FC236}">
                <a16:creationId xmlns:a16="http://schemas.microsoft.com/office/drawing/2014/main" id="{C6BA2EFB-D692-17E2-6D54-5662674CF05F}"/>
              </a:ext>
            </a:extLst>
          </p:cNvPr>
          <p:cNvSpPr txBox="1"/>
          <p:nvPr/>
        </p:nvSpPr>
        <p:spPr>
          <a:xfrm>
            <a:off x="7968041" y="1063511"/>
            <a:ext cx="2987675" cy="4401205"/>
          </a:xfrm>
          <a:prstGeom prst="rect">
            <a:avLst/>
          </a:prstGeom>
          <a:noFill/>
        </p:spPr>
        <p:txBody>
          <a:bodyPr wrap="square" rtlCol="0">
            <a:spAutoFit/>
          </a:bodyPr>
          <a:lstStyle/>
          <a:p>
            <a:pPr>
              <a:tabLst>
                <a:tab pos="3946525" algn="r"/>
              </a:tabLst>
            </a:pPr>
            <a:r>
              <a:rPr lang="en-US" sz="1000" b="1" dirty="0">
                <a:latin typeface="Arial" pitchFamily="34" charset="0"/>
                <a:cs typeface="Arial" pitchFamily="34" charset="0"/>
              </a:rPr>
              <a:t>Film formulation (without BHT)</a:t>
            </a:r>
          </a:p>
          <a:p>
            <a:pPr marL="265113" lvl="1">
              <a:tabLst>
                <a:tab pos="3946525" algn="r"/>
              </a:tabLst>
            </a:pPr>
            <a:r>
              <a:rPr lang="en-US" sz="1000" dirty="0">
                <a:latin typeface="Arial" pitchFamily="34" charset="0"/>
                <a:cs typeface="Arial" pitchFamily="34" charset="0"/>
              </a:rPr>
              <a:t>Kollicoat</a:t>
            </a:r>
            <a:r>
              <a:rPr lang="en-US" sz="1000" baseline="30000" dirty="0">
                <a:latin typeface="Arial" pitchFamily="34" charset="0"/>
                <a:cs typeface="Arial" pitchFamily="34" charset="0"/>
              </a:rPr>
              <a:t>®</a:t>
            </a:r>
            <a:r>
              <a:rPr lang="en-US" sz="1000" dirty="0">
                <a:latin typeface="Arial" pitchFamily="34" charset="0"/>
                <a:cs typeface="Arial" pitchFamily="34" charset="0"/>
              </a:rPr>
              <a:t> Smartseal 30 D	88.5%</a:t>
            </a:r>
          </a:p>
          <a:p>
            <a:pPr marL="265113" lvl="1">
              <a:tabLst>
                <a:tab pos="3946525" algn="r"/>
              </a:tabLst>
            </a:pPr>
            <a:r>
              <a:rPr lang="en-US" sz="1000" dirty="0">
                <a:latin typeface="Arial" pitchFamily="34" charset="0"/>
                <a:cs typeface="Arial" pitchFamily="34" charset="0"/>
              </a:rPr>
              <a:t>Plasticizer	11.5%</a:t>
            </a:r>
          </a:p>
          <a:p>
            <a:pPr>
              <a:tabLst>
                <a:tab pos="3946525" algn="r"/>
              </a:tabLst>
            </a:pPr>
            <a:endParaRPr lang="en-US" sz="1000" b="1" dirty="0">
              <a:latin typeface="Arial" pitchFamily="34" charset="0"/>
              <a:cs typeface="Arial" pitchFamily="34" charset="0"/>
            </a:endParaRPr>
          </a:p>
          <a:p>
            <a:pPr>
              <a:tabLst>
                <a:tab pos="3946525" algn="r"/>
              </a:tabLst>
            </a:pPr>
            <a:r>
              <a:rPr lang="en-US" sz="1000" b="1" dirty="0">
                <a:latin typeface="Arial" pitchFamily="34" charset="0"/>
                <a:cs typeface="Arial" pitchFamily="34" charset="0"/>
              </a:rPr>
              <a:t>Film formulation (with BHT)</a:t>
            </a:r>
          </a:p>
          <a:p>
            <a:pPr marL="265113" lvl="1">
              <a:tabLst>
                <a:tab pos="3946525" algn="r"/>
              </a:tabLst>
            </a:pPr>
            <a:r>
              <a:rPr lang="en-US" sz="1000" dirty="0">
                <a:latin typeface="Arial" pitchFamily="34" charset="0"/>
                <a:cs typeface="Arial" pitchFamily="34" charset="0"/>
              </a:rPr>
              <a:t>Kollicoat</a:t>
            </a:r>
            <a:r>
              <a:rPr lang="en-US" sz="1000" baseline="30000" dirty="0">
                <a:latin typeface="Arial" pitchFamily="34" charset="0"/>
                <a:cs typeface="Arial" pitchFamily="34" charset="0"/>
              </a:rPr>
              <a:t>®</a:t>
            </a:r>
            <a:r>
              <a:rPr lang="en-US" sz="1000" dirty="0">
                <a:latin typeface="Arial" pitchFamily="34" charset="0"/>
                <a:cs typeface="Arial" pitchFamily="34" charset="0"/>
              </a:rPr>
              <a:t> Smartseal 30 D	86.6%</a:t>
            </a:r>
          </a:p>
          <a:p>
            <a:pPr marL="265113" lvl="1">
              <a:tabLst>
                <a:tab pos="3946525" algn="r"/>
              </a:tabLst>
            </a:pPr>
            <a:r>
              <a:rPr lang="en-US" sz="1000" dirty="0">
                <a:latin typeface="Arial" pitchFamily="34" charset="0"/>
                <a:cs typeface="Arial" pitchFamily="34" charset="0"/>
              </a:rPr>
              <a:t>Plasticizer	11.2%</a:t>
            </a:r>
          </a:p>
          <a:p>
            <a:pPr marL="265113" lvl="1">
              <a:tabLst>
                <a:tab pos="3946525" algn="r"/>
              </a:tabLst>
            </a:pPr>
            <a:r>
              <a:rPr lang="en-US" sz="1000" dirty="0">
                <a:latin typeface="Arial" pitchFamily="34" charset="0"/>
                <a:cs typeface="Arial" pitchFamily="34" charset="0"/>
              </a:rPr>
              <a:t>Butylated hydroxytoluene (BHT)	2.2%</a:t>
            </a:r>
          </a:p>
          <a:p>
            <a:pPr>
              <a:tabLst>
                <a:tab pos="3946525" algn="r"/>
              </a:tabLst>
            </a:pPr>
            <a:endParaRPr lang="en-US" sz="1000" b="1" dirty="0">
              <a:latin typeface="Arial" pitchFamily="34" charset="0"/>
              <a:cs typeface="Arial" pitchFamily="34" charset="0"/>
            </a:endParaRPr>
          </a:p>
          <a:p>
            <a:pPr>
              <a:tabLst>
                <a:tab pos="3946525" algn="r"/>
              </a:tabLst>
            </a:pPr>
            <a:r>
              <a:rPr lang="en-US" sz="1000" b="1" dirty="0">
                <a:latin typeface="Arial" pitchFamily="34" charset="0"/>
                <a:cs typeface="Arial" pitchFamily="34" charset="0"/>
              </a:rPr>
              <a:t>Preparation isolated films</a:t>
            </a:r>
          </a:p>
          <a:p>
            <a:pPr marL="266700" lvl="1">
              <a:tabLst>
                <a:tab pos="3946525" algn="r"/>
              </a:tabLst>
            </a:pPr>
            <a:r>
              <a:rPr lang="en-US" sz="1000" dirty="0">
                <a:latin typeface="Arial" pitchFamily="34" charset="0"/>
                <a:cs typeface="Arial" pitchFamily="34" charset="0"/>
              </a:rPr>
              <a:t>Method	sprayed onto a Teflon roll</a:t>
            </a:r>
          </a:p>
          <a:p>
            <a:pPr marL="266700" lvl="1">
              <a:tabLst>
                <a:tab pos="3946525" algn="r"/>
              </a:tabLst>
            </a:pPr>
            <a:r>
              <a:rPr lang="en-US" sz="1000" dirty="0">
                <a:latin typeface="Arial" pitchFamily="34" charset="0"/>
                <a:cs typeface="Arial" pitchFamily="34" charset="0"/>
              </a:rPr>
              <a:t>Spray rate	7.0 g/min</a:t>
            </a:r>
          </a:p>
          <a:p>
            <a:pPr marL="266700" lvl="1">
              <a:tabLst>
                <a:tab pos="3946525" algn="r"/>
              </a:tabLst>
            </a:pPr>
            <a:r>
              <a:rPr lang="en-US" sz="1000" dirty="0">
                <a:latin typeface="Arial" pitchFamily="34" charset="0"/>
                <a:cs typeface="Arial" pitchFamily="34" charset="0"/>
              </a:rPr>
              <a:t>Tube diameter	1 mm</a:t>
            </a:r>
          </a:p>
          <a:p>
            <a:pPr marL="266700" lvl="1">
              <a:tabLst>
                <a:tab pos="3946525" algn="r"/>
              </a:tabLst>
            </a:pPr>
            <a:r>
              <a:rPr lang="en-US" sz="1000" dirty="0">
                <a:latin typeface="Arial" pitchFamily="34" charset="0"/>
                <a:cs typeface="Arial" pitchFamily="34" charset="0"/>
              </a:rPr>
              <a:t>Nozzle bore	0.8 mm</a:t>
            </a:r>
          </a:p>
          <a:p>
            <a:pPr marL="266700" lvl="1">
              <a:tabLst>
                <a:tab pos="3946525" algn="r"/>
              </a:tabLst>
            </a:pPr>
            <a:r>
              <a:rPr lang="en-US" sz="1000" dirty="0">
                <a:latin typeface="Arial" pitchFamily="34" charset="0"/>
                <a:cs typeface="Arial" pitchFamily="34" charset="0"/>
              </a:rPr>
              <a:t>Nozzle speed	2.5</a:t>
            </a:r>
          </a:p>
          <a:p>
            <a:pPr marL="266700" lvl="1">
              <a:tabLst>
                <a:tab pos="3946525" algn="r"/>
              </a:tabLst>
            </a:pPr>
            <a:r>
              <a:rPr lang="en-US" sz="1000" dirty="0">
                <a:latin typeface="Arial" pitchFamily="34" charset="0"/>
                <a:cs typeface="Arial" pitchFamily="34" charset="0"/>
              </a:rPr>
              <a:t>Distance nozzle from roll	5.5 cm</a:t>
            </a:r>
          </a:p>
          <a:p>
            <a:pPr marL="266700" lvl="1">
              <a:tabLst>
                <a:tab pos="3946525" algn="r"/>
              </a:tabLst>
            </a:pPr>
            <a:r>
              <a:rPr lang="en-US" sz="1000" dirty="0">
                <a:latin typeface="Arial" pitchFamily="34" charset="0"/>
                <a:cs typeface="Arial" pitchFamily="34" charset="0"/>
              </a:rPr>
              <a:t>Roll speed	1.8</a:t>
            </a:r>
          </a:p>
          <a:p>
            <a:pPr marL="266700" lvl="1">
              <a:tabLst>
                <a:tab pos="3946525" algn="r"/>
              </a:tabLst>
            </a:pPr>
            <a:r>
              <a:rPr lang="en-US" sz="1000" dirty="0">
                <a:latin typeface="Arial" pitchFamily="34" charset="0"/>
                <a:cs typeface="Arial" pitchFamily="34" charset="0"/>
              </a:rPr>
              <a:t>Spraying pressure	1.0 bar</a:t>
            </a:r>
          </a:p>
          <a:p>
            <a:pPr marL="266700" lvl="1">
              <a:tabLst>
                <a:tab pos="3946525" algn="r"/>
              </a:tabLst>
            </a:pPr>
            <a:r>
              <a:rPr lang="en-US" sz="1000" dirty="0">
                <a:latin typeface="Arial" pitchFamily="34" charset="0"/>
                <a:cs typeface="Arial" pitchFamily="34" charset="0"/>
              </a:rPr>
              <a:t>Heater temperature	~110°C</a:t>
            </a:r>
          </a:p>
          <a:p>
            <a:pPr marL="266700" lvl="1">
              <a:tabLst>
                <a:tab pos="3946525" algn="r"/>
              </a:tabLst>
            </a:pPr>
            <a:r>
              <a:rPr lang="en-US" sz="1000" dirty="0">
                <a:latin typeface="Arial" pitchFamily="34" charset="0"/>
                <a:cs typeface="Arial" pitchFamily="34" charset="0"/>
              </a:rPr>
              <a:t>Film surface temperature	32-34°C</a:t>
            </a:r>
          </a:p>
          <a:p>
            <a:pPr marL="266700" lvl="1">
              <a:tabLst>
                <a:tab pos="3946525" algn="r"/>
              </a:tabLst>
            </a:pPr>
            <a:r>
              <a:rPr lang="en-US" sz="1000" dirty="0">
                <a:latin typeface="Arial" pitchFamily="34" charset="0"/>
                <a:cs typeface="Arial" pitchFamily="34" charset="0"/>
              </a:rPr>
              <a:t>Layer thickness	75-100 µm</a:t>
            </a:r>
          </a:p>
          <a:p>
            <a:pPr>
              <a:tabLst>
                <a:tab pos="3946525" algn="r"/>
              </a:tabLst>
            </a:pPr>
            <a:endParaRPr lang="en-US" sz="1000" b="1" dirty="0">
              <a:latin typeface="Arial" pitchFamily="34" charset="0"/>
              <a:cs typeface="Arial" pitchFamily="34" charset="0"/>
            </a:endParaRPr>
          </a:p>
          <a:p>
            <a:pPr>
              <a:tabLst>
                <a:tab pos="3946525" algn="r"/>
              </a:tabLst>
            </a:pPr>
            <a:r>
              <a:rPr lang="en-US" sz="1000" b="1" dirty="0">
                <a:latin typeface="Arial" pitchFamily="34" charset="0"/>
                <a:cs typeface="Arial" pitchFamily="34" charset="0"/>
              </a:rPr>
              <a:t>T</a:t>
            </a:r>
            <a:r>
              <a:rPr lang="en-US" sz="1000" b="1" baseline="-25000" dirty="0">
                <a:latin typeface="Arial" pitchFamily="34" charset="0"/>
                <a:cs typeface="Arial" pitchFamily="34" charset="0"/>
              </a:rPr>
              <a:t>g</a:t>
            </a:r>
            <a:r>
              <a:rPr lang="en-US" sz="1000" b="1" dirty="0">
                <a:latin typeface="Arial" pitchFamily="34" charset="0"/>
                <a:cs typeface="Arial" pitchFamily="34" charset="0"/>
              </a:rPr>
              <a:t> measuring</a:t>
            </a:r>
          </a:p>
          <a:p>
            <a:pPr marL="266700" lvl="1">
              <a:tabLst>
                <a:tab pos="3946525" algn="r"/>
              </a:tabLst>
            </a:pPr>
            <a:r>
              <a:rPr lang="en-US" sz="1000" dirty="0">
                <a:latin typeface="Arial" pitchFamily="34" charset="0"/>
                <a:cs typeface="Arial" pitchFamily="34" charset="0"/>
              </a:rPr>
              <a:t>Equipment	DSC Q2000 V24.4 Build 116</a:t>
            </a:r>
          </a:p>
          <a:p>
            <a:pPr marL="266700" lvl="1">
              <a:tabLst>
                <a:tab pos="3946525" algn="r"/>
              </a:tabLst>
            </a:pPr>
            <a:r>
              <a:rPr lang="en-US" sz="1000" dirty="0">
                <a:latin typeface="Arial" pitchFamily="34" charset="0"/>
                <a:cs typeface="Arial" pitchFamily="34" charset="0"/>
              </a:rPr>
              <a:t>Sample	8-9 mg</a:t>
            </a:r>
          </a:p>
          <a:p>
            <a:pPr marL="266700" lvl="1">
              <a:tabLst>
                <a:tab pos="3946525" algn="r"/>
              </a:tabLst>
            </a:pPr>
            <a:r>
              <a:rPr lang="en-US" sz="1000" dirty="0">
                <a:latin typeface="Arial" pitchFamily="34" charset="0"/>
                <a:cs typeface="Arial" pitchFamily="34" charset="0"/>
              </a:rPr>
              <a:t>Preparation	prev. fast cooling from 150°C</a:t>
            </a:r>
          </a:p>
          <a:p>
            <a:pPr marL="266700" lvl="1">
              <a:tabLst>
                <a:tab pos="3946525" algn="r"/>
              </a:tabLst>
            </a:pPr>
            <a:r>
              <a:rPr lang="en-US" sz="1000" dirty="0">
                <a:latin typeface="Arial" pitchFamily="34" charset="0"/>
                <a:cs typeface="Arial" pitchFamily="34" charset="0"/>
              </a:rPr>
              <a:t>Heating	20 K/min</a:t>
            </a:r>
          </a:p>
          <a:p>
            <a:pPr marL="266700" lvl="1">
              <a:tabLst>
                <a:tab pos="3946525" algn="r"/>
              </a:tabLst>
            </a:pPr>
            <a:r>
              <a:rPr lang="en-US" sz="1000" dirty="0">
                <a:latin typeface="Arial" pitchFamily="34" charset="0"/>
                <a:cs typeface="Arial" pitchFamily="34" charset="0"/>
              </a:rPr>
              <a:t>Value	n=1</a:t>
            </a:r>
          </a:p>
        </p:txBody>
      </p:sp>
      <p:sp>
        <p:nvSpPr>
          <p:cNvPr id="18" name="TextBox 17">
            <a:extLst>
              <a:ext uri="{FF2B5EF4-FFF2-40B4-BE49-F238E27FC236}">
                <a16:creationId xmlns:a16="http://schemas.microsoft.com/office/drawing/2014/main" id="{512D66C8-6ACD-EA4F-B932-C9AE369BFB70}"/>
              </a:ext>
            </a:extLst>
          </p:cNvPr>
          <p:cNvSpPr txBox="1"/>
          <p:nvPr/>
        </p:nvSpPr>
        <p:spPr>
          <a:xfrm>
            <a:off x="8198097" y="5655989"/>
            <a:ext cx="2881423" cy="276999"/>
          </a:xfrm>
          <a:prstGeom prst="rect">
            <a:avLst/>
          </a:prstGeom>
          <a:noFill/>
        </p:spPr>
        <p:txBody>
          <a:bodyPr wrap="square" lIns="0" tIns="0" rIns="0" bIns="0" rtlCol="0">
            <a:spAutoFit/>
          </a:bodyPr>
          <a:lstStyle/>
          <a:p>
            <a:pPr marL="285750" indent="-285750">
              <a:buClr>
                <a:schemeClr val="accent1"/>
              </a:buClr>
              <a:buFont typeface="Arial" panose="020B0604020202020204" pitchFamily="34" charset="0"/>
              <a:buChar char="■"/>
            </a:pPr>
            <a:r>
              <a:rPr lang="en-US" dirty="0"/>
              <a:t>BHT acts as a plasticizer</a:t>
            </a:r>
          </a:p>
        </p:txBody>
      </p:sp>
    </p:spTree>
    <p:extLst>
      <p:ext uri="{BB962C8B-B14F-4D97-AF65-F5344CB8AC3E}">
        <p14:creationId xmlns:p14="http://schemas.microsoft.com/office/powerpoint/2010/main" val="42448561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feld 11">
            <a:extLst>
              <a:ext uri="{FF2B5EF4-FFF2-40B4-BE49-F238E27FC236}">
                <a16:creationId xmlns:a16="http://schemas.microsoft.com/office/drawing/2014/main" id="{D9ACFC00-9D93-41E2-90C4-898E9C202D65}"/>
              </a:ext>
            </a:extLst>
          </p:cNvPr>
          <p:cNvSpPr txBox="1"/>
          <p:nvPr/>
        </p:nvSpPr>
        <p:spPr>
          <a:xfrm>
            <a:off x="670373" y="1127428"/>
            <a:ext cx="7267944" cy="4357108"/>
          </a:xfrm>
          <a:prstGeom prst="rect">
            <a:avLst/>
          </a:prstGeom>
          <a:noFill/>
          <a:ln w="25400">
            <a:solidFill>
              <a:schemeClr val="accent1"/>
            </a:solidFill>
          </a:ln>
        </p:spPr>
        <p:txBody>
          <a:bodyPr wrap="square" rtlCol="0">
            <a:noAutofit/>
          </a:bodyPr>
          <a:lstStyle>
            <a:defPPr lvl="0">
              <a:defRPr lang="de-DE"/>
            </a:defPPr>
            <a:lvl1pPr marL="108000">
              <a:defRPr sz="1600">
                <a:latin typeface="Arial" pitchFamily="34" charset="0"/>
                <a:cs typeface="Arial" pitchFamily="34" charset="0"/>
              </a:defRPr>
            </a:lvl1pPr>
          </a:lstStyle>
          <a:p>
            <a:r>
              <a:rPr lang="en-US" dirty="0"/>
              <a:t>Elongation at break as function of type of plasticizer and BHT content</a:t>
            </a:r>
          </a:p>
        </p:txBody>
      </p:sp>
      <p:sp>
        <p:nvSpPr>
          <p:cNvPr id="8" name="Textfeld 15">
            <a:extLst>
              <a:ext uri="{FF2B5EF4-FFF2-40B4-BE49-F238E27FC236}">
                <a16:creationId xmlns:a16="http://schemas.microsoft.com/office/drawing/2014/main" id="{D84E55FB-8D0C-42A4-9929-E311C0FA3E5C}"/>
              </a:ext>
            </a:extLst>
          </p:cNvPr>
          <p:cNvSpPr txBox="1"/>
          <p:nvPr/>
        </p:nvSpPr>
        <p:spPr>
          <a:xfrm>
            <a:off x="8545499" y="995080"/>
            <a:ext cx="3307022" cy="5262979"/>
          </a:xfrm>
          <a:prstGeom prst="rect">
            <a:avLst/>
          </a:prstGeom>
          <a:noFill/>
        </p:spPr>
        <p:txBody>
          <a:bodyPr wrap="square" rtlCol="0">
            <a:spAutoFit/>
          </a:bodyPr>
          <a:lstStyle/>
          <a:p>
            <a:pPr>
              <a:tabLst>
                <a:tab pos="3946525" algn="r"/>
              </a:tabLst>
            </a:pPr>
            <a:r>
              <a:rPr lang="en-US" sz="1200" b="1" dirty="0">
                <a:latin typeface="Arial" pitchFamily="34" charset="0"/>
                <a:cs typeface="Arial" pitchFamily="34" charset="0"/>
              </a:rPr>
              <a:t>Film formulation (without BHT)</a:t>
            </a:r>
          </a:p>
          <a:p>
            <a:pPr marL="265113" lvl="1">
              <a:tabLst>
                <a:tab pos="3946525" algn="r"/>
              </a:tabLst>
            </a:pPr>
            <a:r>
              <a:rPr lang="en-US" sz="1200" dirty="0">
                <a:latin typeface="Arial" pitchFamily="34" charset="0"/>
                <a:cs typeface="Arial" pitchFamily="34" charset="0"/>
              </a:rPr>
              <a:t>Kollicoat</a:t>
            </a:r>
            <a:r>
              <a:rPr lang="en-US" sz="1200" baseline="30000" dirty="0">
                <a:latin typeface="Arial" pitchFamily="34" charset="0"/>
                <a:cs typeface="Arial" pitchFamily="34" charset="0"/>
              </a:rPr>
              <a:t>®</a:t>
            </a:r>
            <a:r>
              <a:rPr lang="en-US" sz="1200" dirty="0">
                <a:latin typeface="Arial" pitchFamily="34" charset="0"/>
                <a:cs typeface="Arial" pitchFamily="34" charset="0"/>
              </a:rPr>
              <a:t> Smartseal 30 D	88.5%</a:t>
            </a:r>
          </a:p>
          <a:p>
            <a:pPr marL="265113" lvl="1">
              <a:tabLst>
                <a:tab pos="3946525" algn="r"/>
              </a:tabLst>
            </a:pPr>
            <a:r>
              <a:rPr lang="en-US" sz="1200" dirty="0">
                <a:latin typeface="Arial" pitchFamily="34" charset="0"/>
                <a:cs typeface="Arial" pitchFamily="34" charset="0"/>
              </a:rPr>
              <a:t>Plasticizer	11.5%</a:t>
            </a:r>
          </a:p>
          <a:p>
            <a:pPr>
              <a:tabLst>
                <a:tab pos="3946525" algn="r"/>
              </a:tabLst>
            </a:pPr>
            <a:endParaRPr lang="en-US" sz="1200" b="1" dirty="0">
              <a:latin typeface="Arial" pitchFamily="34" charset="0"/>
              <a:cs typeface="Arial" pitchFamily="34" charset="0"/>
            </a:endParaRPr>
          </a:p>
          <a:p>
            <a:pPr>
              <a:tabLst>
                <a:tab pos="3946525" algn="r"/>
              </a:tabLst>
            </a:pPr>
            <a:r>
              <a:rPr lang="en-US" sz="1200" b="1" dirty="0">
                <a:latin typeface="Arial" pitchFamily="34" charset="0"/>
                <a:cs typeface="Arial" pitchFamily="34" charset="0"/>
              </a:rPr>
              <a:t>Film formulation (with BHT)</a:t>
            </a:r>
          </a:p>
          <a:p>
            <a:pPr marL="265113" lvl="1">
              <a:tabLst>
                <a:tab pos="3946525" algn="r"/>
              </a:tabLst>
            </a:pPr>
            <a:r>
              <a:rPr lang="en-US" sz="1200" dirty="0">
                <a:latin typeface="Arial" pitchFamily="34" charset="0"/>
                <a:cs typeface="Arial" pitchFamily="34" charset="0"/>
              </a:rPr>
              <a:t>Kollicoat</a:t>
            </a:r>
            <a:r>
              <a:rPr lang="en-US" sz="1200" baseline="30000" dirty="0">
                <a:latin typeface="Arial" pitchFamily="34" charset="0"/>
                <a:cs typeface="Arial" pitchFamily="34" charset="0"/>
              </a:rPr>
              <a:t>®</a:t>
            </a:r>
            <a:r>
              <a:rPr lang="en-US" sz="1200" dirty="0">
                <a:latin typeface="Arial" pitchFamily="34" charset="0"/>
                <a:cs typeface="Arial" pitchFamily="34" charset="0"/>
              </a:rPr>
              <a:t> Smartseal 30 D	86.6%</a:t>
            </a:r>
          </a:p>
          <a:p>
            <a:pPr marL="265113" lvl="1">
              <a:tabLst>
                <a:tab pos="3946525" algn="r"/>
              </a:tabLst>
            </a:pPr>
            <a:r>
              <a:rPr lang="en-US" sz="1200" dirty="0">
                <a:latin typeface="Arial" pitchFamily="34" charset="0"/>
                <a:cs typeface="Arial" pitchFamily="34" charset="0"/>
              </a:rPr>
              <a:t>Plasticizer	11.2%</a:t>
            </a:r>
          </a:p>
          <a:p>
            <a:pPr marL="265113" lvl="1">
              <a:tabLst>
                <a:tab pos="3946525" algn="r"/>
              </a:tabLst>
            </a:pPr>
            <a:r>
              <a:rPr lang="en-US" sz="1200" dirty="0">
                <a:latin typeface="Arial" pitchFamily="34" charset="0"/>
                <a:cs typeface="Arial" pitchFamily="34" charset="0"/>
              </a:rPr>
              <a:t>Butylated hydroxytoluene (BHT)	2.2%</a:t>
            </a:r>
          </a:p>
          <a:p>
            <a:pPr>
              <a:tabLst>
                <a:tab pos="3946525" algn="r"/>
              </a:tabLst>
            </a:pPr>
            <a:endParaRPr lang="en-US" sz="1200" b="1" dirty="0">
              <a:latin typeface="Arial" pitchFamily="34" charset="0"/>
              <a:cs typeface="Arial" pitchFamily="34" charset="0"/>
            </a:endParaRPr>
          </a:p>
          <a:p>
            <a:pPr>
              <a:tabLst>
                <a:tab pos="3946525" algn="r"/>
              </a:tabLst>
            </a:pPr>
            <a:r>
              <a:rPr lang="en-US" sz="1200" b="1" dirty="0">
                <a:latin typeface="Arial" pitchFamily="34" charset="0"/>
                <a:cs typeface="Arial" pitchFamily="34" charset="0"/>
              </a:rPr>
              <a:t>Preparation isolated films</a:t>
            </a:r>
          </a:p>
          <a:p>
            <a:pPr marL="266700" lvl="1">
              <a:tabLst>
                <a:tab pos="3946525" algn="r"/>
              </a:tabLst>
            </a:pPr>
            <a:r>
              <a:rPr lang="en-US" sz="1200" dirty="0">
                <a:latin typeface="Arial" pitchFamily="34" charset="0"/>
                <a:cs typeface="Arial" pitchFamily="34" charset="0"/>
              </a:rPr>
              <a:t>Method	sprayed onto a Teflon roll</a:t>
            </a:r>
          </a:p>
          <a:p>
            <a:pPr marL="266700" lvl="1">
              <a:tabLst>
                <a:tab pos="3946525" algn="r"/>
              </a:tabLst>
            </a:pPr>
            <a:r>
              <a:rPr lang="en-US" sz="1200" dirty="0">
                <a:latin typeface="Arial" pitchFamily="34" charset="0"/>
                <a:cs typeface="Arial" pitchFamily="34" charset="0"/>
              </a:rPr>
              <a:t>Spray rate	7.0 g/min</a:t>
            </a:r>
          </a:p>
          <a:p>
            <a:pPr marL="266700" lvl="1">
              <a:tabLst>
                <a:tab pos="3946525" algn="r"/>
              </a:tabLst>
            </a:pPr>
            <a:r>
              <a:rPr lang="en-US" sz="1200" dirty="0">
                <a:latin typeface="Arial" pitchFamily="34" charset="0"/>
                <a:cs typeface="Arial" pitchFamily="34" charset="0"/>
              </a:rPr>
              <a:t>Tube diameter	1 mm</a:t>
            </a:r>
          </a:p>
          <a:p>
            <a:pPr marL="266700" lvl="1">
              <a:tabLst>
                <a:tab pos="3946525" algn="r"/>
              </a:tabLst>
            </a:pPr>
            <a:r>
              <a:rPr lang="en-US" sz="1200" dirty="0">
                <a:latin typeface="Arial" pitchFamily="34" charset="0"/>
                <a:cs typeface="Arial" pitchFamily="34" charset="0"/>
              </a:rPr>
              <a:t>Nozzle bore	0.8 mm</a:t>
            </a:r>
          </a:p>
          <a:p>
            <a:pPr marL="266700" lvl="1">
              <a:tabLst>
                <a:tab pos="3946525" algn="r"/>
              </a:tabLst>
            </a:pPr>
            <a:r>
              <a:rPr lang="en-US" sz="1200" dirty="0">
                <a:latin typeface="Arial" pitchFamily="34" charset="0"/>
                <a:cs typeface="Arial" pitchFamily="34" charset="0"/>
              </a:rPr>
              <a:t>Nozzle speed	2.5</a:t>
            </a:r>
          </a:p>
          <a:p>
            <a:pPr marL="266700" lvl="1">
              <a:tabLst>
                <a:tab pos="3946525" algn="r"/>
              </a:tabLst>
            </a:pPr>
            <a:r>
              <a:rPr lang="en-US" sz="1200" dirty="0">
                <a:latin typeface="Arial" pitchFamily="34" charset="0"/>
                <a:cs typeface="Arial" pitchFamily="34" charset="0"/>
              </a:rPr>
              <a:t>Distance nozzle from roll	5.5 cm</a:t>
            </a:r>
          </a:p>
          <a:p>
            <a:pPr marL="266700" lvl="1">
              <a:tabLst>
                <a:tab pos="3946525" algn="r"/>
              </a:tabLst>
            </a:pPr>
            <a:r>
              <a:rPr lang="en-US" sz="1200" dirty="0">
                <a:latin typeface="Arial" pitchFamily="34" charset="0"/>
                <a:cs typeface="Arial" pitchFamily="34" charset="0"/>
              </a:rPr>
              <a:t>Roll speed	1.8</a:t>
            </a:r>
          </a:p>
          <a:p>
            <a:pPr marL="266700" lvl="1">
              <a:tabLst>
                <a:tab pos="3946525" algn="r"/>
              </a:tabLst>
            </a:pPr>
            <a:r>
              <a:rPr lang="en-US" sz="1200" dirty="0">
                <a:latin typeface="Arial" pitchFamily="34" charset="0"/>
                <a:cs typeface="Arial" pitchFamily="34" charset="0"/>
              </a:rPr>
              <a:t>Spraying pressure	1.0 bar</a:t>
            </a:r>
          </a:p>
          <a:p>
            <a:pPr marL="266700" lvl="1">
              <a:tabLst>
                <a:tab pos="3946525" algn="r"/>
              </a:tabLst>
            </a:pPr>
            <a:r>
              <a:rPr lang="en-US" sz="1200" dirty="0">
                <a:latin typeface="Arial" pitchFamily="34" charset="0"/>
                <a:cs typeface="Arial" pitchFamily="34" charset="0"/>
              </a:rPr>
              <a:t>Heater temperature	~110°C</a:t>
            </a:r>
          </a:p>
          <a:p>
            <a:pPr marL="266700" lvl="1">
              <a:tabLst>
                <a:tab pos="3946525" algn="r"/>
              </a:tabLst>
            </a:pPr>
            <a:r>
              <a:rPr lang="en-US" sz="1200" dirty="0">
                <a:latin typeface="Arial" pitchFamily="34" charset="0"/>
                <a:cs typeface="Arial" pitchFamily="34" charset="0"/>
              </a:rPr>
              <a:t>Film surface temperature	32-34°C</a:t>
            </a:r>
          </a:p>
          <a:p>
            <a:pPr marL="266700" lvl="1">
              <a:tabLst>
                <a:tab pos="3946525" algn="r"/>
              </a:tabLst>
            </a:pPr>
            <a:r>
              <a:rPr lang="en-US" sz="1200" dirty="0">
                <a:latin typeface="Arial" pitchFamily="34" charset="0"/>
                <a:cs typeface="Arial" pitchFamily="34" charset="0"/>
              </a:rPr>
              <a:t>Layer thickness	75-100 µm</a:t>
            </a:r>
          </a:p>
          <a:p>
            <a:pPr marL="266700" lvl="1">
              <a:tabLst>
                <a:tab pos="3946525" algn="r"/>
              </a:tabLst>
            </a:pPr>
            <a:r>
              <a:rPr lang="en-US" sz="1200" dirty="0">
                <a:latin typeface="Arial" pitchFamily="34" charset="0"/>
                <a:cs typeface="Arial" pitchFamily="34" charset="0"/>
              </a:rPr>
              <a:t>Curing conditions	4 h / 70°C</a:t>
            </a:r>
          </a:p>
          <a:p>
            <a:pPr marL="266700" lvl="1">
              <a:tabLst>
                <a:tab pos="3946525" algn="r"/>
              </a:tabLst>
            </a:pPr>
            <a:endParaRPr lang="en-US" sz="1200" dirty="0">
              <a:latin typeface="Arial" pitchFamily="34" charset="0"/>
              <a:cs typeface="Arial" pitchFamily="34" charset="0"/>
            </a:endParaRPr>
          </a:p>
          <a:p>
            <a:pPr indent="-190500">
              <a:tabLst>
                <a:tab pos="3946525" algn="r"/>
              </a:tabLst>
            </a:pPr>
            <a:r>
              <a:rPr lang="en-US" sz="1200" b="1" dirty="0">
                <a:latin typeface="Arial" pitchFamily="34" charset="0"/>
                <a:cs typeface="Arial" pitchFamily="34" charset="0"/>
              </a:rPr>
              <a:t>Elongation at Break</a:t>
            </a:r>
          </a:p>
          <a:p>
            <a:pPr lvl="1" indent="-190500">
              <a:tabLst>
                <a:tab pos="3946525" algn="r"/>
              </a:tabLst>
            </a:pPr>
            <a:r>
              <a:rPr lang="en-US" sz="1200" dirty="0">
                <a:latin typeface="Arial" pitchFamily="34" charset="0"/>
                <a:cs typeface="Arial" pitchFamily="34" charset="0"/>
              </a:rPr>
              <a:t>Texture </a:t>
            </a:r>
            <a:r>
              <a:rPr lang="en-US" sz="1200" dirty="0" err="1">
                <a:latin typeface="Arial" pitchFamily="34" charset="0"/>
                <a:cs typeface="Arial" pitchFamily="34" charset="0"/>
              </a:rPr>
              <a:t>analyser</a:t>
            </a:r>
            <a:r>
              <a:rPr lang="en-US" sz="1200" dirty="0">
                <a:latin typeface="Arial" pitchFamily="34" charset="0"/>
                <a:cs typeface="Arial" pitchFamily="34" charset="0"/>
              </a:rPr>
              <a:t>	TA XT2i</a:t>
            </a:r>
          </a:p>
          <a:p>
            <a:pPr lvl="1" indent="-190500">
              <a:tabLst>
                <a:tab pos="3946525" algn="r"/>
              </a:tabLst>
            </a:pPr>
            <a:r>
              <a:rPr lang="en-US" sz="1200" dirty="0">
                <a:latin typeface="Arial" pitchFamily="34" charset="0"/>
                <a:cs typeface="Arial" pitchFamily="34" charset="0"/>
              </a:rPr>
              <a:t>Climatic conditions	23°C/56% </a:t>
            </a:r>
            <a:r>
              <a:rPr lang="en-US" sz="1200" dirty="0" err="1">
                <a:latin typeface="Arial" pitchFamily="34" charset="0"/>
                <a:cs typeface="Arial" pitchFamily="34" charset="0"/>
              </a:rPr>
              <a:t>r.h</a:t>
            </a:r>
            <a:r>
              <a:rPr lang="en-US" sz="1200" dirty="0">
                <a:latin typeface="Arial" pitchFamily="34" charset="0"/>
                <a:cs typeface="Arial" pitchFamily="34" charset="0"/>
              </a:rPr>
              <a:t>.</a:t>
            </a:r>
          </a:p>
          <a:p>
            <a:pPr lvl="1" indent="-190500">
              <a:tabLst>
                <a:tab pos="3946525" algn="r"/>
              </a:tabLst>
            </a:pPr>
            <a:r>
              <a:rPr lang="en-US" sz="1200" dirty="0">
                <a:latin typeface="Arial" pitchFamily="34" charset="0"/>
                <a:cs typeface="Arial" pitchFamily="34" charset="0"/>
              </a:rPr>
              <a:t>Value	 mean (n=6), </a:t>
            </a:r>
            <a:r>
              <a:rPr lang="en-US" sz="1200" dirty="0">
                <a:latin typeface="Arial" pitchFamily="34" charset="0"/>
                <a:cs typeface="Arial" pitchFamily="34" charset="0"/>
                <a:sym typeface="Symbol"/>
              </a:rPr>
              <a:t>SD</a:t>
            </a:r>
            <a:endParaRPr lang="en-US" sz="1200" dirty="0">
              <a:latin typeface="Arial" pitchFamily="34" charset="0"/>
              <a:cs typeface="Arial" pitchFamily="34" charset="0"/>
            </a:endParaRPr>
          </a:p>
        </p:txBody>
      </p:sp>
      <p:graphicFrame>
        <p:nvGraphicFramePr>
          <p:cNvPr id="11" name="Diagramm 16">
            <a:extLst>
              <a:ext uri="{FF2B5EF4-FFF2-40B4-BE49-F238E27FC236}">
                <a16:creationId xmlns:a16="http://schemas.microsoft.com/office/drawing/2014/main" id="{456E84B1-1D89-44F5-A272-85192153EB52}"/>
              </a:ext>
            </a:extLst>
          </p:cNvPr>
          <p:cNvGraphicFramePr>
            <a:graphicFrameLocks noGrp="1"/>
          </p:cNvGraphicFramePr>
          <p:nvPr>
            <p:extLst>
              <p:ext uri="{D42A27DB-BD31-4B8C-83A1-F6EECF244321}">
                <p14:modId xmlns:p14="http://schemas.microsoft.com/office/powerpoint/2010/main" val="3956699210"/>
              </p:ext>
            </p:extLst>
          </p:nvPr>
        </p:nvGraphicFramePr>
        <p:xfrm>
          <a:off x="670373" y="1515980"/>
          <a:ext cx="7267944" cy="3961384"/>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a:extLst>
              <a:ext uri="{FF2B5EF4-FFF2-40B4-BE49-F238E27FC236}">
                <a16:creationId xmlns:a16="http://schemas.microsoft.com/office/drawing/2014/main" id="{7E52DC43-DC08-40D0-8F84-75AD2AE4D140}"/>
              </a:ext>
            </a:extLst>
          </p:cNvPr>
          <p:cNvSpPr/>
          <p:nvPr/>
        </p:nvSpPr>
        <p:spPr>
          <a:xfrm>
            <a:off x="581993" y="5611728"/>
            <a:ext cx="7849937" cy="646331"/>
          </a:xfrm>
          <a:prstGeom prst="rect">
            <a:avLst/>
          </a:prstGeom>
        </p:spPr>
        <p:txBody>
          <a:bodyPr wrap="square">
            <a:spAutoFit/>
          </a:bodyPr>
          <a:lstStyle/>
          <a:p>
            <a:pPr algn="just" fontAlgn="base">
              <a:spcBef>
                <a:spcPct val="0"/>
              </a:spcBef>
              <a:spcAft>
                <a:spcPct val="0"/>
              </a:spcAft>
              <a:buClr>
                <a:schemeClr val="accent1"/>
              </a:buClr>
            </a:pPr>
            <a:r>
              <a:rPr lang="en-US" dirty="0">
                <a:latin typeface="Arial" pitchFamily="34" charset="0"/>
                <a:cs typeface="Arial" pitchFamily="34" charset="0"/>
              </a:rPr>
              <a:t>BHT has a distinctive influence on the elasticity and plasticity of the Kollicoat</a:t>
            </a:r>
            <a:r>
              <a:rPr lang="en-US" baseline="30000" dirty="0">
                <a:latin typeface="Arial" pitchFamily="34" charset="0"/>
                <a:cs typeface="Arial" pitchFamily="34" charset="0"/>
              </a:rPr>
              <a:t>®</a:t>
            </a:r>
            <a:r>
              <a:rPr lang="en-US" dirty="0">
                <a:latin typeface="Arial" pitchFamily="34" charset="0"/>
                <a:cs typeface="Arial" pitchFamily="34" charset="0"/>
              </a:rPr>
              <a:t> Smartseal film. High values can be achieved when BHT is added. </a:t>
            </a:r>
          </a:p>
        </p:txBody>
      </p:sp>
      <p:sp>
        <p:nvSpPr>
          <p:cNvPr id="2" name="Title 5">
            <a:extLst>
              <a:ext uri="{FF2B5EF4-FFF2-40B4-BE49-F238E27FC236}">
                <a16:creationId xmlns:a16="http://schemas.microsoft.com/office/drawing/2014/main" id="{E2D343AF-B17C-492C-6348-E37BA86A296C}"/>
              </a:ext>
            </a:extLst>
          </p:cNvPr>
          <p:cNvSpPr txBox="1">
            <a:spLocks/>
          </p:cNvSpPr>
          <p:nvPr/>
        </p:nvSpPr>
        <p:spPr>
          <a:xfrm>
            <a:off x="228000" y="369838"/>
            <a:ext cx="11736000" cy="853200"/>
          </a:xfrm>
          <a:prstGeom prst="rect">
            <a:avLst/>
          </a:prstGeom>
        </p:spPr>
        <p:txBody>
          <a:bodyPr vert="horz"/>
          <a:lstStyle>
            <a:lvl1pPr algn="l" defTabSz="914400"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a:lstStyle>
          <a:p>
            <a:pPr lvl="0"/>
            <a:r>
              <a:rPr lang="en-US" dirty="0"/>
              <a:t>Kollicoat</a:t>
            </a:r>
            <a:r>
              <a:rPr lang="en-US" baseline="30000" dirty="0"/>
              <a:t>®</a:t>
            </a:r>
            <a:r>
              <a:rPr lang="en-US" dirty="0"/>
              <a:t> Smartseal Formulation: Plasticizer + BHT</a:t>
            </a:r>
          </a:p>
        </p:txBody>
      </p:sp>
      <p:sp>
        <p:nvSpPr>
          <p:cNvPr id="5" name="Footer Placeholder 11">
            <a:extLst>
              <a:ext uri="{FF2B5EF4-FFF2-40B4-BE49-F238E27FC236}">
                <a16:creationId xmlns:a16="http://schemas.microsoft.com/office/drawing/2014/main" id="{565C2941-6CD0-1221-BF80-419E3BBC75C0}"/>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9" name="Slide Number Placeholder 8">
            <a:extLst>
              <a:ext uri="{FF2B5EF4-FFF2-40B4-BE49-F238E27FC236}">
                <a16:creationId xmlns:a16="http://schemas.microsoft.com/office/drawing/2014/main" id="{38C1D7EE-6D71-8092-BB11-EB15D79B41E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7</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3762144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think-cell data - do not delete" hidden="1">
            <a:extLst>
              <a:ext uri="{FF2B5EF4-FFF2-40B4-BE49-F238E27FC236}">
                <a16:creationId xmlns:a16="http://schemas.microsoft.com/office/drawing/2014/main" id="{AB7B9234-DF6D-7D71-426F-A00C5B98C1CE}"/>
              </a:ext>
            </a:extLst>
          </p:cNvPr>
          <p:cNvGraphicFramePr>
            <a:graphicFrameLocks noChangeAspect="1"/>
          </p:cNvGraphicFramePr>
          <p:nvPr>
            <p:custDataLst>
              <p:tags r:id="rId1"/>
            </p:custDataLst>
            <p:extLst>
              <p:ext uri="{D42A27DB-BD31-4B8C-83A1-F6EECF244321}">
                <p14:modId xmlns:p14="http://schemas.microsoft.com/office/powerpoint/2010/main" val="3718532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6" progId="TCLayout.ActiveDocument.1">
                  <p:embed/>
                </p:oleObj>
              </mc:Choice>
              <mc:Fallback>
                <p:oleObj name="think-cell Slide" r:id="rId5" imgW="347" imgH="346" progId="TCLayout.ActiveDocument.1">
                  <p:embed/>
                  <p:pic>
                    <p:nvPicPr>
                      <p:cNvPr id="47" name="think-cell data - do not delete" hidden="1">
                        <a:extLst>
                          <a:ext uri="{FF2B5EF4-FFF2-40B4-BE49-F238E27FC236}">
                            <a16:creationId xmlns:a16="http://schemas.microsoft.com/office/drawing/2014/main" id="{AB7B9234-DF6D-7D71-426F-A00C5B98C1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38371C-F5DA-FCD5-69A7-3CF9E2E29FF1}"/>
              </a:ext>
            </a:extLst>
          </p:cNvPr>
          <p:cNvSpPr>
            <a:spLocks noGrp="1"/>
          </p:cNvSpPr>
          <p:nvPr>
            <p:ph type="title"/>
          </p:nvPr>
        </p:nvSpPr>
        <p:spPr/>
        <p:txBody>
          <a:bodyPr vert="horz"/>
          <a:lstStyle/>
          <a:p>
            <a:r>
              <a:rPr lang="en-US" dirty="0"/>
              <a:t>Kollicoat</a:t>
            </a:r>
            <a:r>
              <a:rPr lang="en-US" baseline="30000" dirty="0"/>
              <a:t>®</a:t>
            </a:r>
            <a:r>
              <a:rPr lang="en-US" dirty="0"/>
              <a:t> Smartseal </a:t>
            </a:r>
            <a:r>
              <a:rPr lang="en-US" sz="2800" dirty="0"/>
              <a:t>Formulation: Plasticizer</a:t>
            </a:r>
            <a:endParaRPr lang="en-US" dirty="0"/>
          </a:p>
        </p:txBody>
      </p:sp>
      <p:sp>
        <p:nvSpPr>
          <p:cNvPr id="6" name="Rectangle 50">
            <a:extLst>
              <a:ext uri="{FF2B5EF4-FFF2-40B4-BE49-F238E27FC236}">
                <a16:creationId xmlns:a16="http://schemas.microsoft.com/office/drawing/2014/main" id="{BE7B7E01-8E52-1992-CE60-7D14F2113C36}"/>
              </a:ext>
            </a:extLst>
          </p:cNvPr>
          <p:cNvSpPr>
            <a:spLocks noChangeArrowheads="1"/>
          </p:cNvSpPr>
          <p:nvPr>
            <p:custDataLst>
              <p:tags r:id="rId2"/>
            </p:custDataLst>
          </p:nvPr>
        </p:nvSpPr>
        <p:spPr bwMode="auto">
          <a:xfrm>
            <a:off x="406800" y="5328788"/>
            <a:ext cx="11460735" cy="896382"/>
          </a:xfrm>
          <a:prstGeom prst="rect">
            <a:avLst/>
          </a:prstGeom>
          <a:solidFill>
            <a:srgbClr val="336699">
              <a:alpha val="0"/>
            </a:srgbClr>
          </a:solidFill>
          <a:ln>
            <a:noFill/>
          </a:ln>
          <a:extLs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wrap="none" lIns="91420" tIns="45711" rIns="91420" bIns="45711" anchor="ctr"/>
          <a:lstStyle/>
          <a:p>
            <a:pPr marR="0" lvl="0" algn="l" defTabSz="912813" rtl="0" eaLnBrk="0" fontAlgn="auto" latinLnBrk="0" hangingPunct="0">
              <a:lnSpc>
                <a:spcPct val="85000"/>
              </a:lnSpc>
              <a:spcBef>
                <a:spcPts val="0"/>
              </a:spcBef>
              <a:spcAft>
                <a:spcPts val="0"/>
              </a:spcAft>
              <a:buClr>
                <a:schemeClr val="accent1"/>
              </a:buClr>
              <a:buSzPct val="120000"/>
              <a:buFont typeface="Arial" panose="020B0604020202020204" pitchFamily="34" charset="0"/>
              <a:buChar char="■"/>
              <a:defRPr/>
            </a:pPr>
            <a:endParaRPr kumimoji="0" lang="en-US" b="0" i="0" u="none" strike="noStrike" kern="1200" cap="none" spc="0" normalizeH="0" baseline="0" noProof="0" dirty="0">
              <a:ln>
                <a:noFill/>
              </a:ln>
              <a:effectLst/>
              <a:uLnTx/>
              <a:uFillTx/>
              <a:latin typeface="Arial" panose="020B0604020202020204"/>
              <a:cs typeface="Arial"/>
              <a:sym typeface="Wingdings" pitchFamily="2" charset="2"/>
            </a:endParaRPr>
          </a:p>
          <a:p>
            <a:pPr marR="0" lvl="0" algn="l" defTabSz="912813" rtl="0" eaLnBrk="0" fontAlgn="auto" latinLnBrk="0" hangingPunct="0">
              <a:lnSpc>
                <a:spcPct val="85000"/>
              </a:lnSpc>
              <a:spcBef>
                <a:spcPts val="0"/>
              </a:spcBef>
              <a:spcAft>
                <a:spcPts val="0"/>
              </a:spcAft>
              <a:buClr>
                <a:schemeClr val="accent1"/>
              </a:buClr>
              <a:buSzPct val="120000"/>
              <a:buFont typeface="Arial" panose="020B0604020202020204" pitchFamily="34" charset="0"/>
              <a:buChar char="■"/>
              <a:defRPr/>
            </a:pPr>
            <a:r>
              <a:rPr kumimoji="0" lang="en-US" b="0" i="0" u="none" strike="noStrike" kern="1200" cap="none" spc="0" normalizeH="0" baseline="0" noProof="0" dirty="0">
                <a:ln>
                  <a:noFill/>
                </a:ln>
                <a:effectLst/>
                <a:uLnTx/>
                <a:uFillTx/>
                <a:latin typeface="Arial" panose="020B0604020202020204"/>
                <a:cs typeface="Arial"/>
                <a:sym typeface="Wingdings" pitchFamily="2" charset="2"/>
              </a:rPr>
              <a:t> Process conditions (product temperature and curing step) and coating formulation (anti-tacking agent) must </a:t>
            </a:r>
          </a:p>
          <a:p>
            <a:pPr marR="0" lvl="0" algn="l" defTabSz="912813" rtl="0" eaLnBrk="0" fontAlgn="auto" latinLnBrk="0" hangingPunct="0">
              <a:lnSpc>
                <a:spcPct val="85000"/>
              </a:lnSpc>
              <a:spcBef>
                <a:spcPts val="0"/>
              </a:spcBef>
              <a:spcAft>
                <a:spcPts val="0"/>
              </a:spcAft>
              <a:buClr>
                <a:schemeClr val="accent1"/>
              </a:buClr>
              <a:buSzPct val="120000"/>
              <a:defRPr/>
            </a:pPr>
            <a:r>
              <a:rPr kumimoji="0" lang="en-US" b="0" i="0" u="none" strike="noStrike" kern="1200" cap="none" spc="0" normalizeH="0" baseline="0" noProof="0" dirty="0">
                <a:ln>
                  <a:noFill/>
                </a:ln>
                <a:effectLst/>
                <a:uLnTx/>
                <a:uFillTx/>
                <a:latin typeface="Arial" panose="020B0604020202020204"/>
                <a:cs typeface="Arial"/>
                <a:sym typeface="Wingdings" pitchFamily="2" charset="2"/>
              </a:rPr>
              <a:t>be adjusted to the plasticizer content. </a:t>
            </a:r>
          </a:p>
        </p:txBody>
      </p:sp>
      <p:grpSp>
        <p:nvGrpSpPr>
          <p:cNvPr id="7" name="Group 6">
            <a:extLst>
              <a:ext uri="{FF2B5EF4-FFF2-40B4-BE49-F238E27FC236}">
                <a16:creationId xmlns:a16="http://schemas.microsoft.com/office/drawing/2014/main" id="{E820494A-F79A-C780-6D59-B85F10426361}"/>
              </a:ext>
            </a:extLst>
          </p:cNvPr>
          <p:cNvGrpSpPr/>
          <p:nvPr/>
        </p:nvGrpSpPr>
        <p:grpSpPr>
          <a:xfrm>
            <a:off x="1547897" y="1208952"/>
            <a:ext cx="8622364" cy="3972083"/>
            <a:chOff x="29685" y="1409311"/>
            <a:chExt cx="8622364" cy="3972083"/>
          </a:xfrm>
        </p:grpSpPr>
        <p:sp>
          <p:nvSpPr>
            <p:cNvPr id="8" name="Rechteck 31">
              <a:extLst>
                <a:ext uri="{FF2B5EF4-FFF2-40B4-BE49-F238E27FC236}">
                  <a16:creationId xmlns:a16="http://schemas.microsoft.com/office/drawing/2014/main" id="{7D754657-CEC2-3192-D7F0-2226B9B3CDC4}"/>
                </a:ext>
              </a:extLst>
            </p:cNvPr>
            <p:cNvSpPr/>
            <p:nvPr/>
          </p:nvSpPr>
          <p:spPr>
            <a:xfrm>
              <a:off x="755108" y="1983074"/>
              <a:ext cx="1180738" cy="10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9" name="Rechteck 32">
              <a:extLst>
                <a:ext uri="{FF2B5EF4-FFF2-40B4-BE49-F238E27FC236}">
                  <a16:creationId xmlns:a16="http://schemas.microsoft.com/office/drawing/2014/main" id="{EB9188F7-78F6-06AA-78CA-CBADFAD1A387}"/>
                </a:ext>
              </a:extLst>
            </p:cNvPr>
            <p:cNvSpPr/>
            <p:nvPr/>
          </p:nvSpPr>
          <p:spPr>
            <a:xfrm>
              <a:off x="758219" y="3082576"/>
              <a:ext cx="1177628" cy="10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10" name="Rechteck 33">
              <a:extLst>
                <a:ext uri="{FF2B5EF4-FFF2-40B4-BE49-F238E27FC236}">
                  <a16:creationId xmlns:a16="http://schemas.microsoft.com/office/drawing/2014/main" id="{5697FFC8-C1E5-F8A9-0AE6-85365A8239CF}"/>
                </a:ext>
              </a:extLst>
            </p:cNvPr>
            <p:cNvSpPr/>
            <p:nvPr/>
          </p:nvSpPr>
          <p:spPr>
            <a:xfrm>
              <a:off x="758219" y="4182078"/>
              <a:ext cx="1177628" cy="10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11" name="Textfeld 11">
              <a:extLst>
                <a:ext uri="{FF2B5EF4-FFF2-40B4-BE49-F238E27FC236}">
                  <a16:creationId xmlns:a16="http://schemas.microsoft.com/office/drawing/2014/main" id="{C2CCDEB3-02B8-7DF8-0B8A-342E655DDAE2}"/>
                </a:ext>
              </a:extLst>
            </p:cNvPr>
            <p:cNvSpPr txBox="1"/>
            <p:nvPr/>
          </p:nvSpPr>
          <p:spPr>
            <a:xfrm>
              <a:off x="947440" y="1598459"/>
              <a:ext cx="1017907"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Plasticizer</a:t>
              </a:r>
              <a:r>
                <a:rPr kumimoji="0" lang="en-US" sz="1400" b="0" i="0" u="none" strike="noStrike" kern="1200" cap="none" spc="0" normalizeH="0" baseline="30000" noProof="0" dirty="0">
                  <a:ln>
                    <a:noFill/>
                  </a:ln>
                  <a:solidFill>
                    <a:srgbClr val="000000"/>
                  </a:solidFill>
                  <a:effectLst/>
                  <a:uLnTx/>
                  <a:uFillTx/>
                  <a:latin typeface="Arial" panose="020B0604020202020204"/>
                  <a:cs typeface="Arial"/>
                </a:rPr>
                <a:t>1,2</a:t>
              </a:r>
            </a:p>
          </p:txBody>
        </p:sp>
        <p:sp>
          <p:nvSpPr>
            <p:cNvPr id="12" name="Textfeld 21">
              <a:extLst>
                <a:ext uri="{FF2B5EF4-FFF2-40B4-BE49-F238E27FC236}">
                  <a16:creationId xmlns:a16="http://schemas.microsoft.com/office/drawing/2014/main" id="{3B18F735-9DE2-AD72-B43F-1D39E39D5CDC}"/>
                </a:ext>
              </a:extLst>
            </p:cNvPr>
            <p:cNvSpPr txBox="1"/>
            <p:nvPr/>
          </p:nvSpPr>
          <p:spPr>
            <a:xfrm>
              <a:off x="130960" y="2317002"/>
              <a:ext cx="368691"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High</a:t>
              </a:r>
            </a:p>
          </p:txBody>
        </p:sp>
        <p:sp>
          <p:nvSpPr>
            <p:cNvPr id="13" name="Textfeld 22">
              <a:extLst>
                <a:ext uri="{FF2B5EF4-FFF2-40B4-BE49-F238E27FC236}">
                  <a16:creationId xmlns:a16="http://schemas.microsoft.com/office/drawing/2014/main" id="{E001ED29-20AA-DDD2-6084-5C19C6398C2E}"/>
                </a:ext>
              </a:extLst>
            </p:cNvPr>
            <p:cNvSpPr txBox="1"/>
            <p:nvPr/>
          </p:nvSpPr>
          <p:spPr>
            <a:xfrm>
              <a:off x="29685" y="3481873"/>
              <a:ext cx="63639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Medium</a:t>
              </a:r>
            </a:p>
          </p:txBody>
        </p:sp>
        <p:sp>
          <p:nvSpPr>
            <p:cNvPr id="14" name="Textfeld 23">
              <a:extLst>
                <a:ext uri="{FF2B5EF4-FFF2-40B4-BE49-F238E27FC236}">
                  <a16:creationId xmlns:a16="http://schemas.microsoft.com/office/drawing/2014/main" id="{63F8F679-2742-1F22-420D-F3821E915F30}"/>
                </a:ext>
              </a:extLst>
            </p:cNvPr>
            <p:cNvSpPr txBox="1"/>
            <p:nvPr/>
          </p:nvSpPr>
          <p:spPr>
            <a:xfrm>
              <a:off x="157938" y="4613133"/>
              <a:ext cx="32861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Low</a:t>
              </a:r>
            </a:p>
          </p:txBody>
        </p:sp>
        <p:sp>
          <p:nvSpPr>
            <p:cNvPr id="15" name="Textfeld 39">
              <a:extLst>
                <a:ext uri="{FF2B5EF4-FFF2-40B4-BE49-F238E27FC236}">
                  <a16:creationId xmlns:a16="http://schemas.microsoft.com/office/drawing/2014/main" id="{17C38575-02A3-CD68-04F5-4E68C74F7870}"/>
                </a:ext>
              </a:extLst>
            </p:cNvPr>
            <p:cNvSpPr txBox="1"/>
            <p:nvPr/>
          </p:nvSpPr>
          <p:spPr>
            <a:xfrm>
              <a:off x="1126250" y="2317002"/>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15%</a:t>
              </a:r>
            </a:p>
          </p:txBody>
        </p:sp>
        <p:sp>
          <p:nvSpPr>
            <p:cNvPr id="16" name="Textfeld 40">
              <a:extLst>
                <a:ext uri="{FF2B5EF4-FFF2-40B4-BE49-F238E27FC236}">
                  <a16:creationId xmlns:a16="http://schemas.microsoft.com/office/drawing/2014/main" id="{32B4B48C-6B17-A5F7-7AC5-C7461C719791}"/>
                </a:ext>
              </a:extLst>
            </p:cNvPr>
            <p:cNvSpPr txBox="1"/>
            <p:nvPr/>
          </p:nvSpPr>
          <p:spPr>
            <a:xfrm>
              <a:off x="1091632" y="3445900"/>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13%</a:t>
              </a:r>
            </a:p>
          </p:txBody>
        </p:sp>
        <p:sp>
          <p:nvSpPr>
            <p:cNvPr id="17" name="Textfeld 41">
              <a:extLst>
                <a:ext uri="{FF2B5EF4-FFF2-40B4-BE49-F238E27FC236}">
                  <a16:creationId xmlns:a16="http://schemas.microsoft.com/office/drawing/2014/main" id="{ECFF0102-7615-39EB-51C5-35BB4CA87196}"/>
                </a:ext>
              </a:extLst>
            </p:cNvPr>
            <p:cNvSpPr txBox="1"/>
            <p:nvPr/>
          </p:nvSpPr>
          <p:spPr>
            <a:xfrm>
              <a:off x="1136470" y="4628904"/>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10%</a:t>
              </a:r>
            </a:p>
          </p:txBody>
        </p:sp>
        <p:sp>
          <p:nvSpPr>
            <p:cNvPr id="18" name="Gleichschenkliges Dreieck 4">
              <a:extLst>
                <a:ext uri="{FF2B5EF4-FFF2-40B4-BE49-F238E27FC236}">
                  <a16:creationId xmlns:a16="http://schemas.microsoft.com/office/drawing/2014/main" id="{0AE2674C-CA34-8843-8131-B4EBE8659ABE}"/>
                </a:ext>
              </a:extLst>
            </p:cNvPr>
            <p:cNvSpPr/>
            <p:nvPr/>
          </p:nvSpPr>
          <p:spPr>
            <a:xfrm>
              <a:off x="2098598" y="1981113"/>
              <a:ext cx="689896" cy="321696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19" name="Textfeld 5">
              <a:extLst>
                <a:ext uri="{FF2B5EF4-FFF2-40B4-BE49-F238E27FC236}">
                  <a16:creationId xmlns:a16="http://schemas.microsoft.com/office/drawing/2014/main" id="{2F1031DA-EEC0-48CE-E3E1-EA01C9404285}"/>
                </a:ext>
              </a:extLst>
            </p:cNvPr>
            <p:cNvSpPr txBox="1"/>
            <p:nvPr/>
          </p:nvSpPr>
          <p:spPr>
            <a:xfrm>
              <a:off x="2212621" y="1409311"/>
              <a:ext cx="476092"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Arial" panose="020B0604020202020204"/>
                  <a:cs typeface="Arial"/>
                </a:rPr>
                <a:t>Tg</a:t>
              </a: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MFFT</a:t>
              </a:r>
            </a:p>
          </p:txBody>
        </p:sp>
        <p:sp>
          <p:nvSpPr>
            <p:cNvPr id="20" name="Textfeld 53">
              <a:extLst>
                <a:ext uri="{FF2B5EF4-FFF2-40B4-BE49-F238E27FC236}">
                  <a16:creationId xmlns:a16="http://schemas.microsoft.com/office/drawing/2014/main" id="{F801CE6D-6187-6284-BCF9-5501FDB2E5A3}"/>
                </a:ext>
              </a:extLst>
            </p:cNvPr>
            <p:cNvSpPr txBox="1"/>
            <p:nvPr/>
          </p:nvSpPr>
          <p:spPr>
            <a:xfrm>
              <a:off x="2957136" y="1602791"/>
              <a:ext cx="113332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Film formation</a:t>
              </a:r>
            </a:p>
          </p:txBody>
        </p:sp>
        <p:sp>
          <p:nvSpPr>
            <p:cNvPr id="21" name="Rechteck 54">
              <a:extLst>
                <a:ext uri="{FF2B5EF4-FFF2-40B4-BE49-F238E27FC236}">
                  <a16:creationId xmlns:a16="http://schemas.microsoft.com/office/drawing/2014/main" id="{8914868B-CFBE-0093-1989-0418FF5BD169}"/>
                </a:ext>
              </a:extLst>
            </p:cNvPr>
            <p:cNvSpPr/>
            <p:nvPr/>
          </p:nvSpPr>
          <p:spPr>
            <a:xfrm>
              <a:off x="2956818" y="2016115"/>
              <a:ext cx="1142957" cy="10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22" name="Rechteck 55">
              <a:extLst>
                <a:ext uri="{FF2B5EF4-FFF2-40B4-BE49-F238E27FC236}">
                  <a16:creationId xmlns:a16="http://schemas.microsoft.com/office/drawing/2014/main" id="{668DA3EB-878D-9A04-45D9-1FE08ABBAC0F}"/>
                </a:ext>
              </a:extLst>
            </p:cNvPr>
            <p:cNvSpPr/>
            <p:nvPr/>
          </p:nvSpPr>
          <p:spPr>
            <a:xfrm>
              <a:off x="2956818" y="3115617"/>
              <a:ext cx="1142958" cy="10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23" name="Rechteck 56">
              <a:extLst>
                <a:ext uri="{FF2B5EF4-FFF2-40B4-BE49-F238E27FC236}">
                  <a16:creationId xmlns:a16="http://schemas.microsoft.com/office/drawing/2014/main" id="{1615854F-CC69-672B-2478-C97B50862FEE}"/>
                </a:ext>
              </a:extLst>
            </p:cNvPr>
            <p:cNvSpPr/>
            <p:nvPr/>
          </p:nvSpPr>
          <p:spPr>
            <a:xfrm>
              <a:off x="2956818" y="4215119"/>
              <a:ext cx="1142958" cy="10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24" name="Textfeld 57">
              <a:extLst>
                <a:ext uri="{FF2B5EF4-FFF2-40B4-BE49-F238E27FC236}">
                  <a16:creationId xmlns:a16="http://schemas.microsoft.com/office/drawing/2014/main" id="{4E62BAC0-E370-2A10-949F-3E3923AF6206}"/>
                </a:ext>
              </a:extLst>
            </p:cNvPr>
            <p:cNvSpPr txBox="1"/>
            <p:nvPr/>
          </p:nvSpPr>
          <p:spPr>
            <a:xfrm>
              <a:off x="3390706" y="2347184"/>
              <a:ext cx="31258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a:t>
              </a:r>
            </a:p>
          </p:txBody>
        </p:sp>
        <p:sp>
          <p:nvSpPr>
            <p:cNvPr id="25" name="Textfeld 58">
              <a:extLst>
                <a:ext uri="{FF2B5EF4-FFF2-40B4-BE49-F238E27FC236}">
                  <a16:creationId xmlns:a16="http://schemas.microsoft.com/office/drawing/2014/main" id="{04625E5D-0EDA-22B4-1093-4CC6BC330CF5}"/>
                </a:ext>
              </a:extLst>
            </p:cNvPr>
            <p:cNvSpPr txBox="1"/>
            <p:nvPr/>
          </p:nvSpPr>
          <p:spPr>
            <a:xfrm>
              <a:off x="3467703" y="3438357"/>
              <a:ext cx="353022"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a:t>
              </a:r>
            </a:p>
          </p:txBody>
        </p:sp>
        <p:sp>
          <p:nvSpPr>
            <p:cNvPr id="26" name="Textfeld 59">
              <a:extLst>
                <a:ext uri="{FF2B5EF4-FFF2-40B4-BE49-F238E27FC236}">
                  <a16:creationId xmlns:a16="http://schemas.microsoft.com/office/drawing/2014/main" id="{0B4135F1-21DB-69CB-E42A-AE24F0FA70AA}"/>
                </a:ext>
              </a:extLst>
            </p:cNvPr>
            <p:cNvSpPr txBox="1"/>
            <p:nvPr/>
          </p:nvSpPr>
          <p:spPr>
            <a:xfrm>
              <a:off x="3341066" y="4602408"/>
              <a:ext cx="25327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0</a:t>
              </a:r>
            </a:p>
          </p:txBody>
        </p:sp>
        <p:sp>
          <p:nvSpPr>
            <p:cNvPr id="27" name="Gleichschenkliges Dreieck 60">
              <a:extLst>
                <a:ext uri="{FF2B5EF4-FFF2-40B4-BE49-F238E27FC236}">
                  <a16:creationId xmlns:a16="http://schemas.microsoft.com/office/drawing/2014/main" id="{FE24AFBB-935C-C687-283E-BD4B62257EC9}"/>
                </a:ext>
              </a:extLst>
            </p:cNvPr>
            <p:cNvSpPr/>
            <p:nvPr/>
          </p:nvSpPr>
          <p:spPr>
            <a:xfrm rot="10800000">
              <a:off x="4314491" y="2010865"/>
              <a:ext cx="689896" cy="3216965"/>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28" name="Textfeld 61">
              <a:extLst>
                <a:ext uri="{FF2B5EF4-FFF2-40B4-BE49-F238E27FC236}">
                  <a16:creationId xmlns:a16="http://schemas.microsoft.com/office/drawing/2014/main" id="{32479F5E-41E2-3671-2E37-43B30C4EFC0F}"/>
                </a:ext>
              </a:extLst>
            </p:cNvPr>
            <p:cNvSpPr txBox="1"/>
            <p:nvPr/>
          </p:nvSpPr>
          <p:spPr>
            <a:xfrm>
              <a:off x="4266222" y="1598459"/>
              <a:ext cx="7864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Tackiness</a:t>
              </a:r>
            </a:p>
          </p:txBody>
        </p:sp>
        <p:sp>
          <p:nvSpPr>
            <p:cNvPr id="29" name="Rechteck 46">
              <a:extLst>
                <a:ext uri="{FF2B5EF4-FFF2-40B4-BE49-F238E27FC236}">
                  <a16:creationId xmlns:a16="http://schemas.microsoft.com/office/drawing/2014/main" id="{95994EFC-DEC9-3123-C291-7D517488018B}"/>
                </a:ext>
              </a:extLst>
            </p:cNvPr>
            <p:cNvSpPr/>
            <p:nvPr/>
          </p:nvSpPr>
          <p:spPr>
            <a:xfrm>
              <a:off x="7484091" y="2039122"/>
              <a:ext cx="1167958" cy="10160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30" name="Textfeld 47">
              <a:extLst>
                <a:ext uri="{FF2B5EF4-FFF2-40B4-BE49-F238E27FC236}">
                  <a16:creationId xmlns:a16="http://schemas.microsoft.com/office/drawing/2014/main" id="{1D0950DC-A593-5303-A754-FCD722473D87}"/>
                </a:ext>
              </a:extLst>
            </p:cNvPr>
            <p:cNvSpPr txBox="1"/>
            <p:nvPr/>
          </p:nvSpPr>
          <p:spPr>
            <a:xfrm>
              <a:off x="7741279" y="2362678"/>
              <a:ext cx="64761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Add talc</a:t>
              </a:r>
            </a:p>
          </p:txBody>
        </p:sp>
        <p:sp>
          <p:nvSpPr>
            <p:cNvPr id="31" name="Rechteck 48">
              <a:extLst>
                <a:ext uri="{FF2B5EF4-FFF2-40B4-BE49-F238E27FC236}">
                  <a16:creationId xmlns:a16="http://schemas.microsoft.com/office/drawing/2014/main" id="{D63FF902-1CB2-7321-FB7C-DFBB8301A6AD}"/>
                </a:ext>
              </a:extLst>
            </p:cNvPr>
            <p:cNvSpPr/>
            <p:nvPr/>
          </p:nvSpPr>
          <p:spPr>
            <a:xfrm>
              <a:off x="7481579" y="3163195"/>
              <a:ext cx="1170470" cy="206722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32" name="Textfeld 49">
              <a:extLst>
                <a:ext uri="{FF2B5EF4-FFF2-40B4-BE49-F238E27FC236}">
                  <a16:creationId xmlns:a16="http://schemas.microsoft.com/office/drawing/2014/main" id="{3E088D13-EE7E-BC85-3EDA-5C120471630A}"/>
                </a:ext>
              </a:extLst>
            </p:cNvPr>
            <p:cNvSpPr txBox="1"/>
            <p:nvPr/>
          </p:nvSpPr>
          <p:spPr>
            <a:xfrm>
              <a:off x="7647502" y="3766184"/>
              <a:ext cx="835165" cy="64633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Add tal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or ble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afterwards</a:t>
              </a:r>
            </a:p>
          </p:txBody>
        </p:sp>
        <p:sp>
          <p:nvSpPr>
            <p:cNvPr id="33" name="Textfeld 50">
              <a:extLst>
                <a:ext uri="{FF2B5EF4-FFF2-40B4-BE49-F238E27FC236}">
                  <a16:creationId xmlns:a16="http://schemas.microsoft.com/office/drawing/2014/main" id="{EA05D466-B5CE-076D-995B-239F8D693ABB}"/>
                </a:ext>
              </a:extLst>
            </p:cNvPr>
            <p:cNvSpPr txBox="1"/>
            <p:nvPr/>
          </p:nvSpPr>
          <p:spPr>
            <a:xfrm>
              <a:off x="7486665" y="1583288"/>
              <a:ext cx="1165384"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Anti-tackin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measures</a:t>
              </a:r>
            </a:p>
          </p:txBody>
        </p:sp>
        <p:sp>
          <p:nvSpPr>
            <p:cNvPr id="34" name="Textfeld 8">
              <a:extLst>
                <a:ext uri="{FF2B5EF4-FFF2-40B4-BE49-F238E27FC236}">
                  <a16:creationId xmlns:a16="http://schemas.microsoft.com/office/drawing/2014/main" id="{3B80E640-9C3A-D963-5449-BD73B2EC88C2}"/>
                </a:ext>
              </a:extLst>
            </p:cNvPr>
            <p:cNvSpPr txBox="1"/>
            <p:nvPr/>
          </p:nvSpPr>
          <p:spPr>
            <a:xfrm>
              <a:off x="614089" y="5227506"/>
              <a:ext cx="2885405"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Arial" panose="020B0604020202020204"/>
                  <a:cs typeface="Arial"/>
                </a:rPr>
                <a:t>1 - </a:t>
              </a:r>
              <a:r>
                <a:rPr kumimoji="0" lang="en-US" sz="1000" b="0" i="0" u="none" strike="noStrike" kern="1200" cap="none" spc="0" normalizeH="0" baseline="0" noProof="0" dirty="0">
                  <a:ln>
                    <a:noFill/>
                  </a:ln>
                  <a:solidFill>
                    <a:srgbClr val="000000"/>
                  </a:solidFill>
                  <a:effectLst/>
                  <a:uLnTx/>
                  <a:uFillTx/>
                  <a:latin typeface="Arial" panose="020B0604020202020204"/>
                  <a:cs typeface="Arial"/>
                </a:rPr>
                <a:t>Plasticizer content based on dry polymer weight</a:t>
              </a:r>
            </a:p>
          </p:txBody>
        </p:sp>
        <p:sp>
          <p:nvSpPr>
            <p:cNvPr id="35" name="Textfeld 42">
              <a:extLst>
                <a:ext uri="{FF2B5EF4-FFF2-40B4-BE49-F238E27FC236}">
                  <a16:creationId xmlns:a16="http://schemas.microsoft.com/office/drawing/2014/main" id="{C64A91A9-C4E6-BB16-02C6-8351874C4293}"/>
                </a:ext>
              </a:extLst>
            </p:cNvPr>
            <p:cNvSpPr txBox="1"/>
            <p:nvPr/>
          </p:nvSpPr>
          <p:spPr>
            <a:xfrm>
              <a:off x="5754718" y="1485559"/>
              <a:ext cx="963404"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Produc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temperature</a:t>
              </a:r>
            </a:p>
          </p:txBody>
        </p:sp>
        <p:sp>
          <p:nvSpPr>
            <p:cNvPr id="36" name="Textfeld 43">
              <a:extLst>
                <a:ext uri="{FF2B5EF4-FFF2-40B4-BE49-F238E27FC236}">
                  <a16:creationId xmlns:a16="http://schemas.microsoft.com/office/drawing/2014/main" id="{D2BFB8CF-2784-5036-F719-02267E301CD8}"/>
                </a:ext>
              </a:extLst>
            </p:cNvPr>
            <p:cNvSpPr txBox="1"/>
            <p:nvPr/>
          </p:nvSpPr>
          <p:spPr>
            <a:xfrm>
              <a:off x="4483838" y="2068623"/>
              <a:ext cx="368691"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a:cs typeface="Arial"/>
                </a:rPr>
                <a:t>High</a:t>
              </a:r>
            </a:p>
          </p:txBody>
        </p:sp>
        <p:sp>
          <p:nvSpPr>
            <p:cNvPr id="37" name="Textfeld 44">
              <a:extLst>
                <a:ext uri="{FF2B5EF4-FFF2-40B4-BE49-F238E27FC236}">
                  <a16:creationId xmlns:a16="http://schemas.microsoft.com/office/drawing/2014/main" id="{EABE3E27-9130-60D1-0134-F649008A9F5F}"/>
                </a:ext>
              </a:extLst>
            </p:cNvPr>
            <p:cNvSpPr txBox="1"/>
            <p:nvPr/>
          </p:nvSpPr>
          <p:spPr>
            <a:xfrm>
              <a:off x="4503875" y="5164340"/>
              <a:ext cx="32861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Low</a:t>
              </a:r>
            </a:p>
          </p:txBody>
        </p:sp>
        <p:sp>
          <p:nvSpPr>
            <p:cNvPr id="38" name="Rechteck 7">
              <a:extLst>
                <a:ext uri="{FF2B5EF4-FFF2-40B4-BE49-F238E27FC236}">
                  <a16:creationId xmlns:a16="http://schemas.microsoft.com/office/drawing/2014/main" id="{50FE556E-47AE-64C6-E66C-B83AD7353316}"/>
                </a:ext>
              </a:extLst>
            </p:cNvPr>
            <p:cNvSpPr/>
            <p:nvPr/>
          </p:nvSpPr>
          <p:spPr>
            <a:xfrm>
              <a:off x="5462228" y="2001317"/>
              <a:ext cx="344774" cy="322806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39" name="Textfeld 9">
              <a:extLst>
                <a:ext uri="{FF2B5EF4-FFF2-40B4-BE49-F238E27FC236}">
                  <a16:creationId xmlns:a16="http://schemas.microsoft.com/office/drawing/2014/main" id="{019F8D8F-F6FA-E3C3-D783-DDAA70592DAE}"/>
                </a:ext>
              </a:extLst>
            </p:cNvPr>
            <p:cNvSpPr txBox="1"/>
            <p:nvPr/>
          </p:nvSpPr>
          <p:spPr>
            <a:xfrm rot="16200000">
              <a:off x="4649523" y="3498763"/>
              <a:ext cx="197169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Recommended: 37-39°C</a:t>
              </a:r>
            </a:p>
          </p:txBody>
        </p:sp>
        <p:sp>
          <p:nvSpPr>
            <p:cNvPr id="40" name="Rechteck 68">
              <a:extLst>
                <a:ext uri="{FF2B5EF4-FFF2-40B4-BE49-F238E27FC236}">
                  <a16:creationId xmlns:a16="http://schemas.microsoft.com/office/drawing/2014/main" id="{C0AFF7EA-1EC1-B18F-6341-C78CB456E52E}"/>
                </a:ext>
              </a:extLst>
            </p:cNvPr>
            <p:cNvSpPr/>
            <p:nvPr/>
          </p:nvSpPr>
          <p:spPr>
            <a:xfrm>
              <a:off x="6020540" y="2035224"/>
              <a:ext cx="1167958" cy="1016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41" name="Rechteck 69">
              <a:extLst>
                <a:ext uri="{FF2B5EF4-FFF2-40B4-BE49-F238E27FC236}">
                  <a16:creationId xmlns:a16="http://schemas.microsoft.com/office/drawing/2014/main" id="{251C080F-5E83-58F5-65F6-8A7D7F791D00}"/>
                </a:ext>
              </a:extLst>
            </p:cNvPr>
            <p:cNvSpPr/>
            <p:nvPr/>
          </p:nvSpPr>
          <p:spPr>
            <a:xfrm>
              <a:off x="6010955" y="4215119"/>
              <a:ext cx="1167958" cy="1016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42" name="Textfeld 70">
              <a:extLst>
                <a:ext uri="{FF2B5EF4-FFF2-40B4-BE49-F238E27FC236}">
                  <a16:creationId xmlns:a16="http://schemas.microsoft.com/office/drawing/2014/main" id="{9ED4E1BA-2F75-020E-653E-0A53E8B771AB}"/>
                </a:ext>
              </a:extLst>
            </p:cNvPr>
            <p:cNvSpPr txBox="1"/>
            <p:nvPr/>
          </p:nvSpPr>
          <p:spPr>
            <a:xfrm>
              <a:off x="6187830" y="2374130"/>
              <a:ext cx="939360"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Below 35°C</a:t>
              </a:r>
            </a:p>
          </p:txBody>
        </p:sp>
        <p:sp>
          <p:nvSpPr>
            <p:cNvPr id="43" name="Textfeld 71">
              <a:extLst>
                <a:ext uri="{FF2B5EF4-FFF2-40B4-BE49-F238E27FC236}">
                  <a16:creationId xmlns:a16="http://schemas.microsoft.com/office/drawing/2014/main" id="{46BCDAD7-8255-6AB4-F59C-3F8A138641D0}"/>
                </a:ext>
              </a:extLst>
            </p:cNvPr>
            <p:cNvSpPr txBox="1"/>
            <p:nvPr/>
          </p:nvSpPr>
          <p:spPr>
            <a:xfrm>
              <a:off x="6173023" y="4620306"/>
              <a:ext cx="95859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Above 40°C</a:t>
              </a:r>
            </a:p>
          </p:txBody>
        </p:sp>
      </p:grpSp>
      <p:sp>
        <p:nvSpPr>
          <p:cNvPr id="44" name="TextBox 43">
            <a:extLst>
              <a:ext uri="{FF2B5EF4-FFF2-40B4-BE49-F238E27FC236}">
                <a16:creationId xmlns:a16="http://schemas.microsoft.com/office/drawing/2014/main" id="{8930976D-3324-0712-A7FC-69CDD639FB79}"/>
              </a:ext>
            </a:extLst>
          </p:cNvPr>
          <p:cNvSpPr txBox="1"/>
          <p:nvPr/>
        </p:nvSpPr>
        <p:spPr>
          <a:xfrm>
            <a:off x="2038558" y="5203930"/>
            <a:ext cx="7444318" cy="223138"/>
          </a:xfrm>
          <a:prstGeom prst="rect">
            <a:avLst/>
          </a:prstGeom>
          <a:noFill/>
        </p:spPr>
        <p:txBody>
          <a:bodyPr wrap="square">
            <a:spAutoFit/>
          </a:bodyPr>
          <a:lstStyle/>
          <a:p>
            <a:pPr marL="0" marR="0" lvl="0" indent="0" algn="l" defTabSz="912813" rtl="0" eaLnBrk="0" fontAlgn="auto" latinLnBrk="0" hangingPunct="0">
              <a:lnSpc>
                <a:spcPct val="85000"/>
              </a:lnSpc>
              <a:spcBef>
                <a:spcPts val="0"/>
              </a:spcBef>
              <a:spcAft>
                <a:spcPts val="0"/>
              </a:spcAft>
              <a:buClr>
                <a:srgbClr val="FF0000"/>
              </a:buClr>
              <a:buSzPct val="120000"/>
              <a:buFont typeface="Wingdings" pitchFamily="2" charset="2"/>
              <a:buNone/>
              <a:tabLst>
                <a:tab pos="374650" algn="l"/>
              </a:tabLst>
              <a:defRPr/>
            </a:pPr>
            <a:r>
              <a:rPr kumimoji="0" lang="en-US" sz="1000" b="0" i="0" u="none" strike="noStrike" kern="1200" cap="none" spc="0" normalizeH="0" baseline="0" noProof="0" dirty="0">
                <a:ln>
                  <a:noFill/>
                </a:ln>
                <a:effectLst/>
                <a:uLnTx/>
                <a:uFillTx/>
                <a:latin typeface="Arial" panose="020B0604020202020204"/>
                <a:cs typeface="Arial"/>
                <a:sym typeface="Wingdings" pitchFamily="2" charset="2"/>
              </a:rPr>
              <a:t>2 - The plasticizing effect of BHT needs also to be considered.</a:t>
            </a:r>
          </a:p>
        </p:txBody>
      </p:sp>
      <p:sp>
        <p:nvSpPr>
          <p:cNvPr id="48" name="Rechteck 8">
            <a:extLst>
              <a:ext uri="{FF2B5EF4-FFF2-40B4-BE49-F238E27FC236}">
                <a16:creationId xmlns:a16="http://schemas.microsoft.com/office/drawing/2014/main" id="{A5427BBF-EC66-BD4C-8FBC-90F0D9456B26}"/>
              </a:ext>
            </a:extLst>
          </p:cNvPr>
          <p:cNvSpPr/>
          <p:nvPr/>
        </p:nvSpPr>
        <p:spPr>
          <a:xfrm>
            <a:off x="10300973" y="1834865"/>
            <a:ext cx="527050" cy="3215004"/>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49" name="Textfeld 62">
            <a:extLst>
              <a:ext uri="{FF2B5EF4-FFF2-40B4-BE49-F238E27FC236}">
                <a16:creationId xmlns:a16="http://schemas.microsoft.com/office/drawing/2014/main" id="{9C3CC3E9-C46C-88EC-954C-4C0FD55ACC8D}"/>
              </a:ext>
            </a:extLst>
          </p:cNvPr>
          <p:cNvSpPr txBox="1"/>
          <p:nvPr/>
        </p:nvSpPr>
        <p:spPr>
          <a:xfrm rot="16200000">
            <a:off x="9182998" y="3356795"/>
            <a:ext cx="2790135"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Curing – water-based coatings </a:t>
            </a:r>
          </a:p>
        </p:txBody>
      </p:sp>
      <p:sp>
        <p:nvSpPr>
          <p:cNvPr id="4" name="Footer Placeholder 11">
            <a:extLst>
              <a:ext uri="{FF2B5EF4-FFF2-40B4-BE49-F238E27FC236}">
                <a16:creationId xmlns:a16="http://schemas.microsoft.com/office/drawing/2014/main" id="{55ACEB17-B2FD-9412-7A0B-25286BEC3381}"/>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46" name="Slide Number Placeholder 45">
            <a:extLst>
              <a:ext uri="{FF2B5EF4-FFF2-40B4-BE49-F238E27FC236}">
                <a16:creationId xmlns:a16="http://schemas.microsoft.com/office/drawing/2014/main" id="{3E8F1530-B126-0AF7-4ADD-49A9E1E54FB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8</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 name="Textfeld 43">
            <a:extLst>
              <a:ext uri="{FF2B5EF4-FFF2-40B4-BE49-F238E27FC236}">
                <a16:creationId xmlns:a16="http://schemas.microsoft.com/office/drawing/2014/main" id="{941E65A3-CE1E-F30B-2486-6E614D210B06}"/>
              </a:ext>
            </a:extLst>
          </p:cNvPr>
          <p:cNvSpPr txBox="1"/>
          <p:nvPr/>
        </p:nvSpPr>
        <p:spPr>
          <a:xfrm>
            <a:off x="3791786" y="4749274"/>
            <a:ext cx="368691"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a:cs typeface="Arial"/>
              </a:rPr>
              <a:t>High</a:t>
            </a:r>
          </a:p>
        </p:txBody>
      </p:sp>
      <p:sp>
        <p:nvSpPr>
          <p:cNvPr id="5" name="Textfeld 44">
            <a:extLst>
              <a:ext uri="{FF2B5EF4-FFF2-40B4-BE49-F238E27FC236}">
                <a16:creationId xmlns:a16="http://schemas.microsoft.com/office/drawing/2014/main" id="{26498320-FF38-EC71-ED3F-06C0754DFCA3}"/>
              </a:ext>
            </a:extLst>
          </p:cNvPr>
          <p:cNvSpPr txBox="1"/>
          <p:nvPr/>
        </p:nvSpPr>
        <p:spPr>
          <a:xfrm>
            <a:off x="3800187" y="1632500"/>
            <a:ext cx="32861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Low</a:t>
            </a:r>
          </a:p>
        </p:txBody>
      </p:sp>
    </p:spTree>
    <p:extLst>
      <p:ext uri="{BB962C8B-B14F-4D97-AF65-F5344CB8AC3E}">
        <p14:creationId xmlns:p14="http://schemas.microsoft.com/office/powerpoint/2010/main" val="3060051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7FD097-067E-38B1-1D99-13BF3458E711}"/>
              </a:ext>
            </a:extLst>
          </p:cNvPr>
          <p:cNvGraphicFramePr>
            <a:graphicFrameLocks noChangeAspect="1"/>
          </p:cNvGraphicFramePr>
          <p:nvPr>
            <p:custDataLst>
              <p:tags r:id="rId1"/>
            </p:custDataLst>
            <p:extLst>
              <p:ext uri="{D42A27DB-BD31-4B8C-83A1-F6EECF244321}">
                <p14:modId xmlns:p14="http://schemas.microsoft.com/office/powerpoint/2010/main" val="1227224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B37FD097-067E-38B1-1D99-13BF3458E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1AD16EEE-0F51-4833-B0F1-10C2F6708EE5}"/>
              </a:ext>
            </a:extLst>
          </p:cNvPr>
          <p:cNvSpPr>
            <a:spLocks noGrp="1"/>
          </p:cNvSpPr>
          <p:nvPr>
            <p:ph type="title"/>
          </p:nvPr>
        </p:nvSpPr>
        <p:spPr>
          <a:xfrm>
            <a:off x="305420" y="319448"/>
            <a:ext cx="11737914" cy="853200"/>
          </a:xfrm>
        </p:spPr>
        <p:txBody>
          <a:bodyPr vert="horz"/>
          <a:lstStyle/>
          <a:p>
            <a:r>
              <a:rPr lang="en-US" dirty="0"/>
              <a:t>Kollicoat</a:t>
            </a:r>
            <a:r>
              <a:rPr lang="en-US" baseline="30000" dirty="0"/>
              <a:t>®</a:t>
            </a:r>
            <a:r>
              <a:rPr lang="en-US" dirty="0"/>
              <a:t> Smartseal </a:t>
            </a:r>
            <a:r>
              <a:rPr lang="en-US" sz="2800" dirty="0"/>
              <a:t>Formulation: Plasticizer</a:t>
            </a:r>
            <a:br>
              <a:rPr lang="en-US" dirty="0">
                <a:latin typeface="Arial" charset="0"/>
              </a:rPr>
            </a:br>
            <a:endParaRPr lang="en-US" dirty="0"/>
          </a:p>
        </p:txBody>
      </p:sp>
      <p:sp>
        <p:nvSpPr>
          <p:cNvPr id="14" name="Textplatzhalter 2">
            <a:extLst>
              <a:ext uri="{FF2B5EF4-FFF2-40B4-BE49-F238E27FC236}">
                <a16:creationId xmlns:a16="http://schemas.microsoft.com/office/drawing/2014/main" id="{22091FD2-BBAE-44C9-B6A8-B942707DF3E5}"/>
              </a:ext>
            </a:extLst>
          </p:cNvPr>
          <p:cNvSpPr txBox="1">
            <a:spLocks/>
          </p:cNvSpPr>
          <p:nvPr/>
        </p:nvSpPr>
        <p:spPr>
          <a:xfrm>
            <a:off x="400126" y="1014612"/>
            <a:ext cx="10056690" cy="619657"/>
          </a:xfrm>
          <a:prstGeom prst="rect">
            <a:avLst/>
          </a:prstGeom>
        </p:spPr>
        <p:txBody>
          <a:bodyPr vert="horz" lIns="0" tIns="0" rIns="0" bIns="0" rtlCol="0" anchor="t">
            <a:noAutofit/>
          </a:bodyPr>
          <a:lstStyle>
            <a:lvl1pPr marL="357188" marR="0" indent="-357188" algn="l" defTabSz="685891" rtl="0" eaLnBrk="1" fontAlgn="base" latinLnBrk="0" hangingPunct="1">
              <a:lnSpc>
                <a:spcPct val="110000"/>
              </a:lnSpc>
              <a:spcBef>
                <a:spcPts val="1800"/>
              </a:spcBef>
              <a:spcAft>
                <a:spcPct val="0"/>
              </a:spcAft>
              <a:buClr>
                <a:schemeClr val="accent1"/>
              </a:buClr>
              <a:buSzTx/>
              <a:buFont typeface="Wingdings" panose="05000000000000000000" pitchFamily="2" charset="2"/>
              <a:buChar char="n"/>
              <a:tabLst/>
              <a:defRPr sz="2000" b="0" i="0" kern="1200" baseline="0">
                <a:solidFill>
                  <a:schemeClr val="tx1"/>
                </a:solidFill>
                <a:latin typeface="Arial" panose="020B0604020202020204" pitchFamily="34" charset="0"/>
                <a:ea typeface="+mn-ea"/>
                <a:cs typeface="+mn-cs"/>
              </a:defRPr>
            </a:lvl1pPr>
            <a:lvl2pPr marL="719138" marR="0" indent="-361950" algn="l" defTabSz="685891" rtl="0" eaLnBrk="1" fontAlgn="base" latinLnBrk="0" hangingPunct="1">
              <a:lnSpc>
                <a:spcPct val="110000"/>
              </a:lnSpc>
              <a:spcBef>
                <a:spcPts val="600"/>
              </a:spcBef>
              <a:spcAft>
                <a:spcPct val="0"/>
              </a:spcAft>
              <a:buClr>
                <a:srgbClr val="004A96"/>
              </a:buClr>
              <a:buSzPct val="90000"/>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6325" marR="0" indent="-357188" algn="l" defTabSz="685891" rtl="0" eaLnBrk="1" fontAlgn="base" latinLnBrk="0" hangingPunct="1">
              <a:lnSpc>
                <a:spcPct val="110000"/>
              </a:lnSpc>
              <a:spcBef>
                <a:spcPts val="300"/>
              </a:spcBef>
              <a:spcAft>
                <a:spcPct val="0"/>
              </a:spcAft>
              <a:buClr>
                <a:srgbClr val="004A96"/>
              </a:buClr>
              <a:buSzPct val="95000"/>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3513" marR="0" indent="-357188" algn="l" defTabSz="685891" rtl="0" eaLnBrk="1" fontAlgn="base" latinLnBrk="0" hangingPunct="1">
              <a:lnSpc>
                <a:spcPct val="110000"/>
              </a:lnSpc>
              <a:spcBef>
                <a:spcPct val="0"/>
              </a:spcBef>
              <a:spcAft>
                <a:spcPct val="0"/>
              </a:spcAft>
              <a:buClr>
                <a:srgbClr val="004A96"/>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2177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1560600" indent="-199800" algn="l" defTabSz="6858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1903500" indent="-199800" algn="l" defTabSz="6858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246400" indent="-199800" algn="l" defTabSz="6858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2589300" indent="-199800" algn="l" defTabSz="6858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buClr>
                <a:srgbClr val="C50022"/>
              </a:buClr>
              <a:defRPr/>
            </a:pPr>
            <a:r>
              <a:rPr lang="en-US" sz="1800" dirty="0">
                <a:solidFill>
                  <a:srgbClr val="000000"/>
                </a:solidFill>
                <a:cs typeface="Arial"/>
              </a:rPr>
              <a:t>Dispersion stability is dependent on the plasticizer type (13% plasticizer)</a:t>
            </a:r>
          </a:p>
        </p:txBody>
      </p:sp>
      <p:cxnSp>
        <p:nvCxnSpPr>
          <p:cNvPr id="12" name="Gerade Verbindung mit Pfeil 11">
            <a:extLst>
              <a:ext uri="{FF2B5EF4-FFF2-40B4-BE49-F238E27FC236}">
                <a16:creationId xmlns:a16="http://schemas.microsoft.com/office/drawing/2014/main" id="{F7278006-8450-408D-996D-099F9C587686}"/>
              </a:ext>
            </a:extLst>
          </p:cNvPr>
          <p:cNvCxnSpPr/>
          <p:nvPr/>
        </p:nvCxnSpPr>
        <p:spPr>
          <a:xfrm flipH="1">
            <a:off x="6273855" y="3691033"/>
            <a:ext cx="576064" cy="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BA6CCAAF-7438-4301-8979-5EA95FC6EA10}"/>
              </a:ext>
            </a:extLst>
          </p:cNvPr>
          <p:cNvSpPr txBox="1"/>
          <p:nvPr/>
        </p:nvSpPr>
        <p:spPr>
          <a:xfrm>
            <a:off x="7032447" y="3442320"/>
            <a:ext cx="4202960" cy="1354217"/>
          </a:xfrm>
          <a:prstGeom prst="rect">
            <a:avLst/>
          </a:prstGeom>
          <a:solidFill>
            <a:schemeClr val="bg1">
              <a:lumMod val="95000"/>
            </a:schemeClr>
          </a:solidFill>
          <a:ln w="12700">
            <a:solidFill>
              <a:schemeClr val="tx1"/>
            </a:solidFill>
          </a:ln>
        </p:spPr>
        <p:txBody>
          <a:bodyPr wrap="square" rtlCol="0">
            <a:spAutoFit/>
          </a:bodyPr>
          <a:lstStyle/>
          <a:p>
            <a:pPr>
              <a:spcBef>
                <a:spcPts val="600"/>
              </a:spcBef>
              <a:buClr>
                <a:srgbClr val="C00000"/>
              </a:buClr>
              <a:defRPr/>
            </a:pPr>
            <a:r>
              <a:rPr lang="en-US" dirty="0">
                <a:solidFill>
                  <a:srgbClr val="000000"/>
                </a:solidFill>
                <a:latin typeface="Arial" panose="020B0604020202020204" pitchFamily="34" charset="0"/>
                <a:cs typeface="Arial" panose="020B0604020202020204" pitchFamily="34" charset="0"/>
              </a:rPr>
              <a:t>pH 7.8 </a:t>
            </a:r>
            <a:br>
              <a:rPr lang="en-US" dirty="0">
                <a:solidFill>
                  <a:srgbClr val="000000"/>
                </a:solidFill>
                <a:latin typeface="Arial" panose="020B0604020202020204" pitchFamily="34" charset="0"/>
                <a:cs typeface="Arial" panose="020B0604020202020204" pitchFamily="34" charset="0"/>
              </a:rPr>
            </a:br>
            <a:r>
              <a:rPr lang="en-US" dirty="0">
                <a:solidFill>
                  <a:srgbClr val="000000"/>
                </a:solidFill>
                <a:latin typeface="Arial" panose="020B0604020202020204" pitchFamily="34" charset="0"/>
                <a:cs typeface="Arial" panose="020B0604020202020204" pitchFamily="34" charset="0"/>
              </a:rPr>
              <a:t>= Isoelectric point of the dispersion</a:t>
            </a:r>
          </a:p>
          <a:p>
            <a:pPr marL="285750" indent="-285750">
              <a:spcBef>
                <a:spcPts val="600"/>
              </a:spcBef>
              <a:buClr>
                <a:srgbClr val="C00000"/>
              </a:buClr>
              <a:buFont typeface="Symbol" pitchFamily="18" charset="2"/>
              <a:buChar char="Þ"/>
              <a:defRPr/>
            </a:pPr>
            <a:r>
              <a:rPr lang="en-US" dirty="0">
                <a:solidFill>
                  <a:srgbClr val="000000"/>
                </a:solidFill>
                <a:latin typeface="Arial" panose="020B0604020202020204" pitchFamily="34" charset="0"/>
                <a:cs typeface="Arial" panose="020B0604020202020204" pitchFamily="34" charset="0"/>
                <a:sym typeface="Symbol"/>
              </a:rPr>
              <a:t>Zeta potential = zero</a:t>
            </a:r>
          </a:p>
          <a:p>
            <a:pPr marL="285750" indent="-285750">
              <a:spcBef>
                <a:spcPts val="600"/>
              </a:spcBef>
              <a:buClr>
                <a:srgbClr val="C00000"/>
              </a:buClr>
              <a:buFont typeface="Symbol" pitchFamily="18" charset="2"/>
              <a:buChar char="Þ"/>
              <a:defRPr/>
            </a:pPr>
            <a:r>
              <a:rPr lang="en-US" dirty="0">
                <a:solidFill>
                  <a:srgbClr val="000000"/>
                </a:solidFill>
                <a:latin typeface="Arial" panose="020B0604020202020204" pitchFamily="34" charset="0"/>
                <a:cs typeface="Arial" panose="020B0604020202020204" pitchFamily="34" charset="0"/>
                <a:sym typeface="Symbol"/>
              </a:rPr>
              <a:t>Dispersion no longer stable</a:t>
            </a:r>
            <a:endParaRPr lang="en-US" dirty="0">
              <a:solidFill>
                <a:srgbClr val="000000"/>
              </a:solidFill>
              <a:latin typeface="Arial" panose="020B0604020202020204" pitchFamily="34" charset="0"/>
              <a:cs typeface="Arial" panose="020B0604020202020204" pitchFamily="34" charset="0"/>
            </a:endParaRPr>
          </a:p>
        </p:txBody>
      </p:sp>
      <p:pic>
        <p:nvPicPr>
          <p:cNvPr id="15" name="Grafik 14">
            <a:extLst>
              <a:ext uri="{FF2B5EF4-FFF2-40B4-BE49-F238E27FC236}">
                <a16:creationId xmlns:a16="http://schemas.microsoft.com/office/drawing/2014/main" id="{5BBFFB72-2A04-4F8E-BB43-42FF1CB9825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r="14596"/>
          <a:stretch/>
        </p:blipFill>
        <p:spPr>
          <a:xfrm>
            <a:off x="807901" y="1405401"/>
            <a:ext cx="5465954" cy="3392492"/>
          </a:xfrm>
          <a:prstGeom prst="rect">
            <a:avLst/>
          </a:prstGeom>
        </p:spPr>
      </p:pic>
      <p:sp>
        <p:nvSpPr>
          <p:cNvPr id="20" name="Textfeld 10">
            <a:extLst>
              <a:ext uri="{FF2B5EF4-FFF2-40B4-BE49-F238E27FC236}">
                <a16:creationId xmlns:a16="http://schemas.microsoft.com/office/drawing/2014/main" id="{6E6B8D84-CC52-49D3-AC26-5CA1E8C704CE}"/>
              </a:ext>
            </a:extLst>
          </p:cNvPr>
          <p:cNvSpPr txBox="1"/>
          <p:nvPr/>
        </p:nvSpPr>
        <p:spPr>
          <a:xfrm>
            <a:off x="6771163" y="1483731"/>
            <a:ext cx="4089036" cy="1754326"/>
          </a:xfrm>
          <a:prstGeom prst="rect">
            <a:avLst/>
          </a:prstGeom>
          <a:noFill/>
        </p:spPr>
        <p:txBody>
          <a:bodyPr wrap="square" rtlCol="0">
            <a:spAutoFit/>
          </a:bodyPr>
          <a:lstStyle/>
          <a:p>
            <a:pPr marL="285750" indent="-285750">
              <a:buClr>
                <a:srgbClr val="C00000"/>
              </a:buClr>
              <a:buFont typeface="Wingdings" panose="05000000000000000000" pitchFamily="2" charset="2"/>
              <a:buChar char="n"/>
              <a:defRPr/>
            </a:pPr>
            <a:r>
              <a:rPr lang="en-US" kern="0" dirty="0">
                <a:solidFill>
                  <a:srgbClr val="000000"/>
                </a:solidFill>
              </a:rPr>
              <a:t>TEC (triethyl citrate) </a:t>
            </a:r>
          </a:p>
          <a:p>
            <a:pPr marL="285750" indent="-285750">
              <a:buClr>
                <a:srgbClr val="F39500"/>
              </a:buClr>
              <a:buFont typeface="Wingdings" panose="05000000000000000000" pitchFamily="2" charset="2"/>
              <a:buChar char="n"/>
              <a:defRPr/>
            </a:pPr>
            <a:r>
              <a:rPr lang="en-US" kern="0" dirty="0">
                <a:solidFill>
                  <a:srgbClr val="000000"/>
                </a:solidFill>
              </a:rPr>
              <a:t>TAC (triacetin) </a:t>
            </a:r>
          </a:p>
          <a:p>
            <a:pPr marL="285750" indent="-285750">
              <a:buClr>
                <a:srgbClr val="92D050"/>
              </a:buClr>
              <a:buFont typeface="Wingdings" panose="05000000000000000000" pitchFamily="2" charset="2"/>
              <a:buChar char="n"/>
              <a:defRPr/>
            </a:pPr>
            <a:r>
              <a:rPr lang="en-US" kern="0" dirty="0">
                <a:solidFill>
                  <a:srgbClr val="000000"/>
                </a:solidFill>
              </a:rPr>
              <a:t>ATEC (</a:t>
            </a:r>
            <a:r>
              <a:rPr lang="en-US" kern="0" dirty="0" err="1">
                <a:solidFill>
                  <a:srgbClr val="000000"/>
                </a:solidFill>
              </a:rPr>
              <a:t>acetyltriethyl</a:t>
            </a:r>
            <a:r>
              <a:rPr lang="en-US" kern="0" dirty="0">
                <a:solidFill>
                  <a:srgbClr val="000000"/>
                </a:solidFill>
              </a:rPr>
              <a:t> citrate)</a:t>
            </a:r>
          </a:p>
          <a:p>
            <a:pPr marL="285750" indent="-285750">
              <a:buClr>
                <a:srgbClr val="00793A"/>
              </a:buClr>
              <a:buFont typeface="Wingdings" panose="05000000000000000000" pitchFamily="2" charset="2"/>
              <a:buChar char="n"/>
              <a:defRPr/>
            </a:pPr>
            <a:r>
              <a:rPr lang="en-US" b="1" kern="0" dirty="0">
                <a:solidFill>
                  <a:schemeClr val="accent1"/>
                </a:solidFill>
              </a:rPr>
              <a:t>ATBC (</a:t>
            </a:r>
            <a:r>
              <a:rPr lang="en-US" b="1" kern="0" dirty="0" err="1">
                <a:solidFill>
                  <a:schemeClr val="accent1"/>
                </a:solidFill>
              </a:rPr>
              <a:t>acetyltributyl</a:t>
            </a:r>
            <a:r>
              <a:rPr lang="en-US" b="1" kern="0" dirty="0">
                <a:solidFill>
                  <a:schemeClr val="accent1"/>
                </a:solidFill>
              </a:rPr>
              <a:t> citrate)</a:t>
            </a:r>
          </a:p>
          <a:p>
            <a:pPr marL="285750" indent="-285750">
              <a:buClr>
                <a:srgbClr val="4472AA"/>
              </a:buClr>
              <a:buFont typeface="Wingdings" panose="05000000000000000000" pitchFamily="2" charset="2"/>
              <a:buChar char="n"/>
              <a:defRPr/>
            </a:pPr>
            <a:r>
              <a:rPr lang="en-US" b="1" kern="0" dirty="0">
                <a:solidFill>
                  <a:schemeClr val="accent1"/>
                </a:solidFill>
              </a:rPr>
              <a:t>DBS (dibutyl sebacate)</a:t>
            </a:r>
          </a:p>
          <a:p>
            <a:pPr marL="285750" indent="-285750">
              <a:buClr>
                <a:srgbClr val="7030A0"/>
              </a:buClr>
              <a:buFont typeface="Wingdings" panose="05000000000000000000" pitchFamily="2" charset="2"/>
              <a:buChar char="n"/>
              <a:defRPr/>
            </a:pPr>
            <a:r>
              <a:rPr lang="en-US" kern="0" dirty="0">
                <a:solidFill>
                  <a:srgbClr val="000000"/>
                </a:solidFill>
              </a:rPr>
              <a:t>P 124 (poloxamer 124)</a:t>
            </a:r>
          </a:p>
        </p:txBody>
      </p:sp>
      <p:sp>
        <p:nvSpPr>
          <p:cNvPr id="11" name="Right Brace 10">
            <a:extLst>
              <a:ext uri="{FF2B5EF4-FFF2-40B4-BE49-F238E27FC236}">
                <a16:creationId xmlns:a16="http://schemas.microsoft.com/office/drawing/2014/main" id="{24D3E25E-8117-4D94-69E4-11FD2C1C95E0}"/>
              </a:ext>
            </a:extLst>
          </p:cNvPr>
          <p:cNvSpPr/>
          <p:nvPr/>
        </p:nvSpPr>
        <p:spPr>
          <a:xfrm>
            <a:off x="10210800" y="2360894"/>
            <a:ext cx="125523" cy="502586"/>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 name="TextBox 15">
            <a:extLst>
              <a:ext uri="{FF2B5EF4-FFF2-40B4-BE49-F238E27FC236}">
                <a16:creationId xmlns:a16="http://schemas.microsoft.com/office/drawing/2014/main" id="{1F1C8226-E6A9-D40D-313A-23E10491835E}"/>
              </a:ext>
            </a:extLst>
          </p:cNvPr>
          <p:cNvSpPr txBox="1"/>
          <p:nvPr/>
        </p:nvSpPr>
        <p:spPr>
          <a:xfrm>
            <a:off x="10435307" y="2329433"/>
            <a:ext cx="1600200" cy="553998"/>
          </a:xfrm>
          <a:prstGeom prst="rect">
            <a:avLst/>
          </a:prstGeom>
          <a:noFill/>
        </p:spPr>
        <p:txBody>
          <a:bodyPr wrap="square" lIns="0" tIns="0" rIns="0" bIns="0" rtlCol="0">
            <a:spAutoFit/>
          </a:bodyPr>
          <a:lstStyle/>
          <a:p>
            <a:pPr algn="ctr"/>
            <a:r>
              <a:rPr lang="en-US" dirty="0"/>
              <a:t>Recommended</a:t>
            </a:r>
          </a:p>
          <a:p>
            <a:pPr algn="ctr"/>
            <a:r>
              <a:rPr lang="en-US" dirty="0"/>
              <a:t>Plasticizers</a:t>
            </a:r>
          </a:p>
        </p:txBody>
      </p:sp>
      <p:pic>
        <p:nvPicPr>
          <p:cNvPr id="2" name="Picture 1">
            <a:extLst>
              <a:ext uri="{FF2B5EF4-FFF2-40B4-BE49-F238E27FC236}">
                <a16:creationId xmlns:a16="http://schemas.microsoft.com/office/drawing/2014/main" id="{60038DBB-DD2E-D42F-23F0-DBE2056B2A9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07901" y="5119662"/>
            <a:ext cx="5051431" cy="1161590"/>
          </a:xfrm>
          <a:prstGeom prst="rect">
            <a:avLst/>
          </a:prstGeom>
        </p:spPr>
      </p:pic>
      <p:sp>
        <p:nvSpPr>
          <p:cNvPr id="5" name="Footer Placeholder 11">
            <a:extLst>
              <a:ext uri="{FF2B5EF4-FFF2-40B4-BE49-F238E27FC236}">
                <a16:creationId xmlns:a16="http://schemas.microsoft.com/office/drawing/2014/main" id="{2DCA6937-99ED-CB7B-509B-807305758F8A}"/>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cxnSp>
        <p:nvCxnSpPr>
          <p:cNvPr id="9" name="Straight Arrow Connector 8">
            <a:extLst>
              <a:ext uri="{FF2B5EF4-FFF2-40B4-BE49-F238E27FC236}">
                <a16:creationId xmlns:a16="http://schemas.microsoft.com/office/drawing/2014/main" id="{C630339F-20A5-C9A0-A050-B4C118B3C0A8}"/>
              </a:ext>
            </a:extLst>
          </p:cNvPr>
          <p:cNvCxnSpPr>
            <a:cxnSpLocks/>
          </p:cNvCxnSpPr>
          <p:nvPr/>
        </p:nvCxnSpPr>
        <p:spPr>
          <a:xfrm>
            <a:off x="1943100" y="2945145"/>
            <a:ext cx="18916" cy="2035115"/>
          </a:xfrm>
          <a:prstGeom prst="straightConnector1">
            <a:avLst/>
          </a:prstGeom>
          <a:ln w="28575">
            <a:prstDash val="sysDash"/>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907E8C7D-4A11-A38D-A353-01D0680F243D}"/>
              </a:ext>
            </a:extLst>
          </p:cNvPr>
          <p:cNvSpPr txBox="1"/>
          <p:nvPr/>
        </p:nvSpPr>
        <p:spPr>
          <a:xfrm>
            <a:off x="2856313" y="5137688"/>
            <a:ext cx="1369130" cy="276999"/>
          </a:xfrm>
          <a:prstGeom prst="rect">
            <a:avLst/>
          </a:prstGeom>
          <a:noFill/>
        </p:spPr>
        <p:txBody>
          <a:bodyPr wrap="square">
            <a:spAutoFit/>
          </a:bodyPr>
          <a:lstStyle/>
          <a:p>
            <a:r>
              <a:rPr lang="en-US" sz="1200" b="1" dirty="0">
                <a:solidFill>
                  <a:schemeClr val="accent1"/>
                </a:solidFill>
              </a:rPr>
              <a:t>TEC Hydrolysis </a:t>
            </a:r>
          </a:p>
        </p:txBody>
      </p:sp>
      <p:sp>
        <p:nvSpPr>
          <p:cNvPr id="10" name="Arrow: U-Turn 9">
            <a:extLst>
              <a:ext uri="{FF2B5EF4-FFF2-40B4-BE49-F238E27FC236}">
                <a16:creationId xmlns:a16="http://schemas.microsoft.com/office/drawing/2014/main" id="{4CD20600-8055-8847-B38E-7E49EEF43487}"/>
              </a:ext>
            </a:extLst>
          </p:cNvPr>
          <p:cNvSpPr/>
          <p:nvPr/>
        </p:nvSpPr>
        <p:spPr>
          <a:xfrm flipV="1">
            <a:off x="4889104" y="5932769"/>
            <a:ext cx="1672783" cy="255482"/>
          </a:xfrm>
          <a:prstGeom prst="utur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19" name="Straight Arrow Connector 18">
            <a:extLst>
              <a:ext uri="{FF2B5EF4-FFF2-40B4-BE49-F238E27FC236}">
                <a16:creationId xmlns:a16="http://schemas.microsoft.com/office/drawing/2014/main" id="{99BC6D68-BE97-2B50-D197-74291DD11EB3}"/>
              </a:ext>
            </a:extLst>
          </p:cNvPr>
          <p:cNvCxnSpPr>
            <a:cxnSpLocks/>
          </p:cNvCxnSpPr>
          <p:nvPr/>
        </p:nvCxnSpPr>
        <p:spPr>
          <a:xfrm>
            <a:off x="1924050" y="6167929"/>
            <a:ext cx="221494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5120476-ACC8-D5AF-2BA8-A05C87A9E878}"/>
              </a:ext>
            </a:extLst>
          </p:cNvPr>
          <p:cNvSpPr txBox="1"/>
          <p:nvPr/>
        </p:nvSpPr>
        <p:spPr>
          <a:xfrm>
            <a:off x="5154656" y="6167929"/>
            <a:ext cx="1369130" cy="276999"/>
          </a:xfrm>
          <a:prstGeom prst="rect">
            <a:avLst/>
          </a:prstGeom>
          <a:noFill/>
        </p:spPr>
        <p:txBody>
          <a:bodyPr wrap="square">
            <a:spAutoFit/>
          </a:bodyPr>
          <a:lstStyle/>
          <a:p>
            <a:r>
              <a:rPr lang="en-US" sz="1200" b="1" dirty="0">
                <a:solidFill>
                  <a:schemeClr val="accent1"/>
                </a:solidFill>
              </a:rPr>
              <a:t>Neutralization</a:t>
            </a:r>
          </a:p>
        </p:txBody>
      </p:sp>
      <p:sp>
        <p:nvSpPr>
          <p:cNvPr id="22" name="Plus Sign 21">
            <a:extLst>
              <a:ext uri="{FF2B5EF4-FFF2-40B4-BE49-F238E27FC236}">
                <a16:creationId xmlns:a16="http://schemas.microsoft.com/office/drawing/2014/main" id="{9F5D7899-A1B7-A6FF-B971-7BB31D8AF63F}"/>
              </a:ext>
            </a:extLst>
          </p:cNvPr>
          <p:cNvSpPr/>
          <p:nvPr/>
        </p:nvSpPr>
        <p:spPr>
          <a:xfrm>
            <a:off x="5552014" y="5867966"/>
            <a:ext cx="287207" cy="258846"/>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3" name="Picture 22">
            <a:extLst>
              <a:ext uri="{FF2B5EF4-FFF2-40B4-BE49-F238E27FC236}">
                <a16:creationId xmlns:a16="http://schemas.microsoft.com/office/drawing/2014/main" id="{7DA0481C-191B-C71E-3D88-85246609192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967190" y="5119662"/>
            <a:ext cx="1110104" cy="854297"/>
          </a:xfrm>
          <a:prstGeom prst="rect">
            <a:avLst/>
          </a:prstGeom>
        </p:spPr>
      </p:pic>
      <p:sp>
        <p:nvSpPr>
          <p:cNvPr id="25" name="TextBox 24">
            <a:extLst>
              <a:ext uri="{FF2B5EF4-FFF2-40B4-BE49-F238E27FC236}">
                <a16:creationId xmlns:a16="http://schemas.microsoft.com/office/drawing/2014/main" id="{71ED0CC7-1D79-EAAA-698F-9497AE73D34F}"/>
              </a:ext>
            </a:extLst>
          </p:cNvPr>
          <p:cNvSpPr txBox="1"/>
          <p:nvPr/>
        </p:nvSpPr>
        <p:spPr>
          <a:xfrm>
            <a:off x="2287322" y="6184754"/>
            <a:ext cx="1672783" cy="276999"/>
          </a:xfrm>
          <a:prstGeom prst="rect">
            <a:avLst/>
          </a:prstGeom>
          <a:noFill/>
        </p:spPr>
        <p:txBody>
          <a:bodyPr wrap="square">
            <a:spAutoFit/>
          </a:bodyPr>
          <a:lstStyle/>
          <a:p>
            <a:pPr algn="ctr"/>
            <a:r>
              <a:rPr lang="en-US" sz="1200" b="1" dirty="0">
                <a:solidFill>
                  <a:schemeClr val="accent1"/>
                </a:solidFill>
              </a:rPr>
              <a:t>Reaction</a:t>
            </a:r>
          </a:p>
        </p:txBody>
      </p:sp>
      <p:cxnSp>
        <p:nvCxnSpPr>
          <p:cNvPr id="32" name="Straight Arrow Connector 31">
            <a:extLst>
              <a:ext uri="{FF2B5EF4-FFF2-40B4-BE49-F238E27FC236}">
                <a16:creationId xmlns:a16="http://schemas.microsoft.com/office/drawing/2014/main" id="{65F12067-D7AB-8371-7DA5-01DAABA6E021}"/>
              </a:ext>
            </a:extLst>
          </p:cNvPr>
          <p:cNvCxnSpPr>
            <a:cxnSpLocks/>
          </p:cNvCxnSpPr>
          <p:nvPr/>
        </p:nvCxnSpPr>
        <p:spPr>
          <a:xfrm>
            <a:off x="1924050" y="5997389"/>
            <a:ext cx="221494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7" name="Slide Number Placeholder 16">
            <a:extLst>
              <a:ext uri="{FF2B5EF4-FFF2-40B4-BE49-F238E27FC236}">
                <a16:creationId xmlns:a16="http://schemas.microsoft.com/office/drawing/2014/main" id="{49B02B07-B223-9B50-E699-085CEAC2688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19</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0758269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CC555E-6E49-7EF3-5F02-7E70FE6E3996}"/>
              </a:ext>
            </a:extLst>
          </p:cNvPr>
          <p:cNvGraphicFramePr>
            <a:graphicFrameLocks noChangeAspect="1"/>
          </p:cNvGraphicFramePr>
          <p:nvPr>
            <p:custDataLst>
              <p:tags r:id="rId1"/>
            </p:custDataLst>
            <p:extLst>
              <p:ext uri="{D42A27DB-BD31-4B8C-83A1-F6EECF244321}">
                <p14:modId xmlns:p14="http://schemas.microsoft.com/office/powerpoint/2010/main" val="1672912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6" progId="TCLayout.ActiveDocument.1">
                  <p:embed/>
                </p:oleObj>
              </mc:Choice>
              <mc:Fallback>
                <p:oleObj name="think-cell Slide" r:id="rId5" imgW="347" imgH="346" progId="TCLayout.ActiveDocument.1">
                  <p:embed/>
                  <p:pic>
                    <p:nvPicPr>
                      <p:cNvPr id="5" name="think-cell data - do not delete" hidden="1">
                        <a:extLst>
                          <a:ext uri="{FF2B5EF4-FFF2-40B4-BE49-F238E27FC236}">
                            <a16:creationId xmlns:a16="http://schemas.microsoft.com/office/drawing/2014/main" id="{FDCC555E-6E49-7EF3-5F02-7E70FE6E39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CABD8CF9-3E56-6CDF-44F8-AB6D6363BC2E}"/>
              </a:ext>
            </a:extLst>
          </p:cNvPr>
          <p:cNvPicPr>
            <a:picLocks noChangeAspect="1"/>
          </p:cNvPicPr>
          <p:nvPr/>
        </p:nvPicPr>
        <p:blipFill>
          <a:blip r:embed="rId7">
            <a:alphaModFix amt="36000"/>
          </a:blip>
          <a:stretch>
            <a:fillRect/>
          </a:stretch>
        </p:blipFill>
        <p:spPr>
          <a:xfrm>
            <a:off x="0" y="0"/>
            <a:ext cx="12192000" cy="9098639"/>
          </a:xfrm>
          <a:prstGeom prst="rect">
            <a:avLst/>
          </a:prstGeom>
          <a:effectLst>
            <a:outerShdw blurRad="50800" dist="50800" dir="5400000" algn="ctr" rotWithShape="0">
              <a:srgbClr val="000000">
                <a:alpha val="8000"/>
              </a:srgbClr>
            </a:outerShdw>
            <a:softEdge rad="0"/>
          </a:effectLst>
        </p:spPr>
      </p:pic>
      <p:sp>
        <p:nvSpPr>
          <p:cNvPr id="16" name="Titel 1">
            <a:extLst>
              <a:ext uri="{FF2B5EF4-FFF2-40B4-BE49-F238E27FC236}">
                <a16:creationId xmlns:a16="http://schemas.microsoft.com/office/drawing/2014/main" id="{70504074-E145-4B4E-B7E8-1208178905FF}"/>
              </a:ext>
            </a:extLst>
          </p:cNvPr>
          <p:cNvSpPr txBox="1">
            <a:spLocks/>
          </p:cNvSpPr>
          <p:nvPr>
            <p:custDataLst>
              <p:tags r:id="rId2"/>
            </p:custDataLst>
          </p:nvPr>
        </p:nvSpPr>
        <p:spPr>
          <a:xfrm>
            <a:off x="0" y="3272248"/>
            <a:ext cx="6181948" cy="2124256"/>
          </a:xfrm>
          <a:prstGeom prst="rect">
            <a:avLst/>
          </a:prstGeom>
          <a:solidFill>
            <a:schemeClr val="accent4">
              <a:lumMod val="20000"/>
              <a:lumOff val="80000"/>
              <a:alpha val="40000"/>
            </a:schemeClr>
          </a:solidFill>
          <a:ln>
            <a:noFill/>
          </a:ln>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gn="l" fontAlgn="base"/>
            <a:r>
              <a:rPr lang="en-US" b="1" i="0" u="none" strike="noStrike" dirty="0">
                <a:effectLst/>
                <a:latin typeface="Arial" panose="020B0604020202020204" pitchFamily="34" charset="0"/>
              </a:rPr>
              <a:t> Taste-Masking film coating:   </a:t>
            </a:r>
          </a:p>
          <a:p>
            <a:pPr algn="l" fontAlgn="base"/>
            <a:r>
              <a:rPr lang="en-US" dirty="0">
                <a:latin typeface="Arial" panose="020B0604020202020204" pitchFamily="34" charset="0"/>
              </a:rPr>
              <a:t> </a:t>
            </a:r>
            <a:r>
              <a:rPr lang="en-US" b="1" i="0" u="none" strike="noStrike" dirty="0">
                <a:effectLst/>
                <a:latin typeface="Arial" panose="020B0604020202020204" pitchFamily="34" charset="0"/>
              </a:rPr>
              <a:t>Kollicoat</a:t>
            </a:r>
            <a:r>
              <a:rPr lang="en-US" b="1" i="0" u="none" strike="noStrike" baseline="30000" dirty="0">
                <a:effectLst/>
                <a:latin typeface="Arial" panose="020B0604020202020204" pitchFamily="34" charset="0"/>
              </a:rPr>
              <a:t>®</a:t>
            </a:r>
            <a:r>
              <a:rPr lang="en-US" b="1" i="0" u="none" strike="noStrike" dirty="0">
                <a:effectLst/>
                <a:latin typeface="Arial" panose="020B0604020202020204" pitchFamily="34" charset="0"/>
              </a:rPr>
              <a:t> Smartseal</a:t>
            </a:r>
          </a:p>
          <a:p>
            <a:pPr algn="l" fontAlgn="base"/>
            <a:endParaRPr lang="en-US" dirty="0">
              <a:latin typeface="Arial" panose="020B0604020202020204" pitchFamily="34" charset="0"/>
            </a:endParaRPr>
          </a:p>
          <a:p>
            <a:pPr algn="l" fontAlgn="base"/>
            <a:r>
              <a:rPr lang="en-US" sz="2000" b="0" i="0" dirty="0">
                <a:effectLst/>
                <a:latin typeface="Arial" panose="020B0604020202020204" pitchFamily="34" charset="0"/>
              </a:rPr>
              <a:t>  BASF Pharma Solutions</a:t>
            </a:r>
            <a:r>
              <a:rPr lang="en-US" b="0" i="0" dirty="0">
                <a:effectLst/>
                <a:latin typeface="Arial" panose="020B0604020202020204" pitchFamily="34" charset="0"/>
              </a:rPr>
              <a:t>​</a:t>
            </a:r>
            <a:endParaRPr lang="en-US" b="0" i="0" dirty="0">
              <a:effectLst/>
              <a:latin typeface="Segoe UI" panose="020B0502040204020203" pitchFamily="34" charset="0"/>
            </a:endParaRPr>
          </a:p>
        </p:txBody>
      </p:sp>
      <p:sp>
        <p:nvSpPr>
          <p:cNvPr id="4" name="TextBox 3">
            <a:extLst>
              <a:ext uri="{FF2B5EF4-FFF2-40B4-BE49-F238E27FC236}">
                <a16:creationId xmlns:a16="http://schemas.microsoft.com/office/drawing/2014/main" id="{0D5AFC5B-6544-23EB-4A65-6F4553BDC8C3}"/>
              </a:ext>
            </a:extLst>
          </p:cNvPr>
          <p:cNvSpPr txBox="1"/>
          <p:nvPr/>
        </p:nvSpPr>
        <p:spPr>
          <a:xfrm>
            <a:off x="0" y="5396504"/>
            <a:ext cx="6181948" cy="369332"/>
          </a:xfrm>
          <a:prstGeom prst="rect">
            <a:avLst/>
          </a:prstGeom>
          <a:solidFill>
            <a:schemeClr val="accent4">
              <a:lumMod val="20000"/>
              <a:lumOff val="80000"/>
              <a:alpha val="40000"/>
            </a:schemeClr>
          </a:solidFill>
        </p:spPr>
        <p:txBody>
          <a:bodyPr wrap="square" lIns="91440" tIns="45720" rIns="91440" bIns="45720" anchor="t">
            <a:spAutoFit/>
          </a:bodyPr>
          <a:lstStyle/>
          <a:p>
            <a:pPr algn="l" fontAlgn="base"/>
            <a:endParaRPr lang="en-US" b="0" i="0" dirty="0">
              <a:solidFill>
                <a:schemeClr val="bg1"/>
              </a:solidFill>
              <a:effectLst/>
              <a:latin typeface="Segoe UI" panose="020B0502040204020203" pitchFamily="34" charset="0"/>
            </a:endParaRPr>
          </a:p>
        </p:txBody>
      </p:sp>
    </p:spTree>
    <p:extLst>
      <p:ext uri="{BB962C8B-B14F-4D97-AF65-F5344CB8AC3E}">
        <p14:creationId xmlns:p14="http://schemas.microsoft.com/office/powerpoint/2010/main" val="29059219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432365E-E316-A93F-7931-479DEBE0DE5A}"/>
              </a:ext>
            </a:extLst>
          </p:cNvPr>
          <p:cNvGraphicFramePr>
            <a:graphicFrameLocks noChangeAspect="1"/>
          </p:cNvGraphicFramePr>
          <p:nvPr>
            <p:custDataLst>
              <p:tags r:id="rId1"/>
            </p:custDataLst>
            <p:extLst>
              <p:ext uri="{D42A27DB-BD31-4B8C-83A1-F6EECF244321}">
                <p14:modId xmlns:p14="http://schemas.microsoft.com/office/powerpoint/2010/main" val="4188126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4" name="think-cell data - do not delete" hidden="1">
                        <a:extLst>
                          <a:ext uri="{FF2B5EF4-FFF2-40B4-BE49-F238E27FC236}">
                            <a16:creationId xmlns:a16="http://schemas.microsoft.com/office/drawing/2014/main" id="{7432365E-E316-A93F-7931-479DEBE0DE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F40238-4DF2-672D-C84C-E0A4291A1CCA}"/>
              </a:ext>
            </a:extLst>
          </p:cNvPr>
          <p:cNvSpPr>
            <a:spLocks noGrp="1"/>
          </p:cNvSpPr>
          <p:nvPr>
            <p:ph type="title"/>
          </p:nvPr>
        </p:nvSpPr>
        <p:spPr/>
        <p:txBody>
          <a:bodyPr vert="horz"/>
          <a:lstStyle/>
          <a:p>
            <a:r>
              <a:rPr lang="en-US" dirty="0"/>
              <a:t>Kollicoat</a:t>
            </a:r>
            <a:r>
              <a:rPr lang="en-US" baseline="30000" dirty="0"/>
              <a:t>®</a:t>
            </a:r>
            <a:r>
              <a:rPr lang="en-US" dirty="0"/>
              <a:t> Smartseal </a:t>
            </a:r>
            <a:r>
              <a:rPr lang="en-US" sz="2800" dirty="0"/>
              <a:t>Formulation: Plasticizer</a:t>
            </a:r>
            <a:endParaRPr lang="en-US" dirty="0"/>
          </a:p>
        </p:txBody>
      </p:sp>
      <p:sp>
        <p:nvSpPr>
          <p:cNvPr id="6" name="Rectangle 38">
            <a:extLst>
              <a:ext uri="{FF2B5EF4-FFF2-40B4-BE49-F238E27FC236}">
                <a16:creationId xmlns:a16="http://schemas.microsoft.com/office/drawing/2014/main" id="{20854BB5-DA12-126D-B9A6-891C2FCAA9CF}"/>
              </a:ext>
            </a:extLst>
          </p:cNvPr>
          <p:cNvSpPr>
            <a:spLocks noChangeArrowheads="1"/>
          </p:cNvSpPr>
          <p:nvPr/>
        </p:nvSpPr>
        <p:spPr bwMode="auto">
          <a:xfrm>
            <a:off x="5276850" y="4679274"/>
            <a:ext cx="4032250" cy="863600"/>
          </a:xfrm>
          <a:prstGeom prst="rect">
            <a:avLst/>
          </a:prstGeom>
          <a:solidFill>
            <a:schemeClr val="accent6">
              <a:lumMod val="20000"/>
              <a:lumOff val="80000"/>
            </a:schemeClr>
          </a:solidFill>
          <a:ln w="9525">
            <a:solidFill>
              <a:schemeClr val="bg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Rectangle 37">
            <a:extLst>
              <a:ext uri="{FF2B5EF4-FFF2-40B4-BE49-F238E27FC236}">
                <a16:creationId xmlns:a16="http://schemas.microsoft.com/office/drawing/2014/main" id="{A6FB8BE7-4363-468B-F081-A851791A8139}"/>
              </a:ext>
            </a:extLst>
          </p:cNvPr>
          <p:cNvSpPr>
            <a:spLocks noChangeArrowheads="1"/>
          </p:cNvSpPr>
          <p:nvPr/>
        </p:nvSpPr>
        <p:spPr bwMode="auto">
          <a:xfrm>
            <a:off x="5276850" y="2047791"/>
            <a:ext cx="4032250" cy="2232025"/>
          </a:xfrm>
          <a:prstGeom prst="rect">
            <a:avLst/>
          </a:prstGeom>
          <a:solidFill>
            <a:schemeClr val="accent6">
              <a:lumMod val="20000"/>
              <a:lumOff val="80000"/>
            </a:schemeClr>
          </a:solidFill>
          <a:ln w="9525">
            <a:solidFill>
              <a:schemeClr val="bg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AutoShape 36">
            <a:extLst>
              <a:ext uri="{FF2B5EF4-FFF2-40B4-BE49-F238E27FC236}">
                <a16:creationId xmlns:a16="http://schemas.microsoft.com/office/drawing/2014/main" id="{237D48EB-DB31-234B-14FB-20D44D5A0565}"/>
              </a:ext>
            </a:extLst>
          </p:cNvPr>
          <p:cNvSpPr>
            <a:spLocks noChangeArrowheads="1"/>
          </p:cNvSpPr>
          <p:nvPr/>
        </p:nvSpPr>
        <p:spPr bwMode="auto">
          <a:xfrm>
            <a:off x="327661" y="4580680"/>
            <a:ext cx="4387213" cy="935038"/>
          </a:xfrm>
          <a:prstGeom prst="homePlate">
            <a:avLst>
              <a:gd name="adj" fmla="val 100085"/>
            </a:avLst>
          </a:prstGeom>
          <a:solidFill>
            <a:srgbClr val="C00000"/>
          </a:solidFill>
          <a:ln w="9525">
            <a:solidFill>
              <a:schemeClr val="accent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9" name="AutoShape 35">
            <a:extLst>
              <a:ext uri="{FF2B5EF4-FFF2-40B4-BE49-F238E27FC236}">
                <a16:creationId xmlns:a16="http://schemas.microsoft.com/office/drawing/2014/main" id="{A29E202E-CEDC-54B6-884B-8D3DC2E41BEF}"/>
              </a:ext>
            </a:extLst>
          </p:cNvPr>
          <p:cNvSpPr>
            <a:spLocks noChangeArrowheads="1"/>
          </p:cNvSpPr>
          <p:nvPr/>
        </p:nvSpPr>
        <p:spPr bwMode="auto">
          <a:xfrm>
            <a:off x="327661" y="2682357"/>
            <a:ext cx="4387214" cy="936625"/>
          </a:xfrm>
          <a:prstGeom prst="homePlate">
            <a:avLst>
              <a:gd name="adj" fmla="val 103814"/>
            </a:avLst>
          </a:prstGeom>
          <a:solidFill>
            <a:srgbClr val="C00000"/>
          </a:solidFill>
          <a:ln w="9525">
            <a:solidFill>
              <a:schemeClr val="accent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10" name="Text Box 25">
            <a:extLst>
              <a:ext uri="{FF2B5EF4-FFF2-40B4-BE49-F238E27FC236}">
                <a16:creationId xmlns:a16="http://schemas.microsoft.com/office/drawing/2014/main" id="{1C5B2855-CCF8-E425-FA4D-B47E2718BF3B}"/>
              </a:ext>
            </a:extLst>
          </p:cNvPr>
          <p:cNvSpPr txBox="1">
            <a:spLocks noChangeArrowheads="1"/>
          </p:cNvSpPr>
          <p:nvPr/>
        </p:nvSpPr>
        <p:spPr bwMode="auto">
          <a:xfrm>
            <a:off x="581024" y="2980446"/>
            <a:ext cx="323678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kern="1200" cap="none" spc="0" normalizeH="0" baseline="0" noProof="0" dirty="0">
                <a:ln>
                  <a:noFill/>
                </a:ln>
                <a:solidFill>
                  <a:schemeClr val="bg1"/>
                </a:solidFill>
                <a:effectLst/>
                <a:uLnTx/>
                <a:uFillTx/>
                <a:latin typeface="Arial" panose="020B0604020202020204"/>
                <a:cs typeface="Arial"/>
              </a:rPr>
              <a:t>Recommended plasticizers:</a:t>
            </a:r>
          </a:p>
        </p:txBody>
      </p:sp>
      <p:sp>
        <p:nvSpPr>
          <p:cNvPr id="11" name="Text Box 26">
            <a:extLst>
              <a:ext uri="{FF2B5EF4-FFF2-40B4-BE49-F238E27FC236}">
                <a16:creationId xmlns:a16="http://schemas.microsoft.com/office/drawing/2014/main" id="{9D51C19A-9314-97C4-08BC-E432C7BFAC41}"/>
              </a:ext>
            </a:extLst>
          </p:cNvPr>
          <p:cNvSpPr txBox="1">
            <a:spLocks noChangeArrowheads="1"/>
          </p:cNvSpPr>
          <p:nvPr/>
        </p:nvSpPr>
        <p:spPr bwMode="auto">
          <a:xfrm>
            <a:off x="581024" y="4864842"/>
            <a:ext cx="28130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kern="1200" cap="none" spc="0" normalizeH="0" baseline="0" noProof="0" dirty="0">
                <a:ln>
                  <a:noFill/>
                </a:ln>
                <a:solidFill>
                  <a:schemeClr val="bg1"/>
                </a:solidFill>
                <a:effectLst/>
                <a:uLnTx/>
                <a:uFillTx/>
                <a:latin typeface="Arial" panose="020B0604020202020204"/>
                <a:cs typeface="Arial"/>
              </a:rPr>
              <a:t>Optimal concentration: </a:t>
            </a:r>
          </a:p>
        </p:txBody>
      </p:sp>
      <p:sp>
        <p:nvSpPr>
          <p:cNvPr id="12" name="Text Box 27">
            <a:extLst>
              <a:ext uri="{FF2B5EF4-FFF2-40B4-BE49-F238E27FC236}">
                <a16:creationId xmlns:a16="http://schemas.microsoft.com/office/drawing/2014/main" id="{B7156CAF-D7B1-FEE3-DC64-CFCCBC6DAD53}"/>
              </a:ext>
            </a:extLst>
          </p:cNvPr>
          <p:cNvSpPr txBox="1">
            <a:spLocks noChangeArrowheads="1"/>
          </p:cNvSpPr>
          <p:nvPr/>
        </p:nvSpPr>
        <p:spPr bwMode="auto">
          <a:xfrm>
            <a:off x="5591175" y="4769890"/>
            <a:ext cx="3717925"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marL="0" marR="0" lvl="0" indent="0" algn="l" defTabSz="914400" rtl="0" eaLnBrk="1" fontAlgn="auto" latinLnBrk="0" hangingPunct="1">
              <a:spcBef>
                <a:spcPts val="0"/>
              </a:spcBef>
              <a:spcAft>
                <a:spcPts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cs typeface="Arial"/>
              </a:rPr>
              <a:t>10 – 15% w/w </a:t>
            </a:r>
            <a:br>
              <a:rPr kumimoji="0" lang="en-US" altLang="en-US" sz="1800" b="0" i="0" u="none" strike="noStrike" kern="1200" cap="none" spc="0" normalizeH="0" baseline="0" noProof="0" dirty="0">
                <a:ln>
                  <a:noFill/>
                </a:ln>
                <a:solidFill>
                  <a:srgbClr val="000000"/>
                </a:solidFill>
                <a:effectLst/>
                <a:uLnTx/>
                <a:uFillTx/>
                <a:latin typeface="Arial" panose="020B0604020202020204"/>
                <a:cs typeface="Arial"/>
              </a:rPr>
            </a:br>
            <a:r>
              <a:rPr kumimoji="0" lang="en-US" altLang="en-US" sz="1800" b="0" i="0" u="none" strike="noStrike" kern="1200" cap="none" spc="0" normalizeH="0" baseline="0" noProof="0" dirty="0">
                <a:ln>
                  <a:noFill/>
                </a:ln>
                <a:solidFill>
                  <a:srgbClr val="000000"/>
                </a:solidFill>
                <a:effectLst/>
                <a:uLnTx/>
                <a:uFillTx/>
                <a:latin typeface="Arial" panose="020B0604020202020204"/>
                <a:cs typeface="Arial"/>
              </a:rPr>
              <a:t>(calculated on the dry polymer)</a:t>
            </a:r>
          </a:p>
          <a:p>
            <a:pPr marL="0" marR="0" lvl="0" indent="0" algn="l" defTabSz="914400" rtl="0" eaLnBrk="1" fontAlgn="auto" latinLnBrk="0" hangingPunct="1">
              <a:spcBef>
                <a:spcPts val="0"/>
              </a:spcBef>
              <a:spcAft>
                <a:spcPts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cs typeface="Arial"/>
              </a:rPr>
              <a:t> </a:t>
            </a:r>
          </a:p>
        </p:txBody>
      </p:sp>
      <p:sp>
        <p:nvSpPr>
          <p:cNvPr id="13" name="Text Box 28">
            <a:extLst>
              <a:ext uri="{FF2B5EF4-FFF2-40B4-BE49-F238E27FC236}">
                <a16:creationId xmlns:a16="http://schemas.microsoft.com/office/drawing/2014/main" id="{E7C2B48D-7ACE-16E2-600B-2986BB0E9F06}"/>
              </a:ext>
            </a:extLst>
          </p:cNvPr>
          <p:cNvSpPr txBox="1">
            <a:spLocks noChangeArrowheads="1"/>
          </p:cNvSpPr>
          <p:nvPr/>
        </p:nvSpPr>
        <p:spPr bwMode="auto">
          <a:xfrm>
            <a:off x="5591175" y="2299155"/>
            <a:ext cx="3717925" cy="17030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a:cs typeface="Arial"/>
              </a:rPr>
              <a:t>Tributyl citrate (TBC)</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en-US" sz="1800" b="0" i="0" u="none" strike="noStrike" kern="1200" cap="none" spc="0" normalizeH="0" baseline="0" noProof="0" dirty="0" err="1">
                <a:ln>
                  <a:noFill/>
                </a:ln>
                <a:solidFill>
                  <a:srgbClr val="000000"/>
                </a:solidFill>
                <a:effectLst/>
                <a:uLnTx/>
                <a:uFillTx/>
                <a:latin typeface="Arial" panose="020B0604020202020204"/>
                <a:cs typeface="Arial"/>
              </a:rPr>
              <a:t>Acetyltriethyl</a:t>
            </a:r>
            <a:r>
              <a:rPr kumimoji="0" lang="en-US" altLang="en-US" sz="1800" b="0" i="0" u="none" strike="noStrike" kern="1200" cap="none" spc="0" normalizeH="0" baseline="0" noProof="0" dirty="0">
                <a:ln>
                  <a:noFill/>
                </a:ln>
                <a:solidFill>
                  <a:srgbClr val="000000"/>
                </a:solidFill>
                <a:effectLst/>
                <a:uLnTx/>
                <a:uFillTx/>
                <a:latin typeface="Arial" panose="020B0604020202020204"/>
                <a:cs typeface="Arial"/>
              </a:rPr>
              <a:t> citrate (ATEC)</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en-US" sz="1800" b="1" i="0" u="none" strike="noStrike" kern="1200" cap="none" spc="0" normalizeH="0" baseline="0" noProof="0" dirty="0" err="1">
                <a:ln>
                  <a:noFill/>
                </a:ln>
                <a:solidFill>
                  <a:srgbClr val="000000"/>
                </a:solidFill>
                <a:effectLst/>
                <a:uLnTx/>
                <a:uFillTx/>
                <a:latin typeface="Arial" panose="020B0604020202020204"/>
                <a:cs typeface="Arial"/>
              </a:rPr>
              <a:t>Acetyltributyl</a:t>
            </a:r>
            <a:r>
              <a:rPr kumimoji="0" lang="en-US" altLang="en-US" sz="1800" b="1" i="0" u="none" strike="noStrike" kern="1200" cap="none" spc="0" normalizeH="0" baseline="0" noProof="0" dirty="0">
                <a:ln>
                  <a:noFill/>
                </a:ln>
                <a:solidFill>
                  <a:srgbClr val="000000"/>
                </a:solidFill>
                <a:effectLst/>
                <a:uLnTx/>
                <a:uFillTx/>
                <a:latin typeface="Arial" panose="020B0604020202020204"/>
                <a:cs typeface="Arial"/>
              </a:rPr>
              <a:t> citrate (ATBC)</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Arial" panose="020B0604020202020204"/>
                <a:cs typeface="Arial"/>
              </a:rPr>
              <a:t>Dibutyl </a:t>
            </a:r>
            <a:r>
              <a:rPr kumimoji="0" lang="en-US" altLang="en-US" sz="1800" b="1" i="0" u="none" strike="noStrike" kern="1200" cap="none" spc="0" normalizeH="0" baseline="0" noProof="0" dirty="0" err="1">
                <a:ln>
                  <a:noFill/>
                </a:ln>
                <a:solidFill>
                  <a:srgbClr val="000000"/>
                </a:solidFill>
                <a:effectLst/>
                <a:uLnTx/>
                <a:uFillTx/>
                <a:latin typeface="Arial" panose="020B0604020202020204"/>
                <a:cs typeface="Arial"/>
              </a:rPr>
              <a:t>sebacate</a:t>
            </a:r>
            <a:r>
              <a:rPr lang="en-US" altLang="en-US" b="1" dirty="0">
                <a:solidFill>
                  <a:srgbClr val="000000"/>
                </a:solidFill>
                <a:latin typeface="Arial" panose="020B0604020202020204"/>
                <a:cs typeface="Arial"/>
              </a:rPr>
              <a:t> </a:t>
            </a:r>
            <a:r>
              <a:rPr kumimoji="0" lang="en-US" altLang="en-US" sz="1800" b="1" i="0" u="none" strike="noStrike" kern="1200" cap="none" spc="0" normalizeH="0" baseline="0" noProof="0" dirty="0">
                <a:ln>
                  <a:noFill/>
                </a:ln>
                <a:solidFill>
                  <a:srgbClr val="000000"/>
                </a:solidFill>
                <a:effectLst/>
                <a:uLnTx/>
                <a:uFillTx/>
                <a:latin typeface="Arial" panose="020B0604020202020204"/>
                <a:cs typeface="Arial"/>
              </a:rPr>
              <a:t>(DBS)</a:t>
            </a:r>
          </a:p>
        </p:txBody>
      </p:sp>
      <p:sp>
        <p:nvSpPr>
          <p:cNvPr id="16" name="Rechteck 3">
            <a:extLst>
              <a:ext uri="{FF2B5EF4-FFF2-40B4-BE49-F238E27FC236}">
                <a16:creationId xmlns:a16="http://schemas.microsoft.com/office/drawing/2014/main" id="{B9B9FE13-1961-B8E2-2EDA-EEAF47218A50}"/>
              </a:ext>
            </a:extLst>
          </p:cNvPr>
          <p:cNvSpPr/>
          <p:nvPr/>
        </p:nvSpPr>
        <p:spPr>
          <a:xfrm>
            <a:off x="159525" y="1377595"/>
            <a:ext cx="11796075" cy="369332"/>
          </a:xfrm>
          <a:prstGeom prst="rect">
            <a:avLst/>
          </a:prstGeom>
        </p:spPr>
        <p:txBody>
          <a:bodyPr wrap="square">
            <a:spAutoFit/>
          </a:bodyPr>
          <a:lstStyle/>
          <a:p>
            <a:pPr lvl="0">
              <a:defRPr/>
            </a:pPr>
            <a:r>
              <a:rPr lang="en-US" altLang="en-US" dirty="0"/>
              <a:t>Several plasticizers can be used in combination with Kollicoat</a:t>
            </a:r>
            <a:r>
              <a:rPr lang="en-US" altLang="en-US" baseline="30000" dirty="0"/>
              <a:t>®</a:t>
            </a:r>
            <a:r>
              <a:rPr lang="en-US" altLang="en-US" dirty="0"/>
              <a:t> Smartseal. See the most recommended ones: </a:t>
            </a:r>
          </a:p>
        </p:txBody>
      </p:sp>
      <p:sp>
        <p:nvSpPr>
          <p:cNvPr id="14" name="Footer Placeholder 11">
            <a:extLst>
              <a:ext uri="{FF2B5EF4-FFF2-40B4-BE49-F238E27FC236}">
                <a16:creationId xmlns:a16="http://schemas.microsoft.com/office/drawing/2014/main" id="{DFC90B72-4B69-CCA4-FC5B-A034BE2946BC}"/>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17" name="Slide Number Placeholder 16">
            <a:extLst>
              <a:ext uri="{FF2B5EF4-FFF2-40B4-BE49-F238E27FC236}">
                <a16:creationId xmlns:a16="http://schemas.microsoft.com/office/drawing/2014/main" id="{138CAE1C-4772-2CEC-3264-876EAF5562F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0</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1273184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C9E334-BA1C-E0C0-7A61-E9562E803A26}"/>
              </a:ext>
            </a:extLst>
          </p:cNvPr>
          <p:cNvGraphicFramePr>
            <a:graphicFrameLocks noChangeAspect="1"/>
          </p:cNvGraphicFramePr>
          <p:nvPr>
            <p:custDataLst>
              <p:tags r:id="rId1"/>
            </p:custDataLst>
            <p:extLst>
              <p:ext uri="{D42A27DB-BD31-4B8C-83A1-F6EECF244321}">
                <p14:modId xmlns:p14="http://schemas.microsoft.com/office/powerpoint/2010/main" val="489725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9BC9E334-BA1C-E0C0-7A61-E9562E803A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Textfeld 11">
            <a:extLst>
              <a:ext uri="{FF2B5EF4-FFF2-40B4-BE49-F238E27FC236}">
                <a16:creationId xmlns:a16="http://schemas.microsoft.com/office/drawing/2014/main" id="{473FAA11-3E1F-E9AF-C2A2-73EDAA0D6C73}"/>
              </a:ext>
            </a:extLst>
          </p:cNvPr>
          <p:cNvSpPr txBox="1"/>
          <p:nvPr/>
        </p:nvSpPr>
        <p:spPr>
          <a:xfrm>
            <a:off x="8048847" y="3801822"/>
            <a:ext cx="3778386" cy="2175112"/>
          </a:xfrm>
          <a:prstGeom prst="rect">
            <a:avLst/>
          </a:prstGeom>
          <a:noFill/>
          <a:ln w="25400">
            <a:solidFill>
              <a:schemeClr val="accent1"/>
            </a:solidFill>
          </a:ln>
        </p:spPr>
        <p:txBody>
          <a:bodyPr wrap="square" rtlCol="0">
            <a:noAutofit/>
          </a:bodyPr>
          <a:lstStyle>
            <a:defPPr lvl="0">
              <a:defRPr lang="de-DE"/>
            </a:defPPr>
            <a:lvl1pPr marL="108000">
              <a:defRPr sz="1600">
                <a:latin typeface="Arial" pitchFamily="34" charset="0"/>
                <a:cs typeface="Arial" pitchFamily="34" charset="0"/>
              </a:defRPr>
            </a:lvl1pPr>
          </a:lstStyle>
          <a:p>
            <a:r>
              <a:rPr lang="en-US" sz="1800" dirty="0"/>
              <a:t>Talc</a:t>
            </a:r>
          </a:p>
        </p:txBody>
      </p:sp>
      <p:sp>
        <p:nvSpPr>
          <p:cNvPr id="2" name="Title 1">
            <a:extLst>
              <a:ext uri="{FF2B5EF4-FFF2-40B4-BE49-F238E27FC236}">
                <a16:creationId xmlns:a16="http://schemas.microsoft.com/office/drawing/2014/main" id="{52459F05-EBFC-54C8-6DBB-D87A845A36F4}"/>
              </a:ext>
            </a:extLst>
          </p:cNvPr>
          <p:cNvSpPr>
            <a:spLocks noGrp="1"/>
          </p:cNvSpPr>
          <p:nvPr>
            <p:ph type="title"/>
          </p:nvPr>
        </p:nvSpPr>
        <p:spPr>
          <a:xfrm>
            <a:off x="91232" y="391568"/>
            <a:ext cx="11736000" cy="853200"/>
          </a:xfrm>
        </p:spPr>
        <p:txBody>
          <a:bodyPr vert="horz"/>
          <a:lstStyle/>
          <a:p>
            <a:r>
              <a:rPr lang="en-US" dirty="0"/>
              <a:t>Kollicoat</a:t>
            </a:r>
            <a:r>
              <a:rPr lang="en-US" baseline="30000" dirty="0"/>
              <a:t>®</a:t>
            </a:r>
            <a:r>
              <a:rPr lang="en-US" dirty="0"/>
              <a:t> Smartseal </a:t>
            </a:r>
            <a:r>
              <a:rPr lang="en-US" sz="2800" dirty="0"/>
              <a:t>Formulation: Anti-tacking</a:t>
            </a:r>
          </a:p>
        </p:txBody>
      </p:sp>
      <p:sp>
        <p:nvSpPr>
          <p:cNvPr id="6" name="Text Placeholder 2">
            <a:extLst>
              <a:ext uri="{FF2B5EF4-FFF2-40B4-BE49-F238E27FC236}">
                <a16:creationId xmlns:a16="http://schemas.microsoft.com/office/drawing/2014/main" id="{676D0413-F512-AB73-3470-C6AD3ED7F84A}"/>
              </a:ext>
            </a:extLst>
          </p:cNvPr>
          <p:cNvSpPr txBox="1">
            <a:spLocks/>
          </p:cNvSpPr>
          <p:nvPr/>
        </p:nvSpPr>
        <p:spPr>
          <a:xfrm>
            <a:off x="329878" y="1208783"/>
            <a:ext cx="7694652" cy="4738905"/>
          </a:xfrm>
          <a:prstGeom prst="rect">
            <a:avLst/>
          </a:prstGeom>
        </p:spPr>
        <p:txBody>
          <a:bodyPr/>
          <a:lstStyle>
            <a:lvl1pPr marL="267891" marR="0" indent="-267891" algn="l" defTabSz="514418" rtl="0" eaLnBrk="1" fontAlgn="base" latinLnBrk="0" hangingPunct="1">
              <a:lnSpc>
                <a:spcPct val="110000"/>
              </a:lnSpc>
              <a:spcBef>
                <a:spcPts val="0"/>
              </a:spcBef>
              <a:spcAft>
                <a:spcPct val="0"/>
              </a:spcAft>
              <a:buClr>
                <a:schemeClr val="accent1"/>
              </a:buClr>
              <a:buSzTx/>
              <a:buFont typeface="Wingdings" panose="05000000000000000000" pitchFamily="2" charset="2"/>
              <a:buChar char="n"/>
              <a:tabLst>
                <a:tab pos="130969" algn="l"/>
              </a:tabLst>
              <a:defRPr lang="de-DE" sz="1500" b="0" i="0" kern="1200" noProof="0" dirty="0" smtClean="0">
                <a:solidFill>
                  <a:schemeClr val="tx1"/>
                </a:solidFill>
                <a:latin typeface="Arial"/>
                <a:ea typeface="+mn-ea"/>
                <a:cs typeface="+mn-cs"/>
              </a:defRPr>
            </a:lvl1pPr>
            <a:lvl2pPr marL="538163" marR="0" indent="-270272" algn="l" defTabSz="514418" rtl="0" eaLnBrk="1" fontAlgn="base" latinLnBrk="0" hangingPunct="1">
              <a:lnSpc>
                <a:spcPct val="110000"/>
              </a:lnSpc>
              <a:spcBef>
                <a:spcPts val="450"/>
              </a:spcBef>
              <a:spcAft>
                <a:spcPct val="0"/>
              </a:spcAft>
              <a:buClr>
                <a:schemeClr val="accent1"/>
              </a:buClr>
              <a:buSzPct val="90000"/>
              <a:buFont typeface="Wingdings 3" panose="05040102010807070707" pitchFamily="18" charset="2"/>
              <a:buChar char=""/>
              <a:tabLst/>
              <a:defRPr lang="de-DE" sz="1500" b="0" i="0" kern="1200" noProof="0" dirty="0" smtClean="0">
                <a:solidFill>
                  <a:schemeClr val="tx1"/>
                </a:solidFill>
                <a:latin typeface="Arial"/>
                <a:ea typeface="+mn-ea"/>
                <a:cs typeface="+mn-cs"/>
              </a:defRPr>
            </a:lvl2pPr>
            <a:lvl3pPr marL="806054" marR="0" indent="-267891" algn="l" defTabSz="514418" rtl="0" eaLnBrk="1" fontAlgn="base" latinLnBrk="0" hangingPunct="1">
              <a:lnSpc>
                <a:spcPct val="110000"/>
              </a:lnSpc>
              <a:spcBef>
                <a:spcPts val="225"/>
              </a:spcBef>
              <a:spcAft>
                <a:spcPct val="0"/>
              </a:spcAft>
              <a:buClr>
                <a:schemeClr val="accent1"/>
              </a:buClr>
              <a:buSzPct val="95000"/>
              <a:buFont typeface="Arial" panose="020B0604020202020204" pitchFamily="34" charset="0"/>
              <a:buChar char="●"/>
              <a:tabLst/>
              <a:defRPr lang="de-DE" sz="1500" b="0" i="0" kern="1200" noProof="0" dirty="0" smtClean="0">
                <a:solidFill>
                  <a:schemeClr val="tx1"/>
                </a:solidFill>
                <a:latin typeface="Arial"/>
                <a:ea typeface="+mn-ea"/>
                <a:cs typeface="+mn-cs"/>
              </a:defRPr>
            </a:lvl3pPr>
            <a:lvl4pPr marL="1077516" marR="0" indent="-271463" algn="l" defTabSz="514418" rtl="0" eaLnBrk="1" fontAlgn="base" latinLnBrk="0" hangingPunct="1">
              <a:lnSpc>
                <a:spcPct val="110000"/>
              </a:lnSpc>
              <a:spcBef>
                <a:spcPct val="0"/>
              </a:spcBef>
              <a:spcAft>
                <a:spcPct val="0"/>
              </a:spcAft>
              <a:buClr>
                <a:schemeClr val="accent1"/>
              </a:buClr>
              <a:buSzTx/>
              <a:buFont typeface="Arial" panose="020B0604020202020204" pitchFamily="34" charset="0"/>
              <a:buChar char="−"/>
              <a:tabLst/>
              <a:defRPr lang="de-DE" sz="1500" b="0" i="0" kern="1200" noProof="0" dirty="0">
                <a:solidFill>
                  <a:schemeClr val="tx1"/>
                </a:solidFill>
                <a:latin typeface="Arial"/>
                <a:ea typeface="+mn-ea"/>
                <a:cs typeface="+mn-cs"/>
              </a:defRPr>
            </a:lvl4pPr>
            <a:lvl5pPr marL="1157442" indent="-128605" algn="l" defTabSz="514418" rtl="0" eaLnBrk="1" latinLnBrk="0" hangingPunct="1">
              <a:lnSpc>
                <a:spcPct val="95000"/>
              </a:lnSpc>
              <a:spcBef>
                <a:spcPts val="0"/>
              </a:spcBef>
              <a:spcAft>
                <a:spcPct val="50000"/>
              </a:spcAft>
              <a:buClr>
                <a:schemeClr val="tx1"/>
              </a:buClr>
              <a:buFontTx/>
              <a:buChar char="–"/>
              <a:defRPr lang="de-DE" sz="1125" b="0" i="0" kern="1200" dirty="0">
                <a:solidFill>
                  <a:schemeClr val="tx1"/>
                </a:solidFill>
                <a:latin typeface="Arial"/>
                <a:ea typeface="+mn-ea"/>
                <a:cs typeface="+mn-cs"/>
              </a:defRPr>
            </a:lvl5pPr>
            <a:lvl6pPr marL="1414651" indent="-128605" algn="l" defTabSz="514418"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860" indent="-128605" algn="l" defTabSz="514418"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9070" indent="-128605" algn="l" defTabSz="514418"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6279" indent="-128605" algn="l" defTabSz="514418" rtl="0" eaLnBrk="1" latinLnBrk="0" hangingPunct="1">
              <a:spcBef>
                <a:spcPct val="20000"/>
              </a:spcBef>
              <a:buFont typeface="Arial" pitchFamily="34" charset="0"/>
              <a:buChar char="•"/>
              <a:defRPr sz="1125" kern="1200">
                <a:solidFill>
                  <a:schemeClr val="tx1"/>
                </a:solidFill>
                <a:latin typeface="+mn-lt"/>
                <a:ea typeface="+mn-ea"/>
                <a:cs typeface="+mn-cs"/>
              </a:defRPr>
            </a:lvl9pPr>
          </a:lstStyle>
          <a:p>
            <a:r>
              <a:rPr lang="en-US" sz="1800" dirty="0"/>
              <a:t>Anti-tacking agents are used to reduce Kollicoat® Smartseal tackiness during storage or when a higher amount of plasticizer is required in the formulation (also consider BHT impact on its plasticizing effect).</a:t>
            </a:r>
          </a:p>
          <a:p>
            <a:endParaRPr lang="en-US" sz="1800" dirty="0"/>
          </a:p>
          <a:p>
            <a:r>
              <a:rPr lang="en-US" sz="1800" dirty="0"/>
              <a:t>Talc is the most used anti-tacking. </a:t>
            </a:r>
          </a:p>
          <a:p>
            <a:r>
              <a:rPr lang="en-US" sz="1800" dirty="0"/>
              <a:t>Considerations:</a:t>
            </a:r>
          </a:p>
          <a:p>
            <a:pPr marL="571500" indent="-228600">
              <a:buFont typeface="Wingdings" panose="05000000000000000000" pitchFamily="2" charset="2"/>
              <a:buChar char="§"/>
            </a:pPr>
            <a:r>
              <a:rPr lang="en-US" sz="1800" dirty="0"/>
              <a:t>It can precipitate in the tubes </a:t>
            </a:r>
          </a:p>
          <a:p>
            <a:pPr marL="571500" indent="-228600">
              <a:buFont typeface="Wingdings" panose="05000000000000000000" pitchFamily="2" charset="2"/>
              <a:buChar char="§"/>
            </a:pPr>
            <a:r>
              <a:rPr lang="en-US" sz="1800" dirty="0"/>
              <a:t>Increase film-coating porosity → requires ↑ weight gain </a:t>
            </a:r>
          </a:p>
          <a:p>
            <a:endParaRPr lang="en-US" sz="1800" dirty="0"/>
          </a:p>
          <a:p>
            <a:r>
              <a:rPr lang="en-US" sz="1800" dirty="0"/>
              <a:t>Glycerol mono stearate [</a:t>
            </a:r>
            <a:r>
              <a:rPr lang="en-US" sz="1800" b="1" dirty="0"/>
              <a:t>Kolliwax</a:t>
            </a:r>
            <a:r>
              <a:rPr lang="en-US" sz="1800" b="1" baseline="30000" dirty="0"/>
              <a:t>®</a:t>
            </a:r>
            <a:r>
              <a:rPr lang="en-US" sz="1800" b="1" dirty="0"/>
              <a:t> GMS II</a:t>
            </a:r>
            <a:r>
              <a:rPr lang="en-US" sz="1800" dirty="0"/>
              <a:t>] + Polysorbate 80 [</a:t>
            </a:r>
            <a:r>
              <a:rPr lang="en-US" sz="1800" b="1" dirty="0"/>
              <a:t>Kolliphor</a:t>
            </a:r>
            <a:r>
              <a:rPr lang="en-US" sz="1800" b="1" baseline="30000" dirty="0"/>
              <a:t>®</a:t>
            </a:r>
            <a:r>
              <a:rPr lang="en-US" sz="1800" b="1" dirty="0"/>
              <a:t> PS 80</a:t>
            </a:r>
            <a:r>
              <a:rPr lang="en-US" sz="1800" dirty="0"/>
              <a:t>] (8:2) is an interesting alternative to talc:</a:t>
            </a:r>
          </a:p>
          <a:p>
            <a:pPr marL="571500" indent="-228600">
              <a:buFont typeface="Wingdings" panose="05000000000000000000" pitchFamily="2" charset="2"/>
              <a:buChar char="§"/>
              <a:tabLst>
                <a:tab pos="571500" algn="l"/>
              </a:tabLst>
            </a:pPr>
            <a:r>
              <a:rPr lang="en-US" sz="1800" dirty="0"/>
              <a:t>Doesn’t precipitate in the tubes </a:t>
            </a:r>
          </a:p>
          <a:p>
            <a:pPr marL="571500" indent="-228600">
              <a:buFont typeface="Wingdings" panose="05000000000000000000" pitchFamily="2" charset="2"/>
              <a:buChar char="§"/>
              <a:tabLst>
                <a:tab pos="571500" algn="l"/>
              </a:tabLst>
            </a:pPr>
            <a:r>
              <a:rPr lang="en-US" sz="1800" dirty="0"/>
              <a:t>Require less amounts compared to talc </a:t>
            </a:r>
          </a:p>
          <a:p>
            <a:pPr marL="571500" indent="-228600">
              <a:buFont typeface="Wingdings" panose="05000000000000000000" pitchFamily="2" charset="2"/>
              <a:buChar char="§"/>
              <a:tabLst>
                <a:tab pos="571500" algn="l"/>
              </a:tabLst>
            </a:pPr>
            <a:r>
              <a:rPr lang="en-US" sz="1800" dirty="0"/>
              <a:t>Consideration: They need to be heated (70° C) and emulsified using a high shear mixer.</a:t>
            </a:r>
          </a:p>
          <a:p>
            <a:endParaRPr lang="en-US" sz="1800" dirty="0"/>
          </a:p>
          <a:p>
            <a:endParaRPr lang="en-US" sz="1800" dirty="0"/>
          </a:p>
          <a:p>
            <a:endParaRPr lang="en-US" sz="1800" dirty="0"/>
          </a:p>
          <a:p>
            <a:endParaRPr lang="en-US" sz="1800" dirty="0"/>
          </a:p>
        </p:txBody>
      </p:sp>
      <p:sp>
        <p:nvSpPr>
          <p:cNvPr id="7" name="Footer Placeholder 11">
            <a:extLst>
              <a:ext uri="{FF2B5EF4-FFF2-40B4-BE49-F238E27FC236}">
                <a16:creationId xmlns:a16="http://schemas.microsoft.com/office/drawing/2014/main" id="{55328C49-3365-E36D-25A9-8FD1D8B85B6A}"/>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8" name="Textfeld 11">
            <a:extLst>
              <a:ext uri="{FF2B5EF4-FFF2-40B4-BE49-F238E27FC236}">
                <a16:creationId xmlns:a16="http://schemas.microsoft.com/office/drawing/2014/main" id="{6437EDD8-973A-EA8F-E8B2-C4FDD3AB6906}"/>
              </a:ext>
            </a:extLst>
          </p:cNvPr>
          <p:cNvSpPr txBox="1"/>
          <p:nvPr/>
        </p:nvSpPr>
        <p:spPr>
          <a:xfrm>
            <a:off x="8048846" y="451756"/>
            <a:ext cx="3778386" cy="3179820"/>
          </a:xfrm>
          <a:prstGeom prst="rect">
            <a:avLst/>
          </a:prstGeom>
          <a:noFill/>
          <a:ln w="25400">
            <a:solidFill>
              <a:schemeClr val="accent1"/>
            </a:solidFill>
          </a:ln>
        </p:spPr>
        <p:txBody>
          <a:bodyPr wrap="square" rtlCol="0">
            <a:noAutofit/>
          </a:bodyPr>
          <a:lstStyle>
            <a:defPPr lvl="0">
              <a:defRPr lang="de-DE"/>
            </a:defPPr>
            <a:lvl1pPr marL="108000">
              <a:defRPr sz="1600">
                <a:latin typeface="Arial" pitchFamily="34" charset="0"/>
                <a:cs typeface="Arial" pitchFamily="34" charset="0"/>
              </a:defRPr>
            </a:lvl1pPr>
          </a:lstStyle>
          <a:p>
            <a:r>
              <a:rPr lang="en-US" sz="1600" dirty="0"/>
              <a:t>Kolliwax</a:t>
            </a:r>
            <a:r>
              <a:rPr lang="en-US" sz="1600" baseline="30000" dirty="0"/>
              <a:t>®</a:t>
            </a:r>
            <a:r>
              <a:rPr lang="en-US" sz="1600" dirty="0"/>
              <a:t> GMS II + Kolliphor</a:t>
            </a:r>
            <a:r>
              <a:rPr lang="en-US" sz="1600" baseline="30000" dirty="0"/>
              <a:t>®</a:t>
            </a:r>
            <a:r>
              <a:rPr lang="en-US" sz="1600" dirty="0"/>
              <a:t> PS 80</a:t>
            </a:r>
            <a:endParaRPr lang="en-US" dirty="0"/>
          </a:p>
        </p:txBody>
      </p:sp>
      <p:grpSp>
        <p:nvGrpSpPr>
          <p:cNvPr id="9" name="Group 20">
            <a:extLst>
              <a:ext uri="{FF2B5EF4-FFF2-40B4-BE49-F238E27FC236}">
                <a16:creationId xmlns:a16="http://schemas.microsoft.com/office/drawing/2014/main" id="{6EEDD8B2-3616-8DF1-9B66-A7A0825B8E68}"/>
              </a:ext>
            </a:extLst>
          </p:cNvPr>
          <p:cNvGrpSpPr>
            <a:grpSpLocks/>
          </p:cNvGrpSpPr>
          <p:nvPr/>
        </p:nvGrpSpPr>
        <p:grpSpPr bwMode="auto">
          <a:xfrm>
            <a:off x="8127053" y="890591"/>
            <a:ext cx="3598863" cy="2663825"/>
            <a:chOff x="0" y="0"/>
            <a:chExt cx="6233" cy="5100"/>
          </a:xfrm>
        </p:grpSpPr>
        <p:sp>
          <p:nvSpPr>
            <p:cNvPr id="10" name="Rectangle 21">
              <a:extLst>
                <a:ext uri="{FF2B5EF4-FFF2-40B4-BE49-F238E27FC236}">
                  <a16:creationId xmlns:a16="http://schemas.microsoft.com/office/drawing/2014/main" id="{D60B5853-5BDD-884B-E8D2-89F48E7BF8A9}"/>
                </a:ext>
              </a:extLst>
            </p:cNvPr>
            <p:cNvSpPr>
              <a:spLocks noChangeArrowheads="1"/>
            </p:cNvSpPr>
            <p:nvPr/>
          </p:nvSpPr>
          <p:spPr bwMode="auto">
            <a:xfrm>
              <a:off x="0" y="0"/>
              <a:ext cx="6233" cy="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11" name="SisImage5">
              <a:extLst>
                <a:ext uri="{FF2B5EF4-FFF2-40B4-BE49-F238E27FC236}">
                  <a16:creationId xmlns:a16="http://schemas.microsoft.com/office/drawing/2014/main" id="{2FA2087C-52D2-8583-6058-72F2325CBA48}"/>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0" y="0"/>
              <a:ext cx="6233" cy="4669"/>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3">
              <a:extLst>
                <a:ext uri="{FF2B5EF4-FFF2-40B4-BE49-F238E27FC236}">
                  <a16:creationId xmlns:a16="http://schemas.microsoft.com/office/drawing/2014/main" id="{4330EE1F-6ECD-3804-910C-8E425A5A3359}"/>
                </a:ext>
              </a:extLst>
            </p:cNvPr>
            <p:cNvPicPr preferRelativeResize="0">
              <a:picLocks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987" y="4726"/>
              <a:ext cx="1133"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3" name="Text Box 24">
              <a:extLst>
                <a:ext uri="{FF2B5EF4-FFF2-40B4-BE49-F238E27FC236}">
                  <a16:creationId xmlns:a16="http://schemas.microsoft.com/office/drawing/2014/main" id="{0965FBF6-13AD-5D0F-DC48-F38F979393D1}"/>
                </a:ext>
              </a:extLst>
            </p:cNvPr>
            <p:cNvSpPr txBox="1">
              <a:spLocks noChangeArrowheads="1"/>
            </p:cNvSpPr>
            <p:nvPr/>
          </p:nvSpPr>
          <p:spPr bwMode="auto">
            <a:xfrm>
              <a:off x="5225" y="4839"/>
              <a:ext cx="572"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200">
                  <a:solidFill>
                    <a:schemeClr val="tx1"/>
                  </a:solidFill>
                  <a:latin typeface="Arial" charset="0"/>
                  <a:cs typeface="Times New Roman" pitchFamily="18" charset="0"/>
                </a:defRPr>
              </a:lvl1pPr>
              <a:lvl2pPr marL="742950" indent="-285750" eaLnBrk="0" hangingPunct="0">
                <a:defRPr sz="1200">
                  <a:solidFill>
                    <a:schemeClr val="tx1"/>
                  </a:solidFill>
                  <a:latin typeface="Arial" charset="0"/>
                  <a:cs typeface="Times New Roman" pitchFamily="18" charset="0"/>
                </a:defRPr>
              </a:lvl2pPr>
              <a:lvl3pPr marL="1143000" indent="-228600" eaLnBrk="0" hangingPunct="0">
                <a:defRPr sz="1200">
                  <a:solidFill>
                    <a:schemeClr val="tx1"/>
                  </a:solidFill>
                  <a:latin typeface="Arial" charset="0"/>
                  <a:cs typeface="Times New Roman" pitchFamily="18" charset="0"/>
                </a:defRPr>
              </a:lvl3pPr>
              <a:lvl4pPr marL="1600200" indent="-228600" eaLnBrk="0" hangingPunct="0">
                <a:defRPr sz="1200">
                  <a:solidFill>
                    <a:schemeClr val="tx1"/>
                  </a:solidFill>
                  <a:latin typeface="Arial" charset="0"/>
                  <a:cs typeface="Times New Roman" pitchFamily="18" charset="0"/>
                </a:defRPr>
              </a:lvl4pPr>
              <a:lvl5pPr marL="2057400" indent="-228600" eaLnBrk="0" hangingPunct="0">
                <a:defRPr sz="1200">
                  <a:solidFill>
                    <a:schemeClr val="tx1"/>
                  </a:solidFill>
                  <a:latin typeface="Arial" charset="0"/>
                  <a:cs typeface="Times New Roman" pitchFamily="18" charset="0"/>
                </a:defRPr>
              </a:lvl5pPr>
              <a:lvl6pPr marL="2514600" indent="-228600" eaLnBrk="0" fontAlgn="base" hangingPunct="0">
                <a:spcBef>
                  <a:spcPct val="0"/>
                </a:spcBef>
                <a:spcAft>
                  <a:spcPct val="0"/>
                </a:spcAft>
                <a:defRPr sz="1200">
                  <a:solidFill>
                    <a:schemeClr val="tx1"/>
                  </a:solidFill>
                  <a:latin typeface="Arial" charset="0"/>
                  <a:cs typeface="Times New Roman" pitchFamily="18" charset="0"/>
                </a:defRPr>
              </a:lvl6pPr>
              <a:lvl7pPr marL="2971800" indent="-228600" eaLnBrk="0" fontAlgn="base" hangingPunct="0">
                <a:spcBef>
                  <a:spcPct val="0"/>
                </a:spcBef>
                <a:spcAft>
                  <a:spcPct val="0"/>
                </a:spcAft>
                <a:defRPr sz="1200">
                  <a:solidFill>
                    <a:schemeClr val="tx1"/>
                  </a:solidFill>
                  <a:latin typeface="Arial" charset="0"/>
                  <a:cs typeface="Times New Roman" pitchFamily="18" charset="0"/>
                </a:defRPr>
              </a:lvl7pPr>
              <a:lvl8pPr marL="3429000" indent="-228600" eaLnBrk="0" fontAlgn="base" hangingPunct="0">
                <a:spcBef>
                  <a:spcPct val="0"/>
                </a:spcBef>
                <a:spcAft>
                  <a:spcPct val="0"/>
                </a:spcAft>
                <a:defRPr sz="1200">
                  <a:solidFill>
                    <a:schemeClr val="tx1"/>
                  </a:solidFill>
                  <a:latin typeface="Arial" charset="0"/>
                  <a:cs typeface="Times New Roman" pitchFamily="18" charset="0"/>
                </a:defRPr>
              </a:lvl8pPr>
              <a:lvl9pPr marL="3886200" indent="-228600" eaLnBrk="0" fontAlgn="base" hangingPunct="0">
                <a:spcBef>
                  <a:spcPct val="0"/>
                </a:spcBef>
                <a:spcAft>
                  <a:spcPct val="0"/>
                </a:spcAft>
                <a:defRPr sz="1200">
                  <a:solidFill>
                    <a:schemeClr val="tx1"/>
                  </a:solidFill>
                  <a:latin typeface="Arial" charset="0"/>
                  <a:cs typeface="Times New Roman" pitchFamily="18"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900" b="0" i="0" u="none" strike="noStrike" kern="0" cap="none" spc="0" normalizeH="0" baseline="0" noProof="0" dirty="0">
                  <a:ln>
                    <a:noFill/>
                  </a:ln>
                  <a:solidFill>
                    <a:srgbClr val="000000"/>
                  </a:solidFill>
                  <a:effectLst/>
                  <a:uLnTx/>
                  <a:uFillTx/>
                  <a:latin typeface="Arial" charset="0"/>
                  <a:ea typeface="SimSun" pitchFamily="2" charset="-122"/>
                  <a:cs typeface="Times New Roman" pitchFamily="18" charset="0"/>
                </a:rPr>
                <a:t>20µm</a:t>
              </a:r>
              <a:endParaRPr kumimoji="0" lang="en-US" sz="1200" b="0" i="0" u="none" strike="noStrike" kern="0" cap="none" spc="0" normalizeH="0" baseline="0" noProof="0" dirty="0">
                <a:ln>
                  <a:noFill/>
                </a:ln>
                <a:solidFill>
                  <a:srgbClr val="000000"/>
                </a:solidFill>
                <a:effectLst/>
                <a:uLnTx/>
                <a:uFillTx/>
                <a:latin typeface="Arial" charset="0"/>
                <a:cs typeface="Times New Roman" pitchFamily="18" charset="0"/>
              </a:endParaRPr>
            </a:p>
          </p:txBody>
        </p:sp>
        <p:sp>
          <p:nvSpPr>
            <p:cNvPr id="14" name="Text Box 25">
              <a:extLst>
                <a:ext uri="{FF2B5EF4-FFF2-40B4-BE49-F238E27FC236}">
                  <a16:creationId xmlns:a16="http://schemas.microsoft.com/office/drawing/2014/main" id="{21AE9FA4-BE12-7964-8F4D-5AEB7367AC5C}"/>
                </a:ext>
              </a:extLst>
            </p:cNvPr>
            <p:cNvSpPr txBox="1">
              <a:spLocks noChangeArrowheads="1"/>
            </p:cNvSpPr>
            <p:nvPr/>
          </p:nvSpPr>
          <p:spPr bwMode="auto">
            <a:xfrm>
              <a:off x="114" y="4726"/>
              <a:ext cx="776"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200">
                  <a:solidFill>
                    <a:schemeClr val="tx1"/>
                  </a:solidFill>
                  <a:latin typeface="Arial" charset="0"/>
                  <a:cs typeface="Times New Roman" pitchFamily="18" charset="0"/>
                </a:defRPr>
              </a:lvl1pPr>
              <a:lvl2pPr marL="742950" indent="-285750" eaLnBrk="0" hangingPunct="0">
                <a:defRPr sz="1200">
                  <a:solidFill>
                    <a:schemeClr val="tx1"/>
                  </a:solidFill>
                  <a:latin typeface="Arial" charset="0"/>
                  <a:cs typeface="Times New Roman" pitchFamily="18" charset="0"/>
                </a:defRPr>
              </a:lvl2pPr>
              <a:lvl3pPr marL="1143000" indent="-228600" eaLnBrk="0" hangingPunct="0">
                <a:defRPr sz="1200">
                  <a:solidFill>
                    <a:schemeClr val="tx1"/>
                  </a:solidFill>
                  <a:latin typeface="Arial" charset="0"/>
                  <a:cs typeface="Times New Roman" pitchFamily="18" charset="0"/>
                </a:defRPr>
              </a:lvl3pPr>
              <a:lvl4pPr marL="1600200" indent="-228600" eaLnBrk="0" hangingPunct="0">
                <a:defRPr sz="1200">
                  <a:solidFill>
                    <a:schemeClr val="tx1"/>
                  </a:solidFill>
                  <a:latin typeface="Arial" charset="0"/>
                  <a:cs typeface="Times New Roman" pitchFamily="18" charset="0"/>
                </a:defRPr>
              </a:lvl4pPr>
              <a:lvl5pPr marL="2057400" indent="-228600" eaLnBrk="0" hangingPunct="0">
                <a:defRPr sz="1200">
                  <a:solidFill>
                    <a:schemeClr val="tx1"/>
                  </a:solidFill>
                  <a:latin typeface="Arial" charset="0"/>
                  <a:cs typeface="Times New Roman" pitchFamily="18" charset="0"/>
                </a:defRPr>
              </a:lvl5pPr>
              <a:lvl6pPr marL="2514600" indent="-228600" eaLnBrk="0" fontAlgn="base" hangingPunct="0">
                <a:spcBef>
                  <a:spcPct val="0"/>
                </a:spcBef>
                <a:spcAft>
                  <a:spcPct val="0"/>
                </a:spcAft>
                <a:defRPr sz="1200">
                  <a:solidFill>
                    <a:schemeClr val="tx1"/>
                  </a:solidFill>
                  <a:latin typeface="Arial" charset="0"/>
                  <a:cs typeface="Times New Roman" pitchFamily="18" charset="0"/>
                </a:defRPr>
              </a:lvl6pPr>
              <a:lvl7pPr marL="2971800" indent="-228600" eaLnBrk="0" fontAlgn="base" hangingPunct="0">
                <a:spcBef>
                  <a:spcPct val="0"/>
                </a:spcBef>
                <a:spcAft>
                  <a:spcPct val="0"/>
                </a:spcAft>
                <a:defRPr sz="1200">
                  <a:solidFill>
                    <a:schemeClr val="tx1"/>
                  </a:solidFill>
                  <a:latin typeface="Arial" charset="0"/>
                  <a:cs typeface="Times New Roman" pitchFamily="18" charset="0"/>
                </a:defRPr>
              </a:lvl7pPr>
              <a:lvl8pPr marL="3429000" indent="-228600" eaLnBrk="0" fontAlgn="base" hangingPunct="0">
                <a:spcBef>
                  <a:spcPct val="0"/>
                </a:spcBef>
                <a:spcAft>
                  <a:spcPct val="0"/>
                </a:spcAft>
                <a:defRPr sz="1200">
                  <a:solidFill>
                    <a:schemeClr val="tx1"/>
                  </a:solidFill>
                  <a:latin typeface="Arial" charset="0"/>
                  <a:cs typeface="Times New Roman" pitchFamily="18" charset="0"/>
                </a:defRPr>
              </a:lvl8pPr>
              <a:lvl9pPr marL="3886200" indent="-228600" eaLnBrk="0" fontAlgn="base" hangingPunct="0">
                <a:spcBef>
                  <a:spcPct val="0"/>
                </a:spcBef>
                <a:spcAft>
                  <a:spcPct val="0"/>
                </a:spcAft>
                <a:defRPr sz="1200">
                  <a:solidFill>
                    <a:schemeClr val="tx1"/>
                  </a:solidFill>
                  <a:latin typeface="Arial" charset="0"/>
                  <a:cs typeface="Times New Roman" pitchFamily="18"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900" b="0" i="0" u="none" strike="noStrike" kern="0" cap="none" spc="0" normalizeH="0" baseline="0" noProof="0" dirty="0">
                  <a:ln>
                    <a:noFill/>
                  </a:ln>
                  <a:solidFill>
                    <a:srgbClr val="000000"/>
                  </a:solidFill>
                  <a:effectLst/>
                  <a:uLnTx/>
                  <a:uFillTx/>
                  <a:latin typeface="Arial" charset="0"/>
                  <a:ea typeface="SimSun" pitchFamily="2" charset="-122"/>
                  <a:cs typeface="Times New Roman" pitchFamily="18" charset="0"/>
                </a:rPr>
                <a:t>1000 1</a:t>
              </a:r>
              <a:endParaRPr kumimoji="0" lang="en-US" sz="1200" b="0" i="0" u="none" strike="noStrike" kern="0" cap="none" spc="0" normalizeH="0" baseline="0" noProof="0" dirty="0">
                <a:ln>
                  <a:noFill/>
                </a:ln>
                <a:solidFill>
                  <a:srgbClr val="000000"/>
                </a:solidFill>
                <a:effectLst/>
                <a:uLnTx/>
                <a:uFillTx/>
                <a:latin typeface="Arial" charset="0"/>
                <a:cs typeface="Times New Roman" pitchFamily="18" charset="0"/>
              </a:endParaRPr>
            </a:p>
          </p:txBody>
        </p:sp>
      </p:grpSp>
      <p:sp>
        <p:nvSpPr>
          <p:cNvPr id="15" name="Text Box 63">
            <a:extLst>
              <a:ext uri="{FF2B5EF4-FFF2-40B4-BE49-F238E27FC236}">
                <a16:creationId xmlns:a16="http://schemas.microsoft.com/office/drawing/2014/main" id="{A054F9EC-5BDE-03F1-0813-48BD4791E0BF}"/>
              </a:ext>
            </a:extLst>
          </p:cNvPr>
          <p:cNvSpPr txBox="1">
            <a:spLocks noChangeArrowheads="1"/>
          </p:cNvSpPr>
          <p:nvPr/>
        </p:nvSpPr>
        <p:spPr bwMode="auto">
          <a:xfrm rot="-5400000">
            <a:off x="9570091" y="1166816"/>
            <a:ext cx="2447925" cy="1876425"/>
          </a:xfrm>
          <a:prstGeom prst="rect">
            <a:avLst/>
          </a:prstGeom>
          <a:solidFill>
            <a:srgbClr val="E0EFE7">
              <a:alpha val="50195"/>
            </a:srgbClr>
          </a:solidFill>
          <a:ln>
            <a:noFill/>
          </a:ln>
          <a:effectLst/>
          <a:extLst>
            <a:ext uri="{91240B29-F687-4F45-9708-019B960494DF}">
              <a14:hiddenLine xmlns:a14="http://schemas.microsoft.com/office/drawing/2010/main" w="12700" cap="rnd">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sz="1200">
                <a:solidFill>
                  <a:schemeClr val="tx1"/>
                </a:solidFill>
                <a:latin typeface="Arial" charset="0"/>
                <a:cs typeface="Times New Roman" pitchFamily="18" charset="0"/>
              </a:defRPr>
            </a:lvl1pPr>
            <a:lvl2pPr marL="742950" indent="-285750" eaLnBrk="0" hangingPunct="0">
              <a:defRPr sz="1200">
                <a:solidFill>
                  <a:schemeClr val="tx1"/>
                </a:solidFill>
                <a:latin typeface="Arial" charset="0"/>
                <a:cs typeface="Times New Roman" pitchFamily="18" charset="0"/>
              </a:defRPr>
            </a:lvl2pPr>
            <a:lvl3pPr marL="1143000" indent="-228600" eaLnBrk="0" hangingPunct="0">
              <a:defRPr sz="1200">
                <a:solidFill>
                  <a:schemeClr val="tx1"/>
                </a:solidFill>
                <a:latin typeface="Arial" charset="0"/>
                <a:cs typeface="Times New Roman" pitchFamily="18" charset="0"/>
              </a:defRPr>
            </a:lvl3pPr>
            <a:lvl4pPr marL="1600200" indent="-228600" eaLnBrk="0" hangingPunct="0">
              <a:defRPr sz="1200">
                <a:solidFill>
                  <a:schemeClr val="tx1"/>
                </a:solidFill>
                <a:latin typeface="Arial" charset="0"/>
                <a:cs typeface="Times New Roman" pitchFamily="18" charset="0"/>
              </a:defRPr>
            </a:lvl4pPr>
            <a:lvl5pPr marL="2057400" indent="-228600" eaLnBrk="0" hangingPunct="0">
              <a:defRPr sz="1200">
                <a:solidFill>
                  <a:schemeClr val="tx1"/>
                </a:solidFill>
                <a:latin typeface="Arial" charset="0"/>
                <a:cs typeface="Times New Roman" pitchFamily="18" charset="0"/>
              </a:defRPr>
            </a:lvl5pPr>
            <a:lvl6pPr marL="2514600" indent="-228600" eaLnBrk="0" fontAlgn="base" hangingPunct="0">
              <a:spcBef>
                <a:spcPct val="0"/>
              </a:spcBef>
              <a:spcAft>
                <a:spcPct val="0"/>
              </a:spcAft>
              <a:defRPr sz="1200">
                <a:solidFill>
                  <a:schemeClr val="tx1"/>
                </a:solidFill>
                <a:latin typeface="Arial" charset="0"/>
                <a:cs typeface="Times New Roman" pitchFamily="18" charset="0"/>
              </a:defRPr>
            </a:lvl6pPr>
            <a:lvl7pPr marL="2971800" indent="-228600" eaLnBrk="0" fontAlgn="base" hangingPunct="0">
              <a:spcBef>
                <a:spcPct val="0"/>
              </a:spcBef>
              <a:spcAft>
                <a:spcPct val="0"/>
              </a:spcAft>
              <a:defRPr sz="1200">
                <a:solidFill>
                  <a:schemeClr val="tx1"/>
                </a:solidFill>
                <a:latin typeface="Arial" charset="0"/>
                <a:cs typeface="Times New Roman" pitchFamily="18" charset="0"/>
              </a:defRPr>
            </a:lvl7pPr>
            <a:lvl8pPr marL="3429000" indent="-228600" eaLnBrk="0" fontAlgn="base" hangingPunct="0">
              <a:spcBef>
                <a:spcPct val="0"/>
              </a:spcBef>
              <a:spcAft>
                <a:spcPct val="0"/>
              </a:spcAft>
              <a:defRPr sz="1200">
                <a:solidFill>
                  <a:schemeClr val="tx1"/>
                </a:solidFill>
                <a:latin typeface="Arial" charset="0"/>
                <a:cs typeface="Times New Roman" pitchFamily="18" charset="0"/>
              </a:defRPr>
            </a:lvl8pPr>
            <a:lvl9pPr marL="3886200" indent="-228600" eaLnBrk="0" fontAlgn="base" hangingPunct="0">
              <a:spcBef>
                <a:spcPct val="0"/>
              </a:spcBef>
              <a:spcAft>
                <a:spcPct val="0"/>
              </a:spcAft>
              <a:defRPr sz="1200">
                <a:solidFill>
                  <a:schemeClr val="tx1"/>
                </a:solidFill>
                <a:latin typeface="Arial" charset="0"/>
                <a:cs typeface="Times New Roman" pitchFamily="18"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0000"/>
                </a:solidFill>
                <a:effectLst/>
                <a:uLnTx/>
                <a:uFillTx/>
                <a:latin typeface="Arial" charset="0"/>
                <a:cs typeface="Times New Roman" pitchFamily="18" charset="0"/>
              </a:rPr>
              <a:t>C O R E</a:t>
            </a:r>
          </a:p>
        </p:txBody>
      </p:sp>
      <p:sp>
        <p:nvSpPr>
          <p:cNvPr id="16" name="Rectangle 64">
            <a:extLst>
              <a:ext uri="{FF2B5EF4-FFF2-40B4-BE49-F238E27FC236}">
                <a16:creationId xmlns:a16="http://schemas.microsoft.com/office/drawing/2014/main" id="{0520CC67-0E9B-C050-B8C9-B3744FCFC1C1}"/>
              </a:ext>
            </a:extLst>
          </p:cNvPr>
          <p:cNvSpPr>
            <a:spLocks noChangeArrowheads="1"/>
          </p:cNvSpPr>
          <p:nvPr/>
        </p:nvSpPr>
        <p:spPr bwMode="auto">
          <a:xfrm>
            <a:off x="8738241" y="903291"/>
            <a:ext cx="1117600" cy="396875"/>
          </a:xfrm>
          <a:prstGeom prst="rect">
            <a:avLst/>
          </a:prstGeom>
          <a:solidFill>
            <a:schemeClr val="accent1">
              <a:alpha val="74901"/>
            </a:schemeClr>
          </a:solidFill>
          <a:ln>
            <a:noFill/>
          </a:ln>
          <a:effectLst/>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62AC86"/>
                </a:solidFill>
                <a:effectLst/>
                <a:uLnTx/>
                <a:uFillTx/>
              </a:rPr>
              <a:t> </a:t>
            </a:r>
          </a:p>
        </p:txBody>
      </p:sp>
      <p:sp>
        <p:nvSpPr>
          <p:cNvPr id="17" name="Rectangle 65">
            <a:extLst>
              <a:ext uri="{FF2B5EF4-FFF2-40B4-BE49-F238E27FC236}">
                <a16:creationId xmlns:a16="http://schemas.microsoft.com/office/drawing/2014/main" id="{2CC82225-AFE0-B602-4926-97886828223E}"/>
              </a:ext>
            </a:extLst>
          </p:cNvPr>
          <p:cNvSpPr>
            <a:spLocks noChangeArrowheads="1"/>
          </p:cNvSpPr>
          <p:nvPr/>
        </p:nvSpPr>
        <p:spPr bwMode="auto">
          <a:xfrm>
            <a:off x="8747766" y="896941"/>
            <a:ext cx="1108075" cy="2411412"/>
          </a:xfrm>
          <a:prstGeom prst="rect">
            <a:avLst/>
          </a:prstGeom>
          <a:noFill/>
          <a:ln w="38100">
            <a:solidFill>
              <a:schemeClr val="accent1"/>
            </a:solidFill>
            <a:prstDash val="lgDash"/>
            <a:miter lim="800000"/>
            <a:headEnd/>
            <a:tailEnd/>
          </a:ln>
          <a:effectLst/>
        </p:spPr>
        <p:txBody>
          <a:bodyPr wrap="none"/>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rPr>
              <a:t>C O A T</a:t>
            </a:r>
          </a:p>
        </p:txBody>
      </p:sp>
      <p:grpSp>
        <p:nvGrpSpPr>
          <p:cNvPr id="19" name="Group 46">
            <a:extLst>
              <a:ext uri="{FF2B5EF4-FFF2-40B4-BE49-F238E27FC236}">
                <a16:creationId xmlns:a16="http://schemas.microsoft.com/office/drawing/2014/main" id="{DAF3D373-0DA9-1BC8-A143-0F7B98C1C4C7}"/>
              </a:ext>
            </a:extLst>
          </p:cNvPr>
          <p:cNvGrpSpPr>
            <a:grpSpLocks/>
          </p:cNvGrpSpPr>
          <p:nvPr/>
        </p:nvGrpSpPr>
        <p:grpSpPr bwMode="auto">
          <a:xfrm>
            <a:off x="9019478" y="4145285"/>
            <a:ext cx="2188423" cy="1809424"/>
            <a:chOff x="0" y="0"/>
            <a:chExt cx="6233" cy="5154"/>
          </a:xfrm>
        </p:grpSpPr>
        <p:pic>
          <p:nvPicPr>
            <p:cNvPr id="21" name="SisImage15">
              <a:extLst>
                <a:ext uri="{FF2B5EF4-FFF2-40B4-BE49-F238E27FC236}">
                  <a16:creationId xmlns:a16="http://schemas.microsoft.com/office/drawing/2014/main" id="{3B40A3E9-95B7-4C5F-33CF-21C50BC82CFD}"/>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0" y="0"/>
              <a:ext cx="6233" cy="4669"/>
            </a:xfrm>
            <a:prstGeom prst="rect">
              <a:avLst/>
            </a:prstGeom>
            <a:noFill/>
            <a:ln w="38100">
              <a:solidFill>
                <a:schemeClr val="accent1"/>
              </a:solidFill>
              <a:prstDash val="dash"/>
            </a:ln>
            <a:extLst>
              <a:ext uri="{909E8E84-426E-40DD-AFC4-6F175D3DCCD1}">
                <a14:hiddenFill xmlns:a14="http://schemas.microsoft.com/office/drawing/2010/main">
                  <a:solidFill>
                    <a:srgbClr val="000000"/>
                  </a:solidFill>
                </a14:hiddenFill>
              </a:ext>
            </a:extLst>
          </p:spPr>
        </p:pic>
        <p:pic>
          <p:nvPicPr>
            <p:cNvPr id="22" name="Picture 49">
              <a:extLst>
                <a:ext uri="{FF2B5EF4-FFF2-40B4-BE49-F238E27FC236}">
                  <a16:creationId xmlns:a16="http://schemas.microsoft.com/office/drawing/2014/main" id="{6A79C273-5E60-9A33-B425-C9D4EC63E9B0}"/>
                </a:ext>
              </a:extLst>
            </p:cNvPr>
            <p:cNvPicPr preferRelativeResize="0">
              <a:picLocks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419" y="4809"/>
              <a:ext cx="1700" cy="5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3" name="Text Box 48">
              <a:extLst>
                <a:ext uri="{FF2B5EF4-FFF2-40B4-BE49-F238E27FC236}">
                  <a16:creationId xmlns:a16="http://schemas.microsoft.com/office/drawing/2014/main" id="{815F53D2-3FC8-E863-DE9B-1E5E27B41FFF}"/>
                </a:ext>
              </a:extLst>
            </p:cNvPr>
            <p:cNvSpPr txBox="1">
              <a:spLocks noChangeArrowheads="1"/>
            </p:cNvSpPr>
            <p:nvPr/>
          </p:nvSpPr>
          <p:spPr bwMode="auto">
            <a:xfrm>
              <a:off x="4746" y="4875"/>
              <a:ext cx="1081" cy="25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000000"/>
                  </a:solidFill>
                  <a:effectLst/>
                  <a:latin typeface="Arial" pitchFamily="34" charset="0"/>
                  <a:ea typeface="SimSun" pitchFamily="2" charset="-122"/>
                  <a:cs typeface="Arial" pitchFamily="34" charset="0"/>
                </a:rPr>
                <a:t>10µm</a:t>
              </a:r>
              <a:endParaRPr kumimoji="0" lang="en-US" altLang="en-US" sz="1400" b="0" i="0" u="none" strike="noStrike" cap="none" normalizeH="0" baseline="0" dirty="0">
                <a:ln>
                  <a:noFill/>
                </a:ln>
                <a:solidFill>
                  <a:schemeClr val="tx1"/>
                </a:solidFill>
                <a:effectLst/>
                <a:latin typeface="Arial" pitchFamily="34" charset="0"/>
                <a:cs typeface="Arial" pitchFamily="34" charset="0"/>
              </a:endParaRPr>
            </a:p>
          </p:txBody>
        </p:sp>
        <p:sp>
          <p:nvSpPr>
            <p:cNvPr id="24" name="Text Box 47">
              <a:extLst>
                <a:ext uri="{FF2B5EF4-FFF2-40B4-BE49-F238E27FC236}">
                  <a16:creationId xmlns:a16="http://schemas.microsoft.com/office/drawing/2014/main" id="{6761A255-6B5B-18AA-2649-0B9A23C1AF71}"/>
                </a:ext>
              </a:extLst>
            </p:cNvPr>
            <p:cNvSpPr txBox="1">
              <a:spLocks noChangeArrowheads="1"/>
            </p:cNvSpPr>
            <p:nvPr/>
          </p:nvSpPr>
          <p:spPr bwMode="auto">
            <a:xfrm>
              <a:off x="69" y="4828"/>
              <a:ext cx="1740" cy="3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700" b="0" i="0" u="none" strike="noStrike" cap="none" normalizeH="0" baseline="0" dirty="0">
                  <a:ln>
                    <a:noFill/>
                  </a:ln>
                  <a:solidFill>
                    <a:srgbClr val="000000"/>
                  </a:solidFill>
                  <a:effectLst/>
                  <a:latin typeface="Arial" pitchFamily="34" charset="0"/>
                  <a:ea typeface="SimSun" pitchFamily="2" charset="-122"/>
                  <a:cs typeface="Arial" pitchFamily="34" charset="0"/>
                </a:rPr>
                <a:t>3000 : 1</a:t>
              </a:r>
              <a:endParaRPr kumimoji="0" lang="en-US" altLang="en-US" sz="1400" b="0" i="0" u="none" strike="noStrike" cap="none" normalizeH="0" baseline="0" dirty="0">
                <a:ln>
                  <a:noFill/>
                </a:ln>
                <a:solidFill>
                  <a:schemeClr val="tx1"/>
                </a:solidFill>
                <a:effectLst/>
                <a:latin typeface="Arial" pitchFamily="34" charset="0"/>
                <a:cs typeface="Arial" pitchFamily="34" charset="0"/>
              </a:endParaRPr>
            </a:p>
          </p:txBody>
        </p:sp>
      </p:grpSp>
      <p:sp>
        <p:nvSpPr>
          <p:cNvPr id="20" name="Slide Number Placeholder 19">
            <a:extLst>
              <a:ext uri="{FF2B5EF4-FFF2-40B4-BE49-F238E27FC236}">
                <a16:creationId xmlns:a16="http://schemas.microsoft.com/office/drawing/2014/main" id="{E8CC8515-5E3A-394E-C443-945B5D27869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1</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7518793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FE51068-D8AF-5888-93ED-9BF0F43BCDD5}"/>
              </a:ext>
            </a:extLst>
          </p:cNvPr>
          <p:cNvGraphicFramePr>
            <a:graphicFrameLocks noChangeAspect="1"/>
          </p:cNvGraphicFramePr>
          <p:nvPr>
            <p:custDataLst>
              <p:tags r:id="rId1"/>
            </p:custDataLst>
            <p:extLst>
              <p:ext uri="{D42A27DB-BD31-4B8C-83A1-F6EECF244321}">
                <p14:modId xmlns:p14="http://schemas.microsoft.com/office/powerpoint/2010/main" val="33084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8" name="think-cell data - do not delete" hidden="1">
                        <a:extLst>
                          <a:ext uri="{FF2B5EF4-FFF2-40B4-BE49-F238E27FC236}">
                            <a16:creationId xmlns:a16="http://schemas.microsoft.com/office/drawing/2014/main" id="{0FE51068-D8AF-5888-93ED-9BF0F43BCD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A4A0B9-5693-9928-7937-2BB6830F8EBC}"/>
              </a:ext>
            </a:extLst>
          </p:cNvPr>
          <p:cNvSpPr>
            <a:spLocks noGrp="1"/>
          </p:cNvSpPr>
          <p:nvPr>
            <p:ph type="title"/>
          </p:nvPr>
        </p:nvSpPr>
        <p:spPr/>
        <p:txBody>
          <a:bodyPr vert="horz"/>
          <a:lstStyle/>
          <a:p>
            <a:r>
              <a:rPr lang="en-US" dirty="0"/>
              <a:t>Kollicoat</a:t>
            </a:r>
            <a:r>
              <a:rPr lang="en-US" baseline="30000" dirty="0"/>
              <a:t>®</a:t>
            </a:r>
            <a:r>
              <a:rPr lang="en-US" dirty="0"/>
              <a:t> Smartseal </a:t>
            </a:r>
            <a:r>
              <a:rPr lang="en-US" sz="2800" dirty="0"/>
              <a:t>Formulation: Anti-tacking agent </a:t>
            </a:r>
            <a:endParaRPr lang="en-US" dirty="0"/>
          </a:p>
        </p:txBody>
      </p:sp>
      <p:graphicFrame>
        <p:nvGraphicFramePr>
          <p:cNvPr id="5" name="Tabelle 5">
            <a:extLst>
              <a:ext uri="{FF2B5EF4-FFF2-40B4-BE49-F238E27FC236}">
                <a16:creationId xmlns:a16="http://schemas.microsoft.com/office/drawing/2014/main" id="{53067E79-396A-897F-2910-7FE9D3D7EC3F}"/>
              </a:ext>
            </a:extLst>
          </p:cNvPr>
          <p:cNvGraphicFramePr>
            <a:graphicFrameLocks noGrp="1"/>
          </p:cNvGraphicFramePr>
          <p:nvPr>
            <p:extLst>
              <p:ext uri="{D42A27DB-BD31-4B8C-83A1-F6EECF244321}">
                <p14:modId xmlns:p14="http://schemas.microsoft.com/office/powerpoint/2010/main" val="3123376528"/>
              </p:ext>
            </p:extLst>
          </p:nvPr>
        </p:nvGraphicFramePr>
        <p:xfrm>
          <a:off x="447675" y="2415301"/>
          <a:ext cx="11296649" cy="2743320"/>
        </p:xfrm>
        <a:graphic>
          <a:graphicData uri="http://schemas.openxmlformats.org/drawingml/2006/table">
            <a:tbl>
              <a:tblPr firstRow="1" bandRow="1">
                <a:tableStyleId>{3B4B98B0-60AC-42C2-AFA5-B58CD77FA1E5}</a:tableStyleId>
              </a:tblPr>
              <a:tblGrid>
                <a:gridCol w="1419225">
                  <a:extLst>
                    <a:ext uri="{9D8B030D-6E8A-4147-A177-3AD203B41FA5}">
                      <a16:colId xmlns:a16="http://schemas.microsoft.com/office/drawing/2014/main" val="20000"/>
                    </a:ext>
                  </a:extLst>
                </a:gridCol>
                <a:gridCol w="5400883">
                  <a:extLst>
                    <a:ext uri="{9D8B030D-6E8A-4147-A177-3AD203B41FA5}">
                      <a16:colId xmlns:a16="http://schemas.microsoft.com/office/drawing/2014/main" val="20001"/>
                    </a:ext>
                  </a:extLst>
                </a:gridCol>
                <a:gridCol w="4476541">
                  <a:extLst>
                    <a:ext uri="{9D8B030D-6E8A-4147-A177-3AD203B41FA5}">
                      <a16:colId xmlns:a16="http://schemas.microsoft.com/office/drawing/2014/main" val="20002"/>
                    </a:ext>
                  </a:extLst>
                </a:gridCol>
              </a:tblGrid>
              <a:tr h="408630">
                <a:tc>
                  <a:txBody>
                    <a:bodyPr/>
                    <a:lstStyle/>
                    <a:p>
                      <a:pPr algn="ctr"/>
                      <a:r>
                        <a:rPr lang="en-US" sz="1800" noProof="0" dirty="0"/>
                        <a:t>Preference Order</a:t>
                      </a:r>
                      <a:endParaRPr lang="en-US" sz="1800" noProof="0" dirty="0">
                        <a:solidFill>
                          <a:schemeClr val="accent1"/>
                        </a:solidFill>
                      </a:endParaRPr>
                    </a:p>
                  </a:txBody>
                  <a:tcPr marL="91419" marR="91419" marT="45730" marB="45730" anchor="ctr"/>
                </a:tc>
                <a:tc>
                  <a:txBody>
                    <a:bodyPr/>
                    <a:lstStyle/>
                    <a:p>
                      <a:pPr algn="ctr"/>
                      <a:r>
                        <a:rPr lang="en-US" sz="1800" noProof="0" dirty="0"/>
                        <a:t>Procedure</a:t>
                      </a:r>
                      <a:endParaRPr lang="en-US" sz="1800" noProof="0" dirty="0">
                        <a:solidFill>
                          <a:schemeClr val="accent1"/>
                        </a:solidFill>
                      </a:endParaRPr>
                    </a:p>
                  </a:txBody>
                  <a:tcPr marL="91419" marR="91419" marT="45730" marB="45730" anchor="ctr"/>
                </a:tc>
                <a:tc>
                  <a:txBody>
                    <a:bodyPr/>
                    <a:lstStyle/>
                    <a:p>
                      <a:pPr algn="ctr"/>
                      <a:r>
                        <a:rPr lang="en-US" sz="1800" noProof="0" dirty="0"/>
                        <a:t>Advantage</a:t>
                      </a:r>
                      <a:endParaRPr lang="en-US" sz="1800" noProof="0" dirty="0">
                        <a:solidFill>
                          <a:schemeClr val="accent1"/>
                        </a:solidFill>
                      </a:endParaRPr>
                    </a:p>
                  </a:txBody>
                  <a:tcPr marL="91419" marR="91419" marT="45730" marB="45730" anchor="ctr"/>
                </a:tc>
                <a:extLst>
                  <a:ext uri="{0D108BD9-81ED-4DB2-BD59-A6C34878D82A}">
                    <a16:rowId xmlns:a16="http://schemas.microsoft.com/office/drawing/2014/main" val="10000"/>
                  </a:ext>
                </a:extLst>
              </a:tr>
              <a:tr h="345215">
                <a:tc>
                  <a:txBody>
                    <a:bodyPr/>
                    <a:lstStyle/>
                    <a:p>
                      <a:pPr algn="ctr"/>
                      <a:r>
                        <a:rPr lang="en-US" sz="1800" noProof="0" dirty="0"/>
                        <a:t>1</a:t>
                      </a:r>
                    </a:p>
                  </a:txBody>
                  <a:tcPr marL="91419" marR="91419" marT="45730" marB="45730" anchor="ctr"/>
                </a:tc>
                <a:tc>
                  <a:txBody>
                    <a:bodyPr/>
                    <a:lstStyle/>
                    <a:p>
                      <a:pPr algn="l"/>
                      <a:r>
                        <a:rPr lang="en-US" sz="1800" noProof="0" dirty="0"/>
                        <a:t>Add talc to formulation or blend afterwards</a:t>
                      </a:r>
                    </a:p>
                  </a:txBody>
                  <a:tcPr marL="91419" marR="91419" marT="45730" marB="45730" anchor="ctr"/>
                </a:tc>
                <a:tc>
                  <a:txBody>
                    <a:bodyPr/>
                    <a:lstStyle/>
                    <a:p>
                      <a:pPr algn="l"/>
                      <a:r>
                        <a:rPr lang="en-US" sz="1800" noProof="0" dirty="0"/>
                        <a:t>Easiest application + excellent results</a:t>
                      </a:r>
                    </a:p>
                  </a:txBody>
                  <a:tcPr marL="91419" marR="91419" marT="45730" marB="45730" anchor="ctr"/>
                </a:tc>
                <a:extLst>
                  <a:ext uri="{0D108BD9-81ED-4DB2-BD59-A6C34878D82A}">
                    <a16:rowId xmlns:a16="http://schemas.microsoft.com/office/drawing/2014/main" val="3479926484"/>
                  </a:ext>
                </a:extLst>
              </a:tr>
              <a:tr h="345215">
                <a:tc>
                  <a:txBody>
                    <a:bodyPr/>
                    <a:lstStyle/>
                    <a:p>
                      <a:pPr algn="ctr"/>
                      <a:r>
                        <a:rPr lang="en-US" sz="1800" noProof="0" dirty="0"/>
                        <a:t>2</a:t>
                      </a:r>
                    </a:p>
                  </a:txBody>
                  <a:tcPr marL="91419" marR="91419" marT="45730" marB="45730" anchor="ctr"/>
                </a:tc>
                <a:tc>
                  <a:txBody>
                    <a:bodyPr/>
                    <a:lstStyle/>
                    <a:p>
                      <a:pPr algn="l"/>
                      <a:r>
                        <a:rPr lang="en-US" sz="1800" noProof="0" dirty="0"/>
                        <a:t>Magnesium stearate dry blending</a:t>
                      </a:r>
                    </a:p>
                  </a:txBody>
                  <a:tcPr marL="91419" marR="91419" marT="45730" marB="45730" anchor="ctr"/>
                </a:tc>
                <a:tc>
                  <a:txBody>
                    <a:bodyPr/>
                    <a:lstStyle/>
                    <a:p>
                      <a:pPr algn="l"/>
                      <a:r>
                        <a:rPr lang="en-US" sz="1800" noProof="0" dirty="0"/>
                        <a:t>Easiest</a:t>
                      </a:r>
                      <a:r>
                        <a:rPr lang="en-US" sz="1800" baseline="0" noProof="0" dirty="0"/>
                        <a:t> </a:t>
                      </a:r>
                      <a:r>
                        <a:rPr lang="en-US" sz="1800" noProof="0" dirty="0"/>
                        <a:t>application</a:t>
                      </a:r>
                    </a:p>
                  </a:txBody>
                  <a:tcPr marL="91419" marR="91419" marT="45730" marB="45730" anchor="ctr"/>
                </a:tc>
                <a:extLst>
                  <a:ext uri="{0D108BD9-81ED-4DB2-BD59-A6C34878D82A}">
                    <a16:rowId xmlns:a16="http://schemas.microsoft.com/office/drawing/2014/main" val="10001"/>
                  </a:ext>
                </a:extLst>
              </a:tr>
              <a:tr h="316789">
                <a:tc>
                  <a:txBody>
                    <a:bodyPr/>
                    <a:lstStyle/>
                    <a:p>
                      <a:pPr algn="ctr"/>
                      <a:r>
                        <a:rPr lang="en-US" sz="1800" noProof="0" dirty="0"/>
                        <a:t>3</a:t>
                      </a:r>
                    </a:p>
                  </a:txBody>
                  <a:tcPr marL="91419" marR="91419" marT="45730" marB="45730" anchor="ctr"/>
                </a:tc>
                <a:tc>
                  <a:txBody>
                    <a:bodyPr/>
                    <a:lstStyle/>
                    <a:p>
                      <a:pPr algn="l"/>
                      <a:r>
                        <a:rPr lang="en-US" sz="1800" noProof="0" dirty="0"/>
                        <a:t>Kollicoat</a:t>
                      </a:r>
                      <a:r>
                        <a:rPr lang="en-US" sz="1800" baseline="30000" noProof="0" dirty="0"/>
                        <a:t>®</a:t>
                      </a:r>
                      <a:r>
                        <a:rPr lang="en-US" sz="1800" baseline="0" noProof="0" dirty="0"/>
                        <a:t> IR + talc  (after coating)</a:t>
                      </a:r>
                      <a:endParaRPr lang="en-US" sz="1800" noProof="0" dirty="0"/>
                    </a:p>
                  </a:txBody>
                  <a:tcPr marL="91419" marR="91419" marT="45730" marB="45730" anchor="ctr"/>
                </a:tc>
                <a:tc>
                  <a:txBody>
                    <a:bodyPr/>
                    <a:lstStyle/>
                    <a:p>
                      <a:pPr algn="l" defTabSz="914400" rtl="0" eaLnBrk="1" latinLnBrk="0" hangingPunct="1"/>
                      <a:r>
                        <a:rPr lang="en-US" sz="1800" kern="1200" noProof="0" dirty="0"/>
                        <a:t>Excellent results</a:t>
                      </a:r>
                      <a:endParaRPr lang="en-US" sz="1800" kern="1200" noProof="0" dirty="0">
                        <a:solidFill>
                          <a:schemeClr val="dk1"/>
                        </a:solidFill>
                        <a:latin typeface="+mn-lt"/>
                        <a:ea typeface="+mn-ea"/>
                        <a:cs typeface="+mn-cs"/>
                      </a:endParaRPr>
                    </a:p>
                  </a:txBody>
                  <a:tcPr marL="91419" marR="91419" marT="45730" marB="45730" anchor="ctr"/>
                </a:tc>
                <a:extLst>
                  <a:ext uri="{0D108BD9-81ED-4DB2-BD59-A6C34878D82A}">
                    <a16:rowId xmlns:a16="http://schemas.microsoft.com/office/drawing/2014/main" val="10002"/>
                  </a:ext>
                </a:extLst>
              </a:tr>
              <a:tr h="297781">
                <a:tc>
                  <a:txBody>
                    <a:bodyPr/>
                    <a:lstStyle/>
                    <a:p>
                      <a:pPr algn="ctr"/>
                      <a:r>
                        <a:rPr lang="en-US" sz="1800" noProof="0" dirty="0"/>
                        <a:t>4</a:t>
                      </a:r>
                    </a:p>
                  </a:txBody>
                  <a:tcPr marL="91419" marR="91419" marT="45730" marB="4573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noProof="0" dirty="0"/>
                        <a:t>Magnesium stearate</a:t>
                      </a:r>
                      <a:r>
                        <a:rPr lang="en-US" sz="1800" baseline="0" noProof="0" dirty="0"/>
                        <a:t> + Kolliphor</a:t>
                      </a:r>
                      <a:r>
                        <a:rPr lang="en-US" sz="1800" baseline="30000" noProof="0" dirty="0"/>
                        <a:t>®</a:t>
                      </a:r>
                      <a:r>
                        <a:rPr lang="en-US" sz="1800" baseline="0" noProof="0" dirty="0"/>
                        <a:t> SLS (top coating)</a:t>
                      </a:r>
                      <a:endParaRPr lang="en-US" sz="1800" noProof="0" dirty="0"/>
                    </a:p>
                  </a:txBody>
                  <a:tcPr marL="91419" marR="91419" marT="45730" marB="45730" anchor="ctr"/>
                </a:tc>
                <a:tc>
                  <a:txBody>
                    <a:bodyPr/>
                    <a:lstStyle/>
                    <a:p>
                      <a:pPr algn="l" defTabSz="914400" rtl="0" eaLnBrk="1" latinLnBrk="0" hangingPunct="1"/>
                      <a:r>
                        <a:rPr lang="en-US" sz="1800" kern="1200" noProof="0" dirty="0"/>
                        <a:t>Excellent results</a:t>
                      </a:r>
                      <a:endParaRPr lang="en-US" sz="1800" kern="1200" noProof="0" dirty="0">
                        <a:solidFill>
                          <a:schemeClr val="dk1"/>
                        </a:solidFill>
                        <a:latin typeface="+mn-lt"/>
                        <a:ea typeface="+mn-ea"/>
                        <a:cs typeface="+mn-cs"/>
                      </a:endParaRPr>
                    </a:p>
                  </a:txBody>
                  <a:tcPr marL="91419" marR="91419" marT="45730" marB="45730" anchor="ctr"/>
                </a:tc>
                <a:extLst>
                  <a:ext uri="{0D108BD9-81ED-4DB2-BD59-A6C34878D82A}">
                    <a16:rowId xmlns:a16="http://schemas.microsoft.com/office/drawing/2014/main" val="10003"/>
                  </a:ext>
                </a:extLst>
              </a:tr>
              <a:tr h="576883">
                <a:tc>
                  <a:txBody>
                    <a:bodyPr/>
                    <a:lstStyle/>
                    <a:p>
                      <a:pPr algn="ctr"/>
                      <a:r>
                        <a:rPr lang="en-US" sz="1800" noProof="0" dirty="0"/>
                        <a:t>5</a:t>
                      </a:r>
                    </a:p>
                  </a:txBody>
                  <a:tcPr marL="91419" marR="91419" marT="45730" marB="45730" anchor="ctr"/>
                </a:tc>
                <a:tc>
                  <a:txBody>
                    <a:bodyPr/>
                    <a:lstStyle/>
                    <a:p>
                      <a:pPr algn="l"/>
                      <a:r>
                        <a:rPr lang="en-US" sz="1800" noProof="0" dirty="0" err="1"/>
                        <a:t>Kollicoat</a:t>
                      </a:r>
                      <a:r>
                        <a:rPr lang="en-US" sz="1800" baseline="30000" noProof="0" dirty="0"/>
                        <a:t>®</a:t>
                      </a:r>
                      <a:r>
                        <a:rPr lang="en-US" sz="1800" baseline="0" noProof="0" dirty="0"/>
                        <a:t> IR </a:t>
                      </a:r>
                      <a:r>
                        <a:rPr lang="en-US" sz="1800" noProof="0" dirty="0"/>
                        <a:t>top coating</a:t>
                      </a:r>
                    </a:p>
                  </a:txBody>
                  <a:tcPr marL="91419" marR="91419" marT="45730" marB="45730" anchor="ctr"/>
                </a:tc>
                <a:tc>
                  <a:txBody>
                    <a:bodyPr/>
                    <a:lstStyle/>
                    <a:p>
                      <a:pPr marL="0" indent="0" algn="l">
                        <a:buFontTx/>
                        <a:buNone/>
                      </a:pPr>
                      <a:r>
                        <a:rPr lang="en-US" sz="1800" baseline="0" noProof="0" dirty="0"/>
                        <a:t>Excellent results, might be more difficult to apply to small particles than proposal #3</a:t>
                      </a:r>
                    </a:p>
                  </a:txBody>
                  <a:tcPr marL="91419" marR="91419" marT="45730" marB="45730" anchor="ctr"/>
                </a:tc>
                <a:extLst>
                  <a:ext uri="{0D108BD9-81ED-4DB2-BD59-A6C34878D82A}">
                    <a16:rowId xmlns:a16="http://schemas.microsoft.com/office/drawing/2014/main" val="10004"/>
                  </a:ext>
                </a:extLst>
              </a:tr>
            </a:tbl>
          </a:graphicData>
        </a:graphic>
      </p:graphicFrame>
      <p:sp>
        <p:nvSpPr>
          <p:cNvPr id="6" name="Text Box 9">
            <a:extLst>
              <a:ext uri="{FF2B5EF4-FFF2-40B4-BE49-F238E27FC236}">
                <a16:creationId xmlns:a16="http://schemas.microsoft.com/office/drawing/2014/main" id="{28B94690-645C-1368-9C02-3D4605103ADE}"/>
              </a:ext>
            </a:extLst>
          </p:cNvPr>
          <p:cNvSpPr txBox="1">
            <a:spLocks noChangeArrowheads="1"/>
          </p:cNvSpPr>
          <p:nvPr/>
        </p:nvSpPr>
        <p:spPr bwMode="auto">
          <a:xfrm>
            <a:off x="447676" y="5467978"/>
            <a:ext cx="11391398" cy="646331"/>
          </a:xfrm>
          <a:prstGeom prst="rect">
            <a:avLst/>
          </a:prstGeom>
          <a:noFill/>
          <a:ln>
            <a:noFill/>
          </a:ln>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1800" b="0" i="0" u="none" strike="noStrike" kern="1200" cap="none" spc="0" normalizeH="0" baseline="0" noProof="0" dirty="0">
                <a:ln>
                  <a:noFill/>
                </a:ln>
                <a:solidFill>
                  <a:srgbClr val="000000"/>
                </a:solidFill>
                <a:effectLst/>
                <a:uLnTx/>
                <a:uFillTx/>
                <a:latin typeface="Arial" panose="020B0604020202020204"/>
                <a:cs typeface="Arial"/>
              </a:rPr>
              <a:t>It is recommended the use of </a:t>
            </a:r>
            <a:r>
              <a:rPr kumimoji="0" lang="en-US" altLang="de-DE" sz="1800" b="1" i="0" u="none" strike="noStrike" kern="1200" cap="none" spc="0" normalizeH="0" baseline="0" noProof="0" dirty="0">
                <a:ln>
                  <a:noFill/>
                </a:ln>
                <a:solidFill>
                  <a:srgbClr val="000000"/>
                </a:solidFill>
                <a:effectLst/>
                <a:uLnTx/>
                <a:uFillTx/>
                <a:latin typeface="Arial" panose="020B0604020202020204"/>
                <a:cs typeface="Arial"/>
              </a:rPr>
              <a:t>2 – 8% w/w talc in the total formulation</a:t>
            </a:r>
            <a:r>
              <a:rPr kumimoji="0" lang="en-US" altLang="de-DE" sz="1800" b="0" i="0" u="none" strike="noStrike" kern="1200" cap="none" spc="0" normalizeH="0" baseline="0" noProof="0" dirty="0">
                <a:ln>
                  <a:noFill/>
                </a:ln>
                <a:solidFill>
                  <a:srgbClr val="000000"/>
                </a:solidFill>
                <a:effectLst/>
                <a:uLnTx/>
                <a:uFillTx/>
                <a:latin typeface="Arial" panose="020B0604020202020204"/>
                <a:cs typeface="Arial"/>
              </a:rPr>
              <a:t>. </a:t>
            </a:r>
            <a:r>
              <a:rPr lang="en-US" altLang="de-DE" dirty="0">
                <a:solidFill>
                  <a:srgbClr val="000000"/>
                </a:solidFill>
                <a:latin typeface="Arial" panose="020B0604020202020204"/>
                <a:cs typeface="Arial"/>
              </a:rPr>
              <a:t>The less the better for the film functionality.</a:t>
            </a:r>
            <a:endParaRPr kumimoji="0" lang="en-US" altLang="de-DE" sz="18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TextBox 6">
            <a:extLst>
              <a:ext uri="{FF2B5EF4-FFF2-40B4-BE49-F238E27FC236}">
                <a16:creationId xmlns:a16="http://schemas.microsoft.com/office/drawing/2014/main" id="{EDA10E72-6C6A-60DC-C032-2C13E80AB56B}"/>
              </a:ext>
            </a:extLst>
          </p:cNvPr>
          <p:cNvSpPr txBox="1"/>
          <p:nvPr/>
        </p:nvSpPr>
        <p:spPr>
          <a:xfrm>
            <a:off x="447675" y="1422380"/>
            <a:ext cx="11296649" cy="553998"/>
          </a:xfrm>
          <a:prstGeom prst="rect">
            <a:avLst/>
          </a:prstGeom>
          <a:noFill/>
        </p:spPr>
        <p:txBody>
          <a:bodyPr wrap="square" lIns="0" tIns="0" rIns="0" bIns="0" rtlCol="0">
            <a:spAutoFit/>
          </a:bodyPr>
          <a:lstStyle/>
          <a:p>
            <a:pPr marR="0" lvl="0" algn="ctr" defTabSz="914400" rtl="0" eaLnBrk="1" fontAlgn="auto" latinLnBrk="0" hangingPunct="1">
              <a:lnSpc>
                <a:spcPct val="100000"/>
              </a:lnSpc>
              <a:spcBef>
                <a:spcPts val="0"/>
              </a:spcBef>
              <a:spcAft>
                <a:spcPts val="0"/>
              </a:spcAft>
              <a:buClrTx/>
              <a:buSzTx/>
              <a:tabLst/>
              <a:defRPr/>
            </a:pPr>
            <a:r>
              <a:rPr kumimoji="0" lang="en-US" b="0" i="0" u="none" strike="noStrike" kern="1200" cap="none" spc="0" normalizeH="0" baseline="0" noProof="0" dirty="0">
                <a:ln>
                  <a:noFill/>
                </a:ln>
                <a:solidFill>
                  <a:srgbClr val="000000"/>
                </a:solidFill>
                <a:effectLst/>
                <a:uLnTx/>
                <a:uFillTx/>
                <a:latin typeface="Arial" panose="020B0604020202020204"/>
                <a:cs typeface="Arial"/>
              </a:rPr>
              <a:t>An anti-tacking agent is recommended to reduce particles, pellets, and tablets sticking, especially </a:t>
            </a:r>
            <a:r>
              <a:rPr kumimoji="0" lang="en-US" b="1" i="0" u="none" strike="noStrike" kern="1200" cap="none" spc="0" normalizeH="0" baseline="0" noProof="0" dirty="0">
                <a:ln>
                  <a:noFill/>
                </a:ln>
                <a:solidFill>
                  <a:srgbClr val="000000"/>
                </a:solidFill>
                <a:effectLst/>
                <a:uLnTx/>
                <a:uFillTx/>
                <a:latin typeface="Arial" panose="020B0604020202020204"/>
                <a:cs typeface="Arial"/>
              </a:rPr>
              <a:t>after the coating process. </a:t>
            </a:r>
          </a:p>
        </p:txBody>
      </p:sp>
      <p:sp>
        <p:nvSpPr>
          <p:cNvPr id="9" name="Footer Placeholder 11">
            <a:extLst>
              <a:ext uri="{FF2B5EF4-FFF2-40B4-BE49-F238E27FC236}">
                <a16:creationId xmlns:a16="http://schemas.microsoft.com/office/drawing/2014/main" id="{F289E8D8-0557-E563-B4FA-AFED273BD66C}"/>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4" name="Rectangle 3">
            <a:extLst>
              <a:ext uri="{FF2B5EF4-FFF2-40B4-BE49-F238E27FC236}">
                <a16:creationId xmlns:a16="http://schemas.microsoft.com/office/drawing/2014/main" id="{58433931-2299-92B7-99A4-8620B040FFBE}"/>
              </a:ext>
            </a:extLst>
          </p:cNvPr>
          <p:cNvSpPr/>
          <p:nvPr/>
        </p:nvSpPr>
        <p:spPr>
          <a:xfrm>
            <a:off x="300225" y="2981324"/>
            <a:ext cx="11538850" cy="1219201"/>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Slide Number Placeholder 11">
            <a:extLst>
              <a:ext uri="{FF2B5EF4-FFF2-40B4-BE49-F238E27FC236}">
                <a16:creationId xmlns:a16="http://schemas.microsoft.com/office/drawing/2014/main" id="{31698C09-3A05-1200-7FF3-EEFA0225635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2</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8668344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9C95884-006B-E278-20F0-5E3E5A0B3B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think-cell data - do not delete" hidden="1">
                        <a:extLst>
                          <a:ext uri="{FF2B5EF4-FFF2-40B4-BE49-F238E27FC236}">
                            <a16:creationId xmlns:a16="http://schemas.microsoft.com/office/drawing/2014/main" id="{D9C95884-006B-E278-20F0-5E3E5A0B3B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7F54E9-522F-6E1B-5EB9-531C94F888E7}"/>
              </a:ext>
            </a:extLst>
          </p:cNvPr>
          <p:cNvSpPr>
            <a:spLocks noGrp="1"/>
          </p:cNvSpPr>
          <p:nvPr>
            <p:ph type="title"/>
          </p:nvPr>
        </p:nvSpPr>
        <p:spPr/>
        <p:txBody>
          <a:bodyPr vert="horz"/>
          <a:lstStyle/>
          <a:p>
            <a:r>
              <a:rPr lang="en-US" dirty="0"/>
              <a:t>Kollicoat</a:t>
            </a:r>
            <a:r>
              <a:rPr lang="en-US" baseline="30000" dirty="0"/>
              <a:t>®</a:t>
            </a:r>
            <a:r>
              <a:rPr lang="en-US" dirty="0"/>
              <a:t> Smartseal </a:t>
            </a:r>
            <a:r>
              <a:rPr lang="en-US" sz="2800" dirty="0"/>
              <a:t>Formulation: Anti-tacking agent </a:t>
            </a:r>
            <a:endParaRPr lang="en-US" dirty="0"/>
          </a:p>
        </p:txBody>
      </p:sp>
      <p:sp>
        <p:nvSpPr>
          <p:cNvPr id="5" name="Slide Number Placeholder 4">
            <a:extLst>
              <a:ext uri="{FF2B5EF4-FFF2-40B4-BE49-F238E27FC236}">
                <a16:creationId xmlns:a16="http://schemas.microsoft.com/office/drawing/2014/main" id="{F333A39D-5441-57F2-EBED-D7D1AF0FCE2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3</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10" name="Footer Placeholder 11">
            <a:extLst>
              <a:ext uri="{FF2B5EF4-FFF2-40B4-BE49-F238E27FC236}">
                <a16:creationId xmlns:a16="http://schemas.microsoft.com/office/drawing/2014/main" id="{E8FBF349-9B27-D08F-5286-548A09CD1491}"/>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graphicFrame>
        <p:nvGraphicFramePr>
          <p:cNvPr id="4" name="Diagram 3">
            <a:extLst>
              <a:ext uri="{FF2B5EF4-FFF2-40B4-BE49-F238E27FC236}">
                <a16:creationId xmlns:a16="http://schemas.microsoft.com/office/drawing/2014/main" id="{1E87D81F-EA7D-8873-F6D4-8476E17A6E61}"/>
              </a:ext>
            </a:extLst>
          </p:cNvPr>
          <p:cNvGraphicFramePr/>
          <p:nvPr/>
        </p:nvGraphicFramePr>
        <p:xfrm>
          <a:off x="2241652" y="3810178"/>
          <a:ext cx="7708695" cy="61128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6" name="Grafik 8">
            <a:extLst>
              <a:ext uri="{FF2B5EF4-FFF2-40B4-BE49-F238E27FC236}">
                <a16:creationId xmlns:a16="http://schemas.microsoft.com/office/drawing/2014/main" id="{B9B7A7D0-8C2B-359B-98D6-8A77FE6D8FFF}"/>
              </a:ext>
            </a:extLst>
          </p:cNvPr>
          <p:cNvPicPr>
            <a:picLocks noChangeAspect="1"/>
          </p:cNvPicPr>
          <p:nvPr/>
        </p:nvPicPr>
        <p:blipFill rotWithShape="1">
          <a:blip r:embed="rId11" cstate="email">
            <a:extLst>
              <a:ext uri="{BEBA8EAE-BF5A-486C-A8C5-ECC9F3942E4B}">
                <a14:imgProps xmlns:a14="http://schemas.microsoft.com/office/drawing/2010/main">
                  <a14:imgLayer r:embed="rId12">
                    <a14:imgEffect>
                      <a14:backgroundRemoval t="3625" b="95015" l="10026" r="89710">
                        <a14:foregroundMark x1="32190" y1="8610" x2="32190" y2="8610"/>
                        <a14:foregroundMark x1="13984" y1="8006" x2="40897" y2="3625"/>
                        <a14:foregroundMark x1="40897" y1="3625" x2="63588" y2="9063"/>
                        <a14:foregroundMark x1="30871" y1="81571" x2="46702" y2="95015"/>
                        <a14:foregroundMark x1="46702" y1="95015" x2="74142" y2="88822"/>
                        <a14:foregroundMark x1="74670" y1="78399" x2="74934" y2="73716"/>
                        <a14:foregroundMark x1="74670" y1="79909" x2="74670" y2="78399"/>
                        <a14:foregroundMark x1="74142" y1="88822" x2="74670" y2="79909"/>
                        <a14:backgroundMark x1="78100" y1="78399" x2="78100" y2="78399"/>
                        <a14:backgroundMark x1="74934" y1="79909" x2="74934" y2="79909"/>
                        <a14:backgroundMark x1="78100" y1="69033" x2="78100" y2="69033"/>
                        <a14:backgroundMark x1="75989" y1="61934" x2="75989" y2="61934"/>
                        <a14:backgroundMark x1="75989" y1="61178" x2="79947" y2="72659"/>
                        <a14:backgroundMark x1="69129" y1="8308" x2="73615" y2="28852"/>
                      </a14:backgroundRemoval>
                    </a14:imgEffect>
                  </a14:imgLayer>
                </a14:imgProps>
              </a:ext>
              <a:ext uri="{28A0092B-C50C-407E-A947-70E740481C1C}">
                <a14:useLocalDpi xmlns:a14="http://schemas.microsoft.com/office/drawing/2010/main"/>
              </a:ext>
            </a:extLst>
          </a:blip>
          <a:srcRect/>
          <a:stretch/>
        </p:blipFill>
        <p:spPr>
          <a:xfrm>
            <a:off x="2765850" y="1408361"/>
            <a:ext cx="1396334" cy="2361067"/>
          </a:xfrm>
          <a:prstGeom prst="rect">
            <a:avLst/>
          </a:prstGeom>
        </p:spPr>
      </p:pic>
      <p:pic>
        <p:nvPicPr>
          <p:cNvPr id="8" name="Grafik 8">
            <a:extLst>
              <a:ext uri="{FF2B5EF4-FFF2-40B4-BE49-F238E27FC236}">
                <a16:creationId xmlns:a16="http://schemas.microsoft.com/office/drawing/2014/main" id="{B5D1F831-A504-FE6F-71F7-5DB330446AE7}"/>
              </a:ext>
            </a:extLst>
          </p:cNvPr>
          <p:cNvPicPr>
            <a:picLocks noChangeAspect="1"/>
          </p:cNvPicPr>
          <p:nvPr/>
        </p:nvPicPr>
        <p:blipFill rotWithShape="1">
          <a:blip r:embed="rId13" cstate="email">
            <a:extLst>
              <a:ext uri="{BEBA8EAE-BF5A-486C-A8C5-ECC9F3942E4B}">
                <a14:imgProps xmlns:a14="http://schemas.microsoft.com/office/drawing/2010/main">
                  <a14:imgLayer r:embed="rId14">
                    <a14:imgEffect>
                      <a14:backgroundRemoval t="5882" b="93213" l="9441" r="89510">
                        <a14:foregroundMark x1="19930" y1="9201" x2="57692" y2="6033"/>
                        <a14:foregroundMark x1="57692" y1="6033" x2="69930" y2="9502"/>
                        <a14:foregroundMark x1="32517" y1="84615" x2="65385" y2="93213"/>
                        <a14:foregroundMark x1="65385" y1="93213" x2="79720" y2="78884"/>
                      </a14:backgroundRemoval>
                    </a14:imgEffect>
                  </a14:imgLayer>
                </a14:imgProps>
              </a:ext>
              <a:ext uri="{28A0092B-C50C-407E-A947-70E740481C1C}">
                <a14:useLocalDpi xmlns:a14="http://schemas.microsoft.com/office/drawing/2010/main"/>
              </a:ext>
            </a:extLst>
          </a:blip>
          <a:srcRect/>
          <a:stretch/>
        </p:blipFill>
        <p:spPr>
          <a:xfrm>
            <a:off x="4633032" y="1397408"/>
            <a:ext cx="1054440" cy="2365231"/>
          </a:xfrm>
          <a:prstGeom prst="rect">
            <a:avLst/>
          </a:prstGeom>
        </p:spPr>
      </p:pic>
      <p:pic>
        <p:nvPicPr>
          <p:cNvPr id="9" name="Grafik 8">
            <a:extLst>
              <a:ext uri="{FF2B5EF4-FFF2-40B4-BE49-F238E27FC236}">
                <a16:creationId xmlns:a16="http://schemas.microsoft.com/office/drawing/2014/main" id="{FCCEAD21-EFEA-5D1F-C656-AEADFE0DE882}"/>
              </a:ext>
            </a:extLst>
          </p:cNvPr>
          <p:cNvPicPr>
            <a:picLocks noChangeAspect="1"/>
          </p:cNvPicPr>
          <p:nvPr/>
        </p:nvPicPr>
        <p:blipFill rotWithShape="1">
          <a:blip r:embed="rId15" cstate="email">
            <a:extLst>
              <a:ext uri="{BEBA8EAE-BF5A-486C-A8C5-ECC9F3942E4B}">
                <a14:imgProps xmlns:a14="http://schemas.microsoft.com/office/drawing/2010/main">
                  <a14:imgLayer r:embed="rId16">
                    <a14:imgEffect>
                      <a14:backgroundRemoval t="9091" b="89959" l="9689" r="89273">
                        <a14:foregroundMark x1="42907" y1="10855" x2="42907" y2="10855"/>
                        <a14:foregroundMark x1="78893" y1="10855" x2="40138" y2="9227"/>
                        <a14:foregroundMark x1="40138" y1="9227" x2="68166" y2="14383"/>
                        <a14:foregroundMark x1="87197" y1="16282" x2="80623" y2="38942"/>
                        <a14:foregroundMark x1="29412" y1="89959" x2="55017" y2="88331"/>
                      </a14:backgroundRemoval>
                    </a14:imgEffect>
                  </a14:imgLayer>
                </a14:imgProps>
              </a:ext>
              <a:ext uri="{28A0092B-C50C-407E-A947-70E740481C1C}">
                <a14:useLocalDpi xmlns:a14="http://schemas.microsoft.com/office/drawing/2010/main"/>
              </a:ext>
            </a:extLst>
          </a:blip>
          <a:srcRect/>
          <a:stretch/>
        </p:blipFill>
        <p:spPr>
          <a:xfrm>
            <a:off x="6629168" y="1285200"/>
            <a:ext cx="1067932" cy="2629701"/>
          </a:xfrm>
          <a:prstGeom prst="rect">
            <a:avLst/>
          </a:prstGeom>
        </p:spPr>
      </p:pic>
      <p:pic>
        <p:nvPicPr>
          <p:cNvPr id="11" name="Grafik 8">
            <a:extLst>
              <a:ext uri="{FF2B5EF4-FFF2-40B4-BE49-F238E27FC236}">
                <a16:creationId xmlns:a16="http://schemas.microsoft.com/office/drawing/2014/main" id="{938C00B0-27E7-2849-F1C8-43744F5602E8}"/>
              </a:ext>
            </a:extLst>
          </p:cNvPr>
          <p:cNvPicPr>
            <a:picLocks noChangeAspect="1"/>
          </p:cNvPicPr>
          <p:nvPr/>
        </p:nvPicPr>
        <p:blipFill rotWithShape="1">
          <a:blip r:embed="rId17" cstate="email">
            <a:extLst>
              <a:ext uri="{BEBA8EAE-BF5A-486C-A8C5-ECC9F3942E4B}">
                <a14:imgProps xmlns:a14="http://schemas.microsoft.com/office/drawing/2010/main">
                  <a14:imgLayer r:embed="rId18">
                    <a14:imgEffect>
                      <a14:backgroundRemoval t="4124" b="90280" l="9497" r="89665">
                        <a14:foregroundMark x1="35754" y1="10015" x2="64246" y2="4124"/>
                        <a14:foregroundMark x1="64246" y1="4124" x2="84637" y2="15464"/>
                        <a14:foregroundMark x1="11732" y1="73490" x2="11732" y2="73490"/>
                        <a14:foregroundMark x1="13966" y1="72901" x2="13687" y2="73638"/>
                        <a14:foregroundMark x1="36313" y1="90427" x2="36313" y2="90427"/>
                        <a14:backgroundMark x1="91620" y1="10015" x2="67598" y2="72165"/>
                      </a14:backgroundRemoval>
                    </a14:imgEffect>
                  </a14:imgLayer>
                </a14:imgProps>
              </a:ext>
              <a:ext uri="{28A0092B-C50C-407E-A947-70E740481C1C}">
                <a14:useLocalDpi xmlns:a14="http://schemas.microsoft.com/office/drawing/2010/main"/>
              </a:ext>
            </a:extLst>
          </a:blip>
          <a:srcRect/>
          <a:stretch/>
        </p:blipFill>
        <p:spPr>
          <a:xfrm rot="21138762">
            <a:off x="8437622" y="1488651"/>
            <a:ext cx="1318034" cy="2420781"/>
          </a:xfrm>
          <a:prstGeom prst="rect">
            <a:avLst/>
          </a:prstGeom>
        </p:spPr>
      </p:pic>
      <p:grpSp>
        <p:nvGrpSpPr>
          <p:cNvPr id="12" name="Group 11">
            <a:extLst>
              <a:ext uri="{FF2B5EF4-FFF2-40B4-BE49-F238E27FC236}">
                <a16:creationId xmlns:a16="http://schemas.microsoft.com/office/drawing/2014/main" id="{C8EF0FF9-1B2B-FB51-7515-FD6C873BFE14}"/>
              </a:ext>
            </a:extLst>
          </p:cNvPr>
          <p:cNvGrpSpPr/>
          <p:nvPr/>
        </p:nvGrpSpPr>
        <p:grpSpPr>
          <a:xfrm>
            <a:off x="2241652" y="4518029"/>
            <a:ext cx="7708695" cy="450557"/>
            <a:chOff x="513366" y="5406206"/>
            <a:chExt cx="8143539" cy="450557"/>
          </a:xfrm>
        </p:grpSpPr>
        <p:sp>
          <p:nvSpPr>
            <p:cNvPr id="13" name="Rectangle 12">
              <a:extLst>
                <a:ext uri="{FF2B5EF4-FFF2-40B4-BE49-F238E27FC236}">
                  <a16:creationId xmlns:a16="http://schemas.microsoft.com/office/drawing/2014/main" id="{6BDC174A-7798-E78A-DED0-13572F756506}"/>
                </a:ext>
              </a:extLst>
            </p:cNvPr>
            <p:cNvSpPr/>
            <p:nvPr/>
          </p:nvSpPr>
          <p:spPr>
            <a:xfrm>
              <a:off x="513366" y="5498296"/>
              <a:ext cx="8143539" cy="279699"/>
            </a:xfrm>
            <a:prstGeom prst="rect">
              <a:avLst/>
            </a:prstGeom>
            <a:gradFill flip="none" rotWithShape="1">
              <a:gsLst>
                <a:gs pos="0">
                  <a:schemeClr val="accent1"/>
                </a:gs>
                <a:gs pos="61000">
                  <a:schemeClr val="accent1">
                    <a:tint val="44500"/>
                    <a:satMod val="160000"/>
                  </a:schemeClr>
                </a:gs>
                <a:gs pos="87000">
                  <a:schemeClr val="accent1">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aste-Masking Functionality</a:t>
              </a:r>
            </a:p>
          </p:txBody>
        </p:sp>
        <p:sp>
          <p:nvSpPr>
            <p:cNvPr id="14" name="TextBox 13">
              <a:extLst>
                <a:ext uri="{FF2B5EF4-FFF2-40B4-BE49-F238E27FC236}">
                  <a16:creationId xmlns:a16="http://schemas.microsoft.com/office/drawing/2014/main" id="{4B3C2019-49A1-9AC5-5FBB-75927AEF13C4}"/>
                </a:ext>
              </a:extLst>
            </p:cNvPr>
            <p:cNvSpPr txBox="1"/>
            <p:nvPr/>
          </p:nvSpPr>
          <p:spPr>
            <a:xfrm>
              <a:off x="707323" y="5419527"/>
              <a:ext cx="221840" cy="437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indent="0" algn="l">
                <a:lnSpc>
                  <a:spcPct val="110000"/>
                </a:lnSpc>
                <a:spcAft>
                  <a:spcPts val="0"/>
                </a:spcAft>
                <a:buClr>
                  <a:srgbClr val="9BD4EB"/>
                </a:buClr>
                <a:buFont typeface="Wingdings"/>
                <a:buNone/>
              </a:pPr>
              <a:r>
                <a:rPr lang="en-US" sz="2800" b="1" kern="0" dirty="0">
                  <a:solidFill>
                    <a:schemeClr val="bg1"/>
                  </a:solidFill>
                  <a:sym typeface="Arial"/>
                </a:rPr>
                <a:t>+</a:t>
              </a:r>
            </a:p>
          </p:txBody>
        </p:sp>
        <p:sp>
          <p:nvSpPr>
            <p:cNvPr id="15" name="TextBox 14">
              <a:extLst>
                <a:ext uri="{FF2B5EF4-FFF2-40B4-BE49-F238E27FC236}">
                  <a16:creationId xmlns:a16="http://schemas.microsoft.com/office/drawing/2014/main" id="{A11D0873-EE53-5AF2-A2DA-954A1B6D6AC3}"/>
                </a:ext>
              </a:extLst>
            </p:cNvPr>
            <p:cNvSpPr txBox="1"/>
            <p:nvPr/>
          </p:nvSpPr>
          <p:spPr>
            <a:xfrm>
              <a:off x="8222061" y="5406206"/>
              <a:ext cx="395336" cy="437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indent="0" algn="ctr">
                <a:lnSpc>
                  <a:spcPct val="110000"/>
                </a:lnSpc>
                <a:spcAft>
                  <a:spcPts val="0"/>
                </a:spcAft>
                <a:buClr>
                  <a:srgbClr val="9BD4EB"/>
                </a:buClr>
                <a:buFont typeface="Wingdings"/>
                <a:buNone/>
              </a:pPr>
              <a:r>
                <a:rPr lang="en-US" sz="2800" b="1" kern="0" dirty="0">
                  <a:solidFill>
                    <a:schemeClr val="accent1"/>
                  </a:solidFill>
                  <a:sym typeface="Arial"/>
                </a:rPr>
                <a:t>-</a:t>
              </a:r>
            </a:p>
          </p:txBody>
        </p:sp>
      </p:grpSp>
      <p:sp>
        <p:nvSpPr>
          <p:cNvPr id="16" name="Text Box 9">
            <a:extLst>
              <a:ext uri="{FF2B5EF4-FFF2-40B4-BE49-F238E27FC236}">
                <a16:creationId xmlns:a16="http://schemas.microsoft.com/office/drawing/2014/main" id="{ABD20C92-657B-8A15-C1B7-036EB7D43F1C}"/>
              </a:ext>
            </a:extLst>
          </p:cNvPr>
          <p:cNvSpPr txBox="1">
            <a:spLocks noChangeArrowheads="1"/>
          </p:cNvSpPr>
          <p:nvPr/>
        </p:nvSpPr>
        <p:spPr bwMode="auto">
          <a:xfrm>
            <a:off x="401053" y="5144090"/>
            <a:ext cx="11554547" cy="954107"/>
          </a:xfrm>
          <a:prstGeom prst="rect">
            <a:avLst/>
          </a:prstGeom>
          <a:noFill/>
          <a:ln>
            <a:noFill/>
          </a:ln>
          <a:effectLst/>
        </p:spPr>
        <p:txBody>
          <a:bodyPr wrap="square">
            <a:spAutoFit/>
          </a:bodyPr>
          <a:lstStyle/>
          <a:p>
            <a:pPr marL="285750" lvl="0" indent="-285750">
              <a:buClr>
                <a:schemeClr val="accent1"/>
              </a:buClr>
              <a:buFontTx/>
              <a:buChar char="■"/>
              <a:defRPr/>
            </a:pPr>
            <a:r>
              <a:rPr lang="en-US" dirty="0">
                <a:latin typeface="Arial   "/>
              </a:rPr>
              <a:t>After 5.5 </a:t>
            </a:r>
            <a:r>
              <a:rPr lang="en-US" sz="2000" dirty="0">
                <a:latin typeface="Arial   "/>
              </a:rPr>
              <a:t>months</a:t>
            </a:r>
            <a:r>
              <a:rPr lang="en-US" dirty="0">
                <a:latin typeface="Arial   "/>
              </a:rPr>
              <a:t> at 30°C and 40°C / 75% RH, coated tablets blended with 1% </a:t>
            </a:r>
            <a:r>
              <a:rPr lang="en-US" dirty="0" err="1">
                <a:latin typeface="Arial   "/>
              </a:rPr>
              <a:t>Microtalc</a:t>
            </a:r>
            <a:r>
              <a:rPr lang="en-US" dirty="0">
                <a:latin typeface="Arial   "/>
              </a:rPr>
              <a:t> and those with 8% talc in the film formulation did not stick together. </a:t>
            </a:r>
          </a:p>
          <a:p>
            <a:pPr marL="285750" lvl="0" indent="-285750">
              <a:buClr>
                <a:schemeClr val="accent1"/>
              </a:buClr>
              <a:buFontTx/>
              <a:buChar char="■"/>
              <a:defRPr/>
            </a:pPr>
            <a:r>
              <a:rPr lang="en-US" dirty="0">
                <a:latin typeface="Arial   "/>
              </a:rPr>
              <a:t>However, adding more talc decreases the taste-masking functionality, requiring extra film coating. </a:t>
            </a:r>
            <a:endParaRPr kumimoji="0" lang="en-US" altLang="de-DE" b="0" i="0" u="none" strike="noStrike" kern="1200" cap="none" spc="0" normalizeH="0" baseline="0" noProof="0" dirty="0">
              <a:ln>
                <a:noFill/>
              </a:ln>
              <a:solidFill>
                <a:srgbClr val="000000"/>
              </a:solidFill>
              <a:effectLst/>
              <a:uLnTx/>
              <a:uFillTx/>
              <a:latin typeface="Arial   "/>
              <a:cs typeface="Arial"/>
            </a:endParaRPr>
          </a:p>
        </p:txBody>
      </p:sp>
    </p:spTree>
    <p:extLst>
      <p:ext uri="{BB962C8B-B14F-4D97-AF65-F5344CB8AC3E}">
        <p14:creationId xmlns:p14="http://schemas.microsoft.com/office/powerpoint/2010/main" val="32572506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3007CAA-BC01-6127-9E0A-6F514CED7D08}"/>
              </a:ext>
            </a:extLst>
          </p:cNvPr>
          <p:cNvGraphicFramePr>
            <a:graphicFrameLocks noChangeAspect="1"/>
          </p:cNvGraphicFramePr>
          <p:nvPr>
            <p:custDataLst>
              <p:tags r:id="rId1"/>
            </p:custDataLst>
            <p:extLst>
              <p:ext uri="{D42A27DB-BD31-4B8C-83A1-F6EECF244321}">
                <p14:modId xmlns:p14="http://schemas.microsoft.com/office/powerpoint/2010/main" val="3362646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10" name="think-cell data - do not delete" hidden="1">
                        <a:extLst>
                          <a:ext uri="{FF2B5EF4-FFF2-40B4-BE49-F238E27FC236}">
                            <a16:creationId xmlns:a16="http://schemas.microsoft.com/office/drawing/2014/main" id="{93007CAA-BC01-6127-9E0A-6F514CED7D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16E8DA4-218F-5965-477D-70E48D50669C}"/>
              </a:ext>
            </a:extLst>
          </p:cNvPr>
          <p:cNvSpPr>
            <a:spLocks noGrp="1"/>
          </p:cNvSpPr>
          <p:nvPr>
            <p:ph type="title"/>
          </p:nvPr>
        </p:nvSpPr>
        <p:spPr/>
        <p:txBody>
          <a:bodyPr vert="horz"/>
          <a:lstStyle/>
          <a:p>
            <a:r>
              <a:rPr lang="en-US" dirty="0"/>
              <a:t>Kollicoat</a:t>
            </a:r>
            <a:r>
              <a:rPr lang="en-US" baseline="30000" dirty="0"/>
              <a:t>®</a:t>
            </a:r>
            <a:r>
              <a:rPr lang="en-US" dirty="0"/>
              <a:t> Smartseal </a:t>
            </a:r>
            <a:r>
              <a:rPr lang="en-US" sz="2800" dirty="0"/>
              <a:t>Formulation: Anti-tacking agent </a:t>
            </a:r>
            <a:endParaRPr lang="en-US" dirty="0"/>
          </a:p>
        </p:txBody>
      </p:sp>
      <p:pic>
        <p:nvPicPr>
          <p:cNvPr id="6" name="Grafik 2">
            <a:extLst>
              <a:ext uri="{FF2B5EF4-FFF2-40B4-BE49-F238E27FC236}">
                <a16:creationId xmlns:a16="http://schemas.microsoft.com/office/drawing/2014/main" id="{022D8D97-84C3-FEF2-FFAD-9BCF7CF05DE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62025" y="1674998"/>
            <a:ext cx="6421384" cy="4149332"/>
          </a:xfrm>
          <a:prstGeom prst="rect">
            <a:avLst/>
          </a:prstGeom>
          <a:ln w="6350">
            <a:solidFill>
              <a:schemeClr val="tx1"/>
            </a:solidFill>
          </a:ln>
        </p:spPr>
      </p:pic>
      <p:sp>
        <p:nvSpPr>
          <p:cNvPr id="8" name="TextBox 7">
            <a:extLst>
              <a:ext uri="{FF2B5EF4-FFF2-40B4-BE49-F238E27FC236}">
                <a16:creationId xmlns:a16="http://schemas.microsoft.com/office/drawing/2014/main" id="{C92A1687-2E9A-100A-C399-503753805DD8}"/>
              </a:ext>
            </a:extLst>
          </p:cNvPr>
          <p:cNvSpPr txBox="1"/>
          <p:nvPr/>
        </p:nvSpPr>
        <p:spPr>
          <a:xfrm>
            <a:off x="962025" y="1089197"/>
            <a:ext cx="6421384" cy="585801"/>
          </a:xfrm>
          <a:prstGeom prst="rect">
            <a:avLst/>
          </a:prstGeom>
          <a:noFill/>
          <a:ln w="635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spAutoFit/>
          </a:bodyPr>
          <a:lstStyle/>
          <a:p>
            <a:pPr marL="0" indent="0" algn="ctr">
              <a:lnSpc>
                <a:spcPct val="110000"/>
              </a:lnSpc>
              <a:spcAft>
                <a:spcPts val="0"/>
              </a:spcAft>
              <a:buClr>
                <a:srgbClr val="9BD4EB"/>
              </a:buClr>
              <a:buFont typeface="Wingdings"/>
              <a:buNone/>
            </a:pPr>
            <a:r>
              <a:rPr lang="en-US" kern="0" dirty="0">
                <a:sym typeface="Arial"/>
              </a:rPr>
              <a:t>Dissolution at pH 6.8 for tablets of caffeine coated with Kollicoat</a:t>
            </a:r>
            <a:r>
              <a:rPr lang="en-US" kern="0" baseline="30000" dirty="0">
                <a:sym typeface="Arial"/>
              </a:rPr>
              <a:t>®</a:t>
            </a:r>
            <a:r>
              <a:rPr lang="en-US" kern="0" dirty="0">
                <a:sym typeface="Arial"/>
              </a:rPr>
              <a:t> Smartseal 30 D </a:t>
            </a:r>
          </a:p>
        </p:txBody>
      </p:sp>
      <p:sp>
        <p:nvSpPr>
          <p:cNvPr id="9" name="Text Box 9">
            <a:extLst>
              <a:ext uri="{FF2B5EF4-FFF2-40B4-BE49-F238E27FC236}">
                <a16:creationId xmlns:a16="http://schemas.microsoft.com/office/drawing/2014/main" id="{7ABB9DE1-2E3D-CE65-B6A5-500EA2BA97AF}"/>
              </a:ext>
            </a:extLst>
          </p:cNvPr>
          <p:cNvSpPr txBox="1">
            <a:spLocks noChangeArrowheads="1"/>
          </p:cNvSpPr>
          <p:nvPr/>
        </p:nvSpPr>
        <p:spPr bwMode="auto">
          <a:xfrm>
            <a:off x="7520311" y="3595413"/>
            <a:ext cx="4435289" cy="2031325"/>
          </a:xfrm>
          <a:prstGeom prst="rect">
            <a:avLst/>
          </a:prstGeom>
          <a:noFill/>
          <a:ln>
            <a:noFill/>
          </a:ln>
          <a:effectLst/>
        </p:spPr>
        <p:txBody>
          <a:bodyPr wrap="square">
            <a:spAutoFit/>
          </a:bodyPr>
          <a:lstStyle/>
          <a:p>
            <a:pPr marL="285750" marR="0" lvl="0" indent="-285750" algn="ctr"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altLang="de-DE" sz="1800" b="0" i="0" u="none" strike="noStrike" kern="1200" cap="none" spc="0" normalizeH="0" baseline="0" noProof="0" dirty="0">
                <a:ln>
                  <a:noFill/>
                </a:ln>
                <a:solidFill>
                  <a:srgbClr val="000000"/>
                </a:solidFill>
                <a:effectLst/>
                <a:uLnTx/>
                <a:uFillTx/>
                <a:latin typeface="Arial" panose="020B0604020202020204"/>
                <a:cs typeface="Arial"/>
              </a:rPr>
              <a:t>Increasing concentrations of talc decrease film resistance at pH 6.8.</a:t>
            </a:r>
          </a:p>
          <a:p>
            <a:pPr marL="285750" marR="0" lvl="0" indent="-285750" algn="ctr"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lang="en-US" altLang="de-DE" dirty="0">
              <a:solidFill>
                <a:srgbClr val="000000"/>
              </a:solidFill>
              <a:latin typeface="Arial" panose="020B0604020202020204"/>
              <a:cs typeface="Arial"/>
            </a:endParaRPr>
          </a:p>
          <a:p>
            <a:pPr marL="285750" marR="0" lvl="0" indent="-285750" algn="ctr"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altLang="de-DE" sz="1800" b="0" i="0" u="none" strike="noStrike" kern="1200" cap="none" spc="0" normalizeH="0" baseline="0" noProof="0" dirty="0">
                <a:ln>
                  <a:noFill/>
                </a:ln>
                <a:solidFill>
                  <a:srgbClr val="000000"/>
                </a:solidFill>
                <a:effectLst/>
                <a:uLnTx/>
                <a:uFillTx/>
                <a:latin typeface="Arial" panose="020B0604020202020204"/>
                <a:cs typeface="Arial"/>
              </a:rPr>
              <a:t>Curing step is required. </a:t>
            </a:r>
          </a:p>
          <a:p>
            <a:pPr marL="285750" marR="0" lvl="0" indent="-285750" algn="ctr"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lang="en-US" altLang="de-DE" dirty="0">
              <a:solidFill>
                <a:srgbClr val="000000"/>
              </a:solidFill>
              <a:latin typeface="Arial" panose="020B0604020202020204"/>
              <a:cs typeface="Arial"/>
            </a:endParaRPr>
          </a:p>
          <a:p>
            <a:pPr marL="285750" marR="0" lvl="0" indent="-285750" algn="ctr"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altLang="de-DE" sz="1800" b="0" i="0" u="none" strike="noStrike" kern="1200" cap="none" spc="0" normalizeH="0" baseline="0" noProof="0" dirty="0">
                <a:ln>
                  <a:noFill/>
                </a:ln>
                <a:solidFill>
                  <a:srgbClr val="000000"/>
                </a:solidFill>
                <a:effectLst/>
                <a:uLnTx/>
                <a:uFillTx/>
                <a:latin typeface="Arial" panose="020B0604020202020204"/>
                <a:cs typeface="Arial"/>
              </a:rPr>
              <a:t>Avoid adding too much talc in the formulation. </a:t>
            </a:r>
          </a:p>
        </p:txBody>
      </p:sp>
      <p:sp>
        <p:nvSpPr>
          <p:cNvPr id="4" name="Footer Placeholder 11">
            <a:extLst>
              <a:ext uri="{FF2B5EF4-FFF2-40B4-BE49-F238E27FC236}">
                <a16:creationId xmlns:a16="http://schemas.microsoft.com/office/drawing/2014/main" id="{42D23A73-6B0A-6997-165F-52618C5768FB}"/>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12" name="Slide Number Placeholder 11">
            <a:extLst>
              <a:ext uri="{FF2B5EF4-FFF2-40B4-BE49-F238E27FC236}">
                <a16:creationId xmlns:a16="http://schemas.microsoft.com/office/drawing/2014/main" id="{43692BD3-EE3C-C7E4-2478-6BA6812AF57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4</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grpSp>
        <p:nvGrpSpPr>
          <p:cNvPr id="5" name="Group 4">
            <a:extLst>
              <a:ext uri="{FF2B5EF4-FFF2-40B4-BE49-F238E27FC236}">
                <a16:creationId xmlns:a16="http://schemas.microsoft.com/office/drawing/2014/main" id="{F310508A-230F-E181-87DA-0E78E65B9D93}"/>
              </a:ext>
            </a:extLst>
          </p:cNvPr>
          <p:cNvGrpSpPr/>
          <p:nvPr/>
        </p:nvGrpSpPr>
        <p:grpSpPr>
          <a:xfrm>
            <a:off x="7472570" y="1397674"/>
            <a:ext cx="4483030" cy="1959613"/>
            <a:chOff x="7472570" y="1397674"/>
            <a:chExt cx="4483030" cy="1959613"/>
          </a:xfrm>
        </p:grpSpPr>
        <p:pic>
          <p:nvPicPr>
            <p:cNvPr id="7" name="Grafik 8">
              <a:extLst>
                <a:ext uri="{FF2B5EF4-FFF2-40B4-BE49-F238E27FC236}">
                  <a16:creationId xmlns:a16="http://schemas.microsoft.com/office/drawing/2014/main" id="{AEE3FDDA-4222-FAE8-443F-4A5E31BA24B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472570" y="1397674"/>
              <a:ext cx="4483030" cy="1959613"/>
            </a:xfrm>
            <a:prstGeom prst="rect">
              <a:avLst/>
            </a:prstGeom>
          </p:spPr>
        </p:pic>
        <p:sp>
          <p:nvSpPr>
            <p:cNvPr id="3" name="TextBox 2">
              <a:extLst>
                <a:ext uri="{FF2B5EF4-FFF2-40B4-BE49-F238E27FC236}">
                  <a16:creationId xmlns:a16="http://schemas.microsoft.com/office/drawing/2014/main" id="{B2878E9B-BC7F-98AB-E5C8-C428E470F3DF}"/>
                </a:ext>
              </a:extLst>
            </p:cNvPr>
            <p:cNvSpPr txBox="1"/>
            <p:nvPr/>
          </p:nvSpPr>
          <p:spPr>
            <a:xfrm>
              <a:off x="7885284" y="1457232"/>
              <a:ext cx="1925053" cy="184666"/>
            </a:xfrm>
            <a:prstGeom prst="rect">
              <a:avLst/>
            </a:prstGeom>
            <a:solidFill>
              <a:schemeClr val="bg1"/>
            </a:solidFill>
          </p:spPr>
          <p:txBody>
            <a:bodyPr wrap="square" lIns="0" tIns="0" rIns="0" bIns="0" rtlCol="0">
              <a:spAutoFit/>
            </a:bodyPr>
            <a:lstStyle/>
            <a:p>
              <a:r>
                <a:rPr lang="en-US" sz="1200" dirty="0">
                  <a:latin typeface="72" panose="020B0503030000000003" pitchFamily="34" charset="0"/>
                  <a:cs typeface="72" panose="020B0503030000000003" pitchFamily="34" charset="0"/>
                </a:rPr>
                <a:t>Caffeine uncoated</a:t>
              </a:r>
            </a:p>
          </p:txBody>
        </p:sp>
      </p:grpSp>
    </p:spTree>
    <p:extLst>
      <p:ext uri="{BB962C8B-B14F-4D97-AF65-F5344CB8AC3E}">
        <p14:creationId xmlns:p14="http://schemas.microsoft.com/office/powerpoint/2010/main" val="40222848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think-cell data - do not delete" hidden="1">
            <a:extLst>
              <a:ext uri="{FF2B5EF4-FFF2-40B4-BE49-F238E27FC236}">
                <a16:creationId xmlns:a16="http://schemas.microsoft.com/office/drawing/2014/main" id="{901F8E28-17DA-C53C-B88F-B95FEC42F127}"/>
              </a:ext>
            </a:extLst>
          </p:cNvPr>
          <p:cNvGraphicFramePr>
            <a:graphicFrameLocks noChangeAspect="1"/>
          </p:cNvGraphicFramePr>
          <p:nvPr>
            <p:custDataLst>
              <p:tags r:id="rId1"/>
            </p:custDataLst>
            <p:extLst>
              <p:ext uri="{D42A27DB-BD31-4B8C-83A1-F6EECF244321}">
                <p14:modId xmlns:p14="http://schemas.microsoft.com/office/powerpoint/2010/main" val="1863838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6" progId="TCLayout.ActiveDocument.1">
                  <p:embed/>
                </p:oleObj>
              </mc:Choice>
              <mc:Fallback>
                <p:oleObj name="think-cell Slide" r:id="rId5" imgW="347" imgH="346" progId="TCLayout.ActiveDocument.1">
                  <p:embed/>
                  <p:pic>
                    <p:nvPicPr>
                      <p:cNvPr id="48" name="think-cell data - do not delete" hidden="1">
                        <a:extLst>
                          <a:ext uri="{FF2B5EF4-FFF2-40B4-BE49-F238E27FC236}">
                            <a16:creationId xmlns:a16="http://schemas.microsoft.com/office/drawing/2014/main" id="{901F8E28-17DA-C53C-B88F-B95FEC42F1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3A4C38C-AC48-49E9-FFB6-D712B883A294}"/>
              </a:ext>
            </a:extLst>
          </p:cNvPr>
          <p:cNvSpPr>
            <a:spLocks noGrp="1"/>
          </p:cNvSpPr>
          <p:nvPr>
            <p:ph type="title"/>
          </p:nvPr>
        </p:nvSpPr>
        <p:spPr/>
        <p:txBody>
          <a:bodyPr vert="horz"/>
          <a:lstStyle/>
          <a:p>
            <a:r>
              <a:rPr lang="en-US" dirty="0"/>
              <a:t>Kollicoat</a:t>
            </a:r>
            <a:r>
              <a:rPr lang="en-US" baseline="30000" dirty="0"/>
              <a:t>®</a:t>
            </a:r>
            <a:r>
              <a:rPr lang="en-US" dirty="0"/>
              <a:t> Smartseal </a:t>
            </a:r>
            <a:r>
              <a:rPr lang="en-US" sz="2800" dirty="0"/>
              <a:t>Formulation: Anti-tacking agent summary</a:t>
            </a:r>
            <a:endParaRPr lang="en-US" dirty="0"/>
          </a:p>
        </p:txBody>
      </p:sp>
      <p:cxnSp>
        <p:nvCxnSpPr>
          <p:cNvPr id="6" name="Gerader Verbinder 28">
            <a:extLst>
              <a:ext uri="{FF2B5EF4-FFF2-40B4-BE49-F238E27FC236}">
                <a16:creationId xmlns:a16="http://schemas.microsoft.com/office/drawing/2014/main" id="{7721B0C2-957F-8D3C-17CB-7653FDFC814F}"/>
              </a:ext>
            </a:extLst>
          </p:cNvPr>
          <p:cNvCxnSpPr/>
          <p:nvPr/>
        </p:nvCxnSpPr>
        <p:spPr>
          <a:xfrm>
            <a:off x="8141571" y="1951618"/>
            <a:ext cx="0" cy="4020709"/>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Line 10">
            <a:extLst>
              <a:ext uri="{FF2B5EF4-FFF2-40B4-BE49-F238E27FC236}">
                <a16:creationId xmlns:a16="http://schemas.microsoft.com/office/drawing/2014/main" id="{87D53901-B372-100C-726A-D6457308AC89}"/>
              </a:ext>
            </a:extLst>
          </p:cNvPr>
          <p:cNvSpPr>
            <a:spLocks noChangeShapeType="1"/>
          </p:cNvSpPr>
          <p:nvPr/>
        </p:nvSpPr>
        <p:spPr bwMode="auto">
          <a:xfrm>
            <a:off x="2143428" y="6103123"/>
            <a:ext cx="433705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cap="sq">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8" name="Line 11">
            <a:extLst>
              <a:ext uri="{FF2B5EF4-FFF2-40B4-BE49-F238E27FC236}">
                <a16:creationId xmlns:a16="http://schemas.microsoft.com/office/drawing/2014/main" id="{4E548E15-B8BD-8430-768F-2347473D2D54}"/>
              </a:ext>
            </a:extLst>
          </p:cNvPr>
          <p:cNvSpPr>
            <a:spLocks noChangeShapeType="1"/>
          </p:cNvSpPr>
          <p:nvPr/>
        </p:nvSpPr>
        <p:spPr bwMode="auto">
          <a:xfrm>
            <a:off x="6480478" y="6418083"/>
            <a:ext cx="4335462"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cap="sq">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9" name="Rectangle 50">
            <a:extLst>
              <a:ext uri="{FF2B5EF4-FFF2-40B4-BE49-F238E27FC236}">
                <a16:creationId xmlns:a16="http://schemas.microsoft.com/office/drawing/2014/main" id="{D4C65C9D-956C-2ABF-46E6-7F7980C8DBE3}"/>
              </a:ext>
            </a:extLst>
          </p:cNvPr>
          <p:cNvSpPr>
            <a:spLocks noChangeArrowheads="1"/>
          </p:cNvSpPr>
          <p:nvPr>
            <p:custDataLst>
              <p:tags r:id="rId2"/>
            </p:custDataLst>
          </p:nvPr>
        </p:nvSpPr>
        <p:spPr bwMode="auto">
          <a:xfrm>
            <a:off x="1936363" y="5271146"/>
            <a:ext cx="8078002" cy="710035"/>
          </a:xfrm>
          <a:prstGeom prst="rect">
            <a:avLst/>
          </a:prstGeom>
          <a:solidFill>
            <a:srgbClr val="336699">
              <a:alpha val="0"/>
            </a:srgbClr>
          </a:solidFill>
          <a:ln>
            <a:noFill/>
          </a:ln>
          <a:extLs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wrap="none" lIns="91420" tIns="45711" rIns="91420" bIns="45711" anchor="ctr"/>
          <a:lstStyle/>
          <a:p>
            <a:pPr marL="285750" marR="0" lvl="0" indent="-285750" algn="l" defTabSz="912813" rtl="0" eaLnBrk="0" fontAlgn="auto" latinLnBrk="0" hangingPunct="0">
              <a:lnSpc>
                <a:spcPct val="150000"/>
              </a:lnSpc>
              <a:spcBef>
                <a:spcPts val="0"/>
              </a:spcBef>
              <a:spcAft>
                <a:spcPts val="0"/>
              </a:spcAft>
              <a:buClr>
                <a:schemeClr val="accent1"/>
              </a:buClr>
              <a:buSzPct val="120000"/>
              <a:buFont typeface="Arial" panose="020B0604020202020204" pitchFamily="34" charset="0"/>
              <a:buChar char="■"/>
              <a:tabLst>
                <a:tab pos="374650" algn="l"/>
              </a:tabLst>
              <a:defRPr/>
            </a:pPr>
            <a:r>
              <a:rPr kumimoji="0" lang="en-US" sz="1800" b="0" i="0" u="none" strike="noStrike" kern="1200" cap="none" spc="0" normalizeH="0" baseline="0" noProof="0" dirty="0">
                <a:ln>
                  <a:noFill/>
                </a:ln>
                <a:effectLst/>
                <a:uLnTx/>
                <a:uFillTx/>
                <a:latin typeface="Arial" panose="020B0604020202020204"/>
                <a:cs typeface="Arial"/>
                <a:sym typeface="Wingdings" pitchFamily="2" charset="2"/>
              </a:rPr>
              <a:t>High talc concentrations in the film coating reduce the resistance at pH 6.8.</a:t>
            </a:r>
          </a:p>
          <a:p>
            <a:pPr marL="285750" marR="0" lvl="0" indent="-285750" algn="l" defTabSz="912813" rtl="0" eaLnBrk="0" fontAlgn="auto" latinLnBrk="0" hangingPunct="0">
              <a:lnSpc>
                <a:spcPct val="150000"/>
              </a:lnSpc>
              <a:spcBef>
                <a:spcPts val="0"/>
              </a:spcBef>
              <a:spcAft>
                <a:spcPts val="0"/>
              </a:spcAft>
              <a:buClr>
                <a:schemeClr val="accent1"/>
              </a:buClr>
              <a:buSzPct val="120000"/>
              <a:buFont typeface="Arial" panose="020B0604020202020204" pitchFamily="34" charset="0"/>
              <a:buChar char="■"/>
              <a:tabLst>
                <a:tab pos="374650" algn="l"/>
              </a:tabLst>
              <a:defRPr/>
            </a:pPr>
            <a:r>
              <a:rPr kumimoji="0" lang="en-US" sz="1800" b="0" i="0" u="none" strike="noStrike" kern="1200" cap="none" spc="0" normalizeH="0" baseline="0" noProof="0" dirty="0">
                <a:ln>
                  <a:noFill/>
                </a:ln>
                <a:effectLst/>
                <a:uLnTx/>
                <a:uFillTx/>
                <a:latin typeface="Arial" panose="020B0604020202020204"/>
                <a:cs typeface="Arial"/>
                <a:sym typeface="Wingdings" pitchFamily="2" charset="2"/>
              </a:rPr>
              <a:t>Curing is recommended after aqueous coating to ensure complete film forming.</a:t>
            </a:r>
          </a:p>
        </p:txBody>
      </p:sp>
      <p:sp>
        <p:nvSpPr>
          <p:cNvPr id="10" name="Line 11">
            <a:extLst>
              <a:ext uri="{FF2B5EF4-FFF2-40B4-BE49-F238E27FC236}">
                <a16:creationId xmlns:a16="http://schemas.microsoft.com/office/drawing/2014/main" id="{001FFB60-6C14-92E0-0599-58D5E0123BD9}"/>
              </a:ext>
            </a:extLst>
          </p:cNvPr>
          <p:cNvSpPr>
            <a:spLocks noChangeShapeType="1"/>
          </p:cNvSpPr>
          <p:nvPr/>
        </p:nvSpPr>
        <p:spPr bwMode="auto">
          <a:xfrm>
            <a:off x="6480478" y="6418083"/>
            <a:ext cx="4335462"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12700" cap="sq">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grpSp>
        <p:nvGrpSpPr>
          <p:cNvPr id="11" name="Group 10">
            <a:extLst>
              <a:ext uri="{FF2B5EF4-FFF2-40B4-BE49-F238E27FC236}">
                <a16:creationId xmlns:a16="http://schemas.microsoft.com/office/drawing/2014/main" id="{3085BAF0-F0F2-AB73-7A65-C45D8B2A0D55}"/>
              </a:ext>
            </a:extLst>
          </p:cNvPr>
          <p:cNvGrpSpPr/>
          <p:nvPr/>
        </p:nvGrpSpPr>
        <p:grpSpPr>
          <a:xfrm>
            <a:off x="1849345" y="1151466"/>
            <a:ext cx="8073921" cy="3952623"/>
            <a:chOff x="215001" y="1212846"/>
            <a:chExt cx="8073921" cy="3952623"/>
          </a:xfrm>
        </p:grpSpPr>
        <p:sp>
          <p:nvSpPr>
            <p:cNvPr id="12" name="Rechteck 31">
              <a:extLst>
                <a:ext uri="{FF2B5EF4-FFF2-40B4-BE49-F238E27FC236}">
                  <a16:creationId xmlns:a16="http://schemas.microsoft.com/office/drawing/2014/main" id="{DDFFAE33-50D9-510C-235D-7CDF171D5CB8}"/>
                </a:ext>
              </a:extLst>
            </p:cNvPr>
            <p:cNvSpPr/>
            <p:nvPr/>
          </p:nvSpPr>
          <p:spPr>
            <a:xfrm>
              <a:off x="1749142" y="1950465"/>
              <a:ext cx="766248" cy="10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13" name="Rechteck 32">
              <a:extLst>
                <a:ext uri="{FF2B5EF4-FFF2-40B4-BE49-F238E27FC236}">
                  <a16:creationId xmlns:a16="http://schemas.microsoft.com/office/drawing/2014/main" id="{B19F5D4C-7DD1-00A2-8187-2B1EA7D762F5}"/>
                </a:ext>
              </a:extLst>
            </p:cNvPr>
            <p:cNvSpPr/>
            <p:nvPr/>
          </p:nvSpPr>
          <p:spPr>
            <a:xfrm>
              <a:off x="1749141" y="3049967"/>
              <a:ext cx="766249" cy="10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14" name="Rechteck 33">
              <a:extLst>
                <a:ext uri="{FF2B5EF4-FFF2-40B4-BE49-F238E27FC236}">
                  <a16:creationId xmlns:a16="http://schemas.microsoft.com/office/drawing/2014/main" id="{48A512FF-E31A-10AC-DB81-22FB803E4D61}"/>
                </a:ext>
              </a:extLst>
            </p:cNvPr>
            <p:cNvSpPr/>
            <p:nvPr/>
          </p:nvSpPr>
          <p:spPr>
            <a:xfrm>
              <a:off x="1749141" y="4149469"/>
              <a:ext cx="766247" cy="10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15" name="Textfeld 11">
              <a:extLst>
                <a:ext uri="{FF2B5EF4-FFF2-40B4-BE49-F238E27FC236}">
                  <a16:creationId xmlns:a16="http://schemas.microsoft.com/office/drawing/2014/main" id="{E5C4C82D-B8C6-BB4E-C7F8-18D68E273D84}"/>
                </a:ext>
              </a:extLst>
            </p:cNvPr>
            <p:cNvSpPr txBox="1"/>
            <p:nvPr/>
          </p:nvSpPr>
          <p:spPr>
            <a:xfrm>
              <a:off x="388126" y="1212846"/>
              <a:ext cx="2667442"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cs typeface="Arial"/>
                </a:rPr>
                <a:t>Talc content (% w/w)</a:t>
              </a:r>
            </a:p>
          </p:txBody>
        </p:sp>
        <p:sp>
          <p:nvSpPr>
            <p:cNvPr id="16" name="Textfeld 21">
              <a:extLst>
                <a:ext uri="{FF2B5EF4-FFF2-40B4-BE49-F238E27FC236}">
                  <a16:creationId xmlns:a16="http://schemas.microsoft.com/office/drawing/2014/main" id="{E3F5AA06-1A3F-0829-1E6C-86CA76F318F2}"/>
                </a:ext>
              </a:extLst>
            </p:cNvPr>
            <p:cNvSpPr txBox="1"/>
            <p:nvPr/>
          </p:nvSpPr>
          <p:spPr>
            <a:xfrm>
              <a:off x="388126" y="2266150"/>
              <a:ext cx="368691"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High</a:t>
              </a:r>
            </a:p>
          </p:txBody>
        </p:sp>
        <p:sp>
          <p:nvSpPr>
            <p:cNvPr id="17" name="Textfeld 22">
              <a:extLst>
                <a:ext uri="{FF2B5EF4-FFF2-40B4-BE49-F238E27FC236}">
                  <a16:creationId xmlns:a16="http://schemas.microsoft.com/office/drawing/2014/main" id="{07674A9A-FB33-5E1D-2F24-F88C349DC74C}"/>
                </a:ext>
              </a:extLst>
            </p:cNvPr>
            <p:cNvSpPr txBox="1"/>
            <p:nvPr/>
          </p:nvSpPr>
          <p:spPr>
            <a:xfrm>
              <a:off x="215001" y="3437512"/>
              <a:ext cx="63639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Medium</a:t>
              </a:r>
            </a:p>
          </p:txBody>
        </p:sp>
        <p:sp>
          <p:nvSpPr>
            <p:cNvPr id="18" name="Textfeld 23">
              <a:extLst>
                <a:ext uri="{FF2B5EF4-FFF2-40B4-BE49-F238E27FC236}">
                  <a16:creationId xmlns:a16="http://schemas.microsoft.com/office/drawing/2014/main" id="{4E785028-A045-BE85-BC4A-FF09B0E8BBC1}"/>
                </a:ext>
              </a:extLst>
            </p:cNvPr>
            <p:cNvSpPr txBox="1"/>
            <p:nvPr/>
          </p:nvSpPr>
          <p:spPr>
            <a:xfrm>
              <a:off x="388126" y="4489436"/>
              <a:ext cx="32861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Low</a:t>
              </a:r>
            </a:p>
          </p:txBody>
        </p:sp>
        <p:sp>
          <p:nvSpPr>
            <p:cNvPr id="19" name="Textfeld 39">
              <a:extLst>
                <a:ext uri="{FF2B5EF4-FFF2-40B4-BE49-F238E27FC236}">
                  <a16:creationId xmlns:a16="http://schemas.microsoft.com/office/drawing/2014/main" id="{806D0CE3-05D2-A93B-0BB2-4964BCFD44B0}"/>
                </a:ext>
              </a:extLst>
            </p:cNvPr>
            <p:cNvSpPr txBox="1"/>
            <p:nvPr/>
          </p:nvSpPr>
          <p:spPr>
            <a:xfrm>
              <a:off x="1912215" y="2282905"/>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40%</a:t>
              </a:r>
            </a:p>
          </p:txBody>
        </p:sp>
        <p:sp>
          <p:nvSpPr>
            <p:cNvPr id="20" name="Textfeld 40">
              <a:extLst>
                <a:ext uri="{FF2B5EF4-FFF2-40B4-BE49-F238E27FC236}">
                  <a16:creationId xmlns:a16="http://schemas.microsoft.com/office/drawing/2014/main" id="{B39E16A9-D4C6-C8A5-D7E5-11FDB7989158}"/>
                </a:ext>
              </a:extLst>
            </p:cNvPr>
            <p:cNvSpPr txBox="1"/>
            <p:nvPr/>
          </p:nvSpPr>
          <p:spPr>
            <a:xfrm>
              <a:off x="1809043" y="3411440"/>
              <a:ext cx="71654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20 - 30%</a:t>
              </a:r>
            </a:p>
          </p:txBody>
        </p:sp>
        <p:sp>
          <p:nvSpPr>
            <p:cNvPr id="21" name="Textfeld 41">
              <a:extLst>
                <a:ext uri="{FF2B5EF4-FFF2-40B4-BE49-F238E27FC236}">
                  <a16:creationId xmlns:a16="http://schemas.microsoft.com/office/drawing/2014/main" id="{58C6F5EF-06FC-9F41-4634-87E72116EB17}"/>
                </a:ext>
              </a:extLst>
            </p:cNvPr>
            <p:cNvSpPr txBox="1"/>
            <p:nvPr/>
          </p:nvSpPr>
          <p:spPr>
            <a:xfrm>
              <a:off x="1849542" y="4612235"/>
              <a:ext cx="56746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0 -10%</a:t>
              </a:r>
            </a:p>
          </p:txBody>
        </p:sp>
        <p:sp>
          <p:nvSpPr>
            <p:cNvPr id="22" name="Gleichschenkliges Dreieck 4">
              <a:extLst>
                <a:ext uri="{FF2B5EF4-FFF2-40B4-BE49-F238E27FC236}">
                  <a16:creationId xmlns:a16="http://schemas.microsoft.com/office/drawing/2014/main" id="{654C1034-3674-B4AC-E3A3-4BE7DE9280CB}"/>
                </a:ext>
              </a:extLst>
            </p:cNvPr>
            <p:cNvSpPr/>
            <p:nvPr/>
          </p:nvSpPr>
          <p:spPr>
            <a:xfrm>
              <a:off x="2863937" y="1936751"/>
              <a:ext cx="689896" cy="3216965"/>
            </a:xfrm>
            <a:prstGeom prst="triangle">
              <a:avLst/>
            </a:prstGeom>
            <a:solidFill>
              <a:srgbClr val="F3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23" name="Textfeld 5">
              <a:extLst>
                <a:ext uri="{FF2B5EF4-FFF2-40B4-BE49-F238E27FC236}">
                  <a16:creationId xmlns:a16="http://schemas.microsoft.com/office/drawing/2014/main" id="{E5C2270B-257D-8F60-E6D2-DB02154946FB}"/>
                </a:ext>
              </a:extLst>
            </p:cNvPr>
            <p:cNvSpPr txBox="1"/>
            <p:nvPr/>
          </p:nvSpPr>
          <p:spPr>
            <a:xfrm>
              <a:off x="2815668" y="1553391"/>
              <a:ext cx="786434"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Tackiness</a:t>
              </a:r>
            </a:p>
          </p:txBody>
        </p:sp>
        <p:sp>
          <p:nvSpPr>
            <p:cNvPr id="24" name="Textfeld 53">
              <a:extLst>
                <a:ext uri="{FF2B5EF4-FFF2-40B4-BE49-F238E27FC236}">
                  <a16:creationId xmlns:a16="http://schemas.microsoft.com/office/drawing/2014/main" id="{B0D520F9-A6CA-BF7E-0C9A-2D73DF012A1D}"/>
                </a:ext>
              </a:extLst>
            </p:cNvPr>
            <p:cNvSpPr txBox="1"/>
            <p:nvPr/>
          </p:nvSpPr>
          <p:spPr>
            <a:xfrm>
              <a:off x="4182431" y="1451219"/>
              <a:ext cx="129116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Resistance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pH 6.8</a:t>
              </a:r>
            </a:p>
          </p:txBody>
        </p:sp>
        <p:sp>
          <p:nvSpPr>
            <p:cNvPr id="25" name="Rechteck 54">
              <a:extLst>
                <a:ext uri="{FF2B5EF4-FFF2-40B4-BE49-F238E27FC236}">
                  <a16:creationId xmlns:a16="http://schemas.microsoft.com/office/drawing/2014/main" id="{48438AB0-36CC-20EF-63F3-83D761B6DE7D}"/>
                </a:ext>
              </a:extLst>
            </p:cNvPr>
            <p:cNvSpPr/>
            <p:nvPr/>
          </p:nvSpPr>
          <p:spPr>
            <a:xfrm>
              <a:off x="4172273" y="1925894"/>
              <a:ext cx="1301326" cy="10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26" name="Rechteck 55">
              <a:extLst>
                <a:ext uri="{FF2B5EF4-FFF2-40B4-BE49-F238E27FC236}">
                  <a16:creationId xmlns:a16="http://schemas.microsoft.com/office/drawing/2014/main" id="{CD2412FB-B238-C9AF-E17B-C45A652DF449}"/>
                </a:ext>
              </a:extLst>
            </p:cNvPr>
            <p:cNvSpPr/>
            <p:nvPr/>
          </p:nvSpPr>
          <p:spPr>
            <a:xfrm>
              <a:off x="4172273" y="3025396"/>
              <a:ext cx="1301326" cy="10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27" name="Rechteck 56">
              <a:extLst>
                <a:ext uri="{FF2B5EF4-FFF2-40B4-BE49-F238E27FC236}">
                  <a16:creationId xmlns:a16="http://schemas.microsoft.com/office/drawing/2014/main" id="{C019B8CB-F672-03CF-D30B-91CB3C9221E3}"/>
                </a:ext>
              </a:extLst>
            </p:cNvPr>
            <p:cNvSpPr/>
            <p:nvPr/>
          </p:nvSpPr>
          <p:spPr>
            <a:xfrm>
              <a:off x="4172272" y="4124898"/>
              <a:ext cx="1301327" cy="10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28" name="Textfeld 57">
              <a:extLst>
                <a:ext uri="{FF2B5EF4-FFF2-40B4-BE49-F238E27FC236}">
                  <a16:creationId xmlns:a16="http://schemas.microsoft.com/office/drawing/2014/main" id="{E60C3768-03BC-8AF2-9BE6-F76C8D461879}"/>
                </a:ext>
              </a:extLst>
            </p:cNvPr>
            <p:cNvSpPr txBox="1"/>
            <p:nvPr/>
          </p:nvSpPr>
          <p:spPr>
            <a:xfrm>
              <a:off x="4791833" y="2259911"/>
              <a:ext cx="9938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0</a:t>
              </a:r>
            </a:p>
          </p:txBody>
        </p:sp>
        <p:sp>
          <p:nvSpPr>
            <p:cNvPr id="29" name="Textfeld 58">
              <a:extLst>
                <a:ext uri="{FF2B5EF4-FFF2-40B4-BE49-F238E27FC236}">
                  <a16:creationId xmlns:a16="http://schemas.microsoft.com/office/drawing/2014/main" id="{A5511396-ACAF-8271-C14E-EE4E898D4CC7}"/>
                </a:ext>
              </a:extLst>
            </p:cNvPr>
            <p:cNvSpPr txBox="1"/>
            <p:nvPr/>
          </p:nvSpPr>
          <p:spPr>
            <a:xfrm>
              <a:off x="4772031" y="3380245"/>
              <a:ext cx="353022"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a:t>
              </a:r>
            </a:p>
          </p:txBody>
        </p:sp>
        <p:sp>
          <p:nvSpPr>
            <p:cNvPr id="30" name="Textfeld 59">
              <a:extLst>
                <a:ext uri="{FF2B5EF4-FFF2-40B4-BE49-F238E27FC236}">
                  <a16:creationId xmlns:a16="http://schemas.microsoft.com/office/drawing/2014/main" id="{06145E21-1CAE-5E0B-5DF4-5F78EC0F9653}"/>
                </a:ext>
              </a:extLst>
            </p:cNvPr>
            <p:cNvSpPr txBox="1"/>
            <p:nvPr/>
          </p:nvSpPr>
          <p:spPr>
            <a:xfrm>
              <a:off x="4714889" y="4512187"/>
              <a:ext cx="208390"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a:t>
              </a:r>
            </a:p>
          </p:txBody>
        </p:sp>
        <p:sp>
          <p:nvSpPr>
            <p:cNvPr id="31" name="Rechteck 46">
              <a:extLst>
                <a:ext uri="{FF2B5EF4-FFF2-40B4-BE49-F238E27FC236}">
                  <a16:creationId xmlns:a16="http://schemas.microsoft.com/office/drawing/2014/main" id="{114468BA-75B8-B02D-8418-C4951101E0A0}"/>
                </a:ext>
              </a:extLst>
            </p:cNvPr>
            <p:cNvSpPr/>
            <p:nvPr/>
          </p:nvSpPr>
          <p:spPr>
            <a:xfrm>
              <a:off x="6134144" y="1936054"/>
              <a:ext cx="1301326" cy="1016000"/>
            </a:xfrm>
            <a:prstGeom prst="rect">
              <a:avLst/>
            </a:prstGeom>
            <a:solidFill>
              <a:srgbClr val="0079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32" name="Textfeld 47">
              <a:extLst>
                <a:ext uri="{FF2B5EF4-FFF2-40B4-BE49-F238E27FC236}">
                  <a16:creationId xmlns:a16="http://schemas.microsoft.com/office/drawing/2014/main" id="{341352D3-64DD-7E6D-B44F-1270FBF4600A}"/>
                </a:ext>
              </a:extLst>
            </p:cNvPr>
            <p:cNvSpPr txBox="1"/>
            <p:nvPr/>
          </p:nvSpPr>
          <p:spPr>
            <a:xfrm>
              <a:off x="6312844" y="2190302"/>
              <a:ext cx="995465"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coating lev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3-4 mg/cm²</a:t>
              </a:r>
            </a:p>
          </p:txBody>
        </p:sp>
        <p:sp>
          <p:nvSpPr>
            <p:cNvPr id="33" name="Textfeld 50">
              <a:extLst>
                <a:ext uri="{FF2B5EF4-FFF2-40B4-BE49-F238E27FC236}">
                  <a16:creationId xmlns:a16="http://schemas.microsoft.com/office/drawing/2014/main" id="{E2B6DAA6-0F13-E3D3-3AD6-A1302EB76F22}"/>
                </a:ext>
              </a:extLst>
            </p:cNvPr>
            <p:cNvSpPr txBox="1"/>
            <p:nvPr/>
          </p:nvSpPr>
          <p:spPr>
            <a:xfrm>
              <a:off x="6935610" y="1497467"/>
              <a:ext cx="785472"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Measures</a:t>
              </a:r>
            </a:p>
          </p:txBody>
        </p:sp>
        <p:sp>
          <p:nvSpPr>
            <p:cNvPr id="34" name="Rechteck 42">
              <a:extLst>
                <a:ext uri="{FF2B5EF4-FFF2-40B4-BE49-F238E27FC236}">
                  <a16:creationId xmlns:a16="http://schemas.microsoft.com/office/drawing/2014/main" id="{74E64805-2258-01BB-83AF-604304F2CAC7}"/>
                </a:ext>
              </a:extLst>
            </p:cNvPr>
            <p:cNvSpPr/>
            <p:nvPr/>
          </p:nvSpPr>
          <p:spPr>
            <a:xfrm>
              <a:off x="6134144" y="3027119"/>
              <a:ext cx="1301326" cy="1016000"/>
            </a:xfrm>
            <a:prstGeom prst="rect">
              <a:avLst/>
            </a:prstGeom>
            <a:solidFill>
              <a:srgbClr val="62AC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35" name="Textfeld 44">
              <a:extLst>
                <a:ext uri="{FF2B5EF4-FFF2-40B4-BE49-F238E27FC236}">
                  <a16:creationId xmlns:a16="http://schemas.microsoft.com/office/drawing/2014/main" id="{C5B4AA9B-EF3E-FCCE-5FAD-2DB8417F610C}"/>
                </a:ext>
              </a:extLst>
            </p:cNvPr>
            <p:cNvSpPr txBox="1"/>
            <p:nvPr/>
          </p:nvSpPr>
          <p:spPr>
            <a:xfrm>
              <a:off x="6312843" y="3285034"/>
              <a:ext cx="995465"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coating lev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2-3 mg/cm²</a:t>
              </a:r>
            </a:p>
          </p:txBody>
        </p:sp>
        <p:sp>
          <p:nvSpPr>
            <p:cNvPr id="36" name="Rechteck 51">
              <a:extLst>
                <a:ext uri="{FF2B5EF4-FFF2-40B4-BE49-F238E27FC236}">
                  <a16:creationId xmlns:a16="http://schemas.microsoft.com/office/drawing/2014/main" id="{61A95838-F731-BC9E-B9B5-77A28133C67C}"/>
                </a:ext>
              </a:extLst>
            </p:cNvPr>
            <p:cNvSpPr/>
            <p:nvPr/>
          </p:nvSpPr>
          <p:spPr>
            <a:xfrm>
              <a:off x="6134144" y="4137224"/>
              <a:ext cx="1301326" cy="1016000"/>
            </a:xfrm>
            <a:prstGeom prst="rect">
              <a:avLst/>
            </a:prstGeom>
            <a:solidFill>
              <a:srgbClr val="62AC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37" name="Textfeld 52">
              <a:extLst>
                <a:ext uri="{FF2B5EF4-FFF2-40B4-BE49-F238E27FC236}">
                  <a16:creationId xmlns:a16="http://schemas.microsoft.com/office/drawing/2014/main" id="{0E1F254F-8EF5-BF4D-D673-55F4D2285FBB}"/>
                </a:ext>
              </a:extLst>
            </p:cNvPr>
            <p:cNvSpPr txBox="1"/>
            <p:nvPr/>
          </p:nvSpPr>
          <p:spPr>
            <a:xfrm>
              <a:off x="6332881" y="4358958"/>
              <a:ext cx="995465"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coating lev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2 mg/cm²</a:t>
              </a:r>
            </a:p>
          </p:txBody>
        </p:sp>
        <p:sp>
          <p:nvSpPr>
            <p:cNvPr id="38" name="Rechteck 8">
              <a:extLst>
                <a:ext uri="{FF2B5EF4-FFF2-40B4-BE49-F238E27FC236}">
                  <a16:creationId xmlns:a16="http://schemas.microsoft.com/office/drawing/2014/main" id="{7168CBE8-D2CB-8518-DED2-7E2EE5A222E9}"/>
                </a:ext>
              </a:extLst>
            </p:cNvPr>
            <p:cNvSpPr/>
            <p:nvPr/>
          </p:nvSpPr>
          <p:spPr>
            <a:xfrm>
              <a:off x="7761872" y="1948614"/>
              <a:ext cx="527050" cy="3215004"/>
            </a:xfrm>
            <a:prstGeom prst="rect">
              <a:avLst/>
            </a:prstGeom>
            <a:solidFill>
              <a:srgbClr val="62AC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39" name="Textfeld 62">
              <a:extLst>
                <a:ext uri="{FF2B5EF4-FFF2-40B4-BE49-F238E27FC236}">
                  <a16:creationId xmlns:a16="http://schemas.microsoft.com/office/drawing/2014/main" id="{10961889-566D-AEDB-8B4C-EDDCE9C4713D}"/>
                </a:ext>
              </a:extLst>
            </p:cNvPr>
            <p:cNvSpPr txBox="1"/>
            <p:nvPr/>
          </p:nvSpPr>
          <p:spPr>
            <a:xfrm rot="16200000">
              <a:off x="7775270" y="3374034"/>
              <a:ext cx="52738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Curing</a:t>
              </a:r>
            </a:p>
          </p:txBody>
        </p:sp>
      </p:grpSp>
      <p:sp>
        <p:nvSpPr>
          <p:cNvPr id="40" name="Rechteck 31">
            <a:extLst>
              <a:ext uri="{FF2B5EF4-FFF2-40B4-BE49-F238E27FC236}">
                <a16:creationId xmlns:a16="http://schemas.microsoft.com/office/drawing/2014/main" id="{29BA55B2-99D0-D713-B41E-415DD7629268}"/>
              </a:ext>
            </a:extLst>
          </p:cNvPr>
          <p:cNvSpPr/>
          <p:nvPr/>
        </p:nvSpPr>
        <p:spPr>
          <a:xfrm>
            <a:off x="2554579" y="1887234"/>
            <a:ext cx="636783" cy="10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41" name="Rechteck 32">
            <a:extLst>
              <a:ext uri="{FF2B5EF4-FFF2-40B4-BE49-F238E27FC236}">
                <a16:creationId xmlns:a16="http://schemas.microsoft.com/office/drawing/2014/main" id="{224D33F5-10E7-89A5-4D26-F17AAF19EC11}"/>
              </a:ext>
            </a:extLst>
          </p:cNvPr>
          <p:cNvSpPr/>
          <p:nvPr/>
        </p:nvSpPr>
        <p:spPr>
          <a:xfrm>
            <a:off x="2554579" y="2986736"/>
            <a:ext cx="636784" cy="101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42" name="Rechteck 33">
            <a:extLst>
              <a:ext uri="{FF2B5EF4-FFF2-40B4-BE49-F238E27FC236}">
                <a16:creationId xmlns:a16="http://schemas.microsoft.com/office/drawing/2014/main" id="{539B7685-AD97-F6E1-2979-2C01E5D8F285}"/>
              </a:ext>
            </a:extLst>
          </p:cNvPr>
          <p:cNvSpPr/>
          <p:nvPr/>
        </p:nvSpPr>
        <p:spPr>
          <a:xfrm>
            <a:off x="2554579" y="4086238"/>
            <a:ext cx="636784" cy="10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cs typeface="Arial"/>
            </a:endParaRPr>
          </a:p>
        </p:txBody>
      </p:sp>
      <p:sp>
        <p:nvSpPr>
          <p:cNvPr id="43" name="Textfeld 39">
            <a:extLst>
              <a:ext uri="{FF2B5EF4-FFF2-40B4-BE49-F238E27FC236}">
                <a16:creationId xmlns:a16="http://schemas.microsoft.com/office/drawing/2014/main" id="{4A4959D8-D270-9432-521B-DDF0B848103A}"/>
              </a:ext>
            </a:extLst>
          </p:cNvPr>
          <p:cNvSpPr txBox="1"/>
          <p:nvPr/>
        </p:nvSpPr>
        <p:spPr>
          <a:xfrm>
            <a:off x="2760684" y="2219674"/>
            <a:ext cx="25968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a:cs typeface="Arial"/>
              </a:rPr>
              <a:t>8</a:t>
            </a: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a:t>
            </a:r>
          </a:p>
        </p:txBody>
      </p:sp>
      <p:sp>
        <p:nvSpPr>
          <p:cNvPr id="44" name="Textfeld 40">
            <a:extLst>
              <a:ext uri="{FF2B5EF4-FFF2-40B4-BE49-F238E27FC236}">
                <a16:creationId xmlns:a16="http://schemas.microsoft.com/office/drawing/2014/main" id="{7C99DDE1-0751-53D5-4ABF-8C23A1E1A078}"/>
              </a:ext>
            </a:extLst>
          </p:cNvPr>
          <p:cNvSpPr txBox="1"/>
          <p:nvPr/>
        </p:nvSpPr>
        <p:spPr>
          <a:xfrm>
            <a:off x="2637910" y="3350060"/>
            <a:ext cx="51777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4 - 6%</a:t>
            </a:r>
          </a:p>
        </p:txBody>
      </p:sp>
      <p:sp>
        <p:nvSpPr>
          <p:cNvPr id="45" name="Textfeld 41">
            <a:extLst>
              <a:ext uri="{FF2B5EF4-FFF2-40B4-BE49-F238E27FC236}">
                <a16:creationId xmlns:a16="http://schemas.microsoft.com/office/drawing/2014/main" id="{2F7EC739-5029-19F1-B467-B938BE9CB5A5}"/>
              </a:ext>
            </a:extLst>
          </p:cNvPr>
          <p:cNvSpPr txBox="1"/>
          <p:nvPr/>
        </p:nvSpPr>
        <p:spPr>
          <a:xfrm>
            <a:off x="2645940" y="4548177"/>
            <a:ext cx="517770"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a:cs typeface="Arial"/>
              </a:rPr>
              <a:t>0 - 2</a:t>
            </a: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a:t>
            </a:r>
          </a:p>
        </p:txBody>
      </p:sp>
      <p:sp>
        <p:nvSpPr>
          <p:cNvPr id="46" name="TextBox 45">
            <a:extLst>
              <a:ext uri="{FF2B5EF4-FFF2-40B4-BE49-F238E27FC236}">
                <a16:creationId xmlns:a16="http://schemas.microsoft.com/office/drawing/2014/main" id="{453763E8-3F05-86F7-BB7C-243285CDFC5C}"/>
              </a:ext>
            </a:extLst>
          </p:cNvPr>
          <p:cNvSpPr txBox="1"/>
          <p:nvPr/>
        </p:nvSpPr>
        <p:spPr>
          <a:xfrm>
            <a:off x="2504339" y="1511729"/>
            <a:ext cx="724557" cy="325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indent="0" algn="ctr">
              <a:lnSpc>
                <a:spcPct val="110000"/>
              </a:lnSpc>
              <a:spcAft>
                <a:spcPts val="0"/>
              </a:spcAft>
              <a:buClr>
                <a:srgbClr val="9BD4EB"/>
              </a:buClr>
              <a:buFont typeface="Wingdings"/>
              <a:buNone/>
            </a:pPr>
            <a:r>
              <a:rPr lang="en-US" sz="1000" b="1" kern="0" dirty="0">
                <a:solidFill>
                  <a:schemeClr val="accent1"/>
                </a:solidFill>
                <a:sym typeface="Arial"/>
              </a:rPr>
              <a:t>In Coating </a:t>
            </a:r>
          </a:p>
          <a:p>
            <a:pPr marL="0" indent="0" algn="ctr">
              <a:lnSpc>
                <a:spcPct val="110000"/>
              </a:lnSpc>
              <a:spcAft>
                <a:spcPts val="0"/>
              </a:spcAft>
              <a:buClr>
                <a:srgbClr val="9BD4EB"/>
              </a:buClr>
              <a:buFont typeface="Wingdings"/>
              <a:buNone/>
            </a:pPr>
            <a:r>
              <a:rPr lang="en-US" sz="1000" b="1" kern="0" dirty="0">
                <a:solidFill>
                  <a:schemeClr val="accent1"/>
                </a:solidFill>
                <a:sym typeface="Arial"/>
              </a:rPr>
              <a:t>Suspension</a:t>
            </a:r>
          </a:p>
        </p:txBody>
      </p:sp>
      <p:sp>
        <p:nvSpPr>
          <p:cNvPr id="47" name="TextBox 46">
            <a:extLst>
              <a:ext uri="{FF2B5EF4-FFF2-40B4-BE49-F238E27FC236}">
                <a16:creationId xmlns:a16="http://schemas.microsoft.com/office/drawing/2014/main" id="{BF4F2105-78BE-C417-460B-79B77C6053BE}"/>
              </a:ext>
            </a:extLst>
          </p:cNvPr>
          <p:cNvSpPr txBox="1"/>
          <p:nvPr/>
        </p:nvSpPr>
        <p:spPr>
          <a:xfrm>
            <a:off x="3398993" y="1499584"/>
            <a:ext cx="575479" cy="325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indent="0" algn="ctr">
              <a:lnSpc>
                <a:spcPct val="110000"/>
              </a:lnSpc>
              <a:spcAft>
                <a:spcPts val="0"/>
              </a:spcAft>
              <a:buClr>
                <a:srgbClr val="9BD4EB"/>
              </a:buClr>
              <a:buFont typeface="Wingdings"/>
              <a:buNone/>
            </a:pPr>
            <a:r>
              <a:rPr lang="en-US" sz="1000" b="1" kern="0" dirty="0">
                <a:solidFill>
                  <a:schemeClr val="accent1"/>
                </a:solidFill>
                <a:sym typeface="Arial"/>
              </a:rPr>
              <a:t>Based on</a:t>
            </a:r>
          </a:p>
          <a:p>
            <a:pPr marL="0" indent="0" algn="ctr">
              <a:lnSpc>
                <a:spcPct val="110000"/>
              </a:lnSpc>
              <a:spcAft>
                <a:spcPts val="0"/>
              </a:spcAft>
              <a:buClr>
                <a:srgbClr val="9BD4EB"/>
              </a:buClr>
              <a:buFont typeface="Wingdings"/>
              <a:buNone/>
            </a:pPr>
            <a:r>
              <a:rPr lang="en-US" sz="1000" b="1" kern="0" dirty="0">
                <a:solidFill>
                  <a:schemeClr val="accent1"/>
                </a:solidFill>
                <a:sym typeface="Arial"/>
              </a:rPr>
              <a:t>Dry film</a:t>
            </a:r>
          </a:p>
        </p:txBody>
      </p:sp>
      <p:sp>
        <p:nvSpPr>
          <p:cNvPr id="4" name="Footer Placeholder 11">
            <a:extLst>
              <a:ext uri="{FF2B5EF4-FFF2-40B4-BE49-F238E27FC236}">
                <a16:creationId xmlns:a16="http://schemas.microsoft.com/office/drawing/2014/main" id="{C4724B3E-6B69-83E3-7878-93C7FAC01A2F}"/>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50" name="Slide Number Placeholder 49">
            <a:extLst>
              <a:ext uri="{FF2B5EF4-FFF2-40B4-BE49-F238E27FC236}">
                <a16:creationId xmlns:a16="http://schemas.microsoft.com/office/drawing/2014/main" id="{34948DED-65EF-CFAD-188E-E6E67A08B13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5</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4559718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72374ED4-7220-B8D8-F92A-DFE1EFA42F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25" name="think-cell data - do not delete" hidden="1">
                        <a:extLst>
                          <a:ext uri="{FF2B5EF4-FFF2-40B4-BE49-F238E27FC236}">
                            <a16:creationId xmlns:a16="http://schemas.microsoft.com/office/drawing/2014/main" id="{72374ED4-7220-B8D8-F92A-DFE1EFA42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7E0A3ED-D5B0-0EF2-1E58-2107C90B6FDA}"/>
              </a:ext>
            </a:extLst>
          </p:cNvPr>
          <p:cNvSpPr>
            <a:spLocks noGrp="1"/>
          </p:cNvSpPr>
          <p:nvPr>
            <p:ph type="title"/>
          </p:nvPr>
        </p:nvSpPr>
        <p:spPr>
          <a:xfrm>
            <a:off x="219600" y="304859"/>
            <a:ext cx="11736000" cy="853200"/>
          </a:xfrm>
        </p:spPr>
        <p:txBody>
          <a:bodyPr vert="horz"/>
          <a:lstStyle/>
          <a:p>
            <a:r>
              <a:rPr lang="en-US" dirty="0"/>
              <a:t>Kollicoat</a:t>
            </a:r>
            <a:r>
              <a:rPr lang="en-US" baseline="30000" dirty="0"/>
              <a:t>®</a:t>
            </a:r>
            <a:r>
              <a:rPr lang="en-US" dirty="0"/>
              <a:t> Smartseal</a:t>
            </a:r>
            <a:r>
              <a:rPr lang="en-US" altLang="de-DE" dirty="0"/>
              <a:t>: Evaluation of curing effects</a:t>
            </a:r>
            <a:br>
              <a:rPr lang="en-US" dirty="0"/>
            </a:br>
            <a:endParaRPr lang="en-US" dirty="0"/>
          </a:p>
        </p:txBody>
      </p:sp>
      <p:sp>
        <p:nvSpPr>
          <p:cNvPr id="24" name="Text Box 9">
            <a:extLst>
              <a:ext uri="{FF2B5EF4-FFF2-40B4-BE49-F238E27FC236}">
                <a16:creationId xmlns:a16="http://schemas.microsoft.com/office/drawing/2014/main" id="{AC8ACFEC-1A72-7505-92A4-3B01E8FC34A4}"/>
              </a:ext>
            </a:extLst>
          </p:cNvPr>
          <p:cNvSpPr txBox="1">
            <a:spLocks noChangeArrowheads="1"/>
          </p:cNvSpPr>
          <p:nvPr/>
        </p:nvSpPr>
        <p:spPr bwMode="auto">
          <a:xfrm>
            <a:off x="6304547" y="1332856"/>
            <a:ext cx="5887453" cy="4611519"/>
          </a:xfrm>
          <a:prstGeom prst="rect">
            <a:avLst/>
          </a:prstGeom>
          <a:noFill/>
          <a:ln>
            <a:noFill/>
          </a:ln>
          <a:effectLst/>
        </p:spPr>
        <p:txBody>
          <a:bodyPr wrap="square">
            <a:spAutoFit/>
          </a:bodyPr>
          <a:lstStyle/>
          <a:p>
            <a:pPr marL="285750" indent="-285750">
              <a:lnSpc>
                <a:spcPct val="150000"/>
              </a:lnSpc>
              <a:buClr>
                <a:schemeClr val="accent1"/>
              </a:buClr>
              <a:buFont typeface="Arial" panose="020B0604020202020204" pitchFamily="34" charset="0"/>
              <a:buChar char="■"/>
              <a:defRPr/>
            </a:pPr>
            <a:r>
              <a:rPr lang="en-US" altLang="de-DE" dirty="0">
                <a:solidFill>
                  <a:srgbClr val="000000"/>
                </a:solidFill>
              </a:rPr>
              <a:t>Curing step is required to close the film better when spraying a Kollicoat Smartseal dispersion.</a:t>
            </a:r>
          </a:p>
          <a:p>
            <a:pPr marL="285750" indent="-285750">
              <a:lnSpc>
                <a:spcPct val="150000"/>
              </a:lnSpc>
              <a:buClr>
                <a:schemeClr val="accent1"/>
              </a:buClr>
              <a:buFont typeface="Arial" panose="020B0604020202020204" pitchFamily="34" charset="0"/>
              <a:buChar char="■"/>
              <a:defRPr/>
            </a:pPr>
            <a:endParaRPr lang="en-US" altLang="de-DE" dirty="0">
              <a:solidFill>
                <a:srgbClr val="000000"/>
              </a:solidFill>
            </a:endParaRPr>
          </a:p>
          <a:p>
            <a:pPr marL="285750" indent="-285750">
              <a:lnSpc>
                <a:spcPct val="150000"/>
              </a:lnSpc>
              <a:buClr>
                <a:schemeClr val="accent1"/>
              </a:buClr>
              <a:buFont typeface="Arial" panose="020B0604020202020204" pitchFamily="34" charset="0"/>
              <a:buChar char="■"/>
              <a:defRPr/>
            </a:pPr>
            <a:r>
              <a:rPr lang="en-US" dirty="0">
                <a:latin typeface="Arial   "/>
              </a:rPr>
              <a:t>Not needed for organic solutions of Kollicoat</a:t>
            </a:r>
            <a:r>
              <a:rPr lang="en-US" baseline="30000" dirty="0">
                <a:latin typeface="Arial   "/>
              </a:rPr>
              <a:t>®</a:t>
            </a:r>
            <a:r>
              <a:rPr lang="en-US" dirty="0">
                <a:latin typeface="Arial   "/>
              </a:rPr>
              <a:t> Smartseal 100 P</a:t>
            </a:r>
          </a:p>
          <a:p>
            <a:pPr marL="285750" indent="-285750">
              <a:lnSpc>
                <a:spcPct val="150000"/>
              </a:lnSpc>
              <a:buClr>
                <a:schemeClr val="accent1"/>
              </a:buClr>
              <a:buFont typeface="Arial" panose="020B0604020202020204" pitchFamily="34" charset="0"/>
              <a:buChar char="■"/>
              <a:defRPr/>
            </a:pPr>
            <a:endParaRPr lang="en-US" dirty="0">
              <a:latin typeface="Arial   "/>
            </a:endParaRPr>
          </a:p>
          <a:p>
            <a:pPr marL="285750" indent="-285750">
              <a:lnSpc>
                <a:spcPct val="150000"/>
              </a:lnSpc>
              <a:buClr>
                <a:schemeClr val="accent1"/>
              </a:buClr>
              <a:buFont typeface="Arial" panose="020B0604020202020204" pitchFamily="34" charset="0"/>
              <a:buChar char="■"/>
              <a:defRPr/>
            </a:pPr>
            <a:r>
              <a:rPr kumimoji="0" lang="en-US" altLang="de-DE" sz="1800" b="0" i="0" u="none" strike="noStrike" kern="1200" cap="none" spc="0" normalizeH="0" baseline="0" noProof="0" dirty="0">
                <a:ln>
                  <a:noFill/>
                </a:ln>
                <a:solidFill>
                  <a:srgbClr val="000000"/>
                </a:solidFill>
                <a:effectLst/>
                <a:uLnTx/>
                <a:uFillTx/>
                <a:latin typeface="Arial" panose="020B0604020202020204"/>
                <a:cs typeface="Arial"/>
              </a:rPr>
              <a:t>Curing time depends upon formulation and process parameters. </a:t>
            </a:r>
          </a:p>
          <a:p>
            <a:pPr marL="285750" indent="-285750">
              <a:lnSpc>
                <a:spcPct val="150000"/>
              </a:lnSpc>
              <a:buClr>
                <a:schemeClr val="accent1"/>
              </a:buClr>
              <a:buFont typeface="Arial" panose="020B0604020202020204" pitchFamily="34" charset="0"/>
              <a:buChar char="■"/>
              <a:defRPr/>
            </a:pPr>
            <a:endParaRPr lang="en-US" altLang="de-DE" dirty="0">
              <a:solidFill>
                <a:srgbClr val="000000"/>
              </a:solidFill>
              <a:latin typeface="Arial" panose="020B0604020202020204"/>
              <a:cs typeface="Arial"/>
            </a:endParaRPr>
          </a:p>
          <a:p>
            <a:pPr marL="285750" marR="0" lvl="0" indent="-285750" defTabSz="914400" rtl="0" eaLnBrk="1" fontAlgn="auto" latinLnBrk="0" hangingPunct="1">
              <a:lnSpc>
                <a:spcPct val="150000"/>
              </a:lnSpc>
              <a:spcBef>
                <a:spcPts val="0"/>
              </a:spcBef>
              <a:spcAft>
                <a:spcPts val="0"/>
              </a:spcAft>
              <a:buClr>
                <a:schemeClr val="accent1"/>
              </a:buClr>
              <a:buSzTx/>
              <a:buFont typeface="Arial" panose="020B0604020202020204" pitchFamily="34" charset="0"/>
              <a:buChar char="■"/>
              <a:tabLst/>
              <a:defRPr/>
            </a:pPr>
            <a:r>
              <a:rPr kumimoji="0" lang="en-US" altLang="de-DE" sz="1800" b="0" i="0" u="none" strike="noStrike" kern="1200" cap="none" spc="0" normalizeH="0" baseline="0" noProof="0" dirty="0">
                <a:ln>
                  <a:noFill/>
                </a:ln>
                <a:solidFill>
                  <a:srgbClr val="000000"/>
                </a:solidFill>
                <a:effectLst/>
                <a:uLnTx/>
                <a:uFillTx/>
                <a:latin typeface="Arial" panose="020B0604020202020204"/>
                <a:cs typeface="Arial"/>
              </a:rPr>
              <a:t>Higher amounts of plasticizer, antioxidant, and talc in the formulation generally require longer curing time. </a:t>
            </a:r>
          </a:p>
        </p:txBody>
      </p:sp>
      <p:graphicFrame>
        <p:nvGraphicFramePr>
          <p:cNvPr id="27" name="Diagram 26">
            <a:extLst>
              <a:ext uri="{FF2B5EF4-FFF2-40B4-BE49-F238E27FC236}">
                <a16:creationId xmlns:a16="http://schemas.microsoft.com/office/drawing/2014/main" id="{92326D46-AF9F-2634-267B-6CE35DDDE91C}"/>
              </a:ext>
            </a:extLst>
          </p:cNvPr>
          <p:cNvGraphicFramePr/>
          <p:nvPr/>
        </p:nvGraphicFramePr>
        <p:xfrm>
          <a:off x="-1658589" y="911392"/>
          <a:ext cx="9564606" cy="545444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5" name="Footer Placeholder 11">
            <a:extLst>
              <a:ext uri="{FF2B5EF4-FFF2-40B4-BE49-F238E27FC236}">
                <a16:creationId xmlns:a16="http://schemas.microsoft.com/office/drawing/2014/main" id="{C5C74965-BAFF-3E48-3550-4764FE1D1B0E}"/>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7" name="Slide Number Placeholder 6">
            <a:extLst>
              <a:ext uri="{FF2B5EF4-FFF2-40B4-BE49-F238E27FC236}">
                <a16:creationId xmlns:a16="http://schemas.microsoft.com/office/drawing/2014/main" id="{F963E834-C3B4-A60B-C532-E5B726427F4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6</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9455151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DDE32C6-4231-7757-E5F4-2645C677B9CE}"/>
              </a:ext>
            </a:extLst>
          </p:cNvPr>
          <p:cNvGraphicFramePr>
            <a:graphicFrameLocks noChangeAspect="1"/>
          </p:cNvGraphicFramePr>
          <p:nvPr>
            <p:custDataLst>
              <p:tags r:id="rId1"/>
            </p:custDataLst>
            <p:extLst>
              <p:ext uri="{D42A27DB-BD31-4B8C-83A1-F6EECF244321}">
                <p14:modId xmlns:p14="http://schemas.microsoft.com/office/powerpoint/2010/main" val="1042633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13" name="think-cell data - do not delete" hidden="1">
                        <a:extLst>
                          <a:ext uri="{FF2B5EF4-FFF2-40B4-BE49-F238E27FC236}">
                            <a16:creationId xmlns:a16="http://schemas.microsoft.com/office/drawing/2014/main" id="{3DDE32C6-4231-7757-E5F4-2645C677B9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ED7606-7740-BFE5-E58F-2E1B623D838E}"/>
              </a:ext>
            </a:extLst>
          </p:cNvPr>
          <p:cNvSpPr>
            <a:spLocks noGrp="1"/>
          </p:cNvSpPr>
          <p:nvPr>
            <p:ph type="title"/>
          </p:nvPr>
        </p:nvSpPr>
        <p:spPr>
          <a:xfrm>
            <a:off x="9076030" y="2066245"/>
            <a:ext cx="2998314" cy="2105517"/>
          </a:xfrm>
        </p:spPr>
        <p:txBody>
          <a:bodyPr vert="horz"/>
          <a:lstStyle/>
          <a:p>
            <a:r>
              <a:rPr lang="en-US" sz="1400" b="0" dirty="0">
                <a:solidFill>
                  <a:schemeClr val="tx1"/>
                </a:solidFill>
              </a:rPr>
              <a:t>Caffeine granules</a:t>
            </a:r>
            <a:br>
              <a:rPr lang="en-US" sz="1400" b="0" dirty="0">
                <a:solidFill>
                  <a:schemeClr val="tx1"/>
                </a:solidFill>
              </a:rPr>
            </a:br>
            <a:r>
              <a:rPr lang="en-US" sz="1400" b="0" dirty="0">
                <a:solidFill>
                  <a:schemeClr val="tx1"/>
                </a:solidFill>
              </a:rPr>
              <a:t>15% weight gain </a:t>
            </a:r>
            <a:br>
              <a:rPr lang="en-US" sz="1400" b="0" dirty="0">
                <a:solidFill>
                  <a:schemeClr val="tx1"/>
                </a:solidFill>
              </a:rPr>
            </a:br>
            <a:br>
              <a:rPr lang="en-US" sz="1400" b="0" dirty="0">
                <a:solidFill>
                  <a:schemeClr val="tx1"/>
                </a:solidFill>
              </a:rPr>
            </a:br>
            <a:r>
              <a:rPr lang="en-US" sz="1400" b="0" dirty="0">
                <a:solidFill>
                  <a:schemeClr val="tx1"/>
                </a:solidFill>
              </a:rPr>
              <a:t>Kollicoat Smartseal 30 D aqueous:</a:t>
            </a:r>
            <a:br>
              <a:rPr lang="en-US" sz="1400" b="0" dirty="0">
                <a:solidFill>
                  <a:schemeClr val="tx1"/>
                </a:solidFill>
              </a:rPr>
            </a:br>
            <a:r>
              <a:rPr lang="en-US" sz="1400" b="0" dirty="0">
                <a:solidFill>
                  <a:schemeClr val="tx1"/>
                </a:solidFill>
              </a:rPr>
              <a:t>No curing step and Curing</a:t>
            </a:r>
            <a:br>
              <a:rPr lang="en-US" sz="1400" b="0" dirty="0">
                <a:solidFill>
                  <a:schemeClr val="tx1"/>
                </a:solidFill>
              </a:rPr>
            </a:br>
            <a:br>
              <a:rPr lang="en-US" sz="1400" b="0" dirty="0">
                <a:solidFill>
                  <a:schemeClr val="tx1"/>
                </a:solidFill>
              </a:rPr>
            </a:br>
            <a:r>
              <a:rPr lang="en-US" sz="1400" b="0" dirty="0">
                <a:solidFill>
                  <a:schemeClr val="tx1"/>
                </a:solidFill>
              </a:rPr>
              <a:t>Kollicoat Smartseal 100 P organic:</a:t>
            </a:r>
            <a:br>
              <a:rPr lang="en-US" sz="1400" b="0" dirty="0">
                <a:solidFill>
                  <a:schemeClr val="tx1"/>
                </a:solidFill>
              </a:rPr>
            </a:br>
            <a:r>
              <a:rPr lang="en-US" sz="1400" b="0" dirty="0">
                <a:solidFill>
                  <a:schemeClr val="tx1"/>
                </a:solidFill>
              </a:rPr>
              <a:t>No curing step and Curing</a:t>
            </a:r>
            <a:br>
              <a:rPr lang="en-US" sz="2800" dirty="0"/>
            </a:br>
            <a:endParaRPr lang="en-US" dirty="0"/>
          </a:p>
        </p:txBody>
      </p:sp>
      <p:sp>
        <p:nvSpPr>
          <p:cNvPr id="4" name="Slide Number Placeholder 3">
            <a:extLst>
              <a:ext uri="{FF2B5EF4-FFF2-40B4-BE49-F238E27FC236}">
                <a16:creationId xmlns:a16="http://schemas.microsoft.com/office/drawing/2014/main" id="{EE5EF5AC-F606-814F-75F1-689FED3F2A1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7</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Inhaltsplatzhalter 1">
            <a:extLst>
              <a:ext uri="{FF2B5EF4-FFF2-40B4-BE49-F238E27FC236}">
                <a16:creationId xmlns:a16="http://schemas.microsoft.com/office/drawing/2014/main" id="{EBAA4BED-122E-AF3D-4572-2363F280DADF}"/>
              </a:ext>
            </a:extLst>
          </p:cNvPr>
          <p:cNvSpPr txBox="1">
            <a:spLocks/>
          </p:cNvSpPr>
          <p:nvPr/>
        </p:nvSpPr>
        <p:spPr>
          <a:xfrm>
            <a:off x="2207429" y="1286832"/>
            <a:ext cx="8859461" cy="3383960"/>
          </a:xfrm>
          <a:prstGeom prst="rect">
            <a:avLst/>
          </a:prstGeom>
        </p:spPr>
        <p:txBody>
          <a:bodyPr vert="horz" lIns="0" tIns="0" rIns="0" bIns="0" rtlCol="0">
            <a:noAutofit/>
          </a:bodyPr>
          <a:lst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marL="0" lvl="0" indent="0">
              <a:buFont typeface="Wingdings" panose="05000000000000000000" pitchFamily="2" charset="2"/>
              <a:buNone/>
            </a:pPr>
            <a:r>
              <a:rPr lang="en-US" sz="1800" b="1" dirty="0"/>
              <a:t>Effect of curing on taste masking and dissolution at pH 6.8</a:t>
            </a:r>
          </a:p>
        </p:txBody>
      </p:sp>
      <p:graphicFrame>
        <p:nvGraphicFramePr>
          <p:cNvPr id="7" name="Diagramm 5">
            <a:extLst>
              <a:ext uri="{FF2B5EF4-FFF2-40B4-BE49-F238E27FC236}">
                <a16:creationId xmlns:a16="http://schemas.microsoft.com/office/drawing/2014/main" id="{D86492C7-B5E6-7005-2353-97BC18237BD9}"/>
              </a:ext>
            </a:extLst>
          </p:cNvPr>
          <p:cNvGraphicFramePr>
            <a:graphicFrameLocks noGrp="1"/>
          </p:cNvGraphicFramePr>
          <p:nvPr>
            <p:extLst>
              <p:ext uri="{D42A27DB-BD31-4B8C-83A1-F6EECF244321}">
                <p14:modId xmlns:p14="http://schemas.microsoft.com/office/powerpoint/2010/main" val="3711462028"/>
              </p:ext>
            </p:extLst>
          </p:nvPr>
        </p:nvGraphicFramePr>
        <p:xfrm>
          <a:off x="586800" y="1502883"/>
          <a:ext cx="8859461" cy="3494137"/>
        </p:xfrm>
        <a:graphic>
          <a:graphicData uri="http://schemas.openxmlformats.org/drawingml/2006/chart">
            <c:chart xmlns:c="http://schemas.openxmlformats.org/drawingml/2006/chart" xmlns:r="http://schemas.openxmlformats.org/officeDocument/2006/relationships" r:id="rId6"/>
          </a:graphicData>
        </a:graphic>
      </p:graphicFrame>
      <p:sp>
        <p:nvSpPr>
          <p:cNvPr id="8" name="Rechteck 7">
            <a:extLst>
              <a:ext uri="{FF2B5EF4-FFF2-40B4-BE49-F238E27FC236}">
                <a16:creationId xmlns:a16="http://schemas.microsoft.com/office/drawing/2014/main" id="{965CABA9-F59F-8810-4D81-8AB15621626C}"/>
              </a:ext>
            </a:extLst>
          </p:cNvPr>
          <p:cNvSpPr/>
          <p:nvPr/>
        </p:nvSpPr>
        <p:spPr>
          <a:xfrm>
            <a:off x="586800" y="5098590"/>
            <a:ext cx="11252391" cy="960776"/>
          </a:xfrm>
          <a:prstGeom prst="rect">
            <a:avLst/>
          </a:prstGeom>
        </p:spPr>
        <p:txBody>
          <a:bodyPr wrap="square">
            <a:spAutoFit/>
          </a:bodyPr>
          <a:lstStyle/>
          <a:p>
            <a:pPr marL="285750" marR="0" lvl="1" indent="-285750" algn="l" defTabSz="685891" rtl="0" eaLnBrk="1" fontAlgn="base" latinLnBrk="0" hangingPunct="1">
              <a:lnSpc>
                <a:spcPct val="110000"/>
              </a:lnSpc>
              <a:spcBef>
                <a:spcPts val="0"/>
              </a:spcBef>
              <a:spcAft>
                <a:spcPts val="300"/>
              </a:spcAft>
              <a:buClr>
                <a:srgbClr val="C50022"/>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a:rPr>
              <a:t>Kollicoat</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cs typeface="Arial"/>
              </a:rPr>
              <a:t>®</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a:rPr>
              <a:t> Smartseal 30 D needs curing to close. </a:t>
            </a:r>
            <a:r>
              <a:rPr lang="en-US" sz="1600" dirty="0">
                <a:solidFill>
                  <a:srgbClr val="000000"/>
                </a:solidFill>
                <a:latin typeface="Arial" panose="020B0604020202020204" pitchFamily="34" charset="0"/>
                <a:cs typeface="Arial"/>
              </a:rPr>
              <a:t>However, n</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a:rPr>
              <a:t>o practical difference in 2 vs 4 hrs. curing.</a:t>
            </a:r>
          </a:p>
          <a:p>
            <a:pPr marL="285750" marR="0" lvl="1" indent="-285750" algn="l" defTabSz="685891" rtl="0" eaLnBrk="1" fontAlgn="base" latinLnBrk="0" hangingPunct="1">
              <a:lnSpc>
                <a:spcPct val="110000"/>
              </a:lnSpc>
              <a:spcBef>
                <a:spcPts val="0"/>
              </a:spcBef>
              <a:spcAft>
                <a:spcPts val="300"/>
              </a:spcAft>
              <a:buClr>
                <a:srgbClr val="C50022"/>
              </a:buClr>
              <a:buSzTx/>
              <a:buFont typeface="Wingdings" panose="05000000000000000000" pitchFamily="2" charset="2"/>
              <a:buChar char="§"/>
              <a:tabLst/>
              <a:defRPr/>
            </a:pPr>
            <a:r>
              <a:rPr kumimoji="0" lang="en-US" sz="1600" i="0" u="none" strike="noStrike" kern="1200" cap="none" spc="0" normalizeH="0" baseline="0" noProof="0" dirty="0">
                <a:ln>
                  <a:noFill/>
                </a:ln>
                <a:solidFill>
                  <a:srgbClr val="000000"/>
                </a:solidFill>
                <a:effectLst/>
                <a:uLnTx/>
                <a:uFillTx/>
                <a:latin typeface="Arial" panose="020B0604020202020204" pitchFamily="34" charset="0"/>
                <a:cs typeface="Arial"/>
              </a:rPr>
              <a:t>Curing has no influence on performance of organic coated Kollicoat</a:t>
            </a:r>
            <a:r>
              <a:rPr kumimoji="0" lang="en-US" sz="1600" i="0" u="none" strike="noStrike" kern="1200" cap="none" spc="0" normalizeH="0" baseline="30000" noProof="0" dirty="0">
                <a:ln>
                  <a:noFill/>
                </a:ln>
                <a:solidFill>
                  <a:srgbClr val="000000"/>
                </a:solidFill>
                <a:effectLst/>
                <a:uLnTx/>
                <a:uFillTx/>
                <a:latin typeface="Arial" panose="020B0604020202020204" pitchFamily="34" charset="0"/>
                <a:cs typeface="Arial"/>
              </a:rPr>
              <a:t>® </a:t>
            </a:r>
            <a:r>
              <a:rPr kumimoji="0" lang="en-US" sz="1600" i="0" u="none" strike="noStrike" kern="1200" cap="none" spc="0" normalizeH="0" baseline="0" noProof="0" dirty="0">
                <a:ln>
                  <a:noFill/>
                </a:ln>
                <a:solidFill>
                  <a:srgbClr val="000000"/>
                </a:solidFill>
                <a:effectLst/>
                <a:uLnTx/>
                <a:uFillTx/>
                <a:latin typeface="Arial" panose="020B0604020202020204" pitchFamily="34" charset="0"/>
                <a:cs typeface="Arial"/>
              </a:rPr>
              <a:t>Smartseal 100 P </a:t>
            </a:r>
          </a:p>
          <a:p>
            <a:pPr marL="285750" marR="0" lvl="1" indent="-285750" algn="l" defTabSz="685891" rtl="0" eaLnBrk="1" fontAlgn="base" latinLnBrk="0" hangingPunct="1">
              <a:lnSpc>
                <a:spcPct val="110000"/>
              </a:lnSpc>
              <a:spcBef>
                <a:spcPts val="0"/>
              </a:spcBef>
              <a:spcAft>
                <a:spcPts val="300"/>
              </a:spcAft>
              <a:buClr>
                <a:srgbClr val="C50022"/>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a:rPr>
              <a:t>Organic Kollicoat</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cs typeface="Arial"/>
              </a:rPr>
              <a:t>®</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a:rPr>
              <a:t> Smartseal 100 P w/o curing is initially comparable to release from Kollicoat</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cs typeface="Arial"/>
              </a:rPr>
              <a:t>®</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a:rPr>
              <a:t> Smartseal 30 D cured </a:t>
            </a:r>
          </a:p>
        </p:txBody>
      </p:sp>
      <p:sp>
        <p:nvSpPr>
          <p:cNvPr id="64" name="Title 1">
            <a:extLst>
              <a:ext uri="{FF2B5EF4-FFF2-40B4-BE49-F238E27FC236}">
                <a16:creationId xmlns:a16="http://schemas.microsoft.com/office/drawing/2014/main" id="{D7AFC75F-276E-A987-6FB6-C422C27DA820}"/>
              </a:ext>
            </a:extLst>
          </p:cNvPr>
          <p:cNvSpPr txBox="1">
            <a:spLocks/>
          </p:cNvSpPr>
          <p:nvPr/>
        </p:nvSpPr>
        <p:spPr>
          <a:xfrm>
            <a:off x="219600" y="304859"/>
            <a:ext cx="11736000" cy="853200"/>
          </a:xfrm>
          <a:prstGeom prst="rect">
            <a:avLst/>
          </a:prstGeom>
        </p:spPr>
        <p:txBody>
          <a:bodyPr vert="horz" lIns="0" tIns="0" rIns="0" bIns="0" rtlCol="0" anchor="t">
            <a:noAutofit/>
          </a:bodyPr>
          <a:lstStyle>
            <a:lvl1pPr algn="l" defTabSz="914400"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a:lstStyle>
          <a:p>
            <a:pPr lvl="0"/>
            <a:r>
              <a:rPr lang="en-US" dirty="0"/>
              <a:t>Kollicoat</a:t>
            </a:r>
            <a:r>
              <a:rPr lang="en-US" baseline="30000" dirty="0"/>
              <a:t>®</a:t>
            </a:r>
            <a:r>
              <a:rPr lang="en-US" dirty="0"/>
              <a:t> Smartseal</a:t>
            </a:r>
            <a:r>
              <a:rPr lang="en-US" altLang="de-DE" dirty="0"/>
              <a:t>: Evaluation of curing effects</a:t>
            </a:r>
            <a:br>
              <a:rPr lang="en-US" dirty="0"/>
            </a:br>
            <a:endParaRPr lang="en-US" dirty="0"/>
          </a:p>
        </p:txBody>
      </p:sp>
      <p:sp>
        <p:nvSpPr>
          <p:cNvPr id="3" name="Footer Placeholder 11">
            <a:extLst>
              <a:ext uri="{FF2B5EF4-FFF2-40B4-BE49-F238E27FC236}">
                <a16:creationId xmlns:a16="http://schemas.microsoft.com/office/drawing/2014/main" id="{8B31BB15-058C-54F5-3F45-8B009832D7D0}"/>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26497163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DFA9A9A-BA2D-E24A-3BC3-525E6DDC913D}"/>
              </a:ext>
            </a:extLst>
          </p:cNvPr>
          <p:cNvGraphicFramePr>
            <a:graphicFrameLocks noChangeAspect="1"/>
          </p:cNvGraphicFramePr>
          <p:nvPr>
            <p:custDataLst>
              <p:tags r:id="rId1"/>
            </p:custDataLst>
            <p:extLst>
              <p:ext uri="{D42A27DB-BD31-4B8C-83A1-F6EECF244321}">
                <p14:modId xmlns:p14="http://schemas.microsoft.com/office/powerpoint/2010/main" val="3751223698"/>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think-cell data - do not delete" hidden="1">
                        <a:extLst>
                          <a:ext uri="{FF2B5EF4-FFF2-40B4-BE49-F238E27FC236}">
                            <a16:creationId xmlns:a16="http://schemas.microsoft.com/office/drawing/2014/main" id="{FDFA9A9A-BA2D-E24A-3BC3-525E6DDC913D}"/>
                          </a:ext>
                        </a:extLst>
                      </p:cNvPr>
                      <p:cNvPicPr/>
                      <p:nvPr/>
                    </p:nvPicPr>
                    <p:blipFill>
                      <a:blip r:embed="rId5"/>
                      <a:stretch>
                        <a:fillRect/>
                      </a:stretch>
                    </p:blipFill>
                    <p:spPr>
                      <a:xfrm>
                        <a:off x="1588"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4244C5-7A2E-F091-6228-559940173FCD}"/>
              </a:ext>
            </a:extLst>
          </p:cNvPr>
          <p:cNvSpPr>
            <a:spLocks noGrp="1"/>
          </p:cNvSpPr>
          <p:nvPr>
            <p:ph type="title"/>
          </p:nvPr>
        </p:nvSpPr>
        <p:spPr>
          <a:xfrm>
            <a:off x="251471" y="223738"/>
            <a:ext cx="11736000" cy="853200"/>
          </a:xfrm>
        </p:spPr>
        <p:txBody>
          <a:bodyPr vert="horz"/>
          <a:lstStyle/>
          <a:p>
            <a:r>
              <a:rPr lang="en-US" dirty="0"/>
              <a:t>Decision tree for formulation development</a:t>
            </a:r>
          </a:p>
        </p:txBody>
      </p:sp>
      <p:sp>
        <p:nvSpPr>
          <p:cNvPr id="5" name="Slide Number Placeholder 4">
            <a:extLst>
              <a:ext uri="{FF2B5EF4-FFF2-40B4-BE49-F238E27FC236}">
                <a16:creationId xmlns:a16="http://schemas.microsoft.com/office/drawing/2014/main" id="{CDDAA6BC-AB81-24B1-AADB-0A3E65AC63C6}"/>
              </a:ext>
            </a:extLst>
          </p:cNvPr>
          <p:cNvSpPr>
            <a:spLocks noGrp="1"/>
          </p:cNvSpPr>
          <p:nvPr>
            <p:ph type="sldNum" sz="quarter" idx="12"/>
          </p:nvPr>
        </p:nvSpPr>
        <p:spPr/>
        <p:txBody>
          <a:bodyPr/>
          <a:lstStyle/>
          <a:p>
            <a:pPr>
              <a:defRPr/>
            </a:pPr>
            <a:fld id="{D7C0CCF7-DF53-4ADB-AAD8-9742C01AD446}" type="slidenum">
              <a:rPr lang="en-US" smtClean="0">
                <a:solidFill>
                  <a:srgbClr val="000000"/>
                </a:solidFill>
                <a:latin typeface="Arial" panose="020B0604020202020204"/>
                <a:cs typeface="Arial"/>
              </a:rPr>
              <a:pPr>
                <a:defRPr/>
              </a:pPr>
              <a:t>28</a:t>
            </a:fld>
            <a:endParaRPr lang="en-US" dirty="0">
              <a:solidFill>
                <a:srgbClr val="000000"/>
              </a:solidFill>
              <a:latin typeface="Arial" panose="020B0604020202020204"/>
              <a:cs typeface="Arial"/>
            </a:endParaRPr>
          </a:p>
        </p:txBody>
      </p:sp>
      <p:cxnSp>
        <p:nvCxnSpPr>
          <p:cNvPr id="6" name="Gerade Verbindung mit Pfeil 77">
            <a:extLst>
              <a:ext uri="{FF2B5EF4-FFF2-40B4-BE49-F238E27FC236}">
                <a16:creationId xmlns:a16="http://schemas.microsoft.com/office/drawing/2014/main" id="{6D9E4708-31CF-982E-F4B4-9DB14B7B4EDF}"/>
              </a:ext>
            </a:extLst>
          </p:cNvPr>
          <p:cNvCxnSpPr>
            <a:endCxn id="21" idx="0"/>
          </p:cNvCxnSpPr>
          <p:nvPr/>
        </p:nvCxnSpPr>
        <p:spPr>
          <a:xfrm>
            <a:off x="2389469" y="3705339"/>
            <a:ext cx="1780" cy="6816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Gerade Verbindung mit Pfeil 79">
            <a:extLst>
              <a:ext uri="{FF2B5EF4-FFF2-40B4-BE49-F238E27FC236}">
                <a16:creationId xmlns:a16="http://schemas.microsoft.com/office/drawing/2014/main" id="{2B350699-7471-4D73-293D-93EA5BAC7FBC}"/>
              </a:ext>
            </a:extLst>
          </p:cNvPr>
          <p:cNvCxnSpPr>
            <a:cxnSpLocks/>
          </p:cNvCxnSpPr>
          <p:nvPr/>
        </p:nvCxnSpPr>
        <p:spPr>
          <a:xfrm flipH="1">
            <a:off x="4513637" y="3507118"/>
            <a:ext cx="9113" cy="8798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chteck 9">
            <a:extLst>
              <a:ext uri="{FF2B5EF4-FFF2-40B4-BE49-F238E27FC236}">
                <a16:creationId xmlns:a16="http://schemas.microsoft.com/office/drawing/2014/main" id="{F1F3EFD4-5340-8E50-7A11-B24E2804FB05}"/>
              </a:ext>
            </a:extLst>
          </p:cNvPr>
          <p:cNvSpPr/>
          <p:nvPr/>
        </p:nvSpPr>
        <p:spPr>
          <a:xfrm>
            <a:off x="3071365" y="1634439"/>
            <a:ext cx="731520" cy="284594"/>
          </a:xfrm>
          <a:prstGeom prst="rect">
            <a:avLst/>
          </a:prstGeom>
          <a:solidFill>
            <a:srgbClr val="7CA0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12.5%*</a:t>
            </a:r>
          </a:p>
        </p:txBody>
      </p:sp>
      <p:sp>
        <p:nvSpPr>
          <p:cNvPr id="9" name="Rechteck 10">
            <a:extLst>
              <a:ext uri="{FF2B5EF4-FFF2-40B4-BE49-F238E27FC236}">
                <a16:creationId xmlns:a16="http://schemas.microsoft.com/office/drawing/2014/main" id="{81290D8D-E227-3CDE-F601-8BDE07EE6371}"/>
              </a:ext>
            </a:extLst>
          </p:cNvPr>
          <p:cNvSpPr/>
          <p:nvPr/>
        </p:nvSpPr>
        <p:spPr>
          <a:xfrm>
            <a:off x="2015105" y="1634439"/>
            <a:ext cx="731520" cy="284594"/>
          </a:xfrm>
          <a:prstGeom prst="rect">
            <a:avLst/>
          </a:prstGeom>
          <a:solidFill>
            <a:srgbClr val="E0E9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10%*</a:t>
            </a:r>
          </a:p>
        </p:txBody>
      </p:sp>
      <p:sp>
        <p:nvSpPr>
          <p:cNvPr id="10" name="Rechteck 11">
            <a:extLst>
              <a:ext uri="{FF2B5EF4-FFF2-40B4-BE49-F238E27FC236}">
                <a16:creationId xmlns:a16="http://schemas.microsoft.com/office/drawing/2014/main" id="{9A8C2240-6B7C-4014-65BB-95184D10B709}"/>
              </a:ext>
            </a:extLst>
          </p:cNvPr>
          <p:cNvSpPr/>
          <p:nvPr/>
        </p:nvSpPr>
        <p:spPr>
          <a:xfrm>
            <a:off x="4156547" y="1634439"/>
            <a:ext cx="731520" cy="284594"/>
          </a:xfrm>
          <a:prstGeom prst="rect">
            <a:avLst/>
          </a:prstGeom>
          <a:solidFill>
            <a:srgbClr val="447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15%*</a:t>
            </a:r>
          </a:p>
        </p:txBody>
      </p:sp>
      <p:sp>
        <p:nvSpPr>
          <p:cNvPr id="11" name="Rechteck 12">
            <a:extLst>
              <a:ext uri="{FF2B5EF4-FFF2-40B4-BE49-F238E27FC236}">
                <a16:creationId xmlns:a16="http://schemas.microsoft.com/office/drawing/2014/main" id="{3E325C0D-338D-1CC3-11DF-976A3D16E342}"/>
              </a:ext>
            </a:extLst>
          </p:cNvPr>
          <p:cNvSpPr/>
          <p:nvPr/>
        </p:nvSpPr>
        <p:spPr>
          <a:xfrm>
            <a:off x="4165658" y="3208650"/>
            <a:ext cx="731520" cy="298468"/>
          </a:xfrm>
          <a:prstGeom prst="rect">
            <a:avLst/>
          </a:prstGeom>
          <a:solidFill>
            <a:srgbClr val="F4A1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High</a:t>
            </a:r>
          </a:p>
        </p:txBody>
      </p:sp>
      <p:sp>
        <p:nvSpPr>
          <p:cNvPr id="12" name="Rechteck 13">
            <a:extLst>
              <a:ext uri="{FF2B5EF4-FFF2-40B4-BE49-F238E27FC236}">
                <a16:creationId xmlns:a16="http://schemas.microsoft.com/office/drawing/2014/main" id="{DE0290CF-D0B8-154F-7AF3-225811F692AD}"/>
              </a:ext>
            </a:extLst>
          </p:cNvPr>
          <p:cNvSpPr/>
          <p:nvPr/>
        </p:nvSpPr>
        <p:spPr>
          <a:xfrm>
            <a:off x="3079968" y="3218222"/>
            <a:ext cx="731520" cy="298468"/>
          </a:xfrm>
          <a:prstGeom prst="rect">
            <a:avLst/>
          </a:prstGeom>
          <a:solidFill>
            <a:srgbClr val="F7B6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Medium</a:t>
            </a:r>
          </a:p>
        </p:txBody>
      </p:sp>
      <p:sp>
        <p:nvSpPr>
          <p:cNvPr id="13" name="Rechteck 14">
            <a:extLst>
              <a:ext uri="{FF2B5EF4-FFF2-40B4-BE49-F238E27FC236}">
                <a16:creationId xmlns:a16="http://schemas.microsoft.com/office/drawing/2014/main" id="{7DC78E2F-51D6-A949-0601-BB4D8C208D94}"/>
              </a:ext>
            </a:extLst>
          </p:cNvPr>
          <p:cNvSpPr/>
          <p:nvPr/>
        </p:nvSpPr>
        <p:spPr>
          <a:xfrm>
            <a:off x="2023710" y="3218222"/>
            <a:ext cx="731520" cy="298468"/>
          </a:xfrm>
          <a:prstGeom prst="rect">
            <a:avLst/>
          </a:prstGeom>
          <a:solidFill>
            <a:srgbClr val="FAC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Low</a:t>
            </a:r>
          </a:p>
        </p:txBody>
      </p:sp>
      <p:sp>
        <p:nvSpPr>
          <p:cNvPr id="14" name="Rechteck 15">
            <a:extLst>
              <a:ext uri="{FF2B5EF4-FFF2-40B4-BE49-F238E27FC236}">
                <a16:creationId xmlns:a16="http://schemas.microsoft.com/office/drawing/2014/main" id="{79835AB1-7140-822D-7893-4E6C44058090}"/>
              </a:ext>
            </a:extLst>
          </p:cNvPr>
          <p:cNvSpPr/>
          <p:nvPr/>
        </p:nvSpPr>
        <p:spPr>
          <a:xfrm>
            <a:off x="3071365" y="2145697"/>
            <a:ext cx="731520" cy="28459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Medium</a:t>
            </a:r>
          </a:p>
        </p:txBody>
      </p:sp>
      <p:sp>
        <p:nvSpPr>
          <p:cNvPr id="15" name="Rechteck 16">
            <a:extLst>
              <a:ext uri="{FF2B5EF4-FFF2-40B4-BE49-F238E27FC236}">
                <a16:creationId xmlns:a16="http://schemas.microsoft.com/office/drawing/2014/main" id="{F052D00F-B528-C784-F1A8-3668EC44BAA0}"/>
              </a:ext>
            </a:extLst>
          </p:cNvPr>
          <p:cNvSpPr/>
          <p:nvPr/>
        </p:nvSpPr>
        <p:spPr>
          <a:xfrm>
            <a:off x="2015105" y="2145697"/>
            <a:ext cx="731520" cy="28459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High</a:t>
            </a:r>
          </a:p>
        </p:txBody>
      </p:sp>
      <p:sp>
        <p:nvSpPr>
          <p:cNvPr id="16" name="Rechteck 17">
            <a:extLst>
              <a:ext uri="{FF2B5EF4-FFF2-40B4-BE49-F238E27FC236}">
                <a16:creationId xmlns:a16="http://schemas.microsoft.com/office/drawing/2014/main" id="{7BB40147-5D14-1AB4-90B7-4FE1C3FCABC4}"/>
              </a:ext>
            </a:extLst>
          </p:cNvPr>
          <p:cNvSpPr/>
          <p:nvPr/>
        </p:nvSpPr>
        <p:spPr>
          <a:xfrm>
            <a:off x="4156547" y="2145697"/>
            <a:ext cx="731520" cy="284594"/>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low</a:t>
            </a:r>
          </a:p>
        </p:txBody>
      </p:sp>
      <p:sp>
        <p:nvSpPr>
          <p:cNvPr id="17" name="Rechteck 18">
            <a:extLst>
              <a:ext uri="{FF2B5EF4-FFF2-40B4-BE49-F238E27FC236}">
                <a16:creationId xmlns:a16="http://schemas.microsoft.com/office/drawing/2014/main" id="{2F24EAC6-3C3A-DB3E-7AD9-CFCEFFE77A5F}"/>
              </a:ext>
            </a:extLst>
          </p:cNvPr>
          <p:cNvSpPr/>
          <p:nvPr/>
        </p:nvSpPr>
        <p:spPr>
          <a:xfrm>
            <a:off x="3080476" y="2694965"/>
            <a:ext cx="731520" cy="284594"/>
          </a:xfrm>
          <a:prstGeom prst="rect">
            <a:avLst/>
          </a:prstGeom>
          <a:solidFill>
            <a:srgbClr val="E077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a:t>
            </a:r>
          </a:p>
        </p:txBody>
      </p:sp>
      <p:sp>
        <p:nvSpPr>
          <p:cNvPr id="18" name="Rechteck 19">
            <a:extLst>
              <a:ext uri="{FF2B5EF4-FFF2-40B4-BE49-F238E27FC236}">
                <a16:creationId xmlns:a16="http://schemas.microsoft.com/office/drawing/2014/main" id="{63607B69-76C6-C4E9-4C3E-FB48B6D37E13}"/>
              </a:ext>
            </a:extLst>
          </p:cNvPr>
          <p:cNvSpPr/>
          <p:nvPr/>
        </p:nvSpPr>
        <p:spPr>
          <a:xfrm>
            <a:off x="2024216" y="2694965"/>
            <a:ext cx="731520" cy="284594"/>
          </a:xfrm>
          <a:prstGeom prst="rect">
            <a:avLst/>
          </a:prstGeom>
          <a:solidFill>
            <a:srgbClr val="EBA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a:t>
            </a:r>
          </a:p>
        </p:txBody>
      </p:sp>
      <p:sp>
        <p:nvSpPr>
          <p:cNvPr id="19" name="Rechteck 20">
            <a:extLst>
              <a:ext uri="{FF2B5EF4-FFF2-40B4-BE49-F238E27FC236}">
                <a16:creationId xmlns:a16="http://schemas.microsoft.com/office/drawing/2014/main" id="{EA1EB2E4-4A29-094E-D55C-4A9945F351DB}"/>
              </a:ext>
            </a:extLst>
          </p:cNvPr>
          <p:cNvSpPr/>
          <p:nvPr/>
        </p:nvSpPr>
        <p:spPr>
          <a:xfrm>
            <a:off x="4165658" y="2694965"/>
            <a:ext cx="731520" cy="284594"/>
          </a:xfrm>
          <a:prstGeom prst="rect">
            <a:avLst/>
          </a:prstGeom>
          <a:solidFill>
            <a:srgbClr val="CE48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a:t>
            </a:r>
          </a:p>
        </p:txBody>
      </p:sp>
      <p:sp>
        <p:nvSpPr>
          <p:cNvPr id="20" name="Rechteck 21">
            <a:extLst>
              <a:ext uri="{FF2B5EF4-FFF2-40B4-BE49-F238E27FC236}">
                <a16:creationId xmlns:a16="http://schemas.microsoft.com/office/drawing/2014/main" id="{314A12B8-D95E-51B0-D398-7CAD2BDD594B}"/>
              </a:ext>
            </a:extLst>
          </p:cNvPr>
          <p:cNvSpPr/>
          <p:nvPr/>
        </p:nvSpPr>
        <p:spPr>
          <a:xfrm>
            <a:off x="2009754" y="3880145"/>
            <a:ext cx="2863851" cy="298468"/>
          </a:xfrm>
          <a:prstGeom prst="rect">
            <a:avLst/>
          </a:prstGeom>
          <a:solidFill>
            <a:srgbClr val="62AC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Recommended: 34-39°C</a:t>
            </a:r>
          </a:p>
        </p:txBody>
      </p:sp>
      <p:sp>
        <p:nvSpPr>
          <p:cNvPr id="21" name="Rechteck 22">
            <a:extLst>
              <a:ext uri="{FF2B5EF4-FFF2-40B4-BE49-F238E27FC236}">
                <a16:creationId xmlns:a16="http://schemas.microsoft.com/office/drawing/2014/main" id="{6308FC99-7FF2-08BA-2D9F-0403AC0CFC58}"/>
              </a:ext>
            </a:extLst>
          </p:cNvPr>
          <p:cNvSpPr/>
          <p:nvPr/>
        </p:nvSpPr>
        <p:spPr>
          <a:xfrm>
            <a:off x="2025488" y="4386968"/>
            <a:ext cx="731520" cy="298468"/>
          </a:xfrm>
          <a:prstGeom prst="rect">
            <a:avLst/>
          </a:prstGeom>
          <a:solidFill>
            <a:srgbClr val="3796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gt;40 °C</a:t>
            </a:r>
          </a:p>
        </p:txBody>
      </p:sp>
      <p:sp>
        <p:nvSpPr>
          <p:cNvPr id="22" name="Rechteck 23">
            <a:extLst>
              <a:ext uri="{FF2B5EF4-FFF2-40B4-BE49-F238E27FC236}">
                <a16:creationId xmlns:a16="http://schemas.microsoft.com/office/drawing/2014/main" id="{BF4E7D0E-6097-B410-3410-7B6243DAEECC}"/>
              </a:ext>
            </a:extLst>
          </p:cNvPr>
          <p:cNvSpPr/>
          <p:nvPr/>
        </p:nvSpPr>
        <p:spPr>
          <a:xfrm>
            <a:off x="4156547" y="4386968"/>
            <a:ext cx="731520" cy="298468"/>
          </a:xfrm>
          <a:prstGeom prst="rect">
            <a:avLst/>
          </a:prstGeom>
          <a:solidFill>
            <a:srgbClr val="A6D0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lt;35 °C</a:t>
            </a:r>
          </a:p>
        </p:txBody>
      </p:sp>
      <p:sp>
        <p:nvSpPr>
          <p:cNvPr id="23" name="Rechteck 24">
            <a:extLst>
              <a:ext uri="{FF2B5EF4-FFF2-40B4-BE49-F238E27FC236}">
                <a16:creationId xmlns:a16="http://schemas.microsoft.com/office/drawing/2014/main" id="{DA133243-51F6-6D06-5A2A-7203B4AC157E}"/>
              </a:ext>
            </a:extLst>
          </p:cNvPr>
          <p:cNvSpPr/>
          <p:nvPr/>
        </p:nvSpPr>
        <p:spPr>
          <a:xfrm>
            <a:off x="4165658" y="4936247"/>
            <a:ext cx="731520" cy="298468"/>
          </a:xfrm>
          <a:prstGeom prst="rect">
            <a:avLst/>
          </a:prstGeom>
          <a:solidFill>
            <a:srgbClr val="7CA0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Add talc</a:t>
            </a:r>
          </a:p>
        </p:txBody>
      </p:sp>
      <p:sp>
        <p:nvSpPr>
          <p:cNvPr id="24" name="Rechteck 26">
            <a:extLst>
              <a:ext uri="{FF2B5EF4-FFF2-40B4-BE49-F238E27FC236}">
                <a16:creationId xmlns:a16="http://schemas.microsoft.com/office/drawing/2014/main" id="{745DEE72-546B-F967-CE58-5573F6719B1E}"/>
              </a:ext>
            </a:extLst>
          </p:cNvPr>
          <p:cNvSpPr/>
          <p:nvPr/>
        </p:nvSpPr>
        <p:spPr>
          <a:xfrm>
            <a:off x="1975719" y="4918171"/>
            <a:ext cx="1888532" cy="342675"/>
          </a:xfrm>
          <a:prstGeom prst="rect">
            <a:avLst/>
          </a:prstGeom>
          <a:solidFill>
            <a:srgbClr val="E0E9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Add talc or blend afterwards</a:t>
            </a:r>
          </a:p>
        </p:txBody>
      </p:sp>
      <p:sp>
        <p:nvSpPr>
          <p:cNvPr id="25" name="Rechteck 27">
            <a:extLst>
              <a:ext uri="{FF2B5EF4-FFF2-40B4-BE49-F238E27FC236}">
                <a16:creationId xmlns:a16="http://schemas.microsoft.com/office/drawing/2014/main" id="{2583AD5A-0A7E-80EC-19ED-52E17639C629}"/>
              </a:ext>
            </a:extLst>
          </p:cNvPr>
          <p:cNvSpPr/>
          <p:nvPr/>
        </p:nvSpPr>
        <p:spPr>
          <a:xfrm>
            <a:off x="7256680" y="1705559"/>
            <a:ext cx="731520" cy="284594"/>
          </a:xfrm>
          <a:prstGeom prst="rect">
            <a:avLst/>
          </a:prstGeom>
          <a:solidFill>
            <a:srgbClr val="7CA0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20-30%</a:t>
            </a:r>
          </a:p>
        </p:txBody>
      </p:sp>
      <p:sp>
        <p:nvSpPr>
          <p:cNvPr id="26" name="Rechteck 28">
            <a:extLst>
              <a:ext uri="{FF2B5EF4-FFF2-40B4-BE49-F238E27FC236}">
                <a16:creationId xmlns:a16="http://schemas.microsoft.com/office/drawing/2014/main" id="{441E69F4-5237-7317-7CC3-03287384C442}"/>
              </a:ext>
            </a:extLst>
          </p:cNvPr>
          <p:cNvSpPr/>
          <p:nvPr/>
        </p:nvSpPr>
        <p:spPr>
          <a:xfrm>
            <a:off x="6200423" y="1705559"/>
            <a:ext cx="731520" cy="284594"/>
          </a:xfrm>
          <a:prstGeom prst="rect">
            <a:avLst/>
          </a:prstGeom>
          <a:solidFill>
            <a:srgbClr val="E0E9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0-10%</a:t>
            </a:r>
          </a:p>
        </p:txBody>
      </p:sp>
      <p:sp>
        <p:nvSpPr>
          <p:cNvPr id="27" name="Rechteck 29">
            <a:extLst>
              <a:ext uri="{FF2B5EF4-FFF2-40B4-BE49-F238E27FC236}">
                <a16:creationId xmlns:a16="http://schemas.microsoft.com/office/drawing/2014/main" id="{13C2860A-1895-5613-110F-6C86F3D3938E}"/>
              </a:ext>
            </a:extLst>
          </p:cNvPr>
          <p:cNvSpPr/>
          <p:nvPr/>
        </p:nvSpPr>
        <p:spPr>
          <a:xfrm>
            <a:off x="8362184" y="1705559"/>
            <a:ext cx="731520" cy="284594"/>
          </a:xfrm>
          <a:prstGeom prst="rect">
            <a:avLst/>
          </a:prstGeom>
          <a:solidFill>
            <a:srgbClr val="447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40%</a:t>
            </a:r>
          </a:p>
        </p:txBody>
      </p:sp>
      <p:sp>
        <p:nvSpPr>
          <p:cNvPr id="28" name="Rechteck 30">
            <a:extLst>
              <a:ext uri="{FF2B5EF4-FFF2-40B4-BE49-F238E27FC236}">
                <a16:creationId xmlns:a16="http://schemas.microsoft.com/office/drawing/2014/main" id="{7945409F-DCBA-9ABE-F056-2DAB09D2D3BD}"/>
              </a:ext>
            </a:extLst>
          </p:cNvPr>
          <p:cNvSpPr/>
          <p:nvPr/>
        </p:nvSpPr>
        <p:spPr>
          <a:xfrm>
            <a:off x="6201978" y="2265411"/>
            <a:ext cx="731520" cy="298468"/>
          </a:xfrm>
          <a:prstGeom prst="rect">
            <a:avLst/>
          </a:prstGeom>
          <a:solidFill>
            <a:srgbClr val="F4A1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High</a:t>
            </a:r>
          </a:p>
        </p:txBody>
      </p:sp>
      <p:sp>
        <p:nvSpPr>
          <p:cNvPr id="29" name="Rechteck 31">
            <a:extLst>
              <a:ext uri="{FF2B5EF4-FFF2-40B4-BE49-F238E27FC236}">
                <a16:creationId xmlns:a16="http://schemas.microsoft.com/office/drawing/2014/main" id="{66EE4D1E-DD90-DA4B-3A0C-0C83342DF559}"/>
              </a:ext>
            </a:extLst>
          </p:cNvPr>
          <p:cNvSpPr/>
          <p:nvPr/>
        </p:nvSpPr>
        <p:spPr>
          <a:xfrm>
            <a:off x="7256680" y="2265411"/>
            <a:ext cx="731520" cy="298468"/>
          </a:xfrm>
          <a:prstGeom prst="rect">
            <a:avLst/>
          </a:prstGeom>
          <a:solidFill>
            <a:srgbClr val="F7B6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Medium</a:t>
            </a:r>
          </a:p>
        </p:txBody>
      </p:sp>
      <p:sp>
        <p:nvSpPr>
          <p:cNvPr id="30" name="Rechteck 32">
            <a:extLst>
              <a:ext uri="{FF2B5EF4-FFF2-40B4-BE49-F238E27FC236}">
                <a16:creationId xmlns:a16="http://schemas.microsoft.com/office/drawing/2014/main" id="{8C4AF5C2-C280-410F-062C-D20C44CFA39C}"/>
              </a:ext>
            </a:extLst>
          </p:cNvPr>
          <p:cNvSpPr/>
          <p:nvPr/>
        </p:nvSpPr>
        <p:spPr>
          <a:xfrm>
            <a:off x="8362184" y="2265411"/>
            <a:ext cx="731520" cy="298468"/>
          </a:xfrm>
          <a:prstGeom prst="rect">
            <a:avLst/>
          </a:prstGeom>
          <a:solidFill>
            <a:srgbClr val="FACF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Low</a:t>
            </a:r>
          </a:p>
        </p:txBody>
      </p:sp>
      <p:sp>
        <p:nvSpPr>
          <p:cNvPr id="31" name="Rechteck 33">
            <a:extLst>
              <a:ext uri="{FF2B5EF4-FFF2-40B4-BE49-F238E27FC236}">
                <a16:creationId xmlns:a16="http://schemas.microsoft.com/office/drawing/2014/main" id="{DCE00710-A389-F677-960E-8996FF748AE4}"/>
              </a:ext>
            </a:extLst>
          </p:cNvPr>
          <p:cNvSpPr/>
          <p:nvPr/>
        </p:nvSpPr>
        <p:spPr>
          <a:xfrm>
            <a:off x="7259776" y="2831429"/>
            <a:ext cx="731520" cy="284594"/>
          </a:xfrm>
          <a:prstGeom prst="rect">
            <a:avLst/>
          </a:prstGeom>
          <a:solidFill>
            <a:srgbClr val="E077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a:t>
            </a:r>
          </a:p>
        </p:txBody>
      </p:sp>
      <p:sp>
        <p:nvSpPr>
          <p:cNvPr id="32" name="Rechteck 34">
            <a:extLst>
              <a:ext uri="{FF2B5EF4-FFF2-40B4-BE49-F238E27FC236}">
                <a16:creationId xmlns:a16="http://schemas.microsoft.com/office/drawing/2014/main" id="{5C711CA0-D35E-3317-25A3-402D883C8F7E}"/>
              </a:ext>
            </a:extLst>
          </p:cNvPr>
          <p:cNvSpPr/>
          <p:nvPr/>
        </p:nvSpPr>
        <p:spPr>
          <a:xfrm>
            <a:off x="8359818" y="2831429"/>
            <a:ext cx="731520" cy="284594"/>
          </a:xfrm>
          <a:prstGeom prst="rect">
            <a:avLst/>
          </a:prstGeom>
          <a:solidFill>
            <a:srgbClr val="EBA6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0</a:t>
            </a:r>
          </a:p>
        </p:txBody>
      </p:sp>
      <p:sp>
        <p:nvSpPr>
          <p:cNvPr id="33" name="Rechteck 35">
            <a:extLst>
              <a:ext uri="{FF2B5EF4-FFF2-40B4-BE49-F238E27FC236}">
                <a16:creationId xmlns:a16="http://schemas.microsoft.com/office/drawing/2014/main" id="{B67EBBBF-A97F-E96C-01DC-8EAAB976518F}"/>
              </a:ext>
            </a:extLst>
          </p:cNvPr>
          <p:cNvSpPr/>
          <p:nvPr/>
        </p:nvSpPr>
        <p:spPr>
          <a:xfrm>
            <a:off x="6208216" y="2831429"/>
            <a:ext cx="731520" cy="284594"/>
          </a:xfrm>
          <a:prstGeom prst="rect">
            <a:avLst/>
          </a:prstGeom>
          <a:solidFill>
            <a:srgbClr val="CE48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a:t>
            </a:r>
          </a:p>
        </p:txBody>
      </p:sp>
      <p:sp>
        <p:nvSpPr>
          <p:cNvPr id="34" name="Rechteck 36">
            <a:extLst>
              <a:ext uri="{FF2B5EF4-FFF2-40B4-BE49-F238E27FC236}">
                <a16:creationId xmlns:a16="http://schemas.microsoft.com/office/drawing/2014/main" id="{D77AA06F-DC7F-24CE-E833-117EAEB0EE7A}"/>
              </a:ext>
            </a:extLst>
          </p:cNvPr>
          <p:cNvSpPr/>
          <p:nvPr/>
        </p:nvSpPr>
        <p:spPr>
          <a:xfrm>
            <a:off x="7192205" y="3560625"/>
            <a:ext cx="920575" cy="284594"/>
          </a:xfrm>
          <a:prstGeom prst="rect">
            <a:avLst/>
          </a:prstGeom>
          <a:solidFill>
            <a:srgbClr val="62AC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3-4 mg/cm²</a:t>
            </a:r>
          </a:p>
        </p:txBody>
      </p:sp>
      <p:sp>
        <p:nvSpPr>
          <p:cNvPr id="35" name="Rechteck 37">
            <a:extLst>
              <a:ext uri="{FF2B5EF4-FFF2-40B4-BE49-F238E27FC236}">
                <a16:creationId xmlns:a16="http://schemas.microsoft.com/office/drawing/2014/main" id="{0EB00F48-8627-1FA3-26AA-951FB36C4F61}"/>
              </a:ext>
            </a:extLst>
          </p:cNvPr>
          <p:cNvSpPr/>
          <p:nvPr/>
        </p:nvSpPr>
        <p:spPr>
          <a:xfrm>
            <a:off x="6075764" y="3560626"/>
            <a:ext cx="940069" cy="281954"/>
          </a:xfrm>
          <a:prstGeom prst="rect">
            <a:avLst/>
          </a:prstGeom>
          <a:solidFill>
            <a:srgbClr val="A6D0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2–3 mg/cm²</a:t>
            </a:r>
          </a:p>
        </p:txBody>
      </p:sp>
      <p:sp>
        <p:nvSpPr>
          <p:cNvPr id="36" name="Rechteck 38">
            <a:extLst>
              <a:ext uri="{FF2B5EF4-FFF2-40B4-BE49-F238E27FC236}">
                <a16:creationId xmlns:a16="http://schemas.microsoft.com/office/drawing/2014/main" id="{138C28FB-3CC8-34E0-D5C6-A565DF2055F4}"/>
              </a:ext>
            </a:extLst>
          </p:cNvPr>
          <p:cNvSpPr/>
          <p:nvPr/>
        </p:nvSpPr>
        <p:spPr>
          <a:xfrm>
            <a:off x="8267253" y="3560625"/>
            <a:ext cx="934816" cy="284594"/>
          </a:xfrm>
          <a:prstGeom prst="rect">
            <a:avLst/>
          </a:prstGeom>
          <a:solidFill>
            <a:srgbClr val="3796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4-5 mg/cm/²</a:t>
            </a:r>
          </a:p>
        </p:txBody>
      </p:sp>
      <p:sp>
        <p:nvSpPr>
          <p:cNvPr id="37" name="Rechteck 39">
            <a:extLst>
              <a:ext uri="{FF2B5EF4-FFF2-40B4-BE49-F238E27FC236}">
                <a16:creationId xmlns:a16="http://schemas.microsoft.com/office/drawing/2014/main" id="{5672BE5B-4FFA-BD61-5BDE-7C250A926A69}"/>
              </a:ext>
            </a:extLst>
          </p:cNvPr>
          <p:cNvSpPr/>
          <p:nvPr/>
        </p:nvSpPr>
        <p:spPr>
          <a:xfrm>
            <a:off x="6040222" y="4112629"/>
            <a:ext cx="3160714" cy="298468"/>
          </a:xfrm>
          <a:prstGeom prst="rect">
            <a:avLst/>
          </a:prstGeom>
          <a:solidFill>
            <a:srgbClr val="62AC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Curing recommended for aqueous coatings</a:t>
            </a:r>
          </a:p>
        </p:txBody>
      </p:sp>
      <p:sp>
        <p:nvSpPr>
          <p:cNvPr id="38" name="Textfeld 2">
            <a:extLst>
              <a:ext uri="{FF2B5EF4-FFF2-40B4-BE49-F238E27FC236}">
                <a16:creationId xmlns:a16="http://schemas.microsoft.com/office/drawing/2014/main" id="{B438A3FD-AD31-B0FB-DB30-8967BCB013D0}"/>
              </a:ext>
            </a:extLst>
          </p:cNvPr>
          <p:cNvSpPr txBox="1"/>
          <p:nvPr/>
        </p:nvSpPr>
        <p:spPr>
          <a:xfrm>
            <a:off x="1111229" y="1728232"/>
            <a:ext cx="695703" cy="169277"/>
          </a:xfrm>
          <a:prstGeom prst="rect">
            <a:avLst/>
          </a:prstGeom>
          <a:noFill/>
        </p:spPr>
        <p:txBody>
          <a:bodyPr wrap="none" lIns="0" tIns="0" rIns="0" bIns="0" rtlCol="0">
            <a:spAutoFit/>
          </a:bodyPr>
          <a:lstStyle/>
          <a:p>
            <a:pPr defTabSz="914423">
              <a:defRPr/>
            </a:pPr>
            <a:r>
              <a:rPr lang="en-US" sz="1100" b="1" dirty="0">
                <a:solidFill>
                  <a:srgbClr val="004A96"/>
                </a:solidFill>
                <a:latin typeface="Arial" panose="020B0604020202020204"/>
                <a:cs typeface="Arial"/>
              </a:rPr>
              <a:t>Plasticizer</a:t>
            </a:r>
          </a:p>
        </p:txBody>
      </p:sp>
      <p:sp>
        <p:nvSpPr>
          <p:cNvPr id="39" name="Textfeld 40">
            <a:extLst>
              <a:ext uri="{FF2B5EF4-FFF2-40B4-BE49-F238E27FC236}">
                <a16:creationId xmlns:a16="http://schemas.microsoft.com/office/drawing/2014/main" id="{F6CA2EBA-1E26-284F-6FBB-1E5951B507CF}"/>
              </a:ext>
            </a:extLst>
          </p:cNvPr>
          <p:cNvSpPr txBox="1"/>
          <p:nvPr/>
        </p:nvSpPr>
        <p:spPr>
          <a:xfrm>
            <a:off x="1140577" y="2218338"/>
            <a:ext cx="540212" cy="169277"/>
          </a:xfrm>
          <a:prstGeom prst="rect">
            <a:avLst/>
          </a:prstGeom>
          <a:noFill/>
        </p:spPr>
        <p:txBody>
          <a:bodyPr wrap="none" lIns="0" tIns="0" rIns="0" bIns="0" rtlCol="0">
            <a:spAutoFit/>
          </a:bodyPr>
          <a:lstStyle/>
          <a:p>
            <a:pPr defTabSz="914423">
              <a:defRPr/>
            </a:pPr>
            <a:r>
              <a:rPr lang="en-US" sz="1100" b="1" dirty="0">
                <a:solidFill>
                  <a:srgbClr val="000000"/>
                </a:solidFill>
                <a:latin typeface="Arial" panose="020B0604020202020204"/>
                <a:cs typeface="Arial"/>
              </a:rPr>
              <a:t>Tg/ MFT</a:t>
            </a:r>
          </a:p>
        </p:txBody>
      </p:sp>
      <p:sp>
        <p:nvSpPr>
          <p:cNvPr id="40" name="Textfeld 41">
            <a:extLst>
              <a:ext uri="{FF2B5EF4-FFF2-40B4-BE49-F238E27FC236}">
                <a16:creationId xmlns:a16="http://schemas.microsoft.com/office/drawing/2014/main" id="{89BF1016-8E7A-4B17-D7D7-383527790006}"/>
              </a:ext>
            </a:extLst>
          </p:cNvPr>
          <p:cNvSpPr txBox="1"/>
          <p:nvPr/>
        </p:nvSpPr>
        <p:spPr>
          <a:xfrm>
            <a:off x="970964" y="2763501"/>
            <a:ext cx="976229" cy="169277"/>
          </a:xfrm>
          <a:prstGeom prst="rect">
            <a:avLst/>
          </a:prstGeom>
          <a:noFill/>
        </p:spPr>
        <p:txBody>
          <a:bodyPr wrap="none" lIns="0" tIns="0" rIns="0" bIns="0" rtlCol="0">
            <a:spAutoFit/>
          </a:bodyPr>
          <a:lstStyle/>
          <a:p>
            <a:pPr defTabSz="914423">
              <a:defRPr/>
            </a:pPr>
            <a:r>
              <a:rPr lang="en-US" sz="1100" b="1" dirty="0">
                <a:solidFill>
                  <a:srgbClr val="C50022"/>
                </a:solidFill>
                <a:latin typeface="Arial" panose="020B0604020202020204"/>
                <a:cs typeface="Arial"/>
              </a:rPr>
              <a:t>Film formation</a:t>
            </a:r>
          </a:p>
        </p:txBody>
      </p:sp>
      <p:sp>
        <p:nvSpPr>
          <p:cNvPr id="41" name="Textfeld 42">
            <a:extLst>
              <a:ext uri="{FF2B5EF4-FFF2-40B4-BE49-F238E27FC236}">
                <a16:creationId xmlns:a16="http://schemas.microsoft.com/office/drawing/2014/main" id="{ED4A230C-C3D9-D84B-0E3B-F4713223848B}"/>
              </a:ext>
            </a:extLst>
          </p:cNvPr>
          <p:cNvSpPr txBox="1"/>
          <p:nvPr/>
        </p:nvSpPr>
        <p:spPr>
          <a:xfrm>
            <a:off x="1125656" y="3280941"/>
            <a:ext cx="682879" cy="169277"/>
          </a:xfrm>
          <a:prstGeom prst="rect">
            <a:avLst/>
          </a:prstGeom>
          <a:noFill/>
        </p:spPr>
        <p:txBody>
          <a:bodyPr wrap="none" lIns="0" tIns="0" rIns="0" bIns="0" rtlCol="0">
            <a:spAutoFit/>
          </a:bodyPr>
          <a:lstStyle/>
          <a:p>
            <a:pPr defTabSz="914423">
              <a:defRPr/>
            </a:pPr>
            <a:r>
              <a:rPr lang="en-US" sz="1100" b="1" dirty="0">
                <a:solidFill>
                  <a:srgbClr val="F39500"/>
                </a:solidFill>
                <a:latin typeface="Arial" panose="020B0604020202020204"/>
                <a:cs typeface="Arial"/>
              </a:rPr>
              <a:t>Tackiness</a:t>
            </a:r>
          </a:p>
        </p:txBody>
      </p:sp>
      <p:sp>
        <p:nvSpPr>
          <p:cNvPr id="42" name="Textfeld 43">
            <a:extLst>
              <a:ext uri="{FF2B5EF4-FFF2-40B4-BE49-F238E27FC236}">
                <a16:creationId xmlns:a16="http://schemas.microsoft.com/office/drawing/2014/main" id="{45784792-3581-F161-1F2A-0E9F5C4FE31F}"/>
              </a:ext>
            </a:extLst>
          </p:cNvPr>
          <p:cNvSpPr txBox="1"/>
          <p:nvPr/>
        </p:nvSpPr>
        <p:spPr>
          <a:xfrm>
            <a:off x="1085016" y="3887254"/>
            <a:ext cx="814325" cy="338554"/>
          </a:xfrm>
          <a:prstGeom prst="rect">
            <a:avLst/>
          </a:prstGeom>
          <a:noFill/>
        </p:spPr>
        <p:txBody>
          <a:bodyPr wrap="none" lIns="0" tIns="0" rIns="0" bIns="0" rtlCol="0">
            <a:spAutoFit/>
          </a:bodyPr>
          <a:lstStyle/>
          <a:p>
            <a:pPr defTabSz="914423">
              <a:defRPr/>
            </a:pPr>
            <a:r>
              <a:rPr lang="en-US" sz="1100" b="1" dirty="0">
                <a:solidFill>
                  <a:srgbClr val="00793A"/>
                </a:solidFill>
                <a:latin typeface="Arial" panose="020B0604020202020204"/>
                <a:cs typeface="Arial"/>
              </a:rPr>
              <a:t>Coating</a:t>
            </a:r>
          </a:p>
          <a:p>
            <a:pPr defTabSz="914423">
              <a:defRPr/>
            </a:pPr>
            <a:r>
              <a:rPr lang="en-US" sz="1100" b="1" dirty="0">
                <a:solidFill>
                  <a:srgbClr val="00793A"/>
                </a:solidFill>
                <a:latin typeface="Arial" panose="020B0604020202020204"/>
                <a:cs typeface="Arial"/>
              </a:rPr>
              <a:t>temperature</a:t>
            </a:r>
          </a:p>
        </p:txBody>
      </p:sp>
      <p:sp>
        <p:nvSpPr>
          <p:cNvPr id="43" name="Textfeld 44">
            <a:extLst>
              <a:ext uri="{FF2B5EF4-FFF2-40B4-BE49-F238E27FC236}">
                <a16:creationId xmlns:a16="http://schemas.microsoft.com/office/drawing/2014/main" id="{1C4C9113-5667-C902-CFAB-293D62612CA0}"/>
              </a:ext>
            </a:extLst>
          </p:cNvPr>
          <p:cNvSpPr txBox="1"/>
          <p:nvPr/>
        </p:nvSpPr>
        <p:spPr>
          <a:xfrm>
            <a:off x="977377" y="4930957"/>
            <a:ext cx="963405" cy="338554"/>
          </a:xfrm>
          <a:prstGeom prst="rect">
            <a:avLst/>
          </a:prstGeom>
          <a:noFill/>
        </p:spPr>
        <p:txBody>
          <a:bodyPr wrap="none" lIns="0" tIns="0" rIns="0" bIns="0" rtlCol="0">
            <a:spAutoFit/>
          </a:bodyPr>
          <a:lstStyle/>
          <a:p>
            <a:pPr defTabSz="914423">
              <a:defRPr/>
            </a:pPr>
            <a:r>
              <a:rPr lang="en-US" sz="1100" b="1" dirty="0">
                <a:solidFill>
                  <a:srgbClr val="004A96"/>
                </a:solidFill>
                <a:latin typeface="Arial" panose="020B0604020202020204"/>
                <a:cs typeface="Arial"/>
              </a:rPr>
              <a:t>Anti-tackiness</a:t>
            </a:r>
          </a:p>
          <a:p>
            <a:pPr defTabSz="914423">
              <a:defRPr/>
            </a:pPr>
            <a:r>
              <a:rPr lang="en-US" sz="1100" b="1" dirty="0">
                <a:solidFill>
                  <a:srgbClr val="004A96"/>
                </a:solidFill>
                <a:latin typeface="Arial" panose="020B0604020202020204"/>
                <a:cs typeface="Arial"/>
              </a:rPr>
              <a:t>measure</a:t>
            </a:r>
          </a:p>
        </p:txBody>
      </p:sp>
      <p:sp>
        <p:nvSpPr>
          <p:cNvPr id="44" name="Textfeld 45">
            <a:extLst>
              <a:ext uri="{FF2B5EF4-FFF2-40B4-BE49-F238E27FC236}">
                <a16:creationId xmlns:a16="http://schemas.microsoft.com/office/drawing/2014/main" id="{BD570936-3BA7-5634-045C-079FA1FF7B36}"/>
              </a:ext>
            </a:extLst>
          </p:cNvPr>
          <p:cNvSpPr txBox="1"/>
          <p:nvPr/>
        </p:nvSpPr>
        <p:spPr>
          <a:xfrm>
            <a:off x="9288397" y="1770912"/>
            <a:ext cx="968214" cy="307777"/>
          </a:xfrm>
          <a:prstGeom prst="rect">
            <a:avLst/>
          </a:prstGeom>
          <a:noFill/>
        </p:spPr>
        <p:txBody>
          <a:bodyPr wrap="none" lIns="0" tIns="0" rIns="0" bIns="0" rtlCol="0">
            <a:spAutoFit/>
          </a:bodyPr>
          <a:lstStyle/>
          <a:p>
            <a:pPr defTabSz="914423">
              <a:defRPr/>
            </a:pPr>
            <a:r>
              <a:rPr lang="en-US" sz="1100" b="1" dirty="0">
                <a:solidFill>
                  <a:srgbClr val="004A96"/>
                </a:solidFill>
                <a:latin typeface="Arial" panose="020B0604020202020204"/>
                <a:cs typeface="Arial"/>
              </a:rPr>
              <a:t>Talc</a:t>
            </a:r>
          </a:p>
          <a:p>
            <a:pPr defTabSz="914423">
              <a:defRPr/>
            </a:pPr>
            <a:r>
              <a:rPr lang="en-US" sz="900" b="1" i="1" dirty="0">
                <a:solidFill>
                  <a:srgbClr val="004A96"/>
                </a:solidFill>
                <a:latin typeface="Arial" panose="020B0604020202020204"/>
                <a:cs typeface="Arial"/>
              </a:rPr>
              <a:t>Based on dry film</a:t>
            </a:r>
            <a:endParaRPr lang="en-US" sz="1100" b="1" i="1" dirty="0">
              <a:solidFill>
                <a:srgbClr val="004A96"/>
              </a:solidFill>
              <a:latin typeface="Arial" panose="020B0604020202020204"/>
              <a:cs typeface="Arial"/>
            </a:endParaRPr>
          </a:p>
        </p:txBody>
      </p:sp>
      <p:sp>
        <p:nvSpPr>
          <p:cNvPr id="45" name="Textfeld 46">
            <a:extLst>
              <a:ext uri="{FF2B5EF4-FFF2-40B4-BE49-F238E27FC236}">
                <a16:creationId xmlns:a16="http://schemas.microsoft.com/office/drawing/2014/main" id="{7305E273-6815-2438-2701-6682FDE6BB6F}"/>
              </a:ext>
            </a:extLst>
          </p:cNvPr>
          <p:cNvSpPr txBox="1"/>
          <p:nvPr/>
        </p:nvSpPr>
        <p:spPr>
          <a:xfrm>
            <a:off x="9242710" y="2325544"/>
            <a:ext cx="711733" cy="307777"/>
          </a:xfrm>
          <a:prstGeom prst="rect">
            <a:avLst/>
          </a:prstGeom>
          <a:noFill/>
        </p:spPr>
        <p:txBody>
          <a:bodyPr wrap="none" lIns="0" tIns="0" rIns="0" bIns="0" rtlCol="0">
            <a:spAutoFit/>
          </a:bodyPr>
          <a:lstStyle/>
          <a:p>
            <a:pPr defTabSz="914423">
              <a:defRPr/>
            </a:pPr>
            <a:r>
              <a:rPr lang="en-US" sz="1100" b="1" dirty="0">
                <a:solidFill>
                  <a:srgbClr val="F39500"/>
                </a:solidFill>
                <a:latin typeface="Arial" panose="020B0604020202020204"/>
                <a:cs typeface="Arial"/>
              </a:rPr>
              <a:t>Tackiness</a:t>
            </a:r>
          </a:p>
          <a:p>
            <a:pPr defTabSz="914423">
              <a:defRPr/>
            </a:pPr>
            <a:r>
              <a:rPr lang="en-US" sz="900" b="1" i="1" dirty="0">
                <a:solidFill>
                  <a:srgbClr val="F39500"/>
                </a:solidFill>
                <a:latin typeface="Arial" panose="020B0604020202020204"/>
                <a:cs typeface="Arial"/>
              </a:rPr>
              <a:t>After coating</a:t>
            </a:r>
          </a:p>
        </p:txBody>
      </p:sp>
      <p:sp>
        <p:nvSpPr>
          <p:cNvPr id="46" name="Textfeld 47">
            <a:extLst>
              <a:ext uri="{FF2B5EF4-FFF2-40B4-BE49-F238E27FC236}">
                <a16:creationId xmlns:a16="http://schemas.microsoft.com/office/drawing/2014/main" id="{B3617C09-C0BF-1E9C-7AD8-E1AC0E61B55F}"/>
              </a:ext>
            </a:extLst>
          </p:cNvPr>
          <p:cNvSpPr txBox="1"/>
          <p:nvPr/>
        </p:nvSpPr>
        <p:spPr>
          <a:xfrm>
            <a:off x="9258961" y="2819837"/>
            <a:ext cx="783869" cy="338554"/>
          </a:xfrm>
          <a:prstGeom prst="rect">
            <a:avLst/>
          </a:prstGeom>
          <a:noFill/>
        </p:spPr>
        <p:txBody>
          <a:bodyPr wrap="none" lIns="0" tIns="0" rIns="0" bIns="0" rtlCol="0">
            <a:spAutoFit/>
          </a:bodyPr>
          <a:lstStyle/>
          <a:p>
            <a:pPr defTabSz="914423">
              <a:defRPr/>
            </a:pPr>
            <a:r>
              <a:rPr lang="en-US" sz="1100" b="1" dirty="0">
                <a:solidFill>
                  <a:srgbClr val="C50022"/>
                </a:solidFill>
                <a:latin typeface="Arial" panose="020B0604020202020204"/>
                <a:cs typeface="Arial"/>
              </a:rPr>
              <a:t>Resistance </a:t>
            </a:r>
          </a:p>
          <a:p>
            <a:pPr defTabSz="914423">
              <a:defRPr/>
            </a:pPr>
            <a:r>
              <a:rPr lang="en-US" sz="1100" b="1" dirty="0">
                <a:solidFill>
                  <a:srgbClr val="C50022"/>
                </a:solidFill>
                <a:latin typeface="Arial" panose="020B0604020202020204"/>
                <a:cs typeface="Arial"/>
              </a:rPr>
              <a:t>at pH 6.8</a:t>
            </a:r>
          </a:p>
        </p:txBody>
      </p:sp>
      <p:sp>
        <p:nvSpPr>
          <p:cNvPr id="47" name="Textfeld 48">
            <a:extLst>
              <a:ext uri="{FF2B5EF4-FFF2-40B4-BE49-F238E27FC236}">
                <a16:creationId xmlns:a16="http://schemas.microsoft.com/office/drawing/2014/main" id="{0970F3E1-ACBA-CA5E-8823-F73FE8FD0F23}"/>
              </a:ext>
            </a:extLst>
          </p:cNvPr>
          <p:cNvSpPr txBox="1"/>
          <p:nvPr/>
        </p:nvSpPr>
        <p:spPr>
          <a:xfrm>
            <a:off x="9304936" y="3532326"/>
            <a:ext cx="525785" cy="338554"/>
          </a:xfrm>
          <a:prstGeom prst="rect">
            <a:avLst/>
          </a:prstGeom>
          <a:noFill/>
        </p:spPr>
        <p:txBody>
          <a:bodyPr wrap="none" lIns="0" tIns="0" rIns="0" bIns="0" rtlCol="0">
            <a:spAutoFit/>
          </a:bodyPr>
          <a:lstStyle/>
          <a:p>
            <a:pPr defTabSz="914423">
              <a:defRPr/>
            </a:pPr>
            <a:r>
              <a:rPr lang="en-US" sz="1100" b="1" dirty="0">
                <a:solidFill>
                  <a:srgbClr val="00793A"/>
                </a:solidFill>
                <a:latin typeface="Arial" panose="020B0604020202020204"/>
                <a:cs typeface="Arial"/>
              </a:rPr>
              <a:t>Coating</a:t>
            </a:r>
          </a:p>
          <a:p>
            <a:pPr defTabSz="914423">
              <a:defRPr/>
            </a:pPr>
            <a:r>
              <a:rPr lang="en-US" sz="1100" b="1" dirty="0">
                <a:solidFill>
                  <a:srgbClr val="00793A"/>
                </a:solidFill>
                <a:latin typeface="Arial" panose="020B0604020202020204"/>
                <a:cs typeface="Arial"/>
              </a:rPr>
              <a:t> level</a:t>
            </a:r>
          </a:p>
        </p:txBody>
      </p:sp>
      <p:sp>
        <p:nvSpPr>
          <p:cNvPr id="48" name="Textfeld 49">
            <a:extLst>
              <a:ext uri="{FF2B5EF4-FFF2-40B4-BE49-F238E27FC236}">
                <a16:creationId xmlns:a16="http://schemas.microsoft.com/office/drawing/2014/main" id="{65AE1CA9-CA87-7D09-DACB-F556C261BB42}"/>
              </a:ext>
            </a:extLst>
          </p:cNvPr>
          <p:cNvSpPr txBox="1"/>
          <p:nvPr/>
        </p:nvSpPr>
        <p:spPr>
          <a:xfrm>
            <a:off x="9346734" y="4217691"/>
            <a:ext cx="455253" cy="169277"/>
          </a:xfrm>
          <a:prstGeom prst="rect">
            <a:avLst/>
          </a:prstGeom>
          <a:noFill/>
        </p:spPr>
        <p:txBody>
          <a:bodyPr wrap="none" lIns="0" tIns="0" rIns="0" bIns="0" rtlCol="0">
            <a:spAutoFit/>
          </a:bodyPr>
          <a:lstStyle/>
          <a:p>
            <a:pPr defTabSz="914423">
              <a:defRPr/>
            </a:pPr>
            <a:r>
              <a:rPr lang="en-US" sz="1100" b="1" dirty="0">
                <a:solidFill>
                  <a:srgbClr val="00793A"/>
                </a:solidFill>
                <a:latin typeface="Arial" panose="020B0604020202020204"/>
                <a:cs typeface="Arial"/>
              </a:rPr>
              <a:t>Curing</a:t>
            </a:r>
          </a:p>
        </p:txBody>
      </p:sp>
      <p:cxnSp>
        <p:nvCxnSpPr>
          <p:cNvPr id="49" name="Gerade Verbindung mit Pfeil 51">
            <a:extLst>
              <a:ext uri="{FF2B5EF4-FFF2-40B4-BE49-F238E27FC236}">
                <a16:creationId xmlns:a16="http://schemas.microsoft.com/office/drawing/2014/main" id="{85D584C4-E95A-AF84-7258-BC8171C1C26F}"/>
              </a:ext>
            </a:extLst>
          </p:cNvPr>
          <p:cNvCxnSpPr>
            <a:stCxn id="9" idx="2"/>
            <a:endCxn id="15" idx="0"/>
          </p:cNvCxnSpPr>
          <p:nvPr/>
        </p:nvCxnSpPr>
        <p:spPr>
          <a:xfrm>
            <a:off x="2380865" y="1919035"/>
            <a:ext cx="0" cy="2266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Gerade Verbindung mit Pfeil 53">
            <a:extLst>
              <a:ext uri="{FF2B5EF4-FFF2-40B4-BE49-F238E27FC236}">
                <a16:creationId xmlns:a16="http://schemas.microsoft.com/office/drawing/2014/main" id="{AA6B6D3A-3C61-9C81-DE22-DEE1AD125891}"/>
              </a:ext>
            </a:extLst>
          </p:cNvPr>
          <p:cNvCxnSpPr>
            <a:cxnSpLocks/>
            <a:stCxn id="8" idx="2"/>
            <a:endCxn id="14" idx="0"/>
          </p:cNvCxnSpPr>
          <p:nvPr/>
        </p:nvCxnSpPr>
        <p:spPr>
          <a:xfrm>
            <a:off x="3437125" y="1919035"/>
            <a:ext cx="0" cy="2266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Gerade Verbindung mit Pfeil 55">
            <a:extLst>
              <a:ext uri="{FF2B5EF4-FFF2-40B4-BE49-F238E27FC236}">
                <a16:creationId xmlns:a16="http://schemas.microsoft.com/office/drawing/2014/main" id="{7EDE1D93-40F5-1D11-9646-F31E78F96DC4}"/>
              </a:ext>
            </a:extLst>
          </p:cNvPr>
          <p:cNvCxnSpPr>
            <a:stCxn id="10" idx="2"/>
            <a:endCxn id="16" idx="0"/>
          </p:cNvCxnSpPr>
          <p:nvPr/>
        </p:nvCxnSpPr>
        <p:spPr>
          <a:xfrm>
            <a:off x="4522307" y="1919035"/>
            <a:ext cx="0" cy="2266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Gerade Verbindung mit Pfeil 57">
            <a:extLst>
              <a:ext uri="{FF2B5EF4-FFF2-40B4-BE49-F238E27FC236}">
                <a16:creationId xmlns:a16="http://schemas.microsoft.com/office/drawing/2014/main" id="{53E1737C-C9B0-65CD-D362-20AD68C5400A}"/>
              </a:ext>
            </a:extLst>
          </p:cNvPr>
          <p:cNvCxnSpPr>
            <a:stCxn id="15" idx="2"/>
            <a:endCxn id="18" idx="0"/>
          </p:cNvCxnSpPr>
          <p:nvPr/>
        </p:nvCxnSpPr>
        <p:spPr>
          <a:xfrm>
            <a:off x="2380865" y="2430291"/>
            <a:ext cx="9113" cy="2646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Gerade Verbindung mit Pfeil 59">
            <a:extLst>
              <a:ext uri="{FF2B5EF4-FFF2-40B4-BE49-F238E27FC236}">
                <a16:creationId xmlns:a16="http://schemas.microsoft.com/office/drawing/2014/main" id="{82CC7F9F-88E4-2452-8995-26AD57B62385}"/>
              </a:ext>
            </a:extLst>
          </p:cNvPr>
          <p:cNvCxnSpPr>
            <a:stCxn id="14" idx="2"/>
            <a:endCxn id="17" idx="0"/>
          </p:cNvCxnSpPr>
          <p:nvPr/>
        </p:nvCxnSpPr>
        <p:spPr>
          <a:xfrm>
            <a:off x="3437124" y="2430291"/>
            <a:ext cx="9113" cy="2646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Gerade Verbindung mit Pfeil 61">
            <a:extLst>
              <a:ext uri="{FF2B5EF4-FFF2-40B4-BE49-F238E27FC236}">
                <a16:creationId xmlns:a16="http://schemas.microsoft.com/office/drawing/2014/main" id="{7359E943-24B1-745F-108F-F0E4286D2AEF}"/>
              </a:ext>
            </a:extLst>
          </p:cNvPr>
          <p:cNvCxnSpPr>
            <a:stCxn id="16" idx="2"/>
            <a:endCxn id="19" idx="0"/>
          </p:cNvCxnSpPr>
          <p:nvPr/>
        </p:nvCxnSpPr>
        <p:spPr>
          <a:xfrm>
            <a:off x="4522308" y="2430291"/>
            <a:ext cx="9113" cy="2646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Gerade Verbindung mit Pfeil 63">
            <a:extLst>
              <a:ext uri="{FF2B5EF4-FFF2-40B4-BE49-F238E27FC236}">
                <a16:creationId xmlns:a16="http://schemas.microsoft.com/office/drawing/2014/main" id="{4A99B282-CF46-835C-A6E3-7EC81A0E3806}"/>
              </a:ext>
            </a:extLst>
          </p:cNvPr>
          <p:cNvCxnSpPr>
            <a:stCxn id="18" idx="2"/>
            <a:endCxn id="13" idx="0"/>
          </p:cNvCxnSpPr>
          <p:nvPr/>
        </p:nvCxnSpPr>
        <p:spPr>
          <a:xfrm flipH="1">
            <a:off x="2389468" y="2979559"/>
            <a:ext cx="508" cy="2386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Gerade Verbindung mit Pfeil 65">
            <a:extLst>
              <a:ext uri="{FF2B5EF4-FFF2-40B4-BE49-F238E27FC236}">
                <a16:creationId xmlns:a16="http://schemas.microsoft.com/office/drawing/2014/main" id="{A1DD511A-D785-1FB6-5F31-44993F9CAD4F}"/>
              </a:ext>
            </a:extLst>
          </p:cNvPr>
          <p:cNvCxnSpPr>
            <a:stCxn id="17" idx="2"/>
            <a:endCxn id="12" idx="0"/>
          </p:cNvCxnSpPr>
          <p:nvPr/>
        </p:nvCxnSpPr>
        <p:spPr>
          <a:xfrm flipH="1">
            <a:off x="3445729" y="2979559"/>
            <a:ext cx="508" cy="2386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Gerade Verbindung mit Pfeil 67">
            <a:extLst>
              <a:ext uri="{FF2B5EF4-FFF2-40B4-BE49-F238E27FC236}">
                <a16:creationId xmlns:a16="http://schemas.microsoft.com/office/drawing/2014/main" id="{2CE584C2-0993-9736-3C5D-05804B5159E8}"/>
              </a:ext>
            </a:extLst>
          </p:cNvPr>
          <p:cNvCxnSpPr>
            <a:stCxn id="19" idx="2"/>
            <a:endCxn id="11" idx="0"/>
          </p:cNvCxnSpPr>
          <p:nvPr/>
        </p:nvCxnSpPr>
        <p:spPr>
          <a:xfrm>
            <a:off x="4531418" y="2979559"/>
            <a:ext cx="0" cy="2290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Verbinder: gewinkelt 69">
            <a:extLst>
              <a:ext uri="{FF2B5EF4-FFF2-40B4-BE49-F238E27FC236}">
                <a16:creationId xmlns:a16="http://schemas.microsoft.com/office/drawing/2014/main" id="{D8208B4D-9823-9191-9188-B16F414A2C7B}"/>
              </a:ext>
            </a:extLst>
          </p:cNvPr>
          <p:cNvCxnSpPr>
            <a:stCxn id="13" idx="2"/>
            <a:endCxn id="20" idx="0"/>
          </p:cNvCxnSpPr>
          <p:nvPr/>
        </p:nvCxnSpPr>
        <p:spPr>
          <a:xfrm rot="16200000" flipH="1">
            <a:off x="2733848" y="3172312"/>
            <a:ext cx="363455" cy="105221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71">
            <a:extLst>
              <a:ext uri="{FF2B5EF4-FFF2-40B4-BE49-F238E27FC236}">
                <a16:creationId xmlns:a16="http://schemas.microsoft.com/office/drawing/2014/main" id="{DCE61C3C-1954-002E-AAC3-B668CE4D8A70}"/>
              </a:ext>
            </a:extLst>
          </p:cNvPr>
          <p:cNvCxnSpPr>
            <a:stCxn id="12" idx="2"/>
            <a:endCxn id="20" idx="0"/>
          </p:cNvCxnSpPr>
          <p:nvPr/>
        </p:nvCxnSpPr>
        <p:spPr>
          <a:xfrm flipH="1">
            <a:off x="3441680" y="3516690"/>
            <a:ext cx="4048" cy="3634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Verbinder: gewinkelt 73">
            <a:extLst>
              <a:ext uri="{FF2B5EF4-FFF2-40B4-BE49-F238E27FC236}">
                <a16:creationId xmlns:a16="http://schemas.microsoft.com/office/drawing/2014/main" id="{500A5C17-A313-8EBE-2C17-DF2789B245D9}"/>
              </a:ext>
            </a:extLst>
          </p:cNvPr>
          <p:cNvCxnSpPr>
            <a:cxnSpLocks/>
          </p:cNvCxnSpPr>
          <p:nvPr/>
        </p:nvCxnSpPr>
        <p:spPr>
          <a:xfrm rot="5400000">
            <a:off x="3794615" y="3158147"/>
            <a:ext cx="373570" cy="107527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81">
            <a:extLst>
              <a:ext uri="{FF2B5EF4-FFF2-40B4-BE49-F238E27FC236}">
                <a16:creationId xmlns:a16="http://schemas.microsoft.com/office/drawing/2014/main" id="{B8884CC0-34D4-17E5-534C-0FAFE2D89572}"/>
              </a:ext>
            </a:extLst>
          </p:cNvPr>
          <p:cNvCxnSpPr>
            <a:stCxn id="21" idx="2"/>
          </p:cNvCxnSpPr>
          <p:nvPr/>
        </p:nvCxnSpPr>
        <p:spPr>
          <a:xfrm flipH="1">
            <a:off x="2389469" y="4685437"/>
            <a:ext cx="1780" cy="2231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Gerade Verbindung mit Pfeil 83">
            <a:extLst>
              <a:ext uri="{FF2B5EF4-FFF2-40B4-BE49-F238E27FC236}">
                <a16:creationId xmlns:a16="http://schemas.microsoft.com/office/drawing/2014/main" id="{342D46D6-C222-D12B-AA10-FD5F010338CF}"/>
              </a:ext>
            </a:extLst>
          </p:cNvPr>
          <p:cNvCxnSpPr/>
          <p:nvPr/>
        </p:nvCxnSpPr>
        <p:spPr>
          <a:xfrm>
            <a:off x="3418152" y="4239398"/>
            <a:ext cx="0" cy="6692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85">
            <a:extLst>
              <a:ext uri="{FF2B5EF4-FFF2-40B4-BE49-F238E27FC236}">
                <a16:creationId xmlns:a16="http://schemas.microsoft.com/office/drawing/2014/main" id="{73499640-9C0A-2F51-D9F0-A654D7D83C90}"/>
              </a:ext>
            </a:extLst>
          </p:cNvPr>
          <p:cNvCxnSpPr>
            <a:cxnSpLocks/>
            <a:stCxn id="22" idx="2"/>
            <a:endCxn id="23" idx="0"/>
          </p:cNvCxnSpPr>
          <p:nvPr/>
        </p:nvCxnSpPr>
        <p:spPr>
          <a:xfrm>
            <a:off x="4522307" y="4685436"/>
            <a:ext cx="9111" cy="2508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87">
            <a:extLst>
              <a:ext uri="{FF2B5EF4-FFF2-40B4-BE49-F238E27FC236}">
                <a16:creationId xmlns:a16="http://schemas.microsoft.com/office/drawing/2014/main" id="{2E71153B-FAC3-F894-D3A9-11E62DF1752D}"/>
              </a:ext>
            </a:extLst>
          </p:cNvPr>
          <p:cNvCxnSpPr>
            <a:stCxn id="26" idx="2"/>
            <a:endCxn id="28" idx="0"/>
          </p:cNvCxnSpPr>
          <p:nvPr/>
        </p:nvCxnSpPr>
        <p:spPr>
          <a:xfrm>
            <a:off x="6566183" y="1990154"/>
            <a:ext cx="1556" cy="2752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Gerade Verbindung mit Pfeil 89">
            <a:extLst>
              <a:ext uri="{FF2B5EF4-FFF2-40B4-BE49-F238E27FC236}">
                <a16:creationId xmlns:a16="http://schemas.microsoft.com/office/drawing/2014/main" id="{76397E18-D32B-5D96-255D-A01322B7C9D4}"/>
              </a:ext>
            </a:extLst>
          </p:cNvPr>
          <p:cNvCxnSpPr>
            <a:stCxn id="25" idx="2"/>
            <a:endCxn id="29" idx="0"/>
          </p:cNvCxnSpPr>
          <p:nvPr/>
        </p:nvCxnSpPr>
        <p:spPr>
          <a:xfrm>
            <a:off x="7622440" y="1990153"/>
            <a:ext cx="0" cy="2752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Gerade Verbindung mit Pfeil 91">
            <a:extLst>
              <a:ext uri="{FF2B5EF4-FFF2-40B4-BE49-F238E27FC236}">
                <a16:creationId xmlns:a16="http://schemas.microsoft.com/office/drawing/2014/main" id="{7D9B2EF0-C1C3-A209-62D4-36C66FB8E754}"/>
              </a:ext>
            </a:extLst>
          </p:cNvPr>
          <p:cNvCxnSpPr>
            <a:stCxn id="27" idx="2"/>
            <a:endCxn id="30" idx="0"/>
          </p:cNvCxnSpPr>
          <p:nvPr/>
        </p:nvCxnSpPr>
        <p:spPr>
          <a:xfrm>
            <a:off x="8727944" y="1990153"/>
            <a:ext cx="0" cy="2752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Gerade Verbindung mit Pfeil 95">
            <a:extLst>
              <a:ext uri="{FF2B5EF4-FFF2-40B4-BE49-F238E27FC236}">
                <a16:creationId xmlns:a16="http://schemas.microsoft.com/office/drawing/2014/main" id="{6C8C37A8-DD9D-0F85-BBD3-695E7382018E}"/>
              </a:ext>
            </a:extLst>
          </p:cNvPr>
          <p:cNvCxnSpPr>
            <a:stCxn id="28" idx="2"/>
            <a:endCxn id="33" idx="0"/>
          </p:cNvCxnSpPr>
          <p:nvPr/>
        </p:nvCxnSpPr>
        <p:spPr>
          <a:xfrm>
            <a:off x="6567739" y="2563881"/>
            <a:ext cx="6238" cy="2675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Gerade Verbindung mit Pfeil 97">
            <a:extLst>
              <a:ext uri="{FF2B5EF4-FFF2-40B4-BE49-F238E27FC236}">
                <a16:creationId xmlns:a16="http://schemas.microsoft.com/office/drawing/2014/main" id="{630E96D6-2962-C3C3-89F6-8356009F32E8}"/>
              </a:ext>
            </a:extLst>
          </p:cNvPr>
          <p:cNvCxnSpPr>
            <a:stCxn id="29" idx="2"/>
            <a:endCxn id="31" idx="0"/>
          </p:cNvCxnSpPr>
          <p:nvPr/>
        </p:nvCxnSpPr>
        <p:spPr>
          <a:xfrm>
            <a:off x="7622442" y="2563881"/>
            <a:ext cx="3093" cy="2675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99">
            <a:extLst>
              <a:ext uri="{FF2B5EF4-FFF2-40B4-BE49-F238E27FC236}">
                <a16:creationId xmlns:a16="http://schemas.microsoft.com/office/drawing/2014/main" id="{CCDC6033-5ED2-0BEE-0E09-5B0F79A90165}"/>
              </a:ext>
            </a:extLst>
          </p:cNvPr>
          <p:cNvCxnSpPr>
            <a:stCxn id="30" idx="2"/>
            <a:endCxn id="32" idx="0"/>
          </p:cNvCxnSpPr>
          <p:nvPr/>
        </p:nvCxnSpPr>
        <p:spPr>
          <a:xfrm flipH="1">
            <a:off x="8725579" y="2563881"/>
            <a:ext cx="2366" cy="2675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Gerade Verbindung mit Pfeil 101">
            <a:extLst>
              <a:ext uri="{FF2B5EF4-FFF2-40B4-BE49-F238E27FC236}">
                <a16:creationId xmlns:a16="http://schemas.microsoft.com/office/drawing/2014/main" id="{D499FFC2-182D-78A6-8BAB-C4C8FAAB24D8}"/>
              </a:ext>
            </a:extLst>
          </p:cNvPr>
          <p:cNvCxnSpPr>
            <a:cxnSpLocks/>
            <a:stCxn id="33" idx="2"/>
          </p:cNvCxnSpPr>
          <p:nvPr/>
        </p:nvCxnSpPr>
        <p:spPr>
          <a:xfrm flipH="1">
            <a:off x="6572816" y="3116023"/>
            <a:ext cx="1160" cy="4247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Gerade Verbindung mit Pfeil 103">
            <a:extLst>
              <a:ext uri="{FF2B5EF4-FFF2-40B4-BE49-F238E27FC236}">
                <a16:creationId xmlns:a16="http://schemas.microsoft.com/office/drawing/2014/main" id="{D126726B-7990-80B9-EE68-7036D3C0E1CA}"/>
              </a:ext>
            </a:extLst>
          </p:cNvPr>
          <p:cNvCxnSpPr>
            <a:cxnSpLocks/>
            <a:stCxn id="31" idx="2"/>
          </p:cNvCxnSpPr>
          <p:nvPr/>
        </p:nvCxnSpPr>
        <p:spPr>
          <a:xfrm>
            <a:off x="7625536" y="3116023"/>
            <a:ext cx="0" cy="4247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Gerade Verbindung mit Pfeil 106">
            <a:extLst>
              <a:ext uri="{FF2B5EF4-FFF2-40B4-BE49-F238E27FC236}">
                <a16:creationId xmlns:a16="http://schemas.microsoft.com/office/drawing/2014/main" id="{91CB21C6-A146-E8A0-1309-E24F7E8C2833}"/>
              </a:ext>
            </a:extLst>
          </p:cNvPr>
          <p:cNvCxnSpPr>
            <a:cxnSpLocks/>
            <a:stCxn id="32" idx="2"/>
          </p:cNvCxnSpPr>
          <p:nvPr/>
        </p:nvCxnSpPr>
        <p:spPr>
          <a:xfrm>
            <a:off x="8725578" y="3116023"/>
            <a:ext cx="7924" cy="4247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Gerade Verbindung mit Pfeil 108">
            <a:extLst>
              <a:ext uri="{FF2B5EF4-FFF2-40B4-BE49-F238E27FC236}">
                <a16:creationId xmlns:a16="http://schemas.microsoft.com/office/drawing/2014/main" id="{2693F594-0E3C-CEC4-D36E-C4E6B2B8FFF2}"/>
              </a:ext>
            </a:extLst>
          </p:cNvPr>
          <p:cNvCxnSpPr>
            <a:cxnSpLocks/>
          </p:cNvCxnSpPr>
          <p:nvPr/>
        </p:nvCxnSpPr>
        <p:spPr>
          <a:xfrm>
            <a:off x="6572816" y="3886527"/>
            <a:ext cx="0" cy="2261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Gerade Verbindung mit Pfeil 110">
            <a:extLst>
              <a:ext uri="{FF2B5EF4-FFF2-40B4-BE49-F238E27FC236}">
                <a16:creationId xmlns:a16="http://schemas.microsoft.com/office/drawing/2014/main" id="{97607A24-AA24-5366-CAC1-CB3FC61EB185}"/>
              </a:ext>
            </a:extLst>
          </p:cNvPr>
          <p:cNvCxnSpPr>
            <a:cxnSpLocks/>
          </p:cNvCxnSpPr>
          <p:nvPr/>
        </p:nvCxnSpPr>
        <p:spPr>
          <a:xfrm>
            <a:off x="7622439" y="3879307"/>
            <a:ext cx="2" cy="2333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Gerade Verbindung mit Pfeil 116">
            <a:extLst>
              <a:ext uri="{FF2B5EF4-FFF2-40B4-BE49-F238E27FC236}">
                <a16:creationId xmlns:a16="http://schemas.microsoft.com/office/drawing/2014/main" id="{E1096897-F9FA-D527-52D3-BF13BB744F93}"/>
              </a:ext>
            </a:extLst>
          </p:cNvPr>
          <p:cNvCxnSpPr>
            <a:cxnSpLocks/>
          </p:cNvCxnSpPr>
          <p:nvPr/>
        </p:nvCxnSpPr>
        <p:spPr>
          <a:xfrm>
            <a:off x="8765485" y="3879307"/>
            <a:ext cx="0" cy="2333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Verbinder: gewinkelt 129">
            <a:extLst>
              <a:ext uri="{FF2B5EF4-FFF2-40B4-BE49-F238E27FC236}">
                <a16:creationId xmlns:a16="http://schemas.microsoft.com/office/drawing/2014/main" id="{4094CCE5-E5AB-4A87-03E3-CD181868ED46}"/>
              </a:ext>
            </a:extLst>
          </p:cNvPr>
          <p:cNvCxnSpPr>
            <a:cxnSpLocks/>
            <a:stCxn id="23" idx="3"/>
            <a:endCxn id="26" idx="1"/>
          </p:cNvCxnSpPr>
          <p:nvPr/>
        </p:nvCxnSpPr>
        <p:spPr>
          <a:xfrm flipV="1">
            <a:off x="4897178" y="1847856"/>
            <a:ext cx="1303245" cy="3237625"/>
          </a:xfrm>
          <a:prstGeom prst="bentConnector3">
            <a:avLst>
              <a:gd name="adj1" fmla="val 50000"/>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7" name="Gerader Verbinder 137">
            <a:extLst>
              <a:ext uri="{FF2B5EF4-FFF2-40B4-BE49-F238E27FC236}">
                <a16:creationId xmlns:a16="http://schemas.microsoft.com/office/drawing/2014/main" id="{EA1100AA-5F37-9598-76C8-FFBE5D8FF4CA}"/>
              </a:ext>
            </a:extLst>
          </p:cNvPr>
          <p:cNvCxnSpPr>
            <a:cxnSpLocks/>
            <a:stCxn id="24" idx="3"/>
            <a:endCxn id="23" idx="1"/>
          </p:cNvCxnSpPr>
          <p:nvPr/>
        </p:nvCxnSpPr>
        <p:spPr>
          <a:xfrm flipV="1">
            <a:off x="3864251" y="5085481"/>
            <a:ext cx="301407" cy="4028"/>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2328FEF4-5944-2B18-1753-BB5E6C349AAF}"/>
              </a:ext>
            </a:extLst>
          </p:cNvPr>
          <p:cNvSpPr/>
          <p:nvPr/>
        </p:nvSpPr>
        <p:spPr>
          <a:xfrm>
            <a:off x="3008829" y="1505307"/>
            <a:ext cx="849545" cy="3411901"/>
          </a:xfrm>
          <a:prstGeom prst="rect">
            <a:avLst/>
          </a:prstGeom>
          <a:solidFill>
            <a:schemeClr val="accent1">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endParaRPr lang="en-US" sz="2400" dirty="0">
              <a:solidFill>
                <a:srgbClr val="FFFFFF"/>
              </a:solidFill>
              <a:latin typeface="Arial" panose="020B0604020202020204"/>
              <a:cs typeface="Arial"/>
            </a:endParaRPr>
          </a:p>
        </p:txBody>
      </p:sp>
      <p:sp>
        <p:nvSpPr>
          <p:cNvPr id="81" name="Rectangle 80">
            <a:extLst>
              <a:ext uri="{FF2B5EF4-FFF2-40B4-BE49-F238E27FC236}">
                <a16:creationId xmlns:a16="http://schemas.microsoft.com/office/drawing/2014/main" id="{8CFFA331-E947-5B53-D304-15785C660719}"/>
              </a:ext>
            </a:extLst>
          </p:cNvPr>
          <p:cNvSpPr/>
          <p:nvPr/>
        </p:nvSpPr>
        <p:spPr>
          <a:xfrm>
            <a:off x="6040221" y="1535768"/>
            <a:ext cx="1021765" cy="2591322"/>
          </a:xfrm>
          <a:prstGeom prst="rect">
            <a:avLst/>
          </a:prstGeom>
          <a:solidFill>
            <a:schemeClr val="accent1">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endParaRPr lang="en-US" sz="2400" dirty="0">
              <a:solidFill>
                <a:srgbClr val="FFFFFF"/>
              </a:solidFill>
              <a:latin typeface="Arial" panose="020B0604020202020204"/>
              <a:cs typeface="Arial"/>
            </a:endParaRPr>
          </a:p>
        </p:txBody>
      </p:sp>
      <p:sp>
        <p:nvSpPr>
          <p:cNvPr id="83" name="Footer Placeholder 11">
            <a:extLst>
              <a:ext uri="{FF2B5EF4-FFF2-40B4-BE49-F238E27FC236}">
                <a16:creationId xmlns:a16="http://schemas.microsoft.com/office/drawing/2014/main" id="{AC735FF7-2996-75FF-ABB4-05C6BE76B6A2}"/>
              </a:ext>
            </a:extLst>
          </p:cNvPr>
          <p:cNvSpPr txBox="1">
            <a:spLocks/>
          </p:cNvSpPr>
          <p:nvPr/>
        </p:nvSpPr>
        <p:spPr>
          <a:xfrm>
            <a:off x="1441362" y="6603022"/>
            <a:ext cx="3364708" cy="167932"/>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23">
              <a:defRPr/>
            </a:pPr>
            <a:r>
              <a:rPr lang="en-US" sz="800" dirty="0">
                <a:latin typeface="Arial" panose="020B0604020202020204"/>
                <a:cs typeface="Arial"/>
              </a:rPr>
              <a:t>BASF Pharma Solutions - Orals Platform</a:t>
            </a:r>
          </a:p>
        </p:txBody>
      </p:sp>
      <p:graphicFrame>
        <p:nvGraphicFramePr>
          <p:cNvPr id="79" name="Tabelle 27">
            <a:extLst>
              <a:ext uri="{FF2B5EF4-FFF2-40B4-BE49-F238E27FC236}">
                <a16:creationId xmlns:a16="http://schemas.microsoft.com/office/drawing/2014/main" id="{C011C653-5F6B-C103-4F6D-525272A79FEA}"/>
              </a:ext>
            </a:extLst>
          </p:cNvPr>
          <p:cNvGraphicFramePr>
            <a:graphicFrameLocks noGrp="1"/>
          </p:cNvGraphicFramePr>
          <p:nvPr>
            <p:extLst>
              <p:ext uri="{D42A27DB-BD31-4B8C-83A1-F6EECF244321}">
                <p14:modId xmlns:p14="http://schemas.microsoft.com/office/powerpoint/2010/main" val="2928175875"/>
              </p:ext>
            </p:extLst>
          </p:nvPr>
        </p:nvGraphicFramePr>
        <p:xfrm>
          <a:off x="9656897" y="4945970"/>
          <a:ext cx="2409115" cy="1039123"/>
        </p:xfrm>
        <a:graphic>
          <a:graphicData uri="http://schemas.openxmlformats.org/drawingml/2006/table">
            <a:tbl>
              <a:tblPr firstRow="1" bandRow="1">
                <a:tableStyleId>{5C22544A-7EE6-4342-B048-85BDC9FD1C3A}</a:tableStyleId>
              </a:tblPr>
              <a:tblGrid>
                <a:gridCol w="863287">
                  <a:extLst>
                    <a:ext uri="{9D8B030D-6E8A-4147-A177-3AD203B41FA5}">
                      <a16:colId xmlns:a16="http://schemas.microsoft.com/office/drawing/2014/main" val="20000"/>
                    </a:ext>
                  </a:extLst>
                </a:gridCol>
                <a:gridCol w="1545828">
                  <a:extLst>
                    <a:ext uri="{9D8B030D-6E8A-4147-A177-3AD203B41FA5}">
                      <a16:colId xmlns:a16="http://schemas.microsoft.com/office/drawing/2014/main" val="20002"/>
                    </a:ext>
                  </a:extLst>
                </a:gridCol>
              </a:tblGrid>
              <a:tr h="246641">
                <a:tc>
                  <a:txBody>
                    <a:bodyPr/>
                    <a:lstStyle/>
                    <a:p>
                      <a:pPr algn="ctr" rtl="0"/>
                      <a:r>
                        <a:rPr lang="en-US" sz="1100" b="1" noProof="0" dirty="0">
                          <a:solidFill>
                            <a:schemeClr val="bg1"/>
                          </a:solidFill>
                        </a:rPr>
                        <a:t>Ingredient</a:t>
                      </a:r>
                      <a:endParaRPr lang="en-US" sz="1100" b="1" noProof="0" dirty="0">
                        <a:solidFill>
                          <a:schemeClr val="bg1"/>
                        </a:solidFill>
                        <a:latin typeface="Arial" panose="020B0604020202020204" pitchFamily="34" charset="0"/>
                        <a:cs typeface="Arial" panose="020B0604020202020204" pitchFamily="34" charset="0"/>
                      </a:endParaRPr>
                    </a:p>
                  </a:txBody>
                  <a:tcPr marL="36000" marR="36000" marT="45721" marB="45721"/>
                </a:tc>
                <a:tc>
                  <a:txBody>
                    <a:bodyPr/>
                    <a:lstStyle/>
                    <a:p>
                      <a:pPr algn="ctr" rtl="0" eaLnBrk="1" hangingPunct="1">
                        <a:lnSpc>
                          <a:spcPct val="100000"/>
                        </a:lnSpc>
                        <a:spcAft>
                          <a:spcPct val="0"/>
                        </a:spcAft>
                        <a:buClrTx/>
                        <a:buFontTx/>
                        <a:buNone/>
                      </a:pPr>
                      <a:r>
                        <a:rPr lang="en-US" sz="1100" b="1" baseline="0" noProof="0" dirty="0">
                          <a:solidFill>
                            <a:schemeClr val="bg1"/>
                          </a:solidFill>
                        </a:rPr>
                        <a:t>Recommendation </a:t>
                      </a:r>
                      <a:endParaRPr lang="en-US" sz="1100" b="1" noProof="0" dirty="0">
                        <a:solidFill>
                          <a:schemeClr val="bg1"/>
                        </a:solidFill>
                        <a:latin typeface="Arial" panose="020B0604020202020204" pitchFamily="34" charset="0"/>
                        <a:cs typeface="Arial" panose="020B0604020202020204" pitchFamily="34" charset="0"/>
                      </a:endParaRPr>
                    </a:p>
                  </a:txBody>
                  <a:tcPr marL="36000" marR="36000" marT="45721" marB="45721"/>
                </a:tc>
                <a:extLst>
                  <a:ext uri="{0D108BD9-81ED-4DB2-BD59-A6C34878D82A}">
                    <a16:rowId xmlns:a16="http://schemas.microsoft.com/office/drawing/2014/main" val="10000"/>
                  </a:ext>
                </a:extLst>
              </a:tr>
              <a:tr h="225684">
                <a:tc>
                  <a:txBody>
                    <a:bodyPr/>
                    <a:lstStyle/>
                    <a:p>
                      <a:pPr algn="ctr" rtl="0"/>
                      <a:r>
                        <a:rPr lang="en-US" sz="1100" b="0" noProof="0" dirty="0">
                          <a:solidFill>
                            <a:schemeClr val="tx1"/>
                          </a:solidFill>
                        </a:rPr>
                        <a:t>Plasticizer</a:t>
                      </a:r>
                      <a:endParaRPr lang="en-US" sz="1100" b="0" noProof="0" dirty="0">
                        <a:solidFill>
                          <a:schemeClr val="tx1"/>
                        </a:solidFill>
                        <a:latin typeface="Arial" panose="020B0604020202020204" pitchFamily="34" charset="0"/>
                        <a:cs typeface="Arial" panose="020B0604020202020204" pitchFamily="34" charset="0"/>
                      </a:endParaRPr>
                    </a:p>
                  </a:txBody>
                  <a:tcPr marL="36000" marR="36000" marT="45721" marB="45721"/>
                </a:tc>
                <a:tc>
                  <a:txBody>
                    <a:bodyPr/>
                    <a:lstStyle/>
                    <a:p>
                      <a:pPr algn="ctr" rtl="0" eaLnBrk="1" hangingPunct="1">
                        <a:lnSpc>
                          <a:spcPct val="100000"/>
                        </a:lnSpc>
                        <a:spcAft>
                          <a:spcPct val="0"/>
                        </a:spcAft>
                        <a:buClrTx/>
                        <a:buFontTx/>
                        <a:buNone/>
                      </a:pPr>
                      <a:r>
                        <a:rPr lang="en-US" sz="1100" b="0" baseline="0" noProof="0" dirty="0">
                          <a:solidFill>
                            <a:schemeClr val="tx1"/>
                          </a:solidFill>
                        </a:rPr>
                        <a:t>DBS or  ATBS</a:t>
                      </a:r>
                      <a:endParaRPr lang="en-US" sz="1100" b="0" noProof="0" dirty="0">
                        <a:solidFill>
                          <a:schemeClr val="tx1"/>
                        </a:solidFill>
                        <a:latin typeface="Arial" panose="020B0604020202020204" pitchFamily="34" charset="0"/>
                        <a:cs typeface="Arial" panose="020B0604020202020204" pitchFamily="34" charset="0"/>
                      </a:endParaRPr>
                    </a:p>
                  </a:txBody>
                  <a:tcPr marL="36000" marR="36000" marT="45721" marB="45721"/>
                </a:tc>
                <a:extLst>
                  <a:ext uri="{0D108BD9-81ED-4DB2-BD59-A6C34878D82A}">
                    <a16:rowId xmlns:a16="http://schemas.microsoft.com/office/drawing/2014/main" val="10001"/>
                  </a:ext>
                </a:extLst>
              </a:tr>
              <a:tr h="261877">
                <a:tc>
                  <a:txBody>
                    <a:bodyPr/>
                    <a:lstStyle/>
                    <a:p>
                      <a:pPr algn="ctr" rtl="0"/>
                      <a:r>
                        <a:rPr lang="en-US" sz="1100" noProof="0" dirty="0">
                          <a:solidFill>
                            <a:schemeClr val="tx1"/>
                          </a:solidFill>
                        </a:rPr>
                        <a:t>Antioxidant</a:t>
                      </a:r>
                      <a:endParaRPr lang="en-US" sz="1100" noProof="0" dirty="0">
                        <a:solidFill>
                          <a:schemeClr val="tx1"/>
                        </a:solidFill>
                        <a:latin typeface="Arial" panose="020B0604020202020204" pitchFamily="34" charset="0"/>
                        <a:cs typeface="Arial" panose="020B0604020202020204" pitchFamily="34" charset="0"/>
                      </a:endParaRPr>
                    </a:p>
                  </a:txBody>
                  <a:tcPr marL="36000" marR="36000" marT="45721" marB="45721"/>
                </a:tc>
                <a:tc>
                  <a:txBody>
                    <a:bodyPr/>
                    <a:lstStyle/>
                    <a:p>
                      <a:pPr algn="ctr" rtl="0"/>
                      <a:r>
                        <a:rPr lang="en-US" sz="1100" baseline="0" noProof="0" dirty="0">
                          <a:solidFill>
                            <a:schemeClr val="tx1"/>
                          </a:solidFill>
                        </a:rPr>
                        <a:t>BHT</a:t>
                      </a:r>
                      <a:endParaRPr lang="en-US" sz="1100" noProof="0" dirty="0">
                        <a:solidFill>
                          <a:schemeClr val="tx1"/>
                        </a:solidFill>
                        <a:latin typeface="Arial" panose="020B0604020202020204" pitchFamily="34" charset="0"/>
                        <a:cs typeface="Arial" panose="020B0604020202020204" pitchFamily="34" charset="0"/>
                      </a:endParaRPr>
                    </a:p>
                  </a:txBody>
                  <a:tcPr marL="36000" marR="36000" marT="45721" marB="45721"/>
                </a:tc>
                <a:extLst>
                  <a:ext uri="{0D108BD9-81ED-4DB2-BD59-A6C34878D82A}">
                    <a16:rowId xmlns:a16="http://schemas.microsoft.com/office/drawing/2014/main" val="10002"/>
                  </a:ext>
                </a:extLst>
              </a:tr>
              <a:tr h="257175">
                <a:tc>
                  <a:txBody>
                    <a:bodyPr/>
                    <a:lstStyle/>
                    <a:p>
                      <a:pPr algn="ctr" rtl="0"/>
                      <a:r>
                        <a:rPr lang="en-US" sz="1100" noProof="0" dirty="0">
                          <a:solidFill>
                            <a:schemeClr val="tx1"/>
                          </a:solidFill>
                        </a:rPr>
                        <a:t>Anti-tacking</a:t>
                      </a:r>
                      <a:endParaRPr lang="en-US" sz="1100" noProof="0" dirty="0">
                        <a:solidFill>
                          <a:schemeClr val="tx1"/>
                        </a:solidFill>
                        <a:latin typeface="Arial" panose="020B0604020202020204" pitchFamily="34" charset="0"/>
                        <a:cs typeface="Arial" panose="020B0604020202020204" pitchFamily="34" charset="0"/>
                      </a:endParaRPr>
                    </a:p>
                  </a:txBody>
                  <a:tcPr marL="36000" marR="36000" marT="45721" marB="45721"/>
                </a:tc>
                <a:tc>
                  <a:txBody>
                    <a:bodyPr/>
                    <a:lstStyle/>
                    <a:p>
                      <a:pPr algn="ctr" rtl="0"/>
                      <a:r>
                        <a:rPr lang="en-US" sz="1100" noProof="0" dirty="0">
                          <a:solidFill>
                            <a:schemeClr val="tx1"/>
                          </a:solidFill>
                        </a:rPr>
                        <a:t>Talc or GMS II + PS 80</a:t>
                      </a:r>
                      <a:endParaRPr lang="en-US" sz="1100" noProof="0" dirty="0">
                        <a:solidFill>
                          <a:schemeClr val="tx1"/>
                        </a:solidFill>
                        <a:latin typeface="Arial" panose="020B0604020202020204" pitchFamily="34" charset="0"/>
                        <a:cs typeface="Arial" panose="020B0604020202020204" pitchFamily="34" charset="0"/>
                      </a:endParaRPr>
                    </a:p>
                  </a:txBody>
                  <a:tcPr marL="36000" marR="36000" marT="45721" marB="45721"/>
                </a:tc>
                <a:extLst>
                  <a:ext uri="{0D108BD9-81ED-4DB2-BD59-A6C34878D82A}">
                    <a16:rowId xmlns:a16="http://schemas.microsoft.com/office/drawing/2014/main" val="2369001623"/>
                  </a:ext>
                </a:extLst>
              </a:tr>
            </a:tbl>
          </a:graphicData>
        </a:graphic>
      </p:graphicFrame>
      <p:sp>
        <p:nvSpPr>
          <p:cNvPr id="82" name="Textfeld 44">
            <a:extLst>
              <a:ext uri="{FF2B5EF4-FFF2-40B4-BE49-F238E27FC236}">
                <a16:creationId xmlns:a16="http://schemas.microsoft.com/office/drawing/2014/main" id="{D3DC021F-03E6-EF49-EE3A-7A8C0F4CE2DA}"/>
              </a:ext>
            </a:extLst>
          </p:cNvPr>
          <p:cNvSpPr txBox="1"/>
          <p:nvPr/>
        </p:nvSpPr>
        <p:spPr>
          <a:xfrm>
            <a:off x="8359819" y="4980721"/>
            <a:ext cx="775853" cy="169277"/>
          </a:xfrm>
          <a:prstGeom prst="rect">
            <a:avLst/>
          </a:prstGeom>
          <a:noFill/>
        </p:spPr>
        <p:txBody>
          <a:bodyPr wrap="none" lIns="0" tIns="0" rIns="0" bIns="0" rtlCol="0">
            <a:spAutoFit/>
          </a:bodyPr>
          <a:lstStyle/>
          <a:p>
            <a:pPr defTabSz="914423">
              <a:defRPr/>
            </a:pPr>
            <a:r>
              <a:rPr lang="en-US" sz="1100" b="1" dirty="0">
                <a:solidFill>
                  <a:srgbClr val="21A0D2"/>
                </a:solidFill>
                <a:latin typeface="Arial" panose="020B0604020202020204"/>
                <a:cs typeface="Arial"/>
              </a:rPr>
              <a:t>Antioxidant</a:t>
            </a:r>
          </a:p>
        </p:txBody>
      </p:sp>
      <p:sp>
        <p:nvSpPr>
          <p:cNvPr id="84" name="Rechteck 23">
            <a:extLst>
              <a:ext uri="{FF2B5EF4-FFF2-40B4-BE49-F238E27FC236}">
                <a16:creationId xmlns:a16="http://schemas.microsoft.com/office/drawing/2014/main" id="{7910B4DA-3AEB-1559-E581-5A0059A1F534}"/>
              </a:ext>
            </a:extLst>
          </p:cNvPr>
          <p:cNvSpPr/>
          <p:nvPr/>
        </p:nvSpPr>
        <p:spPr>
          <a:xfrm>
            <a:off x="6136237" y="4767408"/>
            <a:ext cx="2006553" cy="521339"/>
          </a:xfrm>
          <a:prstGeom prst="rect">
            <a:avLst/>
          </a:prstGeom>
          <a:solidFill>
            <a:srgbClr val="75C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23">
              <a:defRPr/>
            </a:pPr>
            <a:r>
              <a:rPr lang="en-US" sz="1100" dirty="0">
                <a:solidFill>
                  <a:srgbClr val="000000"/>
                </a:solidFill>
                <a:latin typeface="Arial" panose="020B0604020202020204"/>
                <a:cs typeface="Arial"/>
              </a:rPr>
              <a:t>2.5%* </a:t>
            </a:r>
          </a:p>
        </p:txBody>
      </p:sp>
      <p:cxnSp>
        <p:nvCxnSpPr>
          <p:cNvPr id="85" name="Gerade Verbindung mit Pfeil 85">
            <a:extLst>
              <a:ext uri="{FF2B5EF4-FFF2-40B4-BE49-F238E27FC236}">
                <a16:creationId xmlns:a16="http://schemas.microsoft.com/office/drawing/2014/main" id="{26D49576-876B-8C02-4C80-523B9C62511A}"/>
              </a:ext>
            </a:extLst>
          </p:cNvPr>
          <p:cNvCxnSpPr>
            <a:cxnSpLocks/>
          </p:cNvCxnSpPr>
          <p:nvPr/>
        </p:nvCxnSpPr>
        <p:spPr>
          <a:xfrm flipH="1">
            <a:off x="5734965" y="5021331"/>
            <a:ext cx="39483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62B26AF6-DE5D-66B6-9E51-AF96630B9259}"/>
              </a:ext>
            </a:extLst>
          </p:cNvPr>
          <p:cNvSpPr txBox="1"/>
          <p:nvPr/>
        </p:nvSpPr>
        <p:spPr>
          <a:xfrm>
            <a:off x="957125" y="5449513"/>
            <a:ext cx="3052331" cy="261610"/>
          </a:xfrm>
          <a:prstGeom prst="rect">
            <a:avLst/>
          </a:prstGeom>
          <a:noFill/>
        </p:spPr>
        <p:txBody>
          <a:bodyPr wrap="square">
            <a:spAutoFit/>
          </a:bodyPr>
          <a:lstStyle/>
          <a:p>
            <a:pPr defTabSz="914423">
              <a:defRPr/>
            </a:pPr>
            <a:r>
              <a:rPr lang="en-US" sz="1100" dirty="0">
                <a:solidFill>
                  <a:srgbClr val="000000"/>
                </a:solidFill>
                <a:latin typeface="Arial" panose="020B0604020202020204" pitchFamily="34" charset="0"/>
                <a:cs typeface="Arial" panose="020B0604020202020204" pitchFamily="34" charset="0"/>
              </a:rPr>
              <a:t>*related to dry polymer</a:t>
            </a:r>
            <a:endParaRPr lang="en-US" sz="1100" dirty="0">
              <a:solidFill>
                <a:srgbClr val="000000"/>
              </a:solidFill>
              <a:latin typeface="Arial" panose="020B0604020202020204"/>
              <a:cs typeface="Arial"/>
            </a:endParaRPr>
          </a:p>
        </p:txBody>
      </p:sp>
      <p:cxnSp>
        <p:nvCxnSpPr>
          <p:cNvPr id="92" name="Straight Arrow Connector 91">
            <a:extLst>
              <a:ext uri="{FF2B5EF4-FFF2-40B4-BE49-F238E27FC236}">
                <a16:creationId xmlns:a16="http://schemas.microsoft.com/office/drawing/2014/main" id="{AFD2EFCB-4871-BA72-5F50-3D4846CB1234}"/>
              </a:ext>
            </a:extLst>
          </p:cNvPr>
          <p:cNvCxnSpPr/>
          <p:nvPr/>
        </p:nvCxnSpPr>
        <p:spPr>
          <a:xfrm>
            <a:off x="3443762" y="1198125"/>
            <a:ext cx="0" cy="23135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39713FEA-B583-D384-4E7A-E945571AD29C}"/>
              </a:ext>
            </a:extLst>
          </p:cNvPr>
          <p:cNvCxnSpPr/>
          <p:nvPr/>
        </p:nvCxnSpPr>
        <p:spPr>
          <a:xfrm>
            <a:off x="6577479" y="1231176"/>
            <a:ext cx="0" cy="23135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87025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96C0E511-F38F-457D-A27F-C08777AE8356}"/>
              </a:ext>
            </a:extLst>
          </p:cNvPr>
          <p:cNvGraphicFramePr>
            <a:graphicFrameLocks noChangeAspect="1"/>
          </p:cNvGraphicFramePr>
          <p:nvPr>
            <p:custDataLst>
              <p:tags r:id="rId1"/>
            </p:custDataLst>
            <p:extLst>
              <p:ext uri="{D42A27DB-BD31-4B8C-83A1-F6EECF244321}">
                <p14:modId xmlns:p14="http://schemas.microsoft.com/office/powerpoint/2010/main" val="1816532082"/>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553" imgH="553" progId="TCLayout.ActiveDocument.1">
                  <p:embed/>
                </p:oleObj>
              </mc:Choice>
              <mc:Fallback>
                <p:oleObj name="think-cell Slide" r:id="rId4" imgW="553" imgH="553" progId="TCLayout.ActiveDocument.1">
                  <p:embed/>
                  <p:pic>
                    <p:nvPicPr>
                      <p:cNvPr id="17" name="Objekt 16" hidden="1">
                        <a:extLst>
                          <a:ext uri="{FF2B5EF4-FFF2-40B4-BE49-F238E27FC236}">
                            <a16:creationId xmlns:a16="http://schemas.microsoft.com/office/drawing/2014/main" id="{96C0E511-F38F-457D-A27F-C08777AE8356}"/>
                          </a:ext>
                        </a:extLst>
                      </p:cNvPr>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35" name="Gleichschenkliges Dreieck 34">
            <a:extLst>
              <a:ext uri="{FF2B5EF4-FFF2-40B4-BE49-F238E27FC236}">
                <a16:creationId xmlns:a16="http://schemas.microsoft.com/office/drawing/2014/main" id="{C89C215A-FC70-4C12-BFBE-99C4A52954BD}"/>
              </a:ext>
            </a:extLst>
          </p:cNvPr>
          <p:cNvSpPr/>
          <p:nvPr/>
        </p:nvSpPr>
        <p:spPr>
          <a:xfrm flipV="1">
            <a:off x="7565022" y="7421361"/>
            <a:ext cx="833475" cy="387691"/>
          </a:xfrm>
          <a:prstGeom prst="triangle">
            <a:avLst>
              <a:gd name="adj" fmla="val 60799"/>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3" name="Titel 2">
            <a:extLst>
              <a:ext uri="{FF2B5EF4-FFF2-40B4-BE49-F238E27FC236}">
                <a16:creationId xmlns:a16="http://schemas.microsoft.com/office/drawing/2014/main" id="{DADBC550-C32C-44CF-98CF-86E220087C06}"/>
              </a:ext>
            </a:extLst>
          </p:cNvPr>
          <p:cNvSpPr>
            <a:spLocks noGrp="1"/>
          </p:cNvSpPr>
          <p:nvPr>
            <p:ph type="title"/>
          </p:nvPr>
        </p:nvSpPr>
        <p:spPr>
          <a:xfrm>
            <a:off x="344260" y="173956"/>
            <a:ext cx="11737914" cy="853200"/>
          </a:xfrm>
        </p:spPr>
        <p:txBody>
          <a:bodyPr vert="horz"/>
          <a:lstStyle/>
          <a:p>
            <a:r>
              <a:rPr lang="en-US" altLang="de-DE" dirty="0">
                <a:latin typeface="Arial" charset="0"/>
              </a:rPr>
              <a:t>Summary of Kollicoat</a:t>
            </a:r>
            <a:r>
              <a:rPr lang="en-US" altLang="de-DE" baseline="30000" dirty="0">
                <a:latin typeface="Arial" charset="0"/>
              </a:rPr>
              <a:t>®</a:t>
            </a:r>
            <a:r>
              <a:rPr lang="en-US" altLang="de-DE" dirty="0">
                <a:latin typeface="Arial" charset="0"/>
              </a:rPr>
              <a:t> Smartseal Formulations:</a:t>
            </a:r>
            <a:br>
              <a:rPr lang="en-US" altLang="de-DE" dirty="0">
                <a:latin typeface="Arial" charset="0"/>
              </a:rPr>
            </a:br>
            <a:endParaRPr lang="en-US" dirty="0"/>
          </a:p>
        </p:txBody>
      </p:sp>
      <p:graphicFrame>
        <p:nvGraphicFramePr>
          <p:cNvPr id="28" name="Tabelle 27">
            <a:extLst>
              <a:ext uri="{FF2B5EF4-FFF2-40B4-BE49-F238E27FC236}">
                <a16:creationId xmlns:a16="http://schemas.microsoft.com/office/drawing/2014/main" id="{0E75EB14-E547-413C-A775-CF0DAB415A10}"/>
              </a:ext>
            </a:extLst>
          </p:cNvPr>
          <p:cNvGraphicFramePr>
            <a:graphicFrameLocks noGrp="1"/>
          </p:cNvGraphicFramePr>
          <p:nvPr>
            <p:extLst>
              <p:ext uri="{D42A27DB-BD31-4B8C-83A1-F6EECF244321}">
                <p14:modId xmlns:p14="http://schemas.microsoft.com/office/powerpoint/2010/main" val="2933270860"/>
              </p:ext>
            </p:extLst>
          </p:nvPr>
        </p:nvGraphicFramePr>
        <p:xfrm>
          <a:off x="406800" y="1107134"/>
          <a:ext cx="11416816" cy="2194560"/>
        </p:xfrm>
        <a:graphic>
          <a:graphicData uri="http://schemas.openxmlformats.org/drawingml/2006/table">
            <a:tbl>
              <a:tblPr firstRow="1" bandRow="1">
                <a:tableStyleId>{3B4B98B0-60AC-42C2-AFA5-B58CD77FA1E5}</a:tableStyleId>
              </a:tblPr>
              <a:tblGrid>
                <a:gridCol w="3009840">
                  <a:extLst>
                    <a:ext uri="{9D8B030D-6E8A-4147-A177-3AD203B41FA5}">
                      <a16:colId xmlns:a16="http://schemas.microsoft.com/office/drawing/2014/main" val="20000"/>
                    </a:ext>
                  </a:extLst>
                </a:gridCol>
                <a:gridCol w="3746632">
                  <a:extLst>
                    <a:ext uri="{9D8B030D-6E8A-4147-A177-3AD203B41FA5}">
                      <a16:colId xmlns:a16="http://schemas.microsoft.com/office/drawing/2014/main" val="20001"/>
                    </a:ext>
                  </a:extLst>
                </a:gridCol>
                <a:gridCol w="4660344">
                  <a:extLst>
                    <a:ext uri="{9D8B030D-6E8A-4147-A177-3AD203B41FA5}">
                      <a16:colId xmlns:a16="http://schemas.microsoft.com/office/drawing/2014/main" val="20002"/>
                    </a:ext>
                  </a:extLst>
                </a:gridCol>
              </a:tblGrid>
              <a:tr h="331696">
                <a:tc>
                  <a:txBody>
                    <a:bodyPr/>
                    <a:lstStyle/>
                    <a:p>
                      <a:pPr algn="ctr" rtl="0"/>
                      <a:r>
                        <a:rPr lang="en-US" sz="1800" b="1" noProof="0" dirty="0">
                          <a:solidFill>
                            <a:schemeClr val="tx1"/>
                          </a:solidFill>
                        </a:rPr>
                        <a:t>Ingredient</a:t>
                      </a:r>
                      <a:endParaRPr lang="en-US" sz="1800" b="1" noProof="0" dirty="0">
                        <a:solidFill>
                          <a:schemeClr val="tx1"/>
                        </a:solidFill>
                        <a:latin typeface="Arial" panose="020B0604020202020204" pitchFamily="34" charset="0"/>
                        <a:cs typeface="Arial" panose="020B0604020202020204" pitchFamily="34" charset="0"/>
                      </a:endParaRPr>
                    </a:p>
                  </a:txBody>
                  <a:tcPr marL="36000" marR="36000"/>
                </a:tc>
                <a:tc>
                  <a:txBody>
                    <a:bodyPr/>
                    <a:lstStyle/>
                    <a:p>
                      <a:pPr algn="ctr" rtl="0" eaLnBrk="1" hangingPunct="1">
                        <a:lnSpc>
                          <a:spcPct val="100000"/>
                        </a:lnSpc>
                        <a:spcAft>
                          <a:spcPct val="0"/>
                        </a:spcAft>
                        <a:buClrTx/>
                        <a:buFontTx/>
                        <a:buNone/>
                      </a:pPr>
                      <a:r>
                        <a:rPr lang="en-US" sz="1800" b="1" noProof="0" dirty="0">
                          <a:solidFill>
                            <a:schemeClr val="tx1"/>
                          </a:solidFill>
                        </a:rPr>
                        <a:t>Concentration </a:t>
                      </a:r>
                      <a:endParaRPr lang="en-US" sz="1800" b="1" noProof="0" dirty="0">
                        <a:solidFill>
                          <a:schemeClr val="tx1">
                            <a:lumMod val="65000"/>
                            <a:lumOff val="35000"/>
                          </a:schemeClr>
                        </a:solidFill>
                        <a:latin typeface="Arial" panose="020B0604020202020204" pitchFamily="34" charset="0"/>
                        <a:cs typeface="Arial" panose="020B0604020202020204" pitchFamily="34" charset="0"/>
                      </a:endParaRPr>
                    </a:p>
                  </a:txBody>
                  <a:tcPr marL="36000" marR="36000"/>
                </a:tc>
                <a:tc>
                  <a:txBody>
                    <a:bodyPr/>
                    <a:lstStyle/>
                    <a:p>
                      <a:pPr algn="ctr" rtl="0" eaLnBrk="1" hangingPunct="1">
                        <a:lnSpc>
                          <a:spcPct val="100000"/>
                        </a:lnSpc>
                        <a:spcAft>
                          <a:spcPct val="0"/>
                        </a:spcAft>
                        <a:buClrTx/>
                        <a:buFontTx/>
                        <a:buNone/>
                      </a:pPr>
                      <a:r>
                        <a:rPr lang="en-US" sz="1800" b="1" baseline="0" noProof="0" dirty="0">
                          <a:solidFill>
                            <a:schemeClr val="tx1"/>
                          </a:solidFill>
                        </a:rPr>
                        <a:t>Recommended</a:t>
                      </a:r>
                      <a:endParaRPr lang="en-US" sz="1800" b="1" noProof="0" dirty="0">
                        <a:solidFill>
                          <a:schemeClr val="tx1"/>
                        </a:solidFill>
                        <a:latin typeface="Arial" panose="020B0604020202020204" pitchFamily="34" charset="0"/>
                        <a:cs typeface="Arial" panose="020B0604020202020204" pitchFamily="34" charset="0"/>
                      </a:endParaRPr>
                    </a:p>
                  </a:txBody>
                  <a:tcPr marL="36000" marR="36000"/>
                </a:tc>
                <a:extLst>
                  <a:ext uri="{0D108BD9-81ED-4DB2-BD59-A6C34878D82A}">
                    <a16:rowId xmlns:a16="http://schemas.microsoft.com/office/drawing/2014/main" val="10000"/>
                  </a:ext>
                </a:extLst>
              </a:tr>
              <a:tr h="288986">
                <a:tc>
                  <a:txBody>
                    <a:bodyPr/>
                    <a:lstStyle/>
                    <a:p>
                      <a:pPr rtl="0"/>
                      <a:r>
                        <a:rPr lang="en-US" sz="1800" b="0" noProof="0" dirty="0">
                          <a:solidFill>
                            <a:schemeClr val="tx1"/>
                          </a:solidFill>
                        </a:rPr>
                        <a:t>Plasticizer</a:t>
                      </a:r>
                      <a:endParaRPr lang="en-US" sz="1800" b="0" noProof="0" dirty="0">
                        <a:solidFill>
                          <a:schemeClr val="tx1"/>
                        </a:solidFill>
                        <a:latin typeface="Arial" panose="020B0604020202020204" pitchFamily="34" charset="0"/>
                        <a:cs typeface="Arial" panose="020B0604020202020204" pitchFamily="34" charset="0"/>
                      </a:endParaRPr>
                    </a:p>
                  </a:txBody>
                  <a:tcPr marL="36000" marR="36000"/>
                </a:tc>
                <a:tc>
                  <a:txBody>
                    <a:bodyPr/>
                    <a:lstStyle/>
                    <a:p>
                      <a:pPr rtl="0" eaLnBrk="1" hangingPunct="1">
                        <a:lnSpc>
                          <a:spcPct val="100000"/>
                        </a:lnSpc>
                        <a:spcAft>
                          <a:spcPct val="0"/>
                        </a:spcAft>
                        <a:buClrTx/>
                        <a:buFontTx/>
                        <a:buNone/>
                      </a:pPr>
                      <a:r>
                        <a:rPr lang="en-US" sz="1800" b="0" noProof="0" dirty="0">
                          <a:solidFill>
                            <a:schemeClr val="tx1"/>
                          </a:solidFill>
                        </a:rPr>
                        <a:t>10-15 %*</a:t>
                      </a:r>
                      <a:endParaRPr lang="en-US" sz="1800" noProof="0" dirty="0">
                        <a:solidFill>
                          <a:schemeClr val="tx1">
                            <a:lumMod val="65000"/>
                            <a:lumOff val="35000"/>
                          </a:schemeClr>
                        </a:solidFill>
                        <a:latin typeface="Arial" panose="020B0604020202020204" pitchFamily="34" charset="0"/>
                        <a:cs typeface="Arial" panose="020B0604020202020204" pitchFamily="34" charset="0"/>
                      </a:endParaRPr>
                    </a:p>
                  </a:txBody>
                  <a:tcPr marL="36000" marR="36000"/>
                </a:tc>
                <a:tc>
                  <a:txBody>
                    <a:bodyPr/>
                    <a:lstStyle/>
                    <a:p>
                      <a:pPr rtl="0" eaLnBrk="1" hangingPunct="1">
                        <a:lnSpc>
                          <a:spcPct val="100000"/>
                        </a:lnSpc>
                        <a:spcAft>
                          <a:spcPct val="0"/>
                        </a:spcAft>
                        <a:buClrTx/>
                        <a:buFontTx/>
                        <a:buNone/>
                      </a:pPr>
                      <a:r>
                        <a:rPr lang="en-US" sz="1800" b="0" baseline="0" noProof="0" dirty="0">
                          <a:solidFill>
                            <a:schemeClr val="tx1"/>
                          </a:solidFill>
                        </a:rPr>
                        <a:t>ATBS, DBS</a:t>
                      </a:r>
                      <a:endParaRPr lang="en-US" sz="1800" b="0" noProof="0" dirty="0">
                        <a:solidFill>
                          <a:schemeClr val="tx1"/>
                        </a:solidFill>
                        <a:latin typeface="Arial" panose="020B0604020202020204" pitchFamily="34" charset="0"/>
                        <a:cs typeface="Arial" panose="020B0604020202020204" pitchFamily="34" charset="0"/>
                      </a:endParaRPr>
                    </a:p>
                  </a:txBody>
                  <a:tcPr marL="36000" marR="36000"/>
                </a:tc>
                <a:extLst>
                  <a:ext uri="{0D108BD9-81ED-4DB2-BD59-A6C34878D82A}">
                    <a16:rowId xmlns:a16="http://schemas.microsoft.com/office/drawing/2014/main" val="1454119294"/>
                  </a:ext>
                </a:extLst>
              </a:tr>
              <a:tr h="288986">
                <a:tc>
                  <a:txBody>
                    <a:bodyPr/>
                    <a:lstStyle/>
                    <a:p>
                      <a:pPr rtl="0"/>
                      <a:r>
                        <a:rPr lang="en-US" sz="1800" noProof="0" dirty="0">
                          <a:solidFill>
                            <a:schemeClr val="tx1"/>
                          </a:solidFill>
                        </a:rPr>
                        <a:t>Antioxidant</a:t>
                      </a:r>
                      <a:endParaRPr lang="en-US" sz="1800" noProof="0" dirty="0">
                        <a:solidFill>
                          <a:schemeClr val="tx1"/>
                        </a:solidFill>
                        <a:latin typeface="Arial" panose="020B0604020202020204" pitchFamily="34" charset="0"/>
                        <a:cs typeface="Arial" panose="020B0604020202020204" pitchFamily="34" charset="0"/>
                      </a:endParaRPr>
                    </a:p>
                  </a:txBody>
                  <a:tcPr marL="36000" marR="36000"/>
                </a:tc>
                <a:tc>
                  <a:txBody>
                    <a:bodyPr/>
                    <a:lstStyle/>
                    <a:p>
                      <a:pPr rtl="0"/>
                      <a:r>
                        <a:rPr lang="en-US" sz="1800" noProof="0" dirty="0">
                          <a:solidFill>
                            <a:schemeClr val="tx1"/>
                          </a:solidFill>
                        </a:rPr>
                        <a:t>2.5%* </a:t>
                      </a:r>
                      <a:endParaRPr lang="en-US" sz="1800" noProof="0" dirty="0">
                        <a:solidFill>
                          <a:schemeClr val="tx1"/>
                        </a:solidFill>
                        <a:latin typeface="Arial" panose="020B0604020202020204" pitchFamily="34" charset="0"/>
                        <a:cs typeface="Arial" panose="020B0604020202020204" pitchFamily="34" charset="0"/>
                      </a:endParaRPr>
                    </a:p>
                  </a:txBody>
                  <a:tcPr marL="36000" marR="36000"/>
                </a:tc>
                <a:tc>
                  <a:txBody>
                    <a:bodyPr/>
                    <a:lstStyle/>
                    <a:p>
                      <a:pPr rtl="0"/>
                      <a:r>
                        <a:rPr lang="en-US" sz="1800" baseline="0" noProof="0" dirty="0">
                          <a:solidFill>
                            <a:schemeClr val="tx1"/>
                          </a:solidFill>
                        </a:rPr>
                        <a:t>BHT</a:t>
                      </a:r>
                      <a:endParaRPr lang="en-US" sz="1800" noProof="0" dirty="0">
                        <a:solidFill>
                          <a:schemeClr val="tx1"/>
                        </a:solidFill>
                        <a:latin typeface="Arial" panose="020B0604020202020204" pitchFamily="34" charset="0"/>
                        <a:cs typeface="Arial" panose="020B0604020202020204" pitchFamily="34" charset="0"/>
                      </a:endParaRPr>
                    </a:p>
                  </a:txBody>
                  <a:tcPr marL="36000" marR="36000"/>
                </a:tc>
                <a:extLst>
                  <a:ext uri="{0D108BD9-81ED-4DB2-BD59-A6C34878D82A}">
                    <a16:rowId xmlns:a16="http://schemas.microsoft.com/office/drawing/2014/main" val="10001"/>
                  </a:ext>
                </a:extLst>
              </a:tr>
              <a:tr h="288986">
                <a:tc>
                  <a:txBody>
                    <a:bodyPr/>
                    <a:lstStyle/>
                    <a:p>
                      <a:pPr rtl="0"/>
                      <a:r>
                        <a:rPr lang="en-US" sz="1800" noProof="0" dirty="0">
                          <a:solidFill>
                            <a:schemeClr val="tx1"/>
                          </a:solidFill>
                        </a:rPr>
                        <a:t>Anti-tacking</a:t>
                      </a:r>
                      <a:endParaRPr lang="en-US" sz="1800" noProof="0" dirty="0">
                        <a:solidFill>
                          <a:schemeClr val="tx1"/>
                        </a:solidFill>
                        <a:latin typeface="Arial" panose="020B0604020202020204" pitchFamily="34" charset="0"/>
                        <a:cs typeface="Arial" panose="020B0604020202020204" pitchFamily="34" charset="0"/>
                      </a:endParaRPr>
                    </a:p>
                  </a:txBody>
                  <a:tcPr marL="36000" marR="36000"/>
                </a:tc>
                <a:tc>
                  <a:txBody>
                    <a:bodyPr/>
                    <a:lstStyle/>
                    <a:p>
                      <a:pPr rtl="0"/>
                      <a:r>
                        <a:rPr lang="en-US" sz="1800" noProof="0" dirty="0">
                          <a:solidFill>
                            <a:schemeClr val="tx1"/>
                          </a:solidFill>
                        </a:rPr>
                        <a:t>0 – 40% based on total film mass</a:t>
                      </a:r>
                      <a:endParaRPr lang="en-US" sz="1800" noProof="0" dirty="0">
                        <a:solidFill>
                          <a:schemeClr val="tx1"/>
                        </a:solidFill>
                        <a:latin typeface="Arial" panose="020B0604020202020204" pitchFamily="34" charset="0"/>
                        <a:cs typeface="Arial" panose="020B0604020202020204" pitchFamily="34" charset="0"/>
                      </a:endParaRPr>
                    </a:p>
                  </a:txBody>
                  <a:tcPr marL="36000" marR="36000"/>
                </a:tc>
                <a:tc>
                  <a:txBody>
                    <a:bodyPr/>
                    <a:lstStyle/>
                    <a:p>
                      <a:pPr rtl="0"/>
                      <a:r>
                        <a:rPr lang="en-US" sz="1800" noProof="0" dirty="0">
                          <a:solidFill>
                            <a:schemeClr val="tx1"/>
                          </a:solidFill>
                        </a:rPr>
                        <a:t>Talc and Kolliwax</a:t>
                      </a:r>
                      <a:r>
                        <a:rPr lang="en-US" sz="1800" baseline="30000" noProof="0" dirty="0">
                          <a:solidFill>
                            <a:schemeClr val="tx1"/>
                          </a:solidFill>
                        </a:rPr>
                        <a:t>®</a:t>
                      </a:r>
                      <a:r>
                        <a:rPr lang="en-US" sz="1800" noProof="0" dirty="0">
                          <a:solidFill>
                            <a:schemeClr val="tx1"/>
                          </a:solidFill>
                        </a:rPr>
                        <a:t> GMS II + Kolliphor</a:t>
                      </a:r>
                      <a:r>
                        <a:rPr lang="en-US" sz="1800" baseline="30000" noProof="0" dirty="0">
                          <a:solidFill>
                            <a:schemeClr val="tx1"/>
                          </a:solidFill>
                        </a:rPr>
                        <a:t>® </a:t>
                      </a:r>
                      <a:r>
                        <a:rPr lang="en-US" sz="1800" noProof="0" dirty="0">
                          <a:solidFill>
                            <a:schemeClr val="tx1"/>
                          </a:solidFill>
                        </a:rPr>
                        <a:t>PS 80</a:t>
                      </a:r>
                      <a:endParaRPr lang="en-US" sz="1800" noProof="0" dirty="0">
                        <a:solidFill>
                          <a:schemeClr val="tx1"/>
                        </a:solidFill>
                        <a:latin typeface="Arial" panose="020B0604020202020204" pitchFamily="34" charset="0"/>
                        <a:cs typeface="Arial" panose="020B0604020202020204" pitchFamily="34" charset="0"/>
                      </a:endParaRPr>
                    </a:p>
                  </a:txBody>
                  <a:tcPr marL="36000" marR="36000"/>
                </a:tc>
                <a:extLst>
                  <a:ext uri="{0D108BD9-81ED-4DB2-BD59-A6C34878D82A}">
                    <a16:rowId xmlns:a16="http://schemas.microsoft.com/office/drawing/2014/main" val="10002"/>
                  </a:ext>
                </a:extLst>
              </a:tr>
              <a:tr h="288986">
                <a:tc>
                  <a:txBody>
                    <a:bodyPr/>
                    <a:lstStyle/>
                    <a:p>
                      <a:pPr rtl="0"/>
                      <a:r>
                        <a:rPr lang="en-US" sz="1800" noProof="0" dirty="0">
                          <a:solidFill>
                            <a:schemeClr val="tx1"/>
                          </a:solidFill>
                        </a:rPr>
                        <a:t>Solvent: </a:t>
                      </a:r>
                      <a:r>
                        <a:rPr lang="en-US" sz="1800" noProof="0" dirty="0">
                          <a:solidFill>
                            <a:schemeClr val="tx1"/>
                          </a:solidFill>
                          <a:latin typeface="Arial" panose="020B0604020202020204" pitchFamily="34" charset="0"/>
                          <a:cs typeface="Arial" panose="020B0604020202020204" pitchFamily="34" charset="0"/>
                        </a:rPr>
                        <a:t>K. Smartseal 30 D</a:t>
                      </a:r>
                    </a:p>
                  </a:txBody>
                  <a:tcPr marL="36000" marR="36000"/>
                </a:tc>
                <a:tc>
                  <a:txBody>
                    <a:bodyPr/>
                    <a:lstStyle/>
                    <a:p>
                      <a:pPr rtl="0"/>
                      <a:r>
                        <a:rPr lang="en-US" sz="1800" noProof="0" dirty="0">
                          <a:solidFill>
                            <a:schemeClr val="tx1"/>
                          </a:solidFill>
                          <a:latin typeface="Arial" panose="020B0604020202020204" pitchFamily="34" charset="0"/>
                          <a:cs typeface="Arial" panose="020B0604020202020204" pitchFamily="34" charset="0"/>
                        </a:rPr>
                        <a:t> </a:t>
                      </a:r>
                      <a:r>
                        <a:rPr lang="en-US" sz="1800" noProof="0" dirty="0" err="1">
                          <a:solidFill>
                            <a:schemeClr val="tx1"/>
                          </a:solidFill>
                          <a:latin typeface="Arial" panose="020B0604020202020204" pitchFamily="34" charset="0"/>
                          <a:cs typeface="Arial" panose="020B0604020202020204" pitchFamily="34" charset="0"/>
                        </a:rPr>
                        <a:t>q.s</a:t>
                      </a:r>
                      <a:r>
                        <a:rPr lang="en-US" sz="1800" noProof="0" dirty="0">
                          <a:solidFill>
                            <a:schemeClr val="tx1"/>
                          </a:solidFill>
                          <a:latin typeface="Arial" panose="020B0604020202020204" pitchFamily="34" charset="0"/>
                          <a:cs typeface="Arial" panose="020B0604020202020204" pitchFamily="34" charset="0"/>
                        </a:rPr>
                        <a:t>. 20 % solid content </a:t>
                      </a:r>
                    </a:p>
                  </a:txBody>
                  <a:tcPr marL="36000" marR="36000"/>
                </a:tc>
                <a:tc>
                  <a:txBody>
                    <a:bodyPr/>
                    <a:lstStyle/>
                    <a:p>
                      <a:pPr rtl="0"/>
                      <a:r>
                        <a:rPr lang="en-US" sz="1800" noProof="0" dirty="0">
                          <a:solidFill>
                            <a:schemeClr val="tx1"/>
                          </a:solidFill>
                        </a:rPr>
                        <a:t>Water</a:t>
                      </a:r>
                      <a:endParaRPr lang="en-US" sz="1800" noProof="0" dirty="0">
                        <a:solidFill>
                          <a:schemeClr val="tx1"/>
                        </a:solidFill>
                        <a:latin typeface="Arial" panose="020B0604020202020204" pitchFamily="34" charset="0"/>
                        <a:cs typeface="Arial" panose="020B0604020202020204" pitchFamily="34" charset="0"/>
                      </a:endParaRPr>
                    </a:p>
                  </a:txBody>
                  <a:tcPr marL="36000" marR="36000"/>
                </a:tc>
                <a:extLst>
                  <a:ext uri="{0D108BD9-81ED-4DB2-BD59-A6C34878D82A}">
                    <a16:rowId xmlns:a16="http://schemas.microsoft.com/office/drawing/2014/main" val="10003"/>
                  </a:ext>
                </a:extLst>
              </a:tr>
              <a:tr h="288986">
                <a:tc>
                  <a:txBody>
                    <a:bodyPr/>
                    <a:lstStyle/>
                    <a:p>
                      <a:pPr rtl="0"/>
                      <a:r>
                        <a:rPr lang="en-US" sz="1800" noProof="0" dirty="0">
                          <a:solidFill>
                            <a:schemeClr val="tx1"/>
                          </a:solidFill>
                          <a:latin typeface="Arial" panose="020B0604020202020204" pitchFamily="34" charset="0"/>
                          <a:cs typeface="Arial" panose="020B0604020202020204" pitchFamily="34" charset="0"/>
                        </a:rPr>
                        <a:t>Solvent: K. Smartseal 100 P</a:t>
                      </a:r>
                    </a:p>
                  </a:txBody>
                  <a:tcPr marL="36000" marR="36000"/>
                </a:tc>
                <a:tc>
                  <a:txBody>
                    <a:bodyPr/>
                    <a:lstStyle/>
                    <a:p>
                      <a:pPr rtl="0"/>
                      <a:r>
                        <a:rPr lang="en-US" sz="1800" noProof="0" dirty="0" err="1">
                          <a:solidFill>
                            <a:schemeClr val="tx1"/>
                          </a:solidFill>
                          <a:latin typeface="Arial" panose="020B0604020202020204" pitchFamily="34" charset="0"/>
                          <a:cs typeface="Arial" panose="020B0604020202020204" pitchFamily="34" charset="0"/>
                        </a:rPr>
                        <a:t>q.s</a:t>
                      </a:r>
                      <a:r>
                        <a:rPr lang="en-US" sz="1800" noProof="0" dirty="0">
                          <a:solidFill>
                            <a:schemeClr val="tx1"/>
                          </a:solidFill>
                          <a:latin typeface="Arial" panose="020B0604020202020204" pitchFamily="34" charset="0"/>
                          <a:cs typeface="Arial" panose="020B0604020202020204" pitchFamily="34" charset="0"/>
                        </a:rPr>
                        <a:t>. 10 - 20% solid content </a:t>
                      </a:r>
                    </a:p>
                  </a:txBody>
                  <a:tcPr marL="36000" marR="36000"/>
                </a:tc>
                <a:tc>
                  <a:txBody>
                    <a:bodyPr/>
                    <a:lstStyle/>
                    <a:p>
                      <a:pPr rtl="0"/>
                      <a:r>
                        <a:rPr lang="en-US" sz="1800" noProof="0" dirty="0">
                          <a:solidFill>
                            <a:schemeClr val="tx1"/>
                          </a:solidFill>
                          <a:latin typeface="Arial" panose="020B0604020202020204" pitchFamily="34" charset="0"/>
                          <a:cs typeface="Arial" panose="020B0604020202020204" pitchFamily="34" charset="0"/>
                        </a:rPr>
                        <a:t>Acetone / Acetone : Isopropanol 1:1 or 1:2 </a:t>
                      </a:r>
                    </a:p>
                  </a:txBody>
                  <a:tcPr marL="36000" marR="36000"/>
                </a:tc>
                <a:extLst>
                  <a:ext uri="{0D108BD9-81ED-4DB2-BD59-A6C34878D82A}">
                    <a16:rowId xmlns:a16="http://schemas.microsoft.com/office/drawing/2014/main" val="2491704419"/>
                  </a:ext>
                </a:extLst>
              </a:tr>
            </a:tbl>
          </a:graphicData>
        </a:graphic>
      </p:graphicFrame>
      <p:sp>
        <p:nvSpPr>
          <p:cNvPr id="7" name="Footer Placeholder 39">
            <a:extLst>
              <a:ext uri="{FF2B5EF4-FFF2-40B4-BE49-F238E27FC236}">
                <a16:creationId xmlns:a16="http://schemas.microsoft.com/office/drawing/2014/main" id="{86C97257-6E6C-0368-49B4-486BFFAE90D7}"/>
              </a:ext>
            </a:extLst>
          </p:cNvPr>
          <p:cNvSpPr txBox="1">
            <a:spLocks/>
          </p:cNvSpPr>
          <p:nvPr/>
        </p:nvSpPr>
        <p:spPr>
          <a:xfrm>
            <a:off x="1441361" y="6611983"/>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6" name="TextBox 5">
            <a:extLst>
              <a:ext uri="{FF2B5EF4-FFF2-40B4-BE49-F238E27FC236}">
                <a16:creationId xmlns:a16="http://schemas.microsoft.com/office/drawing/2014/main" id="{1A56B3C8-D428-7142-B335-E1A0F7B0C59B}"/>
              </a:ext>
            </a:extLst>
          </p:cNvPr>
          <p:cNvSpPr txBox="1"/>
          <p:nvPr/>
        </p:nvSpPr>
        <p:spPr>
          <a:xfrm>
            <a:off x="586800" y="6029995"/>
            <a:ext cx="3052330" cy="276999"/>
          </a:xfrm>
          <a:prstGeom prst="rect">
            <a:avLst/>
          </a:prstGeom>
          <a:noFill/>
        </p:spPr>
        <p:txBody>
          <a:bodyPr wrap="square">
            <a:spAutoFit/>
          </a:bodyPr>
          <a:lstStyle/>
          <a:p>
            <a:r>
              <a:rPr lang="en-US" sz="1200" b="0" noProof="0" dirty="0">
                <a:solidFill>
                  <a:schemeClr val="tx1"/>
                </a:solidFill>
                <a:latin typeface="Arial" panose="020B0604020202020204" pitchFamily="34" charset="0"/>
                <a:cs typeface="Arial" panose="020B0604020202020204" pitchFamily="34" charset="0"/>
              </a:rPr>
              <a:t>*related to dry polymer weight</a:t>
            </a:r>
            <a:endParaRPr lang="en-US" sz="1200" dirty="0"/>
          </a:p>
        </p:txBody>
      </p:sp>
      <p:sp>
        <p:nvSpPr>
          <p:cNvPr id="8" name="Slide Number Placeholder 7">
            <a:extLst>
              <a:ext uri="{FF2B5EF4-FFF2-40B4-BE49-F238E27FC236}">
                <a16:creationId xmlns:a16="http://schemas.microsoft.com/office/drawing/2014/main" id="{B2539F16-41F5-53A6-C027-D57EAE9DFC9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29</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graphicFrame>
        <p:nvGraphicFramePr>
          <p:cNvPr id="14" name="Tabelle 27">
            <a:extLst>
              <a:ext uri="{FF2B5EF4-FFF2-40B4-BE49-F238E27FC236}">
                <a16:creationId xmlns:a16="http://schemas.microsoft.com/office/drawing/2014/main" id="{D8C927FF-DD99-8802-EB12-6AFCA087AFF5}"/>
              </a:ext>
            </a:extLst>
          </p:cNvPr>
          <p:cNvGraphicFramePr>
            <a:graphicFrameLocks noGrp="1"/>
          </p:cNvGraphicFramePr>
          <p:nvPr>
            <p:extLst>
              <p:ext uri="{D42A27DB-BD31-4B8C-83A1-F6EECF244321}">
                <p14:modId xmlns:p14="http://schemas.microsoft.com/office/powerpoint/2010/main" val="3139782205"/>
              </p:ext>
            </p:extLst>
          </p:nvPr>
        </p:nvGraphicFramePr>
        <p:xfrm>
          <a:off x="406800" y="3867447"/>
          <a:ext cx="11416816" cy="2194560"/>
        </p:xfrm>
        <a:graphic>
          <a:graphicData uri="http://schemas.openxmlformats.org/drawingml/2006/table">
            <a:tbl>
              <a:tblPr firstRow="1" bandRow="1">
                <a:tableStyleId>{3B4B98B0-60AC-42C2-AFA5-B58CD77FA1E5}</a:tableStyleId>
              </a:tblPr>
              <a:tblGrid>
                <a:gridCol w="3009840">
                  <a:extLst>
                    <a:ext uri="{9D8B030D-6E8A-4147-A177-3AD203B41FA5}">
                      <a16:colId xmlns:a16="http://schemas.microsoft.com/office/drawing/2014/main" val="20000"/>
                    </a:ext>
                  </a:extLst>
                </a:gridCol>
                <a:gridCol w="3746632">
                  <a:extLst>
                    <a:ext uri="{9D8B030D-6E8A-4147-A177-3AD203B41FA5}">
                      <a16:colId xmlns:a16="http://schemas.microsoft.com/office/drawing/2014/main" val="20001"/>
                    </a:ext>
                  </a:extLst>
                </a:gridCol>
                <a:gridCol w="4660344">
                  <a:extLst>
                    <a:ext uri="{9D8B030D-6E8A-4147-A177-3AD203B41FA5}">
                      <a16:colId xmlns:a16="http://schemas.microsoft.com/office/drawing/2014/main" val="20002"/>
                    </a:ext>
                  </a:extLst>
                </a:gridCol>
              </a:tblGrid>
              <a:tr h="331696">
                <a:tc>
                  <a:txBody>
                    <a:bodyPr/>
                    <a:lstStyle/>
                    <a:p>
                      <a:pPr algn="ctr" rtl="0"/>
                      <a:r>
                        <a:rPr lang="en-US" sz="1800" b="1" noProof="0" dirty="0">
                          <a:solidFill>
                            <a:schemeClr val="tx1"/>
                          </a:solidFill>
                        </a:rPr>
                        <a:t>Ingredient                  </a:t>
                      </a:r>
                      <a:endParaRPr lang="en-US" sz="1800" b="1" noProof="0" dirty="0">
                        <a:solidFill>
                          <a:schemeClr val="tx1"/>
                        </a:solidFill>
                        <a:latin typeface="Arial" panose="020B0604020202020204" pitchFamily="34" charset="0"/>
                        <a:cs typeface="Arial" panose="020B0604020202020204" pitchFamily="34" charset="0"/>
                      </a:endParaRPr>
                    </a:p>
                  </a:txBody>
                  <a:tcPr marL="36000" marR="36000"/>
                </a:tc>
                <a:tc>
                  <a:txBody>
                    <a:bodyPr/>
                    <a:lstStyle/>
                    <a:p>
                      <a:pPr algn="ctr" rtl="0" eaLnBrk="1" hangingPunct="1">
                        <a:lnSpc>
                          <a:spcPct val="100000"/>
                        </a:lnSpc>
                        <a:spcAft>
                          <a:spcPct val="0"/>
                        </a:spcAft>
                        <a:buClrTx/>
                        <a:buFontTx/>
                        <a:buNone/>
                      </a:pPr>
                      <a:r>
                        <a:rPr lang="en-US" sz="1800" b="1" noProof="0" dirty="0">
                          <a:solidFill>
                            <a:schemeClr val="tx1"/>
                          </a:solidFill>
                        </a:rPr>
                        <a:t>Concentration </a:t>
                      </a:r>
                      <a:endParaRPr lang="en-US" sz="1800" b="1" noProof="0" dirty="0">
                        <a:solidFill>
                          <a:schemeClr val="tx1">
                            <a:lumMod val="65000"/>
                            <a:lumOff val="35000"/>
                          </a:schemeClr>
                        </a:solidFill>
                        <a:latin typeface="Arial" panose="020B0604020202020204" pitchFamily="34" charset="0"/>
                        <a:cs typeface="Arial" panose="020B0604020202020204" pitchFamily="34" charset="0"/>
                      </a:endParaRPr>
                    </a:p>
                  </a:txBody>
                  <a:tcPr marL="36000" marR="36000"/>
                </a:tc>
                <a:tc>
                  <a:txBody>
                    <a:bodyPr/>
                    <a:lstStyle/>
                    <a:p>
                      <a:pPr algn="ctr" rtl="0" eaLnBrk="1" hangingPunct="1">
                        <a:lnSpc>
                          <a:spcPct val="100000"/>
                        </a:lnSpc>
                        <a:spcAft>
                          <a:spcPct val="0"/>
                        </a:spcAft>
                        <a:buClrTx/>
                        <a:buFontTx/>
                        <a:buNone/>
                      </a:pPr>
                      <a:r>
                        <a:rPr lang="en-US" sz="1800" b="1" baseline="0" noProof="0" dirty="0">
                          <a:solidFill>
                            <a:schemeClr val="tx1"/>
                          </a:solidFill>
                        </a:rPr>
                        <a:t>Recommended</a:t>
                      </a:r>
                      <a:endParaRPr lang="en-US" sz="1800" b="1" noProof="0" dirty="0">
                        <a:solidFill>
                          <a:schemeClr val="tx1"/>
                        </a:solidFill>
                        <a:latin typeface="Arial" panose="020B0604020202020204" pitchFamily="34" charset="0"/>
                        <a:cs typeface="Arial" panose="020B0604020202020204" pitchFamily="34" charset="0"/>
                      </a:endParaRPr>
                    </a:p>
                  </a:txBody>
                  <a:tcPr marL="36000" marR="36000"/>
                </a:tc>
                <a:extLst>
                  <a:ext uri="{0D108BD9-81ED-4DB2-BD59-A6C34878D82A}">
                    <a16:rowId xmlns:a16="http://schemas.microsoft.com/office/drawing/2014/main" val="10000"/>
                  </a:ext>
                </a:extLst>
              </a:tr>
              <a:tr h="288986">
                <a:tc>
                  <a:txBody>
                    <a:bodyPr/>
                    <a:lstStyle/>
                    <a:p>
                      <a:pPr rtl="0"/>
                      <a:r>
                        <a:rPr lang="en-US" sz="1800" b="0" noProof="0" dirty="0">
                          <a:solidFill>
                            <a:schemeClr val="tx1"/>
                          </a:solidFill>
                        </a:rPr>
                        <a:t>Plasticizer</a:t>
                      </a:r>
                      <a:endParaRPr lang="en-US" sz="1800" b="0" noProof="0" dirty="0">
                        <a:solidFill>
                          <a:schemeClr val="tx1"/>
                        </a:solidFill>
                        <a:latin typeface="Arial" panose="020B0604020202020204" pitchFamily="34" charset="0"/>
                        <a:cs typeface="Arial" panose="020B0604020202020204" pitchFamily="34" charset="0"/>
                      </a:endParaRPr>
                    </a:p>
                  </a:txBody>
                  <a:tcPr marL="36000" marR="36000"/>
                </a:tc>
                <a:tc>
                  <a:txBody>
                    <a:bodyPr/>
                    <a:lstStyle/>
                    <a:p>
                      <a:pPr rtl="0" eaLnBrk="1" hangingPunct="1">
                        <a:lnSpc>
                          <a:spcPct val="100000"/>
                        </a:lnSpc>
                        <a:spcAft>
                          <a:spcPct val="0"/>
                        </a:spcAft>
                        <a:buClrTx/>
                        <a:buFontTx/>
                        <a:buNone/>
                      </a:pPr>
                      <a:r>
                        <a:rPr lang="en-US" sz="1800" b="0" noProof="0" dirty="0">
                          <a:solidFill>
                            <a:schemeClr val="tx1"/>
                          </a:solidFill>
                        </a:rPr>
                        <a:t>10-15 %*</a:t>
                      </a:r>
                      <a:endParaRPr lang="en-US" sz="1800" noProof="0" dirty="0">
                        <a:solidFill>
                          <a:schemeClr val="tx1">
                            <a:lumMod val="65000"/>
                            <a:lumOff val="35000"/>
                          </a:schemeClr>
                        </a:solidFill>
                        <a:latin typeface="Arial" panose="020B0604020202020204" pitchFamily="34" charset="0"/>
                        <a:cs typeface="Arial" panose="020B0604020202020204" pitchFamily="34" charset="0"/>
                      </a:endParaRPr>
                    </a:p>
                  </a:txBody>
                  <a:tcPr marL="36000" marR="36000"/>
                </a:tc>
                <a:tc>
                  <a:txBody>
                    <a:bodyPr/>
                    <a:lstStyle/>
                    <a:p>
                      <a:pPr rtl="0" eaLnBrk="1" hangingPunct="1">
                        <a:lnSpc>
                          <a:spcPct val="100000"/>
                        </a:lnSpc>
                        <a:spcAft>
                          <a:spcPct val="0"/>
                        </a:spcAft>
                        <a:buClrTx/>
                        <a:buFontTx/>
                        <a:buNone/>
                      </a:pPr>
                      <a:r>
                        <a:rPr lang="en-US" sz="1800" b="0" baseline="0" noProof="0" dirty="0">
                          <a:solidFill>
                            <a:schemeClr val="tx1"/>
                          </a:solidFill>
                        </a:rPr>
                        <a:t>ATBS, DBS</a:t>
                      </a:r>
                      <a:endParaRPr lang="en-US" sz="1800" b="0" noProof="0" dirty="0">
                        <a:solidFill>
                          <a:schemeClr val="tx1"/>
                        </a:solidFill>
                        <a:latin typeface="Arial" panose="020B0604020202020204" pitchFamily="34" charset="0"/>
                        <a:cs typeface="Arial" panose="020B0604020202020204" pitchFamily="34" charset="0"/>
                      </a:endParaRPr>
                    </a:p>
                  </a:txBody>
                  <a:tcPr marL="36000" marR="36000"/>
                </a:tc>
                <a:extLst>
                  <a:ext uri="{0D108BD9-81ED-4DB2-BD59-A6C34878D82A}">
                    <a16:rowId xmlns:a16="http://schemas.microsoft.com/office/drawing/2014/main" val="1454119294"/>
                  </a:ext>
                </a:extLst>
              </a:tr>
              <a:tr h="288986">
                <a:tc>
                  <a:txBody>
                    <a:bodyPr/>
                    <a:lstStyle/>
                    <a:p>
                      <a:pPr rtl="0"/>
                      <a:r>
                        <a:rPr lang="en-US" sz="1800" noProof="0" dirty="0">
                          <a:solidFill>
                            <a:schemeClr val="tx1"/>
                          </a:solidFill>
                        </a:rPr>
                        <a:t>Antioxidant</a:t>
                      </a:r>
                      <a:endParaRPr lang="en-US" sz="1800" noProof="0" dirty="0">
                        <a:solidFill>
                          <a:schemeClr val="tx1"/>
                        </a:solidFill>
                        <a:latin typeface="Arial" panose="020B0604020202020204" pitchFamily="34" charset="0"/>
                        <a:cs typeface="Arial" panose="020B0604020202020204" pitchFamily="34" charset="0"/>
                      </a:endParaRPr>
                    </a:p>
                  </a:txBody>
                  <a:tcPr marL="36000" marR="36000"/>
                </a:tc>
                <a:tc>
                  <a:txBody>
                    <a:bodyPr/>
                    <a:lstStyle/>
                    <a:p>
                      <a:pPr rtl="0"/>
                      <a:r>
                        <a:rPr lang="en-US" sz="1800" noProof="0" dirty="0">
                          <a:solidFill>
                            <a:schemeClr val="tx1"/>
                          </a:solidFill>
                        </a:rPr>
                        <a:t>2.5%* </a:t>
                      </a:r>
                      <a:endParaRPr lang="en-US" sz="1800" noProof="0" dirty="0">
                        <a:solidFill>
                          <a:schemeClr val="tx1"/>
                        </a:solidFill>
                        <a:latin typeface="Arial" panose="020B0604020202020204" pitchFamily="34" charset="0"/>
                        <a:cs typeface="Arial" panose="020B0604020202020204" pitchFamily="34" charset="0"/>
                      </a:endParaRPr>
                    </a:p>
                  </a:txBody>
                  <a:tcPr marL="36000" marR="36000"/>
                </a:tc>
                <a:tc>
                  <a:txBody>
                    <a:bodyPr/>
                    <a:lstStyle/>
                    <a:p>
                      <a:pPr rtl="0"/>
                      <a:r>
                        <a:rPr lang="en-US" sz="1800" baseline="0" noProof="0" dirty="0">
                          <a:solidFill>
                            <a:schemeClr val="tx1"/>
                          </a:solidFill>
                        </a:rPr>
                        <a:t>BHT</a:t>
                      </a:r>
                      <a:endParaRPr lang="en-US" sz="1800" noProof="0" dirty="0">
                        <a:solidFill>
                          <a:schemeClr val="tx1"/>
                        </a:solidFill>
                        <a:latin typeface="Arial" panose="020B0604020202020204" pitchFamily="34" charset="0"/>
                        <a:cs typeface="Arial" panose="020B0604020202020204" pitchFamily="34" charset="0"/>
                      </a:endParaRPr>
                    </a:p>
                  </a:txBody>
                  <a:tcPr marL="36000" marR="36000"/>
                </a:tc>
                <a:extLst>
                  <a:ext uri="{0D108BD9-81ED-4DB2-BD59-A6C34878D82A}">
                    <a16:rowId xmlns:a16="http://schemas.microsoft.com/office/drawing/2014/main" val="10001"/>
                  </a:ext>
                </a:extLst>
              </a:tr>
              <a:tr h="288986">
                <a:tc>
                  <a:txBody>
                    <a:bodyPr/>
                    <a:lstStyle/>
                    <a:p>
                      <a:pPr rtl="0"/>
                      <a:r>
                        <a:rPr lang="en-US" sz="1800" noProof="0" dirty="0">
                          <a:solidFill>
                            <a:schemeClr val="tx1"/>
                          </a:solidFill>
                          <a:latin typeface="Arial" panose="020B0604020202020204" pitchFamily="34" charset="0"/>
                          <a:cs typeface="Arial" panose="020B0604020202020204" pitchFamily="34" charset="0"/>
                        </a:rPr>
                        <a:t>Pre-neutralizing agent</a:t>
                      </a:r>
                    </a:p>
                  </a:txBody>
                  <a:tcPr marL="36000" marR="36000"/>
                </a:tc>
                <a:tc>
                  <a:txBody>
                    <a:bodyPr/>
                    <a:lstStyle/>
                    <a:p>
                      <a:pPr rtl="0"/>
                      <a:r>
                        <a:rPr lang="en-US" sz="1800" noProof="0" dirty="0">
                          <a:solidFill>
                            <a:schemeClr val="tx1"/>
                          </a:solidFill>
                        </a:rPr>
                        <a:t>2.5%* </a:t>
                      </a:r>
                      <a:endParaRPr lang="en-US" sz="1800" noProof="0" dirty="0">
                        <a:solidFill>
                          <a:schemeClr val="tx1"/>
                        </a:solidFill>
                        <a:latin typeface="Arial" panose="020B0604020202020204" pitchFamily="34" charset="0"/>
                        <a:cs typeface="Arial" panose="020B0604020202020204" pitchFamily="34" charset="0"/>
                      </a:endParaRPr>
                    </a:p>
                  </a:txBody>
                  <a:tcPr marL="36000" marR="36000"/>
                </a:tc>
                <a:tc>
                  <a:txBody>
                    <a:bodyPr/>
                    <a:lstStyle/>
                    <a:p>
                      <a:pPr rtl="0"/>
                      <a:r>
                        <a:rPr lang="en-US" sz="1800" noProof="0" dirty="0">
                          <a:solidFill>
                            <a:schemeClr val="tx1"/>
                          </a:solidFill>
                          <a:latin typeface="Arial" panose="020B0604020202020204" pitchFamily="34" charset="0"/>
                          <a:cs typeface="Arial" panose="020B0604020202020204" pitchFamily="34" charset="0"/>
                        </a:rPr>
                        <a:t>Succinic acid</a:t>
                      </a:r>
                    </a:p>
                  </a:txBody>
                  <a:tcPr marL="36000" marR="36000"/>
                </a:tc>
                <a:extLst>
                  <a:ext uri="{0D108BD9-81ED-4DB2-BD59-A6C34878D82A}">
                    <a16:rowId xmlns:a16="http://schemas.microsoft.com/office/drawing/2014/main" val="1949495801"/>
                  </a:ext>
                </a:extLst>
              </a:tr>
              <a:tr h="288986">
                <a:tc>
                  <a:txBody>
                    <a:bodyPr/>
                    <a:lstStyle/>
                    <a:p>
                      <a:pPr rtl="0"/>
                      <a:r>
                        <a:rPr lang="en-US" sz="1800" noProof="0" dirty="0">
                          <a:solidFill>
                            <a:schemeClr val="tx1"/>
                          </a:solidFill>
                        </a:rPr>
                        <a:t>Anti-tacking</a:t>
                      </a:r>
                      <a:endParaRPr lang="en-US" sz="1800" noProof="0" dirty="0">
                        <a:solidFill>
                          <a:schemeClr val="tx1"/>
                        </a:solidFill>
                        <a:latin typeface="Arial" panose="020B0604020202020204" pitchFamily="34" charset="0"/>
                        <a:cs typeface="Arial" panose="020B0604020202020204" pitchFamily="34" charset="0"/>
                      </a:endParaRPr>
                    </a:p>
                  </a:txBody>
                  <a:tcPr marL="36000" marR="36000"/>
                </a:tc>
                <a:tc>
                  <a:txBody>
                    <a:bodyPr/>
                    <a:lstStyle/>
                    <a:p>
                      <a:pPr rtl="0"/>
                      <a:r>
                        <a:rPr lang="en-US" sz="1800" noProof="0" dirty="0">
                          <a:solidFill>
                            <a:schemeClr val="tx1"/>
                          </a:solidFill>
                        </a:rPr>
                        <a:t>0 – 40% based on total film mass</a:t>
                      </a:r>
                      <a:endParaRPr lang="en-US" sz="1800" noProof="0" dirty="0">
                        <a:solidFill>
                          <a:schemeClr val="tx1"/>
                        </a:solidFill>
                        <a:latin typeface="Arial" panose="020B0604020202020204" pitchFamily="34" charset="0"/>
                        <a:cs typeface="Arial" panose="020B0604020202020204" pitchFamily="34" charset="0"/>
                      </a:endParaRPr>
                    </a:p>
                  </a:txBody>
                  <a:tcPr marL="36000" marR="36000"/>
                </a:tc>
                <a:tc>
                  <a:txBody>
                    <a:bodyPr/>
                    <a:lstStyle/>
                    <a:p>
                      <a:pPr rtl="0"/>
                      <a:r>
                        <a:rPr lang="en-US" sz="1800" noProof="0" dirty="0">
                          <a:solidFill>
                            <a:schemeClr val="tx1"/>
                          </a:solidFill>
                        </a:rPr>
                        <a:t>Talc and Kolliwax</a:t>
                      </a:r>
                      <a:r>
                        <a:rPr lang="en-US" sz="1800" baseline="30000" noProof="0" dirty="0">
                          <a:solidFill>
                            <a:schemeClr val="tx1"/>
                          </a:solidFill>
                        </a:rPr>
                        <a:t>®</a:t>
                      </a:r>
                      <a:r>
                        <a:rPr lang="en-US" sz="1800" noProof="0" dirty="0">
                          <a:solidFill>
                            <a:schemeClr val="tx1"/>
                          </a:solidFill>
                        </a:rPr>
                        <a:t> GMS II + Kolliphor</a:t>
                      </a:r>
                      <a:r>
                        <a:rPr lang="en-US" sz="1800" baseline="30000" noProof="0" dirty="0">
                          <a:solidFill>
                            <a:schemeClr val="tx1"/>
                          </a:solidFill>
                        </a:rPr>
                        <a:t>® </a:t>
                      </a:r>
                      <a:r>
                        <a:rPr lang="en-US" sz="1800" noProof="0" dirty="0">
                          <a:solidFill>
                            <a:schemeClr val="tx1"/>
                          </a:solidFill>
                        </a:rPr>
                        <a:t>PS 80</a:t>
                      </a:r>
                      <a:endParaRPr lang="en-US" sz="1800" noProof="0" dirty="0">
                        <a:solidFill>
                          <a:schemeClr val="tx1"/>
                        </a:solidFill>
                        <a:latin typeface="Arial" panose="020B0604020202020204" pitchFamily="34" charset="0"/>
                        <a:cs typeface="Arial" panose="020B0604020202020204" pitchFamily="34" charset="0"/>
                      </a:endParaRPr>
                    </a:p>
                  </a:txBody>
                  <a:tcPr marL="36000" marR="36000"/>
                </a:tc>
                <a:extLst>
                  <a:ext uri="{0D108BD9-81ED-4DB2-BD59-A6C34878D82A}">
                    <a16:rowId xmlns:a16="http://schemas.microsoft.com/office/drawing/2014/main" val="10002"/>
                  </a:ext>
                </a:extLst>
              </a:tr>
              <a:tr h="288986">
                <a:tc>
                  <a:txBody>
                    <a:bodyPr/>
                    <a:lstStyle/>
                    <a:p>
                      <a:pPr rtl="0"/>
                      <a:r>
                        <a:rPr lang="en-US" sz="1800" noProof="0" dirty="0">
                          <a:solidFill>
                            <a:schemeClr val="tx1"/>
                          </a:solidFill>
                        </a:rPr>
                        <a:t>Solvent</a:t>
                      </a:r>
                      <a:endParaRPr lang="en-US" sz="1800" noProof="0" dirty="0">
                        <a:solidFill>
                          <a:schemeClr val="tx1"/>
                        </a:solidFill>
                        <a:latin typeface="Arial" panose="020B0604020202020204" pitchFamily="34" charset="0"/>
                        <a:cs typeface="Arial" panose="020B0604020202020204" pitchFamily="34" charset="0"/>
                      </a:endParaRPr>
                    </a:p>
                  </a:txBody>
                  <a:tcPr marL="36000" marR="36000"/>
                </a:tc>
                <a:tc>
                  <a:txBody>
                    <a:bodyPr/>
                    <a:lstStyle/>
                    <a:p>
                      <a:pPr rtl="0"/>
                      <a:r>
                        <a:rPr lang="en-US" sz="1800" noProof="0" dirty="0" err="1">
                          <a:solidFill>
                            <a:schemeClr val="tx1"/>
                          </a:solidFill>
                          <a:latin typeface="Arial" panose="020B0604020202020204" pitchFamily="34" charset="0"/>
                          <a:cs typeface="Arial" panose="020B0604020202020204" pitchFamily="34" charset="0"/>
                        </a:rPr>
                        <a:t>q.s</a:t>
                      </a:r>
                      <a:r>
                        <a:rPr lang="en-US" sz="1800" noProof="0" dirty="0">
                          <a:solidFill>
                            <a:schemeClr val="tx1"/>
                          </a:solidFill>
                          <a:latin typeface="Arial" panose="020B0604020202020204" pitchFamily="34" charset="0"/>
                          <a:cs typeface="Arial" panose="020B0604020202020204" pitchFamily="34" charset="0"/>
                        </a:rPr>
                        <a:t>. 20 % solid content </a:t>
                      </a:r>
                    </a:p>
                  </a:txBody>
                  <a:tcPr marL="36000" marR="36000"/>
                </a:tc>
                <a:tc>
                  <a:txBody>
                    <a:bodyPr/>
                    <a:lstStyle/>
                    <a:p>
                      <a:pPr rtl="0"/>
                      <a:r>
                        <a:rPr lang="en-US" sz="1800" noProof="0" dirty="0">
                          <a:solidFill>
                            <a:schemeClr val="tx1"/>
                          </a:solidFill>
                        </a:rPr>
                        <a:t>Water only</a:t>
                      </a:r>
                      <a:endParaRPr lang="en-US" sz="1800" noProof="0" dirty="0">
                        <a:solidFill>
                          <a:schemeClr val="tx1"/>
                        </a:solidFill>
                        <a:latin typeface="Arial" panose="020B0604020202020204" pitchFamily="34" charset="0"/>
                        <a:cs typeface="Arial" panose="020B0604020202020204" pitchFamily="34" charset="0"/>
                      </a:endParaRPr>
                    </a:p>
                  </a:txBody>
                  <a:tcPr marL="36000" marR="36000"/>
                </a:tc>
                <a:extLst>
                  <a:ext uri="{0D108BD9-81ED-4DB2-BD59-A6C34878D82A}">
                    <a16:rowId xmlns:a16="http://schemas.microsoft.com/office/drawing/2014/main" val="10003"/>
                  </a:ext>
                </a:extLst>
              </a:tr>
            </a:tbl>
          </a:graphicData>
        </a:graphic>
      </p:graphicFrame>
      <p:sp>
        <p:nvSpPr>
          <p:cNvPr id="31" name="Textplatzhalter 2">
            <a:extLst>
              <a:ext uri="{FF2B5EF4-FFF2-40B4-BE49-F238E27FC236}">
                <a16:creationId xmlns:a16="http://schemas.microsoft.com/office/drawing/2014/main" id="{78B8E9E5-E74B-EEBC-E64D-89F9B37A1178}"/>
              </a:ext>
            </a:extLst>
          </p:cNvPr>
          <p:cNvSpPr txBox="1">
            <a:spLocks/>
          </p:cNvSpPr>
          <p:nvPr/>
        </p:nvSpPr>
        <p:spPr bwMode="auto">
          <a:xfrm>
            <a:off x="406800" y="770687"/>
            <a:ext cx="11416816" cy="281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marL="342900" indent="-342900" algn="l" rtl="0" eaLnBrk="0" fontAlgn="base" hangingPunct="0">
              <a:lnSpc>
                <a:spcPct val="110000"/>
              </a:lnSpc>
              <a:spcBef>
                <a:spcPct val="0"/>
              </a:spcBef>
              <a:spcAft>
                <a:spcPct val="50000"/>
              </a:spcAft>
              <a:buClr>
                <a:schemeClr val="accent1"/>
              </a:buClr>
              <a:buFont typeface="Wingdings" pitchFamily="2" charset="2"/>
              <a:buChar char="n"/>
              <a:defRPr sz="2000" kern="1200">
                <a:solidFill>
                  <a:schemeClr val="tx1"/>
                </a:solidFill>
                <a:latin typeface="+mn-lt"/>
                <a:ea typeface="+mn-ea"/>
                <a:cs typeface="+mn-cs"/>
              </a:defRPr>
            </a:lvl1pPr>
            <a:lvl2pPr marL="742950" indent="-285750" algn="l" rtl="0" eaLnBrk="0" fontAlgn="base" hangingPunct="0">
              <a:lnSpc>
                <a:spcPct val="110000"/>
              </a:lnSpc>
              <a:spcBef>
                <a:spcPct val="0"/>
              </a:spcBef>
              <a:spcAft>
                <a:spcPct val="50000"/>
              </a:spcAft>
              <a:buClr>
                <a:schemeClr val="accent1"/>
              </a:buClr>
              <a:buFont typeface="Wingdings" pitchFamily="2" charset="2"/>
              <a:buChar char="n"/>
              <a:defRPr sz="1800" kern="1200">
                <a:solidFill>
                  <a:schemeClr val="tx1"/>
                </a:solidFill>
                <a:latin typeface="+mn-lt"/>
                <a:ea typeface="+mn-ea"/>
                <a:cs typeface="+mn-cs"/>
              </a:defRPr>
            </a:lvl2pPr>
            <a:lvl3pPr marL="1143000" indent="-228600" algn="l" rtl="0" eaLnBrk="0" fontAlgn="base" hangingPunct="0">
              <a:lnSpc>
                <a:spcPct val="110000"/>
              </a:lnSpc>
              <a:spcBef>
                <a:spcPct val="0"/>
              </a:spcBef>
              <a:spcAft>
                <a:spcPct val="50000"/>
              </a:spcAft>
              <a:buClr>
                <a:schemeClr val="tx1"/>
              </a:buClr>
              <a:buChar char="–"/>
              <a:defRPr sz="1600" kern="1200">
                <a:solidFill>
                  <a:schemeClr val="tx1"/>
                </a:solidFill>
                <a:latin typeface="+mn-lt"/>
                <a:ea typeface="+mn-ea"/>
                <a:cs typeface="+mn-cs"/>
              </a:defRPr>
            </a:lvl3pPr>
            <a:lvl4pPr marL="1600200" indent="-228600" algn="l" rtl="0" eaLnBrk="0" fontAlgn="base" hangingPunct="0">
              <a:lnSpc>
                <a:spcPct val="110000"/>
              </a:lnSpc>
              <a:spcBef>
                <a:spcPct val="0"/>
              </a:spcBef>
              <a:spcAft>
                <a:spcPct val="50000"/>
              </a:spcAft>
              <a:buClr>
                <a:schemeClr val="tx1"/>
              </a:buClr>
              <a:buChar char="–"/>
              <a:defRPr sz="1600" kern="1200">
                <a:solidFill>
                  <a:schemeClr val="tx1"/>
                </a:solidFill>
                <a:latin typeface="+mn-lt"/>
                <a:ea typeface="+mn-ea"/>
                <a:cs typeface="+mn-cs"/>
              </a:defRPr>
            </a:lvl4pPr>
            <a:lvl5pPr marL="2057400" indent="-228600" algn="l" rtl="0" eaLnBrk="0" fontAlgn="base" hangingPunct="0">
              <a:lnSpc>
                <a:spcPct val="110000"/>
              </a:lnSpc>
              <a:spcBef>
                <a:spcPct val="0"/>
              </a:spcBef>
              <a:spcAft>
                <a:spcPct val="50000"/>
              </a:spcAft>
              <a:buClr>
                <a:schemeClr val="tx1"/>
              </a:buClr>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eaLnBrk="1" fontAlgn="auto" hangingPunct="1">
              <a:spcBef>
                <a:spcPts val="0"/>
              </a:spcBef>
              <a:spcAft>
                <a:spcPts val="300"/>
              </a:spcAft>
              <a:buClr>
                <a:srgbClr val="004A96"/>
              </a:buClr>
              <a:buNone/>
              <a:defRPr/>
            </a:pPr>
            <a:r>
              <a:rPr lang="en-US" sz="1800" b="1" dirty="0">
                <a:latin typeface="Arial" panose="020B0604020202020204"/>
                <a:cs typeface="Arial" panose="020B0604020202020204" pitchFamily="34" charset="0"/>
              </a:rPr>
              <a:t>Kollicoat</a:t>
            </a:r>
            <a:r>
              <a:rPr lang="en-US" sz="1800" b="1" baseline="30000" dirty="0">
                <a:latin typeface="Arial" panose="020B0604020202020204"/>
                <a:cs typeface="Arial" panose="020B0604020202020204" pitchFamily="34" charset="0"/>
              </a:rPr>
              <a:t>®</a:t>
            </a:r>
            <a:r>
              <a:rPr lang="en-US" sz="1800" b="1" dirty="0">
                <a:latin typeface="Arial" panose="020B0604020202020204"/>
                <a:cs typeface="Arial" panose="020B0604020202020204" pitchFamily="34" charset="0"/>
              </a:rPr>
              <a:t> Smartseal 30 D (aqueous) and Kollicoat</a:t>
            </a:r>
            <a:r>
              <a:rPr lang="en-US" sz="1800" b="1" baseline="30000" dirty="0">
                <a:latin typeface="Arial" panose="020B0604020202020204"/>
                <a:cs typeface="Arial" panose="020B0604020202020204" pitchFamily="34" charset="0"/>
              </a:rPr>
              <a:t>®</a:t>
            </a:r>
            <a:r>
              <a:rPr lang="en-US" sz="1800" b="1" dirty="0">
                <a:latin typeface="Arial" panose="020B0604020202020204"/>
                <a:cs typeface="Arial" panose="020B0604020202020204" pitchFamily="34" charset="0"/>
              </a:rPr>
              <a:t> Smartseal 100 P (organic solvent)</a:t>
            </a:r>
          </a:p>
        </p:txBody>
      </p:sp>
      <p:sp>
        <p:nvSpPr>
          <p:cNvPr id="32" name="Textplatzhalter 2">
            <a:extLst>
              <a:ext uri="{FF2B5EF4-FFF2-40B4-BE49-F238E27FC236}">
                <a16:creationId xmlns:a16="http://schemas.microsoft.com/office/drawing/2014/main" id="{BBB48382-286B-70C8-8CC2-A0ED3013A934}"/>
              </a:ext>
            </a:extLst>
          </p:cNvPr>
          <p:cNvSpPr txBox="1">
            <a:spLocks/>
          </p:cNvSpPr>
          <p:nvPr/>
        </p:nvSpPr>
        <p:spPr bwMode="auto">
          <a:xfrm>
            <a:off x="406801" y="3544742"/>
            <a:ext cx="11416816" cy="281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marL="342900" indent="-342900" algn="l" rtl="0" eaLnBrk="0" fontAlgn="base" hangingPunct="0">
              <a:lnSpc>
                <a:spcPct val="110000"/>
              </a:lnSpc>
              <a:spcBef>
                <a:spcPct val="0"/>
              </a:spcBef>
              <a:spcAft>
                <a:spcPct val="50000"/>
              </a:spcAft>
              <a:buClr>
                <a:schemeClr val="accent1"/>
              </a:buClr>
              <a:buFont typeface="Wingdings" pitchFamily="2" charset="2"/>
              <a:buChar char="n"/>
              <a:defRPr sz="2000" kern="1200">
                <a:solidFill>
                  <a:schemeClr val="tx1"/>
                </a:solidFill>
                <a:latin typeface="+mn-lt"/>
                <a:ea typeface="+mn-ea"/>
                <a:cs typeface="+mn-cs"/>
              </a:defRPr>
            </a:lvl1pPr>
            <a:lvl2pPr marL="742950" indent="-285750" algn="l" rtl="0" eaLnBrk="0" fontAlgn="base" hangingPunct="0">
              <a:lnSpc>
                <a:spcPct val="110000"/>
              </a:lnSpc>
              <a:spcBef>
                <a:spcPct val="0"/>
              </a:spcBef>
              <a:spcAft>
                <a:spcPct val="50000"/>
              </a:spcAft>
              <a:buClr>
                <a:schemeClr val="accent1"/>
              </a:buClr>
              <a:buFont typeface="Wingdings" pitchFamily="2" charset="2"/>
              <a:buChar char="n"/>
              <a:defRPr sz="1800" kern="1200">
                <a:solidFill>
                  <a:schemeClr val="tx1"/>
                </a:solidFill>
                <a:latin typeface="+mn-lt"/>
                <a:ea typeface="+mn-ea"/>
                <a:cs typeface="+mn-cs"/>
              </a:defRPr>
            </a:lvl2pPr>
            <a:lvl3pPr marL="1143000" indent="-228600" algn="l" rtl="0" eaLnBrk="0" fontAlgn="base" hangingPunct="0">
              <a:lnSpc>
                <a:spcPct val="110000"/>
              </a:lnSpc>
              <a:spcBef>
                <a:spcPct val="0"/>
              </a:spcBef>
              <a:spcAft>
                <a:spcPct val="50000"/>
              </a:spcAft>
              <a:buClr>
                <a:schemeClr val="tx1"/>
              </a:buClr>
              <a:buChar char="–"/>
              <a:defRPr sz="1600" kern="1200">
                <a:solidFill>
                  <a:schemeClr val="tx1"/>
                </a:solidFill>
                <a:latin typeface="+mn-lt"/>
                <a:ea typeface="+mn-ea"/>
                <a:cs typeface="+mn-cs"/>
              </a:defRPr>
            </a:lvl3pPr>
            <a:lvl4pPr marL="1600200" indent="-228600" algn="l" rtl="0" eaLnBrk="0" fontAlgn="base" hangingPunct="0">
              <a:lnSpc>
                <a:spcPct val="110000"/>
              </a:lnSpc>
              <a:spcBef>
                <a:spcPct val="0"/>
              </a:spcBef>
              <a:spcAft>
                <a:spcPct val="50000"/>
              </a:spcAft>
              <a:buClr>
                <a:schemeClr val="tx1"/>
              </a:buClr>
              <a:buChar char="–"/>
              <a:defRPr sz="1600" kern="1200">
                <a:solidFill>
                  <a:schemeClr val="tx1"/>
                </a:solidFill>
                <a:latin typeface="+mn-lt"/>
                <a:ea typeface="+mn-ea"/>
                <a:cs typeface="+mn-cs"/>
              </a:defRPr>
            </a:lvl4pPr>
            <a:lvl5pPr marL="2057400" indent="-228600" algn="l" rtl="0" eaLnBrk="0" fontAlgn="base" hangingPunct="0">
              <a:lnSpc>
                <a:spcPct val="110000"/>
              </a:lnSpc>
              <a:spcBef>
                <a:spcPct val="0"/>
              </a:spcBef>
              <a:spcAft>
                <a:spcPct val="50000"/>
              </a:spcAft>
              <a:buClr>
                <a:schemeClr val="tx1"/>
              </a:buClr>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eaLnBrk="1" fontAlgn="auto" hangingPunct="1">
              <a:spcBef>
                <a:spcPts val="0"/>
              </a:spcBef>
              <a:spcAft>
                <a:spcPts val="300"/>
              </a:spcAft>
              <a:buClr>
                <a:srgbClr val="004A96"/>
              </a:buClr>
              <a:buNone/>
              <a:defRPr/>
            </a:pPr>
            <a:r>
              <a:rPr lang="en-US" sz="1800" b="1" dirty="0">
                <a:latin typeface="Arial" panose="020B0604020202020204"/>
                <a:cs typeface="Arial" panose="020B0604020202020204" pitchFamily="34" charset="0"/>
              </a:rPr>
              <a:t>Kollicoat</a:t>
            </a:r>
            <a:r>
              <a:rPr lang="en-US" sz="1800" b="1" baseline="30000" dirty="0">
                <a:latin typeface="Arial" panose="020B0604020202020204"/>
                <a:cs typeface="Arial" panose="020B0604020202020204" pitchFamily="34" charset="0"/>
              </a:rPr>
              <a:t>®</a:t>
            </a:r>
            <a:r>
              <a:rPr lang="en-US" sz="1800" b="1" dirty="0">
                <a:latin typeface="Arial" panose="020B0604020202020204"/>
                <a:cs typeface="Arial" panose="020B0604020202020204" pitchFamily="34" charset="0"/>
              </a:rPr>
              <a:t> Smartseal 100 P (aqueous – pre-neutralized)</a:t>
            </a:r>
          </a:p>
        </p:txBody>
      </p:sp>
    </p:spTree>
    <p:extLst>
      <p:ext uri="{BB962C8B-B14F-4D97-AF65-F5344CB8AC3E}">
        <p14:creationId xmlns:p14="http://schemas.microsoft.com/office/powerpoint/2010/main" val="18620834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3A9C399-479C-4FD5-8D07-DECEB8F4CDEB}"/>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93A9C399-479C-4FD5-8D07-DECEB8F4CDEB}"/>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en-US" sz="2800" dirty="0"/>
              <a:t>Agenda</a:t>
            </a:r>
          </a:p>
        </p:txBody>
      </p:sp>
      <p:sp>
        <p:nvSpPr>
          <p:cNvPr id="8" name="TextBox 7">
            <a:extLst>
              <a:ext uri="{FF2B5EF4-FFF2-40B4-BE49-F238E27FC236}">
                <a16:creationId xmlns:a16="http://schemas.microsoft.com/office/drawing/2014/main" id="{E6F9CC54-7EE2-44C4-8F3F-CE71047396C0}"/>
              </a:ext>
            </a:extLst>
          </p:cNvPr>
          <p:cNvSpPr txBox="1"/>
          <p:nvPr/>
        </p:nvSpPr>
        <p:spPr>
          <a:xfrm>
            <a:off x="492358" y="1475764"/>
            <a:ext cx="6096000" cy="4686924"/>
          </a:xfrm>
          <a:prstGeom prst="rect">
            <a:avLst/>
          </a:prstGeom>
          <a:noFill/>
        </p:spPr>
        <p:txBody>
          <a:bodyPr wrap="square">
            <a:spAutoFit/>
          </a:bodyPr>
          <a:lstStyle/>
          <a:p>
            <a:pPr marL="267891" marR="0" lvl="1" indent="-267891" algn="l" defTabSz="514418" eaLnBrk="1" fontAlgn="base" latinLnBrk="0" hangingPunct="1">
              <a:lnSpc>
                <a:spcPct val="110000"/>
              </a:lnSpc>
              <a:spcBef>
                <a:spcPts val="0"/>
              </a:spcBef>
              <a:spcAft>
                <a:spcPts val="450"/>
              </a:spcAft>
              <a:buClr>
                <a:srgbClr val="C50022"/>
              </a:buClr>
              <a:buSzTx/>
              <a:buFont typeface="Wingdings" panose="05000000000000000000" pitchFamily="2" charset="2"/>
              <a:buChar char="n"/>
              <a:tabLst>
                <a:tab pos="130969" algn="l"/>
              </a:tabLst>
              <a:defRPr/>
            </a:pPr>
            <a:r>
              <a:rPr lang="en-US" sz="1800" dirty="0"/>
              <a:t>Introduction </a:t>
            </a:r>
            <a:endParaRPr lang="en-US" dirty="0"/>
          </a:p>
          <a:p>
            <a:pPr marL="0" marR="0" lvl="1" algn="l" defTabSz="514418" eaLnBrk="1" fontAlgn="base" latinLnBrk="0" hangingPunct="1">
              <a:lnSpc>
                <a:spcPct val="110000"/>
              </a:lnSpc>
              <a:spcBef>
                <a:spcPts val="0"/>
              </a:spcBef>
              <a:spcAft>
                <a:spcPts val="450"/>
              </a:spcAft>
              <a:buClr>
                <a:srgbClr val="C50022"/>
              </a:buClr>
              <a:buSzTx/>
              <a:tabLst>
                <a:tab pos="130969" algn="l"/>
              </a:tabLst>
              <a:defRPr/>
            </a:pPr>
            <a:endParaRPr lang="en-US" sz="1800" dirty="0"/>
          </a:p>
          <a:p>
            <a:pPr marL="267891" marR="0" lvl="1" indent="-267891" algn="l" defTabSz="514418" eaLnBrk="1" fontAlgn="base" latinLnBrk="0" hangingPunct="1">
              <a:lnSpc>
                <a:spcPct val="110000"/>
              </a:lnSpc>
              <a:spcBef>
                <a:spcPts val="0"/>
              </a:spcBef>
              <a:spcAft>
                <a:spcPts val="450"/>
              </a:spcAft>
              <a:buClr>
                <a:srgbClr val="C50022"/>
              </a:buClr>
              <a:buSzTx/>
              <a:buFont typeface="Wingdings" panose="05000000000000000000" pitchFamily="2" charset="2"/>
              <a:buChar char="n"/>
              <a:tabLst>
                <a:tab pos="130969" algn="l"/>
              </a:tabLst>
              <a:defRPr/>
            </a:pPr>
            <a:r>
              <a:rPr lang="en-US" sz="1800" dirty="0"/>
              <a:t>Items to be considered in the Kollicoat</a:t>
            </a:r>
            <a:r>
              <a:rPr lang="en-US" sz="1800" baseline="30000" dirty="0"/>
              <a:t>®</a:t>
            </a:r>
            <a:r>
              <a:rPr lang="en-US" sz="1800" dirty="0"/>
              <a:t> Smartseal coating process </a:t>
            </a:r>
          </a:p>
          <a:p>
            <a:pPr marL="538163" marR="0" lvl="1" indent="-270272" algn="l" defTabSz="514418" eaLnBrk="1" fontAlgn="base" latinLnBrk="0" hangingPunct="1">
              <a:lnSpc>
                <a:spcPct val="110000"/>
              </a:lnSpc>
              <a:spcBef>
                <a:spcPts val="450"/>
              </a:spcBef>
              <a:spcAft>
                <a:spcPts val="450"/>
              </a:spcAft>
              <a:buClr>
                <a:srgbClr val="C50022"/>
              </a:buClr>
              <a:buSzPct val="90000"/>
              <a:buFont typeface="Wingdings 3" panose="05040102010807070707" pitchFamily="18" charset="2"/>
              <a:buChar char=""/>
              <a:tabLst/>
              <a:defRPr/>
            </a:pPr>
            <a:r>
              <a:rPr lang="en-US" dirty="0">
                <a:solidFill>
                  <a:srgbClr val="000000"/>
                </a:solidFill>
                <a:latin typeface="Arial"/>
                <a:cs typeface="Arial"/>
              </a:rPr>
              <a:t>Plasticizer</a:t>
            </a:r>
          </a:p>
          <a:p>
            <a:pPr marL="538163" marR="0" lvl="1" indent="-270272" algn="l" defTabSz="514418" eaLnBrk="1" fontAlgn="base" latinLnBrk="0" hangingPunct="1">
              <a:lnSpc>
                <a:spcPct val="110000"/>
              </a:lnSpc>
              <a:spcBef>
                <a:spcPts val="450"/>
              </a:spcBef>
              <a:spcAft>
                <a:spcPts val="450"/>
              </a:spcAft>
              <a:buClr>
                <a:srgbClr val="C50022"/>
              </a:buClr>
              <a:buSzPct val="90000"/>
              <a:buFont typeface="Wingdings 3" panose="05040102010807070707" pitchFamily="18" charset="2"/>
              <a:buChar char=""/>
              <a:tabLst/>
              <a:defRPr/>
            </a:pPr>
            <a:r>
              <a:rPr kumimoji="0" lang="en-US" sz="1800" b="0" i="0" u="none" strike="noStrike" kern="1200" cap="none" spc="0" normalizeH="0" baseline="0" dirty="0">
                <a:ln>
                  <a:noFill/>
                </a:ln>
                <a:solidFill>
                  <a:srgbClr val="000000"/>
                </a:solidFill>
                <a:effectLst/>
                <a:uLnTx/>
                <a:uFillTx/>
                <a:latin typeface="Arial"/>
                <a:cs typeface="Arial"/>
              </a:rPr>
              <a:t>Anti-tacking agent</a:t>
            </a:r>
          </a:p>
          <a:p>
            <a:pPr marL="538163" marR="0" lvl="1" indent="-270272" algn="l" defTabSz="514418" eaLnBrk="1" fontAlgn="base" latinLnBrk="0" hangingPunct="1">
              <a:lnSpc>
                <a:spcPct val="110000"/>
              </a:lnSpc>
              <a:spcBef>
                <a:spcPts val="450"/>
              </a:spcBef>
              <a:spcAft>
                <a:spcPts val="450"/>
              </a:spcAft>
              <a:buClr>
                <a:srgbClr val="C50022"/>
              </a:buClr>
              <a:buSzPct val="90000"/>
              <a:buFont typeface="Wingdings 3" panose="05040102010807070707" pitchFamily="18" charset="2"/>
              <a:buChar char=""/>
              <a:tabLst/>
              <a:defRPr/>
            </a:pPr>
            <a:r>
              <a:rPr kumimoji="0" lang="en-US" sz="1800" b="0" i="0" u="none" strike="noStrike" kern="1200" cap="none" spc="0" normalizeH="0" baseline="0" dirty="0">
                <a:ln>
                  <a:noFill/>
                </a:ln>
                <a:solidFill>
                  <a:srgbClr val="000000"/>
                </a:solidFill>
                <a:effectLst/>
                <a:uLnTx/>
                <a:uFillTx/>
                <a:latin typeface="Arial"/>
                <a:cs typeface="Arial"/>
              </a:rPr>
              <a:t>Curing step</a:t>
            </a:r>
          </a:p>
          <a:p>
            <a:pPr marL="538163" marR="0" lvl="1" indent="-270272" algn="l" defTabSz="514418" eaLnBrk="1" fontAlgn="base" latinLnBrk="0" hangingPunct="1">
              <a:lnSpc>
                <a:spcPct val="110000"/>
              </a:lnSpc>
              <a:spcBef>
                <a:spcPts val="450"/>
              </a:spcBef>
              <a:spcAft>
                <a:spcPts val="450"/>
              </a:spcAft>
              <a:buClr>
                <a:srgbClr val="C50022"/>
              </a:buClr>
              <a:buSzPct val="90000"/>
              <a:buFont typeface="Wingdings 3" panose="05040102010807070707" pitchFamily="18" charset="2"/>
              <a:buChar char=""/>
              <a:tabLst/>
              <a:defRPr/>
            </a:pPr>
            <a:r>
              <a:rPr lang="en-US" dirty="0">
                <a:solidFill>
                  <a:srgbClr val="000000"/>
                </a:solidFill>
                <a:latin typeface="Arial"/>
                <a:cs typeface="Arial"/>
              </a:rPr>
              <a:t>Decision tree </a:t>
            </a:r>
            <a:endParaRPr kumimoji="0" lang="en-US" sz="1800" b="0" i="0" u="none" strike="noStrike" kern="1200" cap="none" spc="0" normalizeH="0" baseline="0" dirty="0">
              <a:ln>
                <a:noFill/>
              </a:ln>
              <a:solidFill>
                <a:srgbClr val="000000"/>
              </a:solidFill>
              <a:effectLst/>
              <a:uLnTx/>
              <a:uFillTx/>
              <a:latin typeface="Arial"/>
              <a:cs typeface="Arial"/>
            </a:endParaRPr>
          </a:p>
          <a:p>
            <a:pPr marL="538163" marR="0" lvl="1" indent="-270272" algn="l" defTabSz="514418" eaLnBrk="1" fontAlgn="base" latinLnBrk="0" hangingPunct="1">
              <a:lnSpc>
                <a:spcPct val="110000"/>
              </a:lnSpc>
              <a:spcBef>
                <a:spcPts val="450"/>
              </a:spcBef>
              <a:spcAft>
                <a:spcPts val="450"/>
              </a:spcAft>
              <a:buClr>
                <a:srgbClr val="C50022"/>
              </a:buClr>
              <a:buSzPct val="90000"/>
              <a:buFont typeface="Wingdings 3" panose="05040102010807070707" pitchFamily="18" charset="2"/>
              <a:buChar char=""/>
              <a:tabLst/>
              <a:defRPr/>
            </a:pPr>
            <a:r>
              <a:rPr lang="en-US" dirty="0">
                <a:solidFill>
                  <a:srgbClr val="000000"/>
                </a:solidFill>
                <a:latin typeface="Arial"/>
                <a:cs typeface="Arial"/>
              </a:rPr>
              <a:t>Coating process</a:t>
            </a:r>
          </a:p>
          <a:p>
            <a:pPr marL="267891" marR="0" lvl="1" algn="l" defTabSz="514418" eaLnBrk="1" fontAlgn="base" latinLnBrk="0" hangingPunct="1">
              <a:lnSpc>
                <a:spcPct val="110000"/>
              </a:lnSpc>
              <a:spcBef>
                <a:spcPts val="450"/>
              </a:spcBef>
              <a:spcAft>
                <a:spcPts val="450"/>
              </a:spcAft>
              <a:buClr>
                <a:srgbClr val="C50022"/>
              </a:buClr>
              <a:buSzPct val="90000"/>
              <a:tabLst/>
              <a:defRPr/>
            </a:pPr>
            <a:endParaRPr lang="en-US" dirty="0">
              <a:solidFill>
                <a:srgbClr val="000000"/>
              </a:solidFill>
              <a:latin typeface="Arial"/>
              <a:cs typeface="Arial"/>
            </a:endParaRPr>
          </a:p>
          <a:p>
            <a:pPr marL="267891" marR="0" lvl="1" indent="-267891" algn="l" defTabSz="514418" rtl="0" eaLnBrk="1" fontAlgn="base" latinLnBrk="0" hangingPunct="1">
              <a:lnSpc>
                <a:spcPct val="110000"/>
              </a:lnSpc>
              <a:spcBef>
                <a:spcPts val="0"/>
              </a:spcBef>
              <a:spcAft>
                <a:spcPts val="450"/>
              </a:spcAft>
              <a:buClr>
                <a:srgbClr val="C50022"/>
              </a:buClr>
              <a:buSzTx/>
              <a:buFont typeface="Wingdings" panose="05000000000000000000" pitchFamily="2" charset="2"/>
              <a:buChar char="n"/>
              <a:tabLst>
                <a:tab pos="130969" algn="l"/>
              </a:tabLst>
              <a:defRPr/>
            </a:pPr>
            <a:r>
              <a:rPr kumimoji="0" lang="en-US" sz="1800" b="0" i="0" u="none" strike="noStrike" kern="1200" cap="none" spc="0" normalizeH="0" baseline="0" noProof="0" dirty="0">
                <a:ln>
                  <a:noFill/>
                </a:ln>
                <a:solidFill>
                  <a:srgbClr val="000000"/>
                </a:solidFill>
                <a:effectLst/>
                <a:uLnTx/>
                <a:uFillTx/>
                <a:latin typeface="Arial" panose="020B0604020202020204"/>
                <a:cs typeface="Arial"/>
              </a:rPr>
              <a:t>Case Study: Vardenafil pellets coated with Kollicoat</a:t>
            </a:r>
            <a:r>
              <a:rPr lang="en-US" sz="1800" baseline="30000" dirty="0"/>
              <a:t>®</a:t>
            </a:r>
            <a:r>
              <a:rPr kumimoji="0" lang="en-US" sz="1800" b="0" i="0" u="none" strike="noStrike" kern="1200" cap="none" spc="0" normalizeH="0" baseline="0" noProof="0" dirty="0">
                <a:ln>
                  <a:noFill/>
                </a:ln>
                <a:solidFill>
                  <a:srgbClr val="000000"/>
                </a:solidFill>
                <a:effectLst/>
                <a:uLnTx/>
                <a:uFillTx/>
                <a:latin typeface="Arial" panose="020B0604020202020204"/>
                <a:cs typeface="Arial"/>
              </a:rPr>
              <a:t> Smartseal 30 D</a:t>
            </a:r>
            <a:endParaRPr lang="en-US" dirty="0">
              <a:solidFill>
                <a:srgbClr val="000000"/>
              </a:solidFill>
              <a:latin typeface="Arial"/>
              <a:cs typeface="Arial"/>
            </a:endParaRPr>
          </a:p>
        </p:txBody>
      </p:sp>
      <p:sp>
        <p:nvSpPr>
          <p:cNvPr id="10" name="Slide Number Placeholder 9">
            <a:extLst>
              <a:ext uri="{FF2B5EF4-FFF2-40B4-BE49-F238E27FC236}">
                <a16:creationId xmlns:a16="http://schemas.microsoft.com/office/drawing/2014/main" id="{C9EF0AB2-5683-43B7-B92E-9A505EA6B63C}"/>
              </a:ext>
            </a:extLst>
          </p:cNvPr>
          <p:cNvSpPr>
            <a:spLocks noGrp="1"/>
          </p:cNvSpPr>
          <p:nvPr>
            <p:ph type="sldNum" sz="quarter" idx="4"/>
          </p:nvPr>
        </p:nvSpPr>
        <p:spPr>
          <a:xfrm>
            <a:off x="300225" y="6595627"/>
            <a:ext cx="384267" cy="151200"/>
          </a:xfrm>
          <a:prstGeom prst="rect">
            <a:avLst/>
          </a:prstGeom>
        </p:spPr>
        <p:txBody>
          <a:bodyPr lIns="0" tIns="0" rIns="0" bIns="0"/>
          <a:lstStyle>
            <a:defPPr>
              <a:defRPr lang="de-DE"/>
            </a:defPPr>
            <a:lvl1pPr marL="0" algn="l" defTabSz="914400" rtl="0" eaLnBrk="1" latinLnBrk="0" hangingPunct="1">
              <a:defRPr sz="506"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lang="en-US" sz="800" smtClean="0"/>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800" b="1" i="0" u="none" strike="noStrike" kern="1200" cap="none" spc="0" normalizeH="0" baseline="0" noProof="0" dirty="0">
              <a:ln>
                <a:noFill/>
              </a:ln>
              <a:solidFill>
                <a:srgbClr val="000000"/>
              </a:solidFill>
              <a:effectLst/>
              <a:uLnTx/>
              <a:uFillTx/>
              <a:latin typeface="Arial"/>
              <a:cs typeface="Arial"/>
            </a:endParaRPr>
          </a:p>
        </p:txBody>
      </p:sp>
      <p:sp>
        <p:nvSpPr>
          <p:cNvPr id="4" name="Footer Placeholder 3">
            <a:extLst>
              <a:ext uri="{FF2B5EF4-FFF2-40B4-BE49-F238E27FC236}">
                <a16:creationId xmlns:a16="http://schemas.microsoft.com/office/drawing/2014/main" id="{4E4B89B7-E352-4D97-D729-63AC16BF8B70}"/>
              </a:ext>
            </a:extLst>
          </p:cNvPr>
          <p:cNvSpPr>
            <a:spLocks noGrp="1"/>
          </p:cNvSpPr>
          <p:nvPr>
            <p:ph type="ftr" sz="quarter" idx="3"/>
          </p:nvPr>
        </p:nvSpPr>
        <p:spPr>
          <a:xfrm>
            <a:off x="1441361" y="6603021"/>
            <a:ext cx="3364707" cy="167933"/>
          </a:xfrm>
          <a:prstGeom prst="rect">
            <a:avLst/>
          </a:prstGeom>
        </p:spPr>
        <p:txBody>
          <a:bodyPr lIns="0" tIns="0" rIns="0" bIns="0"/>
          <a:lstStyle>
            <a:defPPr>
              <a:defRPr lang="de-DE"/>
            </a:defPPr>
            <a:lvl1pPr marL="0" algn="l" defTabSz="914400" rtl="0" eaLnBrk="1" latinLnBrk="0" hangingPunct="1">
              <a:defRPr sz="506" kern="120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pic>
        <p:nvPicPr>
          <p:cNvPr id="3" name="Picture 2">
            <a:extLst>
              <a:ext uri="{FF2B5EF4-FFF2-40B4-BE49-F238E27FC236}">
                <a16:creationId xmlns:a16="http://schemas.microsoft.com/office/drawing/2014/main" id="{BA540368-8E95-5E95-38D3-4ECA48690FE5}"/>
              </a:ext>
            </a:extLst>
          </p:cNvPr>
          <p:cNvPicPr>
            <a:picLocks noChangeAspect="1"/>
          </p:cNvPicPr>
          <p:nvPr/>
        </p:nvPicPr>
        <p:blipFill>
          <a:blip r:embed="rId6"/>
          <a:stretch>
            <a:fillRect/>
          </a:stretch>
        </p:blipFill>
        <p:spPr>
          <a:xfrm>
            <a:off x="6264787" y="971458"/>
            <a:ext cx="5860026" cy="4373217"/>
          </a:xfrm>
          <a:prstGeom prst="rect">
            <a:avLst/>
          </a:prstGeom>
        </p:spPr>
      </p:pic>
    </p:spTree>
    <p:extLst>
      <p:ext uri="{BB962C8B-B14F-4D97-AF65-F5344CB8AC3E}">
        <p14:creationId xmlns:p14="http://schemas.microsoft.com/office/powerpoint/2010/main" val="32136957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96C0E511-F38F-457D-A27F-C08777AE8356}"/>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553" imgH="553" progId="TCLayout.ActiveDocument.1">
                  <p:embed/>
                </p:oleObj>
              </mc:Choice>
              <mc:Fallback>
                <p:oleObj name="think-cell Slide" r:id="rId5" imgW="553" imgH="553" progId="TCLayout.ActiveDocument.1">
                  <p:embed/>
                  <p:pic>
                    <p:nvPicPr>
                      <p:cNvPr id="17" name="Objekt 16" hidden="1">
                        <a:extLst>
                          <a:ext uri="{FF2B5EF4-FFF2-40B4-BE49-F238E27FC236}">
                            <a16:creationId xmlns:a16="http://schemas.microsoft.com/office/drawing/2014/main" id="{96C0E511-F38F-457D-A27F-C08777AE8356}"/>
                          </a:ext>
                        </a:extLst>
                      </p:cNvPr>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0874468-05BE-48FC-910B-4C4BC7D0C101}"/>
              </a:ext>
            </a:extLst>
          </p:cNvPr>
          <p:cNvSpPr/>
          <p:nvPr>
            <p:custDataLst>
              <p:tags r:id="rId2"/>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lang="en-US" sz="28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el 2">
            <a:extLst>
              <a:ext uri="{FF2B5EF4-FFF2-40B4-BE49-F238E27FC236}">
                <a16:creationId xmlns:a16="http://schemas.microsoft.com/office/drawing/2014/main" id="{DADBC550-C32C-44CF-98CF-86E220087C06}"/>
              </a:ext>
            </a:extLst>
          </p:cNvPr>
          <p:cNvSpPr>
            <a:spLocks noGrp="1"/>
          </p:cNvSpPr>
          <p:nvPr>
            <p:ph type="title"/>
          </p:nvPr>
        </p:nvSpPr>
        <p:spPr>
          <a:xfrm>
            <a:off x="220839" y="125206"/>
            <a:ext cx="11737914" cy="853200"/>
          </a:xfrm>
        </p:spPr>
        <p:txBody>
          <a:bodyPr vert="horz"/>
          <a:lstStyle/>
          <a:p>
            <a:r>
              <a:rPr lang="en-US" altLang="de-DE" dirty="0">
                <a:latin typeface="Arial" charset="0"/>
              </a:rPr>
              <a:t>Application guide Kollicoat</a:t>
            </a:r>
            <a:r>
              <a:rPr lang="en-US" altLang="de-DE" baseline="30000" dirty="0">
                <a:latin typeface="Arial" charset="0"/>
              </a:rPr>
              <a:t>®</a:t>
            </a:r>
            <a:r>
              <a:rPr lang="en-US" altLang="de-DE" dirty="0">
                <a:latin typeface="Arial" charset="0"/>
              </a:rPr>
              <a:t> Smartseal 30 P: Preparation of the aqueous coating dispersion </a:t>
            </a:r>
            <a:br>
              <a:rPr lang="en-US" sz="2000" dirty="0"/>
            </a:br>
            <a:endParaRPr lang="en-US" sz="2000" dirty="0"/>
          </a:p>
        </p:txBody>
      </p:sp>
      <p:sp>
        <p:nvSpPr>
          <p:cNvPr id="30" name="Textplatzhalter 2">
            <a:extLst>
              <a:ext uri="{FF2B5EF4-FFF2-40B4-BE49-F238E27FC236}">
                <a16:creationId xmlns:a16="http://schemas.microsoft.com/office/drawing/2014/main" id="{D23C72FB-F9CD-4149-ABB9-0304AAB1E673}"/>
              </a:ext>
            </a:extLst>
          </p:cNvPr>
          <p:cNvSpPr txBox="1">
            <a:spLocks/>
          </p:cNvSpPr>
          <p:nvPr/>
        </p:nvSpPr>
        <p:spPr bwMode="auto">
          <a:xfrm>
            <a:off x="1005840" y="1503501"/>
            <a:ext cx="10312400" cy="281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marL="342900" indent="-342900" algn="l" rtl="0" eaLnBrk="0" fontAlgn="base" hangingPunct="0">
              <a:lnSpc>
                <a:spcPct val="110000"/>
              </a:lnSpc>
              <a:spcBef>
                <a:spcPct val="0"/>
              </a:spcBef>
              <a:spcAft>
                <a:spcPct val="50000"/>
              </a:spcAft>
              <a:buClr>
                <a:schemeClr val="accent1"/>
              </a:buClr>
              <a:buFont typeface="Wingdings" pitchFamily="2" charset="2"/>
              <a:buChar char="n"/>
              <a:defRPr sz="2000" kern="1200">
                <a:solidFill>
                  <a:schemeClr val="tx1"/>
                </a:solidFill>
                <a:latin typeface="+mn-lt"/>
                <a:ea typeface="+mn-ea"/>
                <a:cs typeface="+mn-cs"/>
              </a:defRPr>
            </a:lvl1pPr>
            <a:lvl2pPr marL="742950" indent="-285750" algn="l" rtl="0" eaLnBrk="0" fontAlgn="base" hangingPunct="0">
              <a:lnSpc>
                <a:spcPct val="110000"/>
              </a:lnSpc>
              <a:spcBef>
                <a:spcPct val="0"/>
              </a:spcBef>
              <a:spcAft>
                <a:spcPct val="50000"/>
              </a:spcAft>
              <a:buClr>
                <a:schemeClr val="accent1"/>
              </a:buClr>
              <a:buFont typeface="Wingdings" pitchFamily="2" charset="2"/>
              <a:buChar char="n"/>
              <a:defRPr sz="1800" kern="1200">
                <a:solidFill>
                  <a:schemeClr val="tx1"/>
                </a:solidFill>
                <a:latin typeface="+mn-lt"/>
                <a:ea typeface="+mn-ea"/>
                <a:cs typeface="+mn-cs"/>
              </a:defRPr>
            </a:lvl2pPr>
            <a:lvl3pPr marL="1143000" indent="-228600" algn="l" rtl="0" eaLnBrk="0" fontAlgn="base" hangingPunct="0">
              <a:lnSpc>
                <a:spcPct val="110000"/>
              </a:lnSpc>
              <a:spcBef>
                <a:spcPct val="0"/>
              </a:spcBef>
              <a:spcAft>
                <a:spcPct val="50000"/>
              </a:spcAft>
              <a:buClr>
                <a:schemeClr val="tx1"/>
              </a:buClr>
              <a:buChar char="–"/>
              <a:defRPr sz="1600" kern="1200">
                <a:solidFill>
                  <a:schemeClr val="tx1"/>
                </a:solidFill>
                <a:latin typeface="+mn-lt"/>
                <a:ea typeface="+mn-ea"/>
                <a:cs typeface="+mn-cs"/>
              </a:defRPr>
            </a:lvl3pPr>
            <a:lvl4pPr marL="1600200" indent="-228600" algn="l" rtl="0" eaLnBrk="0" fontAlgn="base" hangingPunct="0">
              <a:lnSpc>
                <a:spcPct val="110000"/>
              </a:lnSpc>
              <a:spcBef>
                <a:spcPct val="0"/>
              </a:spcBef>
              <a:spcAft>
                <a:spcPct val="50000"/>
              </a:spcAft>
              <a:buClr>
                <a:schemeClr val="tx1"/>
              </a:buClr>
              <a:buChar char="–"/>
              <a:defRPr sz="1600" kern="1200">
                <a:solidFill>
                  <a:schemeClr val="tx1"/>
                </a:solidFill>
                <a:latin typeface="+mn-lt"/>
                <a:ea typeface="+mn-ea"/>
                <a:cs typeface="+mn-cs"/>
              </a:defRPr>
            </a:lvl4pPr>
            <a:lvl5pPr marL="2057400" indent="-228600" algn="l" rtl="0" eaLnBrk="0" fontAlgn="base" hangingPunct="0">
              <a:lnSpc>
                <a:spcPct val="110000"/>
              </a:lnSpc>
              <a:spcBef>
                <a:spcPct val="0"/>
              </a:spcBef>
              <a:spcAft>
                <a:spcPct val="50000"/>
              </a:spcAft>
              <a:buClr>
                <a:schemeClr val="tx1"/>
              </a:buClr>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eaLnBrk="1" fontAlgn="auto" hangingPunct="1">
              <a:spcBef>
                <a:spcPts val="0"/>
              </a:spcBef>
              <a:spcAft>
                <a:spcPts val="300"/>
              </a:spcAft>
              <a:buClr>
                <a:srgbClr val="004A96"/>
              </a:buClr>
              <a:buNone/>
              <a:defRPr/>
            </a:pPr>
            <a:r>
              <a:rPr lang="en-US" sz="1800" b="1" dirty="0">
                <a:latin typeface="Arial" panose="020B0604020202020204"/>
                <a:cs typeface="Arial" panose="020B0604020202020204" pitchFamily="34" charset="0"/>
              </a:rPr>
              <a:t>Aqueous dispersion - (20 % solids content)</a:t>
            </a:r>
          </a:p>
        </p:txBody>
      </p:sp>
      <p:sp>
        <p:nvSpPr>
          <p:cNvPr id="256" name="Text Box 178">
            <a:extLst>
              <a:ext uri="{FF2B5EF4-FFF2-40B4-BE49-F238E27FC236}">
                <a16:creationId xmlns:a16="http://schemas.microsoft.com/office/drawing/2014/main" id="{107A7E7D-B768-4746-B6E9-1F5C3DC1FA79}"/>
              </a:ext>
            </a:extLst>
          </p:cNvPr>
          <p:cNvSpPr txBox="1">
            <a:spLocks noChangeArrowheads="1"/>
          </p:cNvSpPr>
          <p:nvPr/>
        </p:nvSpPr>
        <p:spPr bwMode="auto">
          <a:xfrm>
            <a:off x="1097851" y="4799474"/>
            <a:ext cx="1691788"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defRPr/>
            </a:pPr>
            <a:r>
              <a:rPr lang="en-US" altLang="de-DE" sz="1200" dirty="0">
                <a:solidFill>
                  <a:srgbClr val="000000"/>
                </a:solidFill>
                <a:latin typeface="Arial" panose="020B0604020202020204"/>
                <a:cs typeface="Arial"/>
              </a:rPr>
              <a:t>Dissolve the antioxidant in the plasticizer. Elevated temperatures (~50°C)</a:t>
            </a:r>
          </a:p>
          <a:p>
            <a:pPr>
              <a:defRPr/>
            </a:pPr>
            <a:r>
              <a:rPr lang="en-US" altLang="de-DE" sz="1200" dirty="0">
                <a:solidFill>
                  <a:srgbClr val="000000"/>
                </a:solidFill>
                <a:latin typeface="Arial" panose="020B0604020202020204"/>
                <a:cs typeface="Arial"/>
              </a:rPr>
              <a:t>speed up the process. </a:t>
            </a:r>
          </a:p>
        </p:txBody>
      </p:sp>
      <p:sp>
        <p:nvSpPr>
          <p:cNvPr id="258" name="Text Box 180">
            <a:extLst>
              <a:ext uri="{FF2B5EF4-FFF2-40B4-BE49-F238E27FC236}">
                <a16:creationId xmlns:a16="http://schemas.microsoft.com/office/drawing/2014/main" id="{84B59A0C-AD98-4AA0-807B-473F044F0C54}"/>
              </a:ext>
            </a:extLst>
          </p:cNvPr>
          <p:cNvSpPr txBox="1">
            <a:spLocks noChangeArrowheads="1"/>
          </p:cNvSpPr>
          <p:nvPr/>
        </p:nvSpPr>
        <p:spPr bwMode="auto">
          <a:xfrm>
            <a:off x="8892194" y="4799474"/>
            <a:ext cx="2349923"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defRPr/>
            </a:pPr>
            <a:r>
              <a:rPr lang="en-US" altLang="de-DE" sz="1200" dirty="0">
                <a:solidFill>
                  <a:srgbClr val="000000"/>
                </a:solidFill>
                <a:latin typeface="Arial" panose="020B0604020202020204"/>
                <a:cs typeface="Arial"/>
                <a:sym typeface="Wingdings" panose="05000000000000000000" pitchFamily="2" charset="2"/>
              </a:rPr>
              <a:t>Add the anti-tacking suspension (3) to the Kollicoat</a:t>
            </a:r>
            <a:r>
              <a:rPr lang="en-US" altLang="de-DE" sz="1200" baseline="30000" dirty="0">
                <a:solidFill>
                  <a:srgbClr val="000000"/>
                </a:solidFill>
                <a:latin typeface="Arial" panose="020B0604020202020204"/>
                <a:cs typeface="Arial"/>
                <a:sym typeface="Wingdings" panose="05000000000000000000" pitchFamily="2" charset="2"/>
              </a:rPr>
              <a:t>®</a:t>
            </a:r>
            <a:r>
              <a:rPr lang="en-US" altLang="de-DE" sz="1200" dirty="0">
                <a:solidFill>
                  <a:srgbClr val="000000"/>
                </a:solidFill>
                <a:latin typeface="Arial" panose="020B0604020202020204"/>
                <a:cs typeface="Arial"/>
                <a:sym typeface="Wingdings" panose="05000000000000000000" pitchFamily="2" charset="2"/>
              </a:rPr>
              <a:t> Smartseal 30 D dispersion in the main vessel (2). Stir for at least 1 hour.</a:t>
            </a:r>
          </a:p>
        </p:txBody>
      </p:sp>
      <p:sp>
        <p:nvSpPr>
          <p:cNvPr id="260" name="Text Box 178">
            <a:extLst>
              <a:ext uri="{FF2B5EF4-FFF2-40B4-BE49-F238E27FC236}">
                <a16:creationId xmlns:a16="http://schemas.microsoft.com/office/drawing/2014/main" id="{973E6AA6-2EF5-4A6F-A12A-14036F7A3E5A}"/>
              </a:ext>
            </a:extLst>
          </p:cNvPr>
          <p:cNvSpPr txBox="1">
            <a:spLocks noChangeArrowheads="1"/>
          </p:cNvSpPr>
          <p:nvPr/>
        </p:nvSpPr>
        <p:spPr bwMode="auto">
          <a:xfrm>
            <a:off x="2947356" y="4834802"/>
            <a:ext cx="1785411"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defRPr/>
            </a:pPr>
            <a:r>
              <a:rPr lang="en-US" altLang="de-DE" sz="1200" dirty="0">
                <a:solidFill>
                  <a:srgbClr val="000000"/>
                </a:solidFill>
                <a:latin typeface="Arial" panose="020B0604020202020204"/>
                <a:cs typeface="Arial"/>
              </a:rPr>
              <a:t>Add a part of water to the main vessel then  add the plasticizer + antioxidant solution. Stir for 5 minutes. </a:t>
            </a:r>
          </a:p>
        </p:txBody>
      </p:sp>
      <p:sp>
        <p:nvSpPr>
          <p:cNvPr id="261" name="Text Box 178">
            <a:extLst>
              <a:ext uri="{FF2B5EF4-FFF2-40B4-BE49-F238E27FC236}">
                <a16:creationId xmlns:a16="http://schemas.microsoft.com/office/drawing/2014/main" id="{4568B675-04E3-48FF-9F9C-B93D19A0A9FF}"/>
              </a:ext>
            </a:extLst>
          </p:cNvPr>
          <p:cNvSpPr txBox="1">
            <a:spLocks noChangeArrowheads="1"/>
          </p:cNvSpPr>
          <p:nvPr/>
        </p:nvSpPr>
        <p:spPr bwMode="auto">
          <a:xfrm>
            <a:off x="4839781" y="4834802"/>
            <a:ext cx="1892425"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defRPr/>
            </a:pPr>
            <a:r>
              <a:rPr lang="en-US" altLang="de-DE" sz="1200" dirty="0">
                <a:solidFill>
                  <a:srgbClr val="000000"/>
                </a:solidFill>
                <a:latin typeface="Arial" panose="020B0604020202020204"/>
                <a:cs typeface="Arial"/>
              </a:rPr>
              <a:t>Add the </a:t>
            </a:r>
            <a:r>
              <a:rPr lang="en-US" altLang="de-DE" sz="1200" dirty="0">
                <a:solidFill>
                  <a:srgbClr val="000000"/>
                </a:solidFill>
                <a:latin typeface="Arial" panose="020B0604020202020204"/>
                <a:cs typeface="Arial"/>
                <a:sym typeface="Wingdings" panose="05000000000000000000" pitchFamily="2" charset="2"/>
              </a:rPr>
              <a:t>Kollicoat</a:t>
            </a:r>
            <a:r>
              <a:rPr lang="en-US" altLang="de-DE" sz="1200" baseline="30000" dirty="0">
                <a:solidFill>
                  <a:srgbClr val="000000"/>
                </a:solidFill>
                <a:latin typeface="Arial" panose="020B0604020202020204"/>
                <a:cs typeface="Arial"/>
                <a:sym typeface="Wingdings" panose="05000000000000000000" pitchFamily="2" charset="2"/>
              </a:rPr>
              <a:t>®</a:t>
            </a:r>
            <a:r>
              <a:rPr lang="en-US" altLang="de-DE" sz="1200" dirty="0">
                <a:solidFill>
                  <a:srgbClr val="000000"/>
                </a:solidFill>
                <a:latin typeface="Arial" panose="020B0604020202020204"/>
                <a:cs typeface="Arial"/>
                <a:sym typeface="Wingdings" panose="05000000000000000000" pitchFamily="2" charset="2"/>
              </a:rPr>
              <a:t> Smartseal 30 D in the main vessel under stirring. </a:t>
            </a:r>
            <a:endParaRPr lang="en-US" altLang="de-DE" sz="1200" dirty="0">
              <a:solidFill>
                <a:srgbClr val="000000"/>
              </a:solidFill>
              <a:latin typeface="Arial" panose="020B0604020202020204"/>
              <a:cs typeface="Arial"/>
            </a:endParaRPr>
          </a:p>
        </p:txBody>
      </p:sp>
      <p:sp>
        <p:nvSpPr>
          <p:cNvPr id="262" name="Text Box 178">
            <a:extLst>
              <a:ext uri="{FF2B5EF4-FFF2-40B4-BE49-F238E27FC236}">
                <a16:creationId xmlns:a16="http://schemas.microsoft.com/office/drawing/2014/main" id="{D44FF6F9-B22E-4AB5-937F-727097B58E40}"/>
              </a:ext>
            </a:extLst>
          </p:cNvPr>
          <p:cNvSpPr txBox="1">
            <a:spLocks noChangeArrowheads="1"/>
          </p:cNvSpPr>
          <p:nvPr/>
        </p:nvSpPr>
        <p:spPr bwMode="auto">
          <a:xfrm>
            <a:off x="6839221" y="4834802"/>
            <a:ext cx="194595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defRPr/>
            </a:pPr>
            <a:r>
              <a:rPr lang="en-US" altLang="de-DE" sz="1200" dirty="0">
                <a:solidFill>
                  <a:srgbClr val="000000"/>
                </a:solidFill>
                <a:latin typeface="Arial" panose="020B0604020202020204"/>
                <a:cs typeface="Arial"/>
              </a:rPr>
              <a:t>Disperse the anti-tacking agent in water with a high shear mixer for 10 minutes. </a:t>
            </a:r>
          </a:p>
        </p:txBody>
      </p:sp>
      <p:sp>
        <p:nvSpPr>
          <p:cNvPr id="8" name="Slide Number Placeholder 2">
            <a:extLst>
              <a:ext uri="{FF2B5EF4-FFF2-40B4-BE49-F238E27FC236}">
                <a16:creationId xmlns:a16="http://schemas.microsoft.com/office/drawing/2014/main" id="{5A6AA7CF-E012-DF8A-44A5-72E26F21C5FE}"/>
              </a:ext>
            </a:extLst>
          </p:cNvPr>
          <p:cNvSpPr>
            <a:spLocks noGrp="1"/>
          </p:cNvSpPr>
          <p:nvPr>
            <p:ph type="sldNum" sz="quarter" idx="4"/>
          </p:nvPr>
        </p:nvSpPr>
        <p:spPr>
          <a:xfrm>
            <a:off x="227043" y="6514798"/>
            <a:ext cx="384267" cy="151200"/>
          </a:xfrm>
          <a:prstGeom prst="rect">
            <a:avLst/>
          </a:prstGeom>
        </p:spPr>
        <p:txBody>
          <a:bodyPr lIns="0" tIns="0" rIns="0" bIns="0"/>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lang="en-US" smtClean="0"/>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US" sz="506" b="1" i="0" u="none" strike="noStrike" kern="1200" cap="none" spc="0" normalizeH="0" baseline="0" noProof="0" dirty="0">
              <a:ln>
                <a:noFill/>
              </a:ln>
              <a:solidFill>
                <a:srgbClr val="000000"/>
              </a:solidFill>
              <a:effectLst/>
              <a:uLnTx/>
              <a:uFillTx/>
              <a:latin typeface="Arial"/>
              <a:cs typeface="Arial"/>
            </a:endParaRPr>
          </a:p>
        </p:txBody>
      </p:sp>
      <p:sp>
        <p:nvSpPr>
          <p:cNvPr id="9" name="Footer Placeholder 39">
            <a:extLst>
              <a:ext uri="{FF2B5EF4-FFF2-40B4-BE49-F238E27FC236}">
                <a16:creationId xmlns:a16="http://schemas.microsoft.com/office/drawing/2014/main" id="{5BCFAAEF-B7AE-EC64-2E0B-76BE90E9E25F}"/>
              </a:ext>
            </a:extLst>
          </p:cNvPr>
          <p:cNvSpPr>
            <a:spLocks noGrp="1"/>
          </p:cNvSpPr>
          <p:nvPr>
            <p:ph type="ftr" sz="quarter" idx="3"/>
          </p:nvPr>
        </p:nvSpPr>
        <p:spPr>
          <a:xfrm>
            <a:off x="1368179" y="6516111"/>
            <a:ext cx="3364707" cy="167933"/>
          </a:xfrm>
          <a:prstGeom prst="rect">
            <a:avLst/>
          </a:prstGeom>
        </p:spPr>
        <p:txBody>
          <a:bodyPr lIns="0" tIns="0" rIns="0" bIns="0"/>
          <a:lstStyle>
            <a:defPPr>
              <a:defRPr lang="de-DE"/>
            </a:defPPr>
            <a:lvl1pPr marL="0" algn="l" defTabSz="914400" rtl="0" eaLnBrk="1" latinLnBrk="0" hangingPunct="1">
              <a:defRPr sz="900" kern="120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BASF Pharma Solutions - Orals Platform</a:t>
            </a:r>
          </a:p>
        </p:txBody>
      </p:sp>
      <p:pic>
        <p:nvPicPr>
          <p:cNvPr id="317" name="Picture 316">
            <a:extLst>
              <a:ext uri="{FF2B5EF4-FFF2-40B4-BE49-F238E27FC236}">
                <a16:creationId xmlns:a16="http://schemas.microsoft.com/office/drawing/2014/main" id="{3F17F7D3-0234-90BA-E95C-1964196D3ECA}"/>
              </a:ext>
            </a:extLst>
          </p:cNvPr>
          <p:cNvPicPr>
            <a:picLocks noChangeAspect="1"/>
          </p:cNvPicPr>
          <p:nvPr/>
        </p:nvPicPr>
        <p:blipFill>
          <a:blip r:embed="rId7"/>
          <a:stretch>
            <a:fillRect/>
          </a:stretch>
        </p:blipFill>
        <p:spPr>
          <a:xfrm>
            <a:off x="931946" y="1898340"/>
            <a:ext cx="10467888" cy="2897763"/>
          </a:xfrm>
          <a:prstGeom prst="rect">
            <a:avLst/>
          </a:prstGeom>
        </p:spPr>
      </p:pic>
    </p:spTree>
    <p:extLst>
      <p:ext uri="{BB962C8B-B14F-4D97-AF65-F5344CB8AC3E}">
        <p14:creationId xmlns:p14="http://schemas.microsoft.com/office/powerpoint/2010/main" val="42794124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96C0E511-F38F-457D-A27F-C08777AE8356}"/>
              </a:ext>
            </a:extLst>
          </p:cNvPr>
          <p:cNvGraphicFramePr>
            <a:graphicFrameLocks noChangeAspect="1"/>
          </p:cNvGraphicFramePr>
          <p:nvPr>
            <p:custDataLst>
              <p:tags r:id="rId1"/>
            </p:custDataLst>
            <p:extLst>
              <p:ext uri="{D42A27DB-BD31-4B8C-83A1-F6EECF244321}">
                <p14:modId xmlns:p14="http://schemas.microsoft.com/office/powerpoint/2010/main" val="1033444072"/>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553" imgH="553" progId="TCLayout.ActiveDocument.1">
                  <p:embed/>
                </p:oleObj>
              </mc:Choice>
              <mc:Fallback>
                <p:oleObj name="think-cell Slide" r:id="rId5" imgW="553" imgH="553" progId="TCLayout.ActiveDocument.1">
                  <p:embed/>
                  <p:pic>
                    <p:nvPicPr>
                      <p:cNvPr id="17" name="Objekt 16" hidden="1">
                        <a:extLst>
                          <a:ext uri="{FF2B5EF4-FFF2-40B4-BE49-F238E27FC236}">
                            <a16:creationId xmlns:a16="http://schemas.microsoft.com/office/drawing/2014/main" id="{96C0E511-F38F-457D-A27F-C08777AE8356}"/>
                          </a:ext>
                        </a:extLst>
                      </p:cNvPr>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0874468-05BE-48FC-910B-4C4BC7D0C101}"/>
              </a:ext>
            </a:extLst>
          </p:cNvPr>
          <p:cNvSpPr/>
          <p:nvPr>
            <p:custDataLst>
              <p:tags r:id="rId2"/>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lang="en-US" sz="28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el 2">
            <a:extLst>
              <a:ext uri="{FF2B5EF4-FFF2-40B4-BE49-F238E27FC236}">
                <a16:creationId xmlns:a16="http://schemas.microsoft.com/office/drawing/2014/main" id="{DADBC550-C32C-44CF-98CF-86E220087C06}"/>
              </a:ext>
            </a:extLst>
          </p:cNvPr>
          <p:cNvSpPr>
            <a:spLocks noGrp="1"/>
          </p:cNvSpPr>
          <p:nvPr>
            <p:ph type="title"/>
          </p:nvPr>
        </p:nvSpPr>
        <p:spPr>
          <a:xfrm>
            <a:off x="220839" y="125206"/>
            <a:ext cx="11737914" cy="853200"/>
          </a:xfrm>
        </p:spPr>
        <p:txBody>
          <a:bodyPr vert="horz"/>
          <a:lstStyle/>
          <a:p>
            <a:r>
              <a:rPr lang="en-US" altLang="de-DE" dirty="0">
                <a:latin typeface="Arial" charset="0"/>
              </a:rPr>
              <a:t>Application guide Kollicoat</a:t>
            </a:r>
            <a:r>
              <a:rPr lang="en-US" altLang="de-DE" baseline="30000" dirty="0">
                <a:latin typeface="Arial" charset="0"/>
              </a:rPr>
              <a:t>®</a:t>
            </a:r>
            <a:r>
              <a:rPr lang="en-US" altLang="de-DE" dirty="0">
                <a:latin typeface="Arial" charset="0"/>
              </a:rPr>
              <a:t> Smartseal 100 P: Preparation of the aqueous coating suspension</a:t>
            </a:r>
            <a:br>
              <a:rPr lang="en-US" sz="2000" dirty="0"/>
            </a:br>
            <a:endParaRPr lang="en-US" sz="2000" dirty="0"/>
          </a:p>
        </p:txBody>
      </p:sp>
      <p:sp>
        <p:nvSpPr>
          <p:cNvPr id="30" name="Textplatzhalter 2">
            <a:extLst>
              <a:ext uri="{FF2B5EF4-FFF2-40B4-BE49-F238E27FC236}">
                <a16:creationId xmlns:a16="http://schemas.microsoft.com/office/drawing/2014/main" id="{D23C72FB-F9CD-4149-ABB9-0304AAB1E673}"/>
              </a:ext>
            </a:extLst>
          </p:cNvPr>
          <p:cNvSpPr txBox="1">
            <a:spLocks/>
          </p:cNvSpPr>
          <p:nvPr/>
        </p:nvSpPr>
        <p:spPr bwMode="auto">
          <a:xfrm>
            <a:off x="419176" y="1463137"/>
            <a:ext cx="10823943" cy="281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marL="342900" indent="-342900" algn="l" rtl="0" eaLnBrk="0" fontAlgn="base" hangingPunct="0">
              <a:lnSpc>
                <a:spcPct val="110000"/>
              </a:lnSpc>
              <a:spcBef>
                <a:spcPct val="0"/>
              </a:spcBef>
              <a:spcAft>
                <a:spcPct val="50000"/>
              </a:spcAft>
              <a:buClr>
                <a:schemeClr val="accent1"/>
              </a:buClr>
              <a:buFont typeface="Wingdings" pitchFamily="2" charset="2"/>
              <a:buChar char="n"/>
              <a:defRPr sz="2000" kern="1200">
                <a:solidFill>
                  <a:schemeClr val="tx1"/>
                </a:solidFill>
                <a:latin typeface="+mn-lt"/>
                <a:ea typeface="+mn-ea"/>
                <a:cs typeface="+mn-cs"/>
              </a:defRPr>
            </a:lvl1pPr>
            <a:lvl2pPr marL="742950" indent="-285750" algn="l" rtl="0" eaLnBrk="0" fontAlgn="base" hangingPunct="0">
              <a:lnSpc>
                <a:spcPct val="110000"/>
              </a:lnSpc>
              <a:spcBef>
                <a:spcPct val="0"/>
              </a:spcBef>
              <a:spcAft>
                <a:spcPct val="50000"/>
              </a:spcAft>
              <a:buClr>
                <a:schemeClr val="accent1"/>
              </a:buClr>
              <a:buFont typeface="Wingdings" pitchFamily="2" charset="2"/>
              <a:buChar char="n"/>
              <a:defRPr sz="1800" kern="1200">
                <a:solidFill>
                  <a:schemeClr val="tx1"/>
                </a:solidFill>
                <a:latin typeface="+mn-lt"/>
                <a:ea typeface="+mn-ea"/>
                <a:cs typeface="+mn-cs"/>
              </a:defRPr>
            </a:lvl2pPr>
            <a:lvl3pPr marL="1143000" indent="-228600" algn="l" rtl="0" eaLnBrk="0" fontAlgn="base" hangingPunct="0">
              <a:lnSpc>
                <a:spcPct val="110000"/>
              </a:lnSpc>
              <a:spcBef>
                <a:spcPct val="0"/>
              </a:spcBef>
              <a:spcAft>
                <a:spcPct val="50000"/>
              </a:spcAft>
              <a:buClr>
                <a:schemeClr val="tx1"/>
              </a:buClr>
              <a:buChar char="–"/>
              <a:defRPr sz="1600" kern="1200">
                <a:solidFill>
                  <a:schemeClr val="tx1"/>
                </a:solidFill>
                <a:latin typeface="+mn-lt"/>
                <a:ea typeface="+mn-ea"/>
                <a:cs typeface="+mn-cs"/>
              </a:defRPr>
            </a:lvl3pPr>
            <a:lvl4pPr marL="1600200" indent="-228600" algn="l" rtl="0" eaLnBrk="0" fontAlgn="base" hangingPunct="0">
              <a:lnSpc>
                <a:spcPct val="110000"/>
              </a:lnSpc>
              <a:spcBef>
                <a:spcPct val="0"/>
              </a:spcBef>
              <a:spcAft>
                <a:spcPct val="50000"/>
              </a:spcAft>
              <a:buClr>
                <a:schemeClr val="tx1"/>
              </a:buClr>
              <a:buChar char="–"/>
              <a:defRPr sz="1600" kern="1200">
                <a:solidFill>
                  <a:schemeClr val="tx1"/>
                </a:solidFill>
                <a:latin typeface="+mn-lt"/>
                <a:ea typeface="+mn-ea"/>
                <a:cs typeface="+mn-cs"/>
              </a:defRPr>
            </a:lvl4pPr>
            <a:lvl5pPr marL="2057400" indent="-228600" algn="l" rtl="0" eaLnBrk="0" fontAlgn="base" hangingPunct="0">
              <a:lnSpc>
                <a:spcPct val="110000"/>
              </a:lnSpc>
              <a:spcBef>
                <a:spcPct val="0"/>
              </a:spcBef>
              <a:spcAft>
                <a:spcPct val="50000"/>
              </a:spcAft>
              <a:buClr>
                <a:schemeClr val="tx1"/>
              </a:buClr>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eaLnBrk="1" fontAlgn="auto" hangingPunct="1">
              <a:spcBef>
                <a:spcPts val="0"/>
              </a:spcBef>
              <a:spcAft>
                <a:spcPts val="300"/>
              </a:spcAft>
              <a:buClr>
                <a:srgbClr val="004A96"/>
              </a:buClr>
              <a:buNone/>
              <a:defRPr/>
            </a:pPr>
            <a:r>
              <a:rPr lang="en-US" sz="1800" b="1" dirty="0">
                <a:latin typeface="Arial" panose="020B0604020202020204"/>
                <a:cs typeface="Arial" panose="020B0604020202020204" pitchFamily="34" charset="0"/>
              </a:rPr>
              <a:t>Aqueous redispersion requires partial neutralization with a weak acid - (20 % solids content)</a:t>
            </a:r>
          </a:p>
        </p:txBody>
      </p:sp>
      <p:sp>
        <p:nvSpPr>
          <p:cNvPr id="256" name="Text Box 178">
            <a:extLst>
              <a:ext uri="{FF2B5EF4-FFF2-40B4-BE49-F238E27FC236}">
                <a16:creationId xmlns:a16="http://schemas.microsoft.com/office/drawing/2014/main" id="{107A7E7D-B768-4746-B6E9-1F5C3DC1FA79}"/>
              </a:ext>
            </a:extLst>
          </p:cNvPr>
          <p:cNvSpPr txBox="1">
            <a:spLocks noChangeArrowheads="1"/>
          </p:cNvSpPr>
          <p:nvPr/>
        </p:nvSpPr>
        <p:spPr bwMode="auto">
          <a:xfrm>
            <a:off x="1138610" y="4600218"/>
            <a:ext cx="1691788"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defRPr/>
            </a:pPr>
            <a:r>
              <a:rPr lang="en-US" altLang="de-DE" sz="1200" dirty="0">
                <a:solidFill>
                  <a:srgbClr val="000000"/>
                </a:solidFill>
                <a:latin typeface="Arial" panose="020B0604020202020204"/>
                <a:cs typeface="Arial"/>
              </a:rPr>
              <a:t>Dissolve the antioxidant in the plasticizer. Elevated temperatures (~50°C)</a:t>
            </a:r>
          </a:p>
          <a:p>
            <a:pPr>
              <a:defRPr/>
            </a:pPr>
            <a:r>
              <a:rPr lang="en-US" altLang="de-DE" sz="1200" dirty="0">
                <a:solidFill>
                  <a:srgbClr val="000000"/>
                </a:solidFill>
                <a:latin typeface="Arial" panose="020B0604020202020204"/>
                <a:cs typeface="Arial"/>
              </a:rPr>
              <a:t>speed up the process. </a:t>
            </a:r>
          </a:p>
        </p:txBody>
      </p:sp>
      <p:sp>
        <p:nvSpPr>
          <p:cNvPr id="258" name="Text Box 180">
            <a:extLst>
              <a:ext uri="{FF2B5EF4-FFF2-40B4-BE49-F238E27FC236}">
                <a16:creationId xmlns:a16="http://schemas.microsoft.com/office/drawing/2014/main" id="{84B59A0C-AD98-4AA0-807B-473F044F0C54}"/>
              </a:ext>
            </a:extLst>
          </p:cNvPr>
          <p:cNvSpPr txBox="1">
            <a:spLocks noChangeArrowheads="1"/>
          </p:cNvSpPr>
          <p:nvPr/>
        </p:nvSpPr>
        <p:spPr bwMode="auto">
          <a:xfrm>
            <a:off x="8485158" y="4600218"/>
            <a:ext cx="2349923"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defRPr/>
            </a:pPr>
            <a:r>
              <a:rPr lang="en-US" altLang="de-DE" sz="1200" dirty="0">
                <a:solidFill>
                  <a:srgbClr val="000000"/>
                </a:solidFill>
                <a:latin typeface="Arial" panose="020B0604020202020204"/>
                <a:cs typeface="Arial"/>
                <a:sym typeface="Wingdings" panose="05000000000000000000" pitchFamily="2" charset="2"/>
              </a:rPr>
              <a:t>Add the anti-tacking suspension (3) to the redispersed Kollicoat</a:t>
            </a:r>
            <a:r>
              <a:rPr lang="en-US" altLang="de-DE" sz="1200" baseline="30000" dirty="0">
                <a:solidFill>
                  <a:srgbClr val="000000"/>
                </a:solidFill>
                <a:latin typeface="Arial" panose="020B0604020202020204"/>
                <a:cs typeface="Arial"/>
                <a:sym typeface="Wingdings" panose="05000000000000000000" pitchFamily="2" charset="2"/>
              </a:rPr>
              <a:t>®</a:t>
            </a:r>
            <a:r>
              <a:rPr lang="en-US" altLang="de-DE" sz="1200" dirty="0">
                <a:solidFill>
                  <a:srgbClr val="000000"/>
                </a:solidFill>
                <a:latin typeface="Arial" panose="020B0604020202020204"/>
                <a:cs typeface="Arial"/>
                <a:sym typeface="Wingdings" panose="05000000000000000000" pitchFamily="2" charset="2"/>
              </a:rPr>
              <a:t> Smartseal 100 P (2) </a:t>
            </a:r>
            <a:r>
              <a:rPr lang="en-US" altLang="de-DE" sz="1200" dirty="0">
                <a:solidFill>
                  <a:srgbClr val="000000"/>
                </a:solidFill>
                <a:latin typeface="Arial" panose="020B0604020202020204"/>
                <a:cs typeface="Arial"/>
              </a:rPr>
              <a:t>and add the mixture of plasticizer and antioxidant (1). </a:t>
            </a:r>
          </a:p>
          <a:p>
            <a:pPr>
              <a:defRPr/>
            </a:pPr>
            <a:r>
              <a:rPr lang="en-US" altLang="de-DE" sz="1200" dirty="0">
                <a:solidFill>
                  <a:srgbClr val="000000"/>
                </a:solidFill>
                <a:latin typeface="Arial" panose="020B0604020202020204"/>
                <a:cs typeface="Arial"/>
                <a:sym typeface="Wingdings" panose="05000000000000000000" pitchFamily="2" charset="2"/>
              </a:rPr>
              <a:t>Stir for at least 1 hour.</a:t>
            </a:r>
          </a:p>
        </p:txBody>
      </p:sp>
      <p:sp>
        <p:nvSpPr>
          <p:cNvPr id="260" name="Text Box 178">
            <a:extLst>
              <a:ext uri="{FF2B5EF4-FFF2-40B4-BE49-F238E27FC236}">
                <a16:creationId xmlns:a16="http://schemas.microsoft.com/office/drawing/2014/main" id="{973E6AA6-2EF5-4A6F-A12A-14036F7A3E5A}"/>
              </a:ext>
            </a:extLst>
          </p:cNvPr>
          <p:cNvSpPr txBox="1">
            <a:spLocks noChangeArrowheads="1"/>
          </p:cNvSpPr>
          <p:nvPr/>
        </p:nvSpPr>
        <p:spPr bwMode="auto">
          <a:xfrm>
            <a:off x="2880754" y="4620937"/>
            <a:ext cx="1691788" cy="1569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defRPr/>
            </a:pPr>
            <a:r>
              <a:rPr lang="en-US" altLang="de-DE" sz="1200" dirty="0">
                <a:solidFill>
                  <a:srgbClr val="000000"/>
                </a:solidFill>
                <a:latin typeface="Arial" panose="020B0604020202020204"/>
                <a:cs typeface="Arial"/>
              </a:rPr>
              <a:t>Dissolve the succinic acid in water until a solution is obtained (recommendation is 1 mol /L aqueous solution or ~2.5% of the dry polymer amount). </a:t>
            </a:r>
          </a:p>
        </p:txBody>
      </p:sp>
      <p:sp>
        <p:nvSpPr>
          <p:cNvPr id="261" name="Text Box 178">
            <a:extLst>
              <a:ext uri="{FF2B5EF4-FFF2-40B4-BE49-F238E27FC236}">
                <a16:creationId xmlns:a16="http://schemas.microsoft.com/office/drawing/2014/main" id="{4568B675-04E3-48FF-9F9C-B93D19A0A9FF}"/>
              </a:ext>
            </a:extLst>
          </p:cNvPr>
          <p:cNvSpPr txBox="1">
            <a:spLocks noChangeArrowheads="1"/>
          </p:cNvSpPr>
          <p:nvPr/>
        </p:nvSpPr>
        <p:spPr bwMode="auto">
          <a:xfrm>
            <a:off x="4646772" y="4620475"/>
            <a:ext cx="1892426"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defRPr/>
            </a:pPr>
            <a:r>
              <a:rPr lang="en-US" altLang="de-DE" sz="1200" dirty="0">
                <a:solidFill>
                  <a:srgbClr val="000000"/>
                </a:solidFill>
                <a:latin typeface="Arial" panose="020B0604020202020204"/>
                <a:cs typeface="Arial"/>
              </a:rPr>
              <a:t>Add </a:t>
            </a:r>
            <a:r>
              <a:rPr lang="en-US" altLang="de-DE" sz="1200" dirty="0">
                <a:solidFill>
                  <a:srgbClr val="000000"/>
                </a:solidFill>
                <a:latin typeface="Arial" panose="020B0604020202020204"/>
                <a:cs typeface="Arial"/>
                <a:sym typeface="Wingdings" panose="05000000000000000000" pitchFamily="2" charset="2"/>
              </a:rPr>
              <a:t>Kollicoat</a:t>
            </a:r>
            <a:r>
              <a:rPr lang="en-US" altLang="de-DE" sz="1200" baseline="30000" dirty="0">
                <a:solidFill>
                  <a:srgbClr val="000000"/>
                </a:solidFill>
                <a:latin typeface="Arial" panose="020B0604020202020204"/>
                <a:cs typeface="Arial"/>
                <a:sym typeface="Wingdings" panose="05000000000000000000" pitchFamily="2" charset="2"/>
              </a:rPr>
              <a:t>®</a:t>
            </a:r>
            <a:r>
              <a:rPr lang="en-US" altLang="de-DE" sz="1200" dirty="0">
                <a:solidFill>
                  <a:srgbClr val="000000"/>
                </a:solidFill>
                <a:latin typeface="Arial" panose="020B0604020202020204"/>
                <a:cs typeface="Arial"/>
                <a:sym typeface="Wingdings" panose="05000000000000000000" pitchFamily="2" charset="2"/>
              </a:rPr>
              <a:t> Smartseal 100 P to the acid solution and stir for 10 min until the polymer is fully redispersed.  </a:t>
            </a:r>
            <a:r>
              <a:rPr lang="en-US" altLang="de-DE" sz="1200" dirty="0">
                <a:solidFill>
                  <a:srgbClr val="000000"/>
                </a:solidFill>
                <a:latin typeface="Arial" panose="020B0604020202020204"/>
                <a:cs typeface="Arial"/>
              </a:rPr>
              <a:t> </a:t>
            </a:r>
          </a:p>
        </p:txBody>
      </p:sp>
      <p:sp>
        <p:nvSpPr>
          <p:cNvPr id="262" name="Text Box 178">
            <a:extLst>
              <a:ext uri="{FF2B5EF4-FFF2-40B4-BE49-F238E27FC236}">
                <a16:creationId xmlns:a16="http://schemas.microsoft.com/office/drawing/2014/main" id="{D44FF6F9-B22E-4AB5-937F-727097B58E40}"/>
              </a:ext>
            </a:extLst>
          </p:cNvPr>
          <p:cNvSpPr txBox="1">
            <a:spLocks noChangeArrowheads="1"/>
          </p:cNvSpPr>
          <p:nvPr/>
        </p:nvSpPr>
        <p:spPr bwMode="auto">
          <a:xfrm>
            <a:off x="6539199" y="4620475"/>
            <a:ext cx="194595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defRPr/>
            </a:pPr>
            <a:r>
              <a:rPr lang="en-US" altLang="de-DE" sz="1200" dirty="0">
                <a:solidFill>
                  <a:srgbClr val="000000"/>
                </a:solidFill>
                <a:latin typeface="Arial" panose="020B0604020202020204"/>
                <a:cs typeface="Arial"/>
              </a:rPr>
              <a:t>Disperse the anti-tacking agent into water with a high shear mixer for 10 minutes. </a:t>
            </a:r>
          </a:p>
        </p:txBody>
      </p:sp>
      <p:sp>
        <p:nvSpPr>
          <p:cNvPr id="8" name="Slide Number Placeholder 2">
            <a:extLst>
              <a:ext uri="{FF2B5EF4-FFF2-40B4-BE49-F238E27FC236}">
                <a16:creationId xmlns:a16="http://schemas.microsoft.com/office/drawing/2014/main" id="{5A6AA7CF-E012-DF8A-44A5-72E26F21C5FE}"/>
              </a:ext>
            </a:extLst>
          </p:cNvPr>
          <p:cNvSpPr>
            <a:spLocks noGrp="1"/>
          </p:cNvSpPr>
          <p:nvPr>
            <p:ph type="sldNum" sz="quarter" idx="4"/>
          </p:nvPr>
        </p:nvSpPr>
        <p:spPr>
          <a:xfrm>
            <a:off x="227043" y="6514798"/>
            <a:ext cx="384267" cy="151200"/>
          </a:xfrm>
          <a:prstGeom prst="rect">
            <a:avLst/>
          </a:prstGeom>
        </p:spPr>
        <p:txBody>
          <a:bodyPr lIns="0" tIns="0" rIns="0" bIns="0"/>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lang="en-US" smtClean="0"/>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sz="506" b="1" i="0" u="none" strike="noStrike" kern="1200" cap="none" spc="0" normalizeH="0" baseline="0" noProof="0" dirty="0">
              <a:ln>
                <a:noFill/>
              </a:ln>
              <a:solidFill>
                <a:srgbClr val="000000"/>
              </a:solidFill>
              <a:effectLst/>
              <a:uLnTx/>
              <a:uFillTx/>
              <a:latin typeface="Arial"/>
              <a:cs typeface="Arial"/>
            </a:endParaRPr>
          </a:p>
        </p:txBody>
      </p:sp>
      <p:sp>
        <p:nvSpPr>
          <p:cNvPr id="9" name="Footer Placeholder 39">
            <a:extLst>
              <a:ext uri="{FF2B5EF4-FFF2-40B4-BE49-F238E27FC236}">
                <a16:creationId xmlns:a16="http://schemas.microsoft.com/office/drawing/2014/main" id="{5BCFAAEF-B7AE-EC64-2E0B-76BE90E9E25F}"/>
              </a:ext>
            </a:extLst>
          </p:cNvPr>
          <p:cNvSpPr>
            <a:spLocks noGrp="1"/>
          </p:cNvSpPr>
          <p:nvPr>
            <p:ph type="ftr" sz="quarter" idx="3"/>
          </p:nvPr>
        </p:nvSpPr>
        <p:spPr>
          <a:xfrm>
            <a:off x="1368179" y="6516111"/>
            <a:ext cx="3364707" cy="167933"/>
          </a:xfrm>
          <a:prstGeom prst="rect">
            <a:avLst/>
          </a:prstGeom>
        </p:spPr>
        <p:txBody>
          <a:bodyPr lIns="0" tIns="0" rIns="0" bIns="0"/>
          <a:lstStyle>
            <a:defPPr>
              <a:defRPr lang="de-DE"/>
            </a:defPPr>
            <a:lvl1pPr marL="0" algn="l" defTabSz="914400" rtl="0" eaLnBrk="1" latinLnBrk="0" hangingPunct="1">
              <a:defRPr sz="900" kern="120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BASF Pharma Solutions - Orals Platform</a:t>
            </a:r>
          </a:p>
        </p:txBody>
      </p:sp>
      <p:pic>
        <p:nvPicPr>
          <p:cNvPr id="7" name="Picture 6">
            <a:extLst>
              <a:ext uri="{FF2B5EF4-FFF2-40B4-BE49-F238E27FC236}">
                <a16:creationId xmlns:a16="http://schemas.microsoft.com/office/drawing/2014/main" id="{924CF355-DBB6-A019-8CEF-01F6E0412EB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03484" y="1878636"/>
            <a:ext cx="9731598" cy="2741839"/>
          </a:xfrm>
          <a:prstGeom prst="rect">
            <a:avLst/>
          </a:prstGeom>
        </p:spPr>
      </p:pic>
    </p:spTree>
    <p:extLst>
      <p:ext uri="{BB962C8B-B14F-4D97-AF65-F5344CB8AC3E}">
        <p14:creationId xmlns:p14="http://schemas.microsoft.com/office/powerpoint/2010/main" val="11942579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96C0E511-F38F-457D-A27F-C08777AE8356}"/>
              </a:ext>
            </a:extLst>
          </p:cNvPr>
          <p:cNvGraphicFramePr>
            <a:graphicFrameLocks noChangeAspect="1"/>
          </p:cNvGraphicFramePr>
          <p:nvPr>
            <p:custDataLst>
              <p:tags r:id="rId1"/>
            </p:custDataLst>
            <p:extLst>
              <p:ext uri="{D42A27DB-BD31-4B8C-83A1-F6EECF244321}">
                <p14:modId xmlns:p14="http://schemas.microsoft.com/office/powerpoint/2010/main" val="4230114274"/>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553" imgH="553" progId="TCLayout.ActiveDocument.1">
                  <p:embed/>
                </p:oleObj>
              </mc:Choice>
              <mc:Fallback>
                <p:oleObj name="think-cell Slide" r:id="rId5" imgW="553" imgH="553" progId="TCLayout.ActiveDocument.1">
                  <p:embed/>
                  <p:pic>
                    <p:nvPicPr>
                      <p:cNvPr id="17" name="Objekt 16" hidden="1">
                        <a:extLst>
                          <a:ext uri="{FF2B5EF4-FFF2-40B4-BE49-F238E27FC236}">
                            <a16:creationId xmlns:a16="http://schemas.microsoft.com/office/drawing/2014/main" id="{96C0E511-F38F-457D-A27F-C08777AE8356}"/>
                          </a:ext>
                        </a:extLst>
                      </p:cNvPr>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0874468-05BE-48FC-910B-4C4BC7D0C101}"/>
              </a:ext>
            </a:extLst>
          </p:cNvPr>
          <p:cNvSpPr/>
          <p:nvPr>
            <p:custDataLst>
              <p:tags r:id="rId2"/>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lang="en-US" sz="2800" b="1" dirty="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el 2">
            <a:extLst>
              <a:ext uri="{FF2B5EF4-FFF2-40B4-BE49-F238E27FC236}">
                <a16:creationId xmlns:a16="http://schemas.microsoft.com/office/drawing/2014/main" id="{DADBC550-C32C-44CF-98CF-86E220087C06}"/>
              </a:ext>
            </a:extLst>
          </p:cNvPr>
          <p:cNvSpPr>
            <a:spLocks noGrp="1"/>
          </p:cNvSpPr>
          <p:nvPr>
            <p:ph type="title"/>
          </p:nvPr>
        </p:nvSpPr>
        <p:spPr>
          <a:xfrm>
            <a:off x="227043" y="202537"/>
            <a:ext cx="11737914" cy="853200"/>
          </a:xfrm>
        </p:spPr>
        <p:txBody>
          <a:bodyPr vert="horz"/>
          <a:lstStyle/>
          <a:p>
            <a:r>
              <a:rPr lang="en-US" altLang="de-DE" dirty="0">
                <a:latin typeface="Arial" charset="0"/>
              </a:rPr>
              <a:t>Application guide Kollicoat</a:t>
            </a:r>
            <a:r>
              <a:rPr lang="en-US" altLang="de-DE" baseline="30000" dirty="0">
                <a:latin typeface="Arial" charset="0"/>
              </a:rPr>
              <a:t>®</a:t>
            </a:r>
            <a:r>
              <a:rPr lang="en-US" altLang="de-DE" dirty="0">
                <a:latin typeface="Arial" charset="0"/>
              </a:rPr>
              <a:t> Smartseal 100 P: Preparation of the organic coating solution </a:t>
            </a:r>
            <a:br>
              <a:rPr lang="en-US" sz="3200" dirty="0"/>
            </a:br>
            <a:endParaRPr lang="en-US" sz="3200" dirty="0"/>
          </a:p>
        </p:txBody>
      </p:sp>
      <p:sp>
        <p:nvSpPr>
          <p:cNvPr id="30" name="Textplatzhalter 2">
            <a:extLst>
              <a:ext uri="{FF2B5EF4-FFF2-40B4-BE49-F238E27FC236}">
                <a16:creationId xmlns:a16="http://schemas.microsoft.com/office/drawing/2014/main" id="{D23C72FB-F9CD-4149-ABB9-0304AAB1E673}"/>
              </a:ext>
            </a:extLst>
          </p:cNvPr>
          <p:cNvSpPr txBox="1">
            <a:spLocks/>
          </p:cNvSpPr>
          <p:nvPr/>
        </p:nvSpPr>
        <p:spPr bwMode="auto">
          <a:xfrm>
            <a:off x="1524000" y="1688363"/>
            <a:ext cx="9418320" cy="281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lvl1pPr marL="342900" indent="-342900" algn="l" rtl="0" eaLnBrk="0" fontAlgn="base" hangingPunct="0">
              <a:lnSpc>
                <a:spcPct val="110000"/>
              </a:lnSpc>
              <a:spcBef>
                <a:spcPct val="0"/>
              </a:spcBef>
              <a:spcAft>
                <a:spcPct val="50000"/>
              </a:spcAft>
              <a:buClr>
                <a:schemeClr val="accent1"/>
              </a:buClr>
              <a:buFont typeface="Wingdings" pitchFamily="2" charset="2"/>
              <a:buChar char="n"/>
              <a:defRPr sz="2000" kern="1200">
                <a:solidFill>
                  <a:schemeClr val="tx1"/>
                </a:solidFill>
                <a:latin typeface="+mn-lt"/>
                <a:ea typeface="+mn-ea"/>
                <a:cs typeface="+mn-cs"/>
              </a:defRPr>
            </a:lvl1pPr>
            <a:lvl2pPr marL="742950" indent="-285750" algn="l" rtl="0" eaLnBrk="0" fontAlgn="base" hangingPunct="0">
              <a:lnSpc>
                <a:spcPct val="110000"/>
              </a:lnSpc>
              <a:spcBef>
                <a:spcPct val="0"/>
              </a:spcBef>
              <a:spcAft>
                <a:spcPct val="50000"/>
              </a:spcAft>
              <a:buClr>
                <a:schemeClr val="accent1"/>
              </a:buClr>
              <a:buFont typeface="Wingdings" pitchFamily="2" charset="2"/>
              <a:buChar char="n"/>
              <a:defRPr sz="1800" kern="1200">
                <a:solidFill>
                  <a:schemeClr val="tx1"/>
                </a:solidFill>
                <a:latin typeface="+mn-lt"/>
                <a:ea typeface="+mn-ea"/>
                <a:cs typeface="+mn-cs"/>
              </a:defRPr>
            </a:lvl2pPr>
            <a:lvl3pPr marL="1143000" indent="-228600" algn="l" rtl="0" eaLnBrk="0" fontAlgn="base" hangingPunct="0">
              <a:lnSpc>
                <a:spcPct val="110000"/>
              </a:lnSpc>
              <a:spcBef>
                <a:spcPct val="0"/>
              </a:spcBef>
              <a:spcAft>
                <a:spcPct val="50000"/>
              </a:spcAft>
              <a:buClr>
                <a:schemeClr val="tx1"/>
              </a:buClr>
              <a:buChar char="–"/>
              <a:defRPr sz="1600" kern="1200">
                <a:solidFill>
                  <a:schemeClr val="tx1"/>
                </a:solidFill>
                <a:latin typeface="+mn-lt"/>
                <a:ea typeface="+mn-ea"/>
                <a:cs typeface="+mn-cs"/>
              </a:defRPr>
            </a:lvl3pPr>
            <a:lvl4pPr marL="1600200" indent="-228600" algn="l" rtl="0" eaLnBrk="0" fontAlgn="base" hangingPunct="0">
              <a:lnSpc>
                <a:spcPct val="110000"/>
              </a:lnSpc>
              <a:spcBef>
                <a:spcPct val="0"/>
              </a:spcBef>
              <a:spcAft>
                <a:spcPct val="50000"/>
              </a:spcAft>
              <a:buClr>
                <a:schemeClr val="tx1"/>
              </a:buClr>
              <a:buChar char="–"/>
              <a:defRPr sz="1600" kern="1200">
                <a:solidFill>
                  <a:schemeClr val="tx1"/>
                </a:solidFill>
                <a:latin typeface="+mn-lt"/>
                <a:ea typeface="+mn-ea"/>
                <a:cs typeface="+mn-cs"/>
              </a:defRPr>
            </a:lvl4pPr>
            <a:lvl5pPr marL="2057400" indent="-228600" algn="l" rtl="0" eaLnBrk="0" fontAlgn="base" hangingPunct="0">
              <a:lnSpc>
                <a:spcPct val="110000"/>
              </a:lnSpc>
              <a:spcBef>
                <a:spcPct val="0"/>
              </a:spcBef>
              <a:spcAft>
                <a:spcPct val="50000"/>
              </a:spcAft>
              <a:buClr>
                <a:schemeClr val="tx1"/>
              </a:buClr>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eaLnBrk="1" fontAlgn="auto" hangingPunct="1">
              <a:spcBef>
                <a:spcPts val="0"/>
              </a:spcBef>
              <a:spcAft>
                <a:spcPts val="600"/>
              </a:spcAft>
              <a:buClr>
                <a:srgbClr val="004A96"/>
              </a:buClr>
              <a:buNone/>
              <a:defRPr/>
            </a:pPr>
            <a:r>
              <a:rPr lang="en-US" sz="1800" b="1" dirty="0">
                <a:solidFill>
                  <a:srgbClr val="000000"/>
                </a:solidFill>
                <a:latin typeface="Arial" panose="020B0604020202020204"/>
                <a:cs typeface="Arial" panose="020B0604020202020204" pitchFamily="34" charset="0"/>
              </a:rPr>
              <a:t>Preparation of Coating </a:t>
            </a:r>
            <a:r>
              <a:rPr lang="en-US" sz="1800" b="1" dirty="0">
                <a:latin typeface="Arial" panose="020B0604020202020204"/>
                <a:cs typeface="Arial" panose="020B0604020202020204" pitchFamily="34" charset="0"/>
              </a:rPr>
              <a:t>Solution (10-20% solids content)</a:t>
            </a:r>
          </a:p>
        </p:txBody>
      </p:sp>
      <p:sp>
        <p:nvSpPr>
          <p:cNvPr id="143" name="Text Box 178">
            <a:extLst>
              <a:ext uri="{FF2B5EF4-FFF2-40B4-BE49-F238E27FC236}">
                <a16:creationId xmlns:a16="http://schemas.microsoft.com/office/drawing/2014/main" id="{5E221886-AF1A-42B9-A5A8-721D3AAFB439}"/>
              </a:ext>
            </a:extLst>
          </p:cNvPr>
          <p:cNvSpPr txBox="1">
            <a:spLocks noChangeArrowheads="1"/>
          </p:cNvSpPr>
          <p:nvPr/>
        </p:nvSpPr>
        <p:spPr bwMode="auto">
          <a:xfrm>
            <a:off x="1667413" y="4775352"/>
            <a:ext cx="220850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defRPr/>
            </a:pPr>
            <a:r>
              <a:rPr lang="en-US" altLang="de-DE" sz="1200" dirty="0">
                <a:solidFill>
                  <a:srgbClr val="000000"/>
                </a:solidFill>
                <a:latin typeface="Arial" panose="020B0604020202020204"/>
                <a:cs typeface="Arial"/>
              </a:rPr>
              <a:t>Dissolve the polymer in acetone while stirring.</a:t>
            </a:r>
          </a:p>
        </p:txBody>
      </p:sp>
      <p:sp>
        <p:nvSpPr>
          <p:cNvPr id="144" name="Text Box 179">
            <a:extLst>
              <a:ext uri="{FF2B5EF4-FFF2-40B4-BE49-F238E27FC236}">
                <a16:creationId xmlns:a16="http://schemas.microsoft.com/office/drawing/2014/main" id="{8E3ED14C-AD5B-4CB2-898C-46898EA0D078}"/>
              </a:ext>
            </a:extLst>
          </p:cNvPr>
          <p:cNvSpPr txBox="1">
            <a:spLocks noChangeArrowheads="1"/>
          </p:cNvSpPr>
          <p:nvPr/>
        </p:nvSpPr>
        <p:spPr bwMode="auto">
          <a:xfrm>
            <a:off x="3948453" y="4757980"/>
            <a:ext cx="2287795" cy="1384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defRPr/>
            </a:pPr>
            <a:r>
              <a:rPr lang="en-US" altLang="de-DE" sz="1200" dirty="0">
                <a:solidFill>
                  <a:srgbClr val="000000"/>
                </a:solidFill>
                <a:latin typeface="Arial" panose="020B0604020202020204"/>
                <a:cs typeface="Arial"/>
              </a:rPr>
              <a:t>Add isopropanol to the fully dissolved acetone solution until the targeted mixture is reached. The maximum is a 1:2 mixture of acetone : isopropanol. Recommended is 1:1.</a:t>
            </a:r>
          </a:p>
        </p:txBody>
      </p:sp>
      <p:sp>
        <p:nvSpPr>
          <p:cNvPr id="145" name="Text Box 180">
            <a:extLst>
              <a:ext uri="{FF2B5EF4-FFF2-40B4-BE49-F238E27FC236}">
                <a16:creationId xmlns:a16="http://schemas.microsoft.com/office/drawing/2014/main" id="{24796A63-E1B9-47A9-8823-3F017E973290}"/>
              </a:ext>
            </a:extLst>
          </p:cNvPr>
          <p:cNvSpPr txBox="1">
            <a:spLocks noChangeArrowheads="1"/>
          </p:cNvSpPr>
          <p:nvPr/>
        </p:nvSpPr>
        <p:spPr bwMode="auto">
          <a:xfrm>
            <a:off x="6358778" y="4774756"/>
            <a:ext cx="2287622"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defRPr/>
            </a:pPr>
            <a:r>
              <a:rPr lang="en-US" altLang="de-DE" sz="1200" dirty="0">
                <a:solidFill>
                  <a:srgbClr val="000000"/>
                </a:solidFill>
                <a:latin typeface="Arial" panose="020B0604020202020204"/>
                <a:cs typeface="Arial"/>
                <a:sym typeface="Wingdings" panose="05000000000000000000" pitchFamily="2" charset="2"/>
              </a:rPr>
              <a:t>Add plasticizer and antioxidant to the organic solution and stir for 10 min or until both are fully incorporated. </a:t>
            </a:r>
          </a:p>
        </p:txBody>
      </p:sp>
      <p:sp>
        <p:nvSpPr>
          <p:cNvPr id="146" name="Text Box 180">
            <a:extLst>
              <a:ext uri="{FF2B5EF4-FFF2-40B4-BE49-F238E27FC236}">
                <a16:creationId xmlns:a16="http://schemas.microsoft.com/office/drawing/2014/main" id="{4386BEA4-B9DC-4181-8A0A-79FE439BB27F}"/>
              </a:ext>
            </a:extLst>
          </p:cNvPr>
          <p:cNvSpPr txBox="1">
            <a:spLocks noChangeArrowheads="1"/>
          </p:cNvSpPr>
          <p:nvPr/>
        </p:nvSpPr>
        <p:spPr bwMode="auto">
          <a:xfrm>
            <a:off x="8768079" y="4774756"/>
            <a:ext cx="2306321"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defRPr/>
            </a:pPr>
            <a:r>
              <a:rPr lang="en-US" altLang="de-DE" sz="1200" dirty="0">
                <a:solidFill>
                  <a:srgbClr val="000000"/>
                </a:solidFill>
                <a:latin typeface="Arial" panose="020B0604020202020204"/>
                <a:cs typeface="Arial"/>
                <a:sym typeface="Wingdings" panose="05000000000000000000" pitchFamily="2" charset="2"/>
              </a:rPr>
              <a:t>Add anti-tacking agent to the organic solution.</a:t>
            </a:r>
          </a:p>
          <a:p>
            <a:pPr>
              <a:defRPr/>
            </a:pPr>
            <a:r>
              <a:rPr lang="en-US" altLang="de-DE" sz="1200" dirty="0">
                <a:solidFill>
                  <a:srgbClr val="000000"/>
                </a:solidFill>
                <a:latin typeface="Arial" panose="020B0604020202020204"/>
                <a:cs typeface="Arial"/>
                <a:sym typeface="Wingdings" panose="05000000000000000000" pitchFamily="2" charset="2"/>
              </a:rPr>
              <a:t>Still the final coating preparation for at least 1 hour.  </a:t>
            </a:r>
          </a:p>
        </p:txBody>
      </p:sp>
      <p:sp>
        <p:nvSpPr>
          <p:cNvPr id="6" name="Footer Placeholder 11">
            <a:extLst>
              <a:ext uri="{FF2B5EF4-FFF2-40B4-BE49-F238E27FC236}">
                <a16:creationId xmlns:a16="http://schemas.microsoft.com/office/drawing/2014/main" id="{92B84896-680F-0E57-FE63-D54ABCD8B991}"/>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8" name="Slide Number Placeholder 7">
            <a:extLst>
              <a:ext uri="{FF2B5EF4-FFF2-40B4-BE49-F238E27FC236}">
                <a16:creationId xmlns:a16="http://schemas.microsoft.com/office/drawing/2014/main" id="{B083C733-D952-3E5A-53AA-2CB335DBC57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2</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10" name="Picture 9">
            <a:extLst>
              <a:ext uri="{FF2B5EF4-FFF2-40B4-BE49-F238E27FC236}">
                <a16:creationId xmlns:a16="http://schemas.microsoft.com/office/drawing/2014/main" id="{90FECAA6-80B5-A7E5-DA87-88AB8CF39EC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435648" y="2060064"/>
            <a:ext cx="9601200" cy="2737871"/>
          </a:xfrm>
          <a:prstGeom prst="rect">
            <a:avLst/>
          </a:prstGeom>
        </p:spPr>
      </p:pic>
    </p:spTree>
    <p:extLst>
      <p:ext uri="{BB962C8B-B14F-4D97-AF65-F5344CB8AC3E}">
        <p14:creationId xmlns:p14="http://schemas.microsoft.com/office/powerpoint/2010/main" val="7938641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E90BB9C-08D3-8EE1-E199-96ECE9699E2E}"/>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471" y="39886"/>
            <a:ext cx="12192001" cy="6858000"/>
          </a:xfrm>
          <a:prstGeom prst="rect">
            <a:avLst/>
          </a:prstGeom>
        </p:spPr>
      </p:pic>
      <p:grpSp>
        <p:nvGrpSpPr>
          <p:cNvPr id="10" name="Gruppieren 9">
            <a:extLst>
              <a:ext uri="{FF2B5EF4-FFF2-40B4-BE49-F238E27FC236}">
                <a16:creationId xmlns:a16="http://schemas.microsoft.com/office/drawing/2014/main" id="{D294205D-DB7A-4FC3-B34E-BCAEB501AE48}"/>
              </a:ext>
            </a:extLst>
          </p:cNvPr>
          <p:cNvGrpSpPr/>
          <p:nvPr/>
        </p:nvGrpSpPr>
        <p:grpSpPr>
          <a:xfrm>
            <a:off x="0" y="864000"/>
            <a:ext cx="12192000" cy="1080000"/>
            <a:chOff x="-6603522" y="864000"/>
            <a:chExt cx="13917600" cy="1080000"/>
          </a:xfrm>
        </p:grpSpPr>
        <p:sp>
          <p:nvSpPr>
            <p:cNvPr id="12" name="Rechteck 11">
              <a:extLst>
                <a:ext uri="{FF2B5EF4-FFF2-40B4-BE49-F238E27FC236}">
                  <a16:creationId xmlns:a16="http://schemas.microsoft.com/office/drawing/2014/main" id="{D2CFBEA7-A4E1-40A6-A816-02296D0B4887}"/>
                </a:ext>
              </a:extLst>
            </p:cNvPr>
            <p:cNvSpPr>
              <a:spLocks noChangeAspect="1"/>
            </p:cNvSpPr>
            <p:nvPr userDrawn="1"/>
          </p:nvSpPr>
          <p:spPr>
            <a:xfrm>
              <a:off x="-6603522" y="864000"/>
              <a:ext cx="13917600" cy="108000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prstClr val="black"/>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fik 12">
              <a:extLst>
                <a:ext uri="{FF2B5EF4-FFF2-40B4-BE49-F238E27FC236}">
                  <a16:creationId xmlns:a16="http://schemas.microsoft.com/office/drawing/2014/main" id="{2E3561A4-C038-4114-8F37-E6272B87895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424044" y="1123200"/>
              <a:ext cx="1620001" cy="58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prstClr val="black"/>
                  </a:solidFill>
                </a14:hiddenLine>
              </a:ext>
            </a:extLst>
          </p:spPr>
        </p:pic>
        <p:pic>
          <p:nvPicPr>
            <p:cNvPr id="14" name="Grafik 13">
              <a:extLst>
                <a:ext uri="{FF2B5EF4-FFF2-40B4-BE49-F238E27FC236}">
                  <a16:creationId xmlns:a16="http://schemas.microsoft.com/office/drawing/2014/main" id="{A89D01D0-0CF3-44A0-9FD0-03DA8023B40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333488" y="1123200"/>
              <a:ext cx="1620001" cy="58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prstClr val="black"/>
                  </a:solidFill>
                </a14:hiddenLine>
              </a:ext>
            </a:extLst>
          </p:spPr>
        </p:pic>
      </p:grpSp>
      <p:sp>
        <p:nvSpPr>
          <p:cNvPr id="15" name="Rechteck 14">
            <a:extLst>
              <a:ext uri="{FF2B5EF4-FFF2-40B4-BE49-F238E27FC236}">
                <a16:creationId xmlns:a16="http://schemas.microsoft.com/office/drawing/2014/main" id="{B586682B-CC45-40D6-AC29-8C5EC37BFAA2}"/>
              </a:ext>
            </a:extLst>
          </p:cNvPr>
          <p:cNvSpPr/>
          <p:nvPr>
            <p:custDataLst>
              <p:tags r:id="rId1"/>
            </p:custDataLst>
          </p:nvPr>
        </p:nvSpPr>
        <p:spPr>
          <a:xfrm>
            <a:off x="0" y="1944000"/>
            <a:ext cx="6112632" cy="3049773"/>
          </a:xfrm>
          <a:prstGeom prst="rect">
            <a:avLst/>
          </a:prstGeom>
          <a:solidFill>
            <a:schemeClr val="bg1">
              <a:alpha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prstClr val="black"/>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el 1">
            <a:extLst>
              <a:ext uri="{FF2B5EF4-FFF2-40B4-BE49-F238E27FC236}">
                <a16:creationId xmlns:a16="http://schemas.microsoft.com/office/drawing/2014/main" id="{70504074-E145-4B4E-B7E8-1208178905FF}"/>
              </a:ext>
            </a:extLst>
          </p:cNvPr>
          <p:cNvSpPr txBox="1">
            <a:spLocks/>
          </p:cNvSpPr>
          <p:nvPr>
            <p:custDataLst>
              <p:tags r:id="rId2"/>
            </p:custDataLst>
          </p:nvPr>
        </p:nvSpPr>
        <p:spPr>
          <a:xfrm>
            <a:off x="431998" y="2178000"/>
            <a:ext cx="7492801" cy="2124236"/>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nSpc>
                <a:spcPct val="100000"/>
              </a:lnSpc>
              <a:spcBef>
                <a:spcPts val="600"/>
              </a:spcBef>
            </a:pPr>
            <a:r>
              <a:rPr lang="en-US" dirty="0"/>
              <a:t>Obtaining a taste-masking functionality for vardenafil pellets coated with Kollicoat</a:t>
            </a:r>
            <a:r>
              <a:rPr lang="en-US" baseline="30000" dirty="0"/>
              <a:t>®</a:t>
            </a:r>
            <a:r>
              <a:rPr lang="en-US" dirty="0"/>
              <a:t> Smartseal 30 D: formulation evaluation and optimization</a:t>
            </a:r>
          </a:p>
          <a:p>
            <a:pPr>
              <a:lnSpc>
                <a:spcPct val="100000"/>
              </a:lnSpc>
              <a:spcBef>
                <a:spcPts val="600"/>
              </a:spcBef>
            </a:pPr>
            <a:endParaRPr lang="en-US" sz="2400" b="0" dirty="0"/>
          </a:p>
          <a:p>
            <a:pPr>
              <a:lnSpc>
                <a:spcPct val="100000"/>
              </a:lnSpc>
              <a:spcBef>
                <a:spcPts val="600"/>
              </a:spcBef>
            </a:pPr>
            <a:endParaRPr lang="en-US" sz="2400" b="0" dirty="0"/>
          </a:p>
          <a:p>
            <a:pPr>
              <a:lnSpc>
                <a:spcPct val="100000"/>
              </a:lnSpc>
              <a:spcBef>
                <a:spcPts val="600"/>
              </a:spcBef>
            </a:pPr>
            <a:r>
              <a:rPr lang="en-US" sz="2400" b="0" dirty="0"/>
              <a:t>BASF Pharma Solutions</a:t>
            </a:r>
            <a:endParaRPr lang="en-US" sz="2800" b="0" dirty="0"/>
          </a:p>
        </p:txBody>
      </p:sp>
      <p:sp>
        <p:nvSpPr>
          <p:cNvPr id="17" name="Untertitel 2">
            <a:extLst>
              <a:ext uri="{FF2B5EF4-FFF2-40B4-BE49-F238E27FC236}">
                <a16:creationId xmlns:a16="http://schemas.microsoft.com/office/drawing/2014/main" id="{3AB61637-CFA4-4A86-A74A-5BB9447B4F49}"/>
              </a:ext>
            </a:extLst>
          </p:cNvPr>
          <p:cNvSpPr txBox="1">
            <a:spLocks/>
          </p:cNvSpPr>
          <p:nvPr>
            <p:custDataLst>
              <p:tags r:id="rId3"/>
            </p:custDataLst>
          </p:nvPr>
        </p:nvSpPr>
        <p:spPr>
          <a:xfrm>
            <a:off x="432000" y="4428236"/>
            <a:ext cx="5464632" cy="349537"/>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lIns="0" tIns="0" rIns="0" bIns="0" anchor="b"/>
          <a:lstStyle>
            <a:lvl1pPr marL="0" indent="0" algn="l" defTabSz="914400" rtl="0" eaLnBrk="1" latinLnBrk="0" hangingPunct="1">
              <a:lnSpc>
                <a:spcPct val="95000"/>
              </a:lnSpc>
              <a:spcBef>
                <a:spcPts val="600"/>
              </a:spcBef>
              <a:spcAft>
                <a:spcPts val="0"/>
              </a:spcAft>
              <a:buClr>
                <a:schemeClr val="accent1"/>
              </a:buClr>
              <a:buFont typeface="Wingdings"/>
              <a:buNone/>
              <a:defRPr sz="1800" b="0" i="0" kern="1200">
                <a:solidFill>
                  <a:schemeClr val="accent6"/>
                </a:solidFill>
                <a:latin typeface="Arial"/>
                <a:ea typeface="+mn-ea"/>
                <a:cs typeface="+mn-cs"/>
              </a:defRPr>
            </a:lvl1pPr>
            <a:lvl2pPr marL="457200" indent="0" algn="ctr" defTabSz="914400" rtl="0" eaLnBrk="1" latinLnBrk="0" hangingPunct="1">
              <a:lnSpc>
                <a:spcPct val="110000"/>
              </a:lnSpc>
              <a:spcBef>
                <a:spcPts val="0"/>
              </a:spcBef>
              <a:spcAft>
                <a:spcPct val="50000"/>
              </a:spcAft>
              <a:buClr>
                <a:schemeClr val="accent1"/>
              </a:buClr>
              <a:buFont typeface="Wingdings"/>
              <a:buNone/>
              <a:defRPr sz="2000" b="0" i="0" kern="1200">
                <a:solidFill>
                  <a:schemeClr val="tx1">
                    <a:tint val="75000"/>
                  </a:schemeClr>
                </a:solidFill>
                <a:latin typeface="Arial"/>
                <a:ea typeface="+mn-ea"/>
                <a:cs typeface="+mn-cs"/>
              </a:defRPr>
            </a:lvl2pPr>
            <a:lvl3pPr marL="914400" indent="0" algn="ctr" defTabSz="914400" rtl="0" eaLnBrk="1" latinLnBrk="0" hangingPunct="1">
              <a:lnSpc>
                <a:spcPct val="110000"/>
              </a:lnSpc>
              <a:spcBef>
                <a:spcPts val="0"/>
              </a:spcBef>
              <a:spcAft>
                <a:spcPct val="50000"/>
              </a:spcAft>
              <a:buClr>
                <a:schemeClr val="tx1"/>
              </a:buClr>
              <a:buFontTx/>
              <a:buNone/>
              <a:defRPr sz="2000" b="0" i="0" kern="1200">
                <a:solidFill>
                  <a:schemeClr val="tx1">
                    <a:tint val="75000"/>
                  </a:schemeClr>
                </a:solidFill>
                <a:latin typeface="Arial"/>
                <a:ea typeface="+mn-ea"/>
                <a:cs typeface="+mn-cs"/>
              </a:defRPr>
            </a:lvl3pPr>
            <a:lvl4pPr marL="1371600" indent="0" algn="ctr" defTabSz="914400" rtl="0" eaLnBrk="1" latinLnBrk="0" hangingPunct="1">
              <a:lnSpc>
                <a:spcPct val="110000"/>
              </a:lnSpc>
              <a:spcBef>
                <a:spcPts val="0"/>
              </a:spcBef>
              <a:spcAft>
                <a:spcPct val="50000"/>
              </a:spcAft>
              <a:buClr>
                <a:schemeClr val="tx1"/>
              </a:buClr>
              <a:buFontTx/>
              <a:buNone/>
              <a:defRPr sz="2000" b="0" i="0" kern="1200">
                <a:solidFill>
                  <a:schemeClr val="tx1">
                    <a:tint val="75000"/>
                  </a:schemeClr>
                </a:solidFill>
                <a:latin typeface="Arial"/>
                <a:ea typeface="+mn-ea"/>
                <a:cs typeface="+mn-cs"/>
              </a:defRPr>
            </a:lvl4pPr>
            <a:lvl5pPr marL="1828800" indent="0" algn="ctr" defTabSz="914400" rtl="0" eaLnBrk="1" latinLnBrk="0" hangingPunct="1">
              <a:lnSpc>
                <a:spcPct val="110000"/>
              </a:lnSpc>
              <a:spcBef>
                <a:spcPts val="0"/>
              </a:spcBef>
              <a:spcAft>
                <a:spcPct val="50000"/>
              </a:spcAft>
              <a:buClr>
                <a:schemeClr val="tx1"/>
              </a:buClr>
              <a:buFontTx/>
              <a:buNone/>
              <a:defRPr sz="2000" b="0" i="0" kern="1200">
                <a:solidFill>
                  <a:schemeClr val="tx1">
                    <a:tint val="75000"/>
                  </a:schemeClr>
                </a:solidFill>
                <a:latin typeface="Arial"/>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endParaRPr lang="en-US" sz="2000" dirty="0"/>
          </a:p>
        </p:txBody>
      </p:sp>
      <p:sp>
        <p:nvSpPr>
          <p:cNvPr id="5" name="Slide Number Placeholder 4">
            <a:extLst>
              <a:ext uri="{FF2B5EF4-FFF2-40B4-BE49-F238E27FC236}">
                <a16:creationId xmlns:a16="http://schemas.microsoft.com/office/drawing/2014/main" id="{51F23A1F-7C12-2B06-913D-65655C1A8D7E}"/>
              </a:ext>
            </a:extLst>
          </p:cNvPr>
          <p:cNvSpPr>
            <a:spLocks noGrp="1"/>
          </p:cNvSpPr>
          <p:nvPr>
            <p:ph type="sldNum" sz="quarter" idx="12"/>
          </p:nvPr>
        </p:nvSpPr>
        <p:spPr/>
        <p:txBody>
          <a:bodyPr/>
          <a:lstStyle/>
          <a:p>
            <a:fld id="{82EA1D04-CA53-4DE3-84A8-2B63E41036C9}" type="slidenum">
              <a:rPr lang="en-US" smtClean="0"/>
              <a:pPr/>
              <a:t>33</a:t>
            </a:fld>
            <a:endParaRPr lang="en-US" dirty="0"/>
          </a:p>
        </p:txBody>
      </p:sp>
    </p:spTree>
    <p:extLst>
      <p:ext uri="{BB962C8B-B14F-4D97-AF65-F5344CB8AC3E}">
        <p14:creationId xmlns:p14="http://schemas.microsoft.com/office/powerpoint/2010/main" val="23806346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9856D97-86DC-6574-FCBF-08894338D315}"/>
              </a:ext>
            </a:extLst>
          </p:cNvPr>
          <p:cNvGraphicFramePr>
            <a:graphicFrameLocks noChangeAspect="1"/>
          </p:cNvGraphicFramePr>
          <p:nvPr>
            <p:custDataLst>
              <p:tags r:id="rId1"/>
            </p:custDataLst>
            <p:extLst>
              <p:ext uri="{D42A27DB-BD31-4B8C-83A1-F6EECF244321}">
                <p14:modId xmlns:p14="http://schemas.microsoft.com/office/powerpoint/2010/main" val="4024842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think-cell data - do not delete" hidden="1">
                        <a:extLst>
                          <a:ext uri="{FF2B5EF4-FFF2-40B4-BE49-F238E27FC236}">
                            <a16:creationId xmlns:a16="http://schemas.microsoft.com/office/drawing/2014/main" id="{E9856D97-86DC-6574-FCBF-08894338D3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1EE3CB-88A6-9846-0273-B29487B6AAC0}"/>
              </a:ext>
            </a:extLst>
          </p:cNvPr>
          <p:cNvSpPr>
            <a:spLocks noGrp="1"/>
          </p:cNvSpPr>
          <p:nvPr>
            <p:ph type="title"/>
          </p:nvPr>
        </p:nvSpPr>
        <p:spPr>
          <a:xfrm>
            <a:off x="406800" y="413745"/>
            <a:ext cx="11736000" cy="853200"/>
          </a:xfrm>
        </p:spPr>
        <p:txBody>
          <a:bodyPr vert="horz"/>
          <a:lstStyle/>
          <a:p>
            <a:r>
              <a:rPr lang="en-US" sz="2800" b="1" dirty="0"/>
              <a:t>Main objective</a:t>
            </a:r>
            <a:br>
              <a:rPr lang="en-US" sz="2800" b="1" dirty="0"/>
            </a:br>
            <a:endParaRPr lang="en-US" sz="2800" b="1" dirty="0"/>
          </a:p>
        </p:txBody>
      </p:sp>
      <p:sp>
        <p:nvSpPr>
          <p:cNvPr id="6" name="Text Placeholder 5">
            <a:extLst>
              <a:ext uri="{FF2B5EF4-FFF2-40B4-BE49-F238E27FC236}">
                <a16:creationId xmlns:a16="http://schemas.microsoft.com/office/drawing/2014/main" id="{B66EA8C9-77CE-B963-7AC6-F60B658910B8}"/>
              </a:ext>
            </a:extLst>
          </p:cNvPr>
          <p:cNvSpPr>
            <a:spLocks noGrp="1"/>
          </p:cNvSpPr>
          <p:nvPr>
            <p:ph type="body" idx="1"/>
          </p:nvPr>
        </p:nvSpPr>
        <p:spPr>
          <a:xfrm>
            <a:off x="306403" y="1197324"/>
            <a:ext cx="11753977" cy="4836575"/>
          </a:xfrm>
        </p:spPr>
        <p:txBody>
          <a:bodyPr/>
          <a:lstStyle/>
          <a:p>
            <a:r>
              <a:rPr lang="en-US" sz="1800" dirty="0"/>
              <a:t>Coat inert MCC pellets with vardenafil HCl and Kollicoat</a:t>
            </a:r>
            <a:r>
              <a:rPr lang="en-US" sz="1800" baseline="30000" dirty="0"/>
              <a:t>®</a:t>
            </a:r>
            <a:r>
              <a:rPr lang="en-US" sz="1800" dirty="0"/>
              <a:t> IR</a:t>
            </a:r>
          </a:p>
          <a:p>
            <a:r>
              <a:rPr lang="en-US" sz="1800" dirty="0"/>
              <a:t>Provide a taste-masking functionality by coating vardenafil pellets using Kollicoat</a:t>
            </a:r>
            <a:r>
              <a:rPr lang="en-US" sz="1800" baseline="30000" dirty="0"/>
              <a:t>®</a:t>
            </a:r>
            <a:r>
              <a:rPr lang="en-US" sz="1800" dirty="0"/>
              <a:t> Smartseal 30 D</a:t>
            </a:r>
          </a:p>
          <a:p>
            <a:r>
              <a:rPr lang="en-US" sz="1800" dirty="0"/>
              <a:t>Kollicoat</a:t>
            </a:r>
            <a:r>
              <a:rPr lang="en-US" sz="1800" baseline="30000" dirty="0"/>
              <a:t>®</a:t>
            </a:r>
            <a:r>
              <a:rPr lang="en-US" sz="1800" dirty="0"/>
              <a:t> Smartseal 30 D optimization and evaluation, regarding:</a:t>
            </a:r>
          </a:p>
          <a:p>
            <a:pPr marL="687387" indent="-285750">
              <a:buFont typeface="Wingdings" panose="05000000000000000000" pitchFamily="2" charset="2"/>
              <a:buChar char="§"/>
            </a:pPr>
            <a:r>
              <a:rPr lang="en-US" sz="1800" dirty="0"/>
              <a:t>The use of BHT in the coating dispersion</a:t>
            </a:r>
          </a:p>
          <a:p>
            <a:pPr marL="687387" indent="-285750">
              <a:buFont typeface="Wingdings" panose="05000000000000000000" pitchFamily="2" charset="2"/>
              <a:buChar char="§"/>
            </a:pPr>
            <a:r>
              <a:rPr lang="en-US" sz="1800" dirty="0"/>
              <a:t>Required weight gain of Kollicoat</a:t>
            </a:r>
            <a:r>
              <a:rPr lang="en-US" sz="1800" baseline="30000" dirty="0"/>
              <a:t>®</a:t>
            </a:r>
            <a:r>
              <a:rPr lang="en-US" sz="1800" dirty="0"/>
              <a:t> Smartseal 30 D film-coating to achieve the taste-masking functionality</a:t>
            </a:r>
          </a:p>
          <a:p>
            <a:pPr marL="687387" indent="-285750">
              <a:buFont typeface="Wingdings" panose="05000000000000000000" pitchFamily="2" charset="2"/>
              <a:buChar char="§"/>
            </a:pPr>
            <a:r>
              <a:rPr lang="en-US" sz="1800" dirty="0"/>
              <a:t>Study the effect of curing time and its impact on the drug release at acid and basic media. </a:t>
            </a:r>
          </a:p>
          <a:p>
            <a:pPr marL="687387" indent="-285750">
              <a:buFont typeface="Wingdings" panose="05000000000000000000" pitchFamily="2" charset="2"/>
              <a:buChar char="§"/>
            </a:pPr>
            <a:r>
              <a:rPr lang="en-US" sz="1800" dirty="0"/>
              <a:t>MUPS formulation using different fillers (Ludiflash</a:t>
            </a:r>
            <a:r>
              <a:rPr lang="en-US" sz="1800" baseline="30000" dirty="0"/>
              <a:t> ®</a:t>
            </a:r>
            <a:r>
              <a:rPr lang="en-US" sz="1800" dirty="0"/>
              <a:t>, Ludipress</a:t>
            </a:r>
            <a:r>
              <a:rPr lang="en-US" sz="1800" baseline="30000" dirty="0"/>
              <a:t> ®</a:t>
            </a:r>
            <a:r>
              <a:rPr lang="en-US" sz="1800" dirty="0"/>
              <a:t>, and MCC 102) to optimize and evaluate their impact on the coated-pellets release (breakage and stability).</a:t>
            </a:r>
          </a:p>
          <a:p>
            <a:pPr marL="687387" indent="-285750">
              <a:buFont typeface="Wingdings" panose="05000000000000000000" pitchFamily="2" charset="2"/>
              <a:buChar char="§"/>
            </a:pPr>
            <a:r>
              <a:rPr lang="en-US" sz="1800" dirty="0"/>
              <a:t>Super-accelerated stability study (50 °C/ 90% RH) of pellets coated with Kollicoat</a:t>
            </a:r>
            <a:r>
              <a:rPr lang="en-US" sz="1800" baseline="30000" dirty="0"/>
              <a:t>®</a:t>
            </a:r>
            <a:r>
              <a:rPr lang="en-US" sz="1800" dirty="0"/>
              <a:t> Smartseal 30 D with and without BHT and MUPS with different fillers.</a:t>
            </a:r>
          </a:p>
          <a:p>
            <a:pPr marL="687387" indent="-285750">
              <a:buFont typeface="Wingdings" panose="05000000000000000000" pitchFamily="2" charset="2"/>
              <a:buChar char="§"/>
            </a:pPr>
            <a:r>
              <a:rPr lang="en-US" sz="1800" u="sng" dirty="0"/>
              <a:t>Work-in-progress</a:t>
            </a:r>
            <a:r>
              <a:rPr lang="en-US" sz="1800" dirty="0"/>
              <a:t>: accelerated stability (40 °C/ 75% RH) – results after 6 M (started in May 2023)</a:t>
            </a:r>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p:txBody>
      </p:sp>
      <p:sp>
        <p:nvSpPr>
          <p:cNvPr id="3" name="Footer Placeholder 11">
            <a:extLst>
              <a:ext uri="{FF2B5EF4-FFF2-40B4-BE49-F238E27FC236}">
                <a16:creationId xmlns:a16="http://schemas.microsoft.com/office/drawing/2014/main" id="{7F974582-2F3B-F890-BAD4-5628C3E438D4}"/>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4" name="Foliennummernplatzhalter 4">
            <a:extLst>
              <a:ext uri="{FF2B5EF4-FFF2-40B4-BE49-F238E27FC236}">
                <a16:creationId xmlns:a16="http://schemas.microsoft.com/office/drawing/2014/main" id="{95CD2049-754D-C856-2F19-A5527579559C}"/>
              </a:ext>
            </a:extLst>
          </p:cNvPr>
          <p:cNvSpPr txBox="1">
            <a:spLocks/>
          </p:cNvSpPr>
          <p:nvPr/>
        </p:nvSpPr>
        <p:spPr>
          <a:xfrm>
            <a:off x="225167" y="6555283"/>
            <a:ext cx="288200" cy="151200"/>
          </a:xfrm>
          <a:prstGeom prst="rect">
            <a:avLst/>
          </a:prstGeom>
        </p:spPr>
        <p:txBody>
          <a:bodyPr lIns="0" tIns="0" rIns="0" bIns="0"/>
          <a:lstStyle>
            <a:defPPr lvl="0">
              <a:defRPr lang="de-DE"/>
            </a:defPPr>
            <a:lvl1pPr marL="0" lvl="1" algn="l" defTabSz="914400" rtl="0" eaLnBrk="1" latinLnBrk="0" hangingPunct="1">
              <a:defRPr sz="675" b="1"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2EA1D04-CA53-4DE3-84A8-2B63E41036C9}" type="slidenum">
              <a:rPr lang="en-US" sz="800" smtClean="0"/>
              <a:pPr>
                <a:defRPr/>
              </a:pPr>
              <a:t>34</a:t>
            </a:fld>
            <a:endParaRPr lang="en-US" sz="800" dirty="0">
              <a:solidFill>
                <a:srgbClr val="000000"/>
              </a:solidFill>
              <a:latin typeface="Arial" panose="020B0604020202020204"/>
              <a:cs typeface="Arial"/>
            </a:endParaRPr>
          </a:p>
        </p:txBody>
      </p:sp>
    </p:spTree>
    <p:extLst>
      <p:ext uri="{BB962C8B-B14F-4D97-AF65-F5344CB8AC3E}">
        <p14:creationId xmlns:p14="http://schemas.microsoft.com/office/powerpoint/2010/main" val="15571835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5A21EDE-C24A-E9E2-8487-A7B160B65DD7}"/>
              </a:ext>
            </a:extLst>
          </p:cNvPr>
          <p:cNvGraphicFramePr>
            <a:graphicFrameLocks noChangeAspect="1"/>
          </p:cNvGraphicFramePr>
          <p:nvPr>
            <p:custDataLst>
              <p:tags r:id="rId1"/>
            </p:custDataLst>
            <p:extLst>
              <p:ext uri="{D42A27DB-BD31-4B8C-83A1-F6EECF244321}">
                <p14:modId xmlns:p14="http://schemas.microsoft.com/office/powerpoint/2010/main" val="1233292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3" name="think-cell data - do not delete" hidden="1">
                        <a:extLst>
                          <a:ext uri="{FF2B5EF4-FFF2-40B4-BE49-F238E27FC236}">
                            <a16:creationId xmlns:a16="http://schemas.microsoft.com/office/drawing/2014/main" id="{A5A21EDE-C24A-E9E2-8487-A7B160B65D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1EE3CB-88A6-9846-0273-B29487B6AAC0}"/>
              </a:ext>
            </a:extLst>
          </p:cNvPr>
          <p:cNvSpPr>
            <a:spLocks noGrp="1"/>
          </p:cNvSpPr>
          <p:nvPr>
            <p:ph type="title"/>
          </p:nvPr>
        </p:nvSpPr>
        <p:spPr>
          <a:xfrm>
            <a:off x="406800" y="413745"/>
            <a:ext cx="11736000" cy="853200"/>
          </a:xfrm>
        </p:spPr>
        <p:txBody>
          <a:bodyPr vert="horz"/>
          <a:lstStyle/>
          <a:p>
            <a:r>
              <a:rPr lang="en-US" sz="2800" b="1" dirty="0"/>
              <a:t>Vardenafil drug layering with Kollicoat</a:t>
            </a:r>
            <a:r>
              <a:rPr lang="en-US" sz="2800" baseline="30000" dirty="0">
                <a:effectLst/>
                <a:latin typeface="Arial" panose="020B0604020202020204" pitchFamily="34" charset="0"/>
                <a:ea typeface="Arial" panose="020B0604020202020204" pitchFamily="34" charset="0"/>
                <a:cs typeface="Times New Roman" panose="02020603050405020304" pitchFamily="18" charset="0"/>
              </a:rPr>
              <a:t>®</a:t>
            </a:r>
            <a:r>
              <a:rPr lang="en-US" sz="2800" b="1" dirty="0"/>
              <a:t> IR</a:t>
            </a:r>
          </a:p>
        </p:txBody>
      </p:sp>
      <p:sp>
        <p:nvSpPr>
          <p:cNvPr id="6" name="Text Placeholder 5">
            <a:extLst>
              <a:ext uri="{FF2B5EF4-FFF2-40B4-BE49-F238E27FC236}">
                <a16:creationId xmlns:a16="http://schemas.microsoft.com/office/drawing/2014/main" id="{B66EA8C9-77CE-B963-7AC6-F60B658910B8}"/>
              </a:ext>
            </a:extLst>
          </p:cNvPr>
          <p:cNvSpPr>
            <a:spLocks noGrp="1"/>
          </p:cNvSpPr>
          <p:nvPr>
            <p:ph type="body" idx="1"/>
          </p:nvPr>
        </p:nvSpPr>
        <p:spPr>
          <a:xfrm>
            <a:off x="442234" y="1251632"/>
            <a:ext cx="11753977" cy="320304"/>
          </a:xfrm>
        </p:spPr>
        <p:txBody>
          <a:bodyPr/>
          <a:lstStyle/>
          <a:p>
            <a:pPr marL="0" indent="0">
              <a:buNone/>
            </a:pPr>
            <a:r>
              <a:rPr lang="en-US" sz="1800" b="1" dirty="0">
                <a:solidFill>
                  <a:schemeClr val="accent1"/>
                </a:solidFill>
              </a:rPr>
              <a:t>Drug Loading Formula</a:t>
            </a:r>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p:txBody>
      </p:sp>
      <p:sp>
        <p:nvSpPr>
          <p:cNvPr id="3" name="Footer Placeholder 2">
            <a:extLst>
              <a:ext uri="{FF2B5EF4-FFF2-40B4-BE49-F238E27FC236}">
                <a16:creationId xmlns:a16="http://schemas.microsoft.com/office/drawing/2014/main" id="{DA728320-CECA-CCE2-D2DD-CC0175152F0A}"/>
              </a:ext>
            </a:extLst>
          </p:cNvPr>
          <p:cNvSpPr>
            <a:spLocks noGrp="1"/>
          </p:cNvSpPr>
          <p:nvPr>
            <p:ph type="ftr" sz="quarter" idx="10"/>
          </p:nvPr>
        </p:nvSpPr>
        <p:spPr/>
        <p:txBody>
          <a:bodyPr/>
          <a:lstStyle/>
          <a:p>
            <a:r>
              <a:rPr lang="en-US" sz="800" dirty="0"/>
              <a:t>BASF Pharma Solutions –Orals Platform</a:t>
            </a:r>
          </a:p>
        </p:txBody>
      </p:sp>
      <p:sp>
        <p:nvSpPr>
          <p:cNvPr id="4" name="Slide Number Placeholder 3">
            <a:extLst>
              <a:ext uri="{FF2B5EF4-FFF2-40B4-BE49-F238E27FC236}">
                <a16:creationId xmlns:a16="http://schemas.microsoft.com/office/drawing/2014/main" id="{02B46B7E-F0D8-B93D-ABC1-E18A4C1A13DC}"/>
              </a:ext>
            </a:extLst>
          </p:cNvPr>
          <p:cNvSpPr>
            <a:spLocks noGrp="1"/>
          </p:cNvSpPr>
          <p:nvPr>
            <p:ph type="sldNum" sz="quarter" idx="12"/>
          </p:nvPr>
        </p:nvSpPr>
        <p:spPr/>
        <p:txBody>
          <a:bodyPr/>
          <a:lstStyle/>
          <a:p>
            <a:fld id="{82EA1D04-CA53-4DE3-84A8-2B63E41036C9}" type="slidenum">
              <a:rPr lang="en-US" sz="800" smtClean="0"/>
              <a:pPr/>
              <a:t>35</a:t>
            </a:fld>
            <a:endParaRPr lang="en-US" sz="800" dirty="0"/>
          </a:p>
        </p:txBody>
      </p:sp>
      <p:graphicFrame>
        <p:nvGraphicFramePr>
          <p:cNvPr id="5" name="Table 4">
            <a:extLst>
              <a:ext uri="{FF2B5EF4-FFF2-40B4-BE49-F238E27FC236}">
                <a16:creationId xmlns:a16="http://schemas.microsoft.com/office/drawing/2014/main" id="{D7800FDA-AB96-01A1-9790-54A750627603}"/>
              </a:ext>
            </a:extLst>
          </p:cNvPr>
          <p:cNvGraphicFramePr>
            <a:graphicFrameLocks noGrp="1"/>
          </p:cNvGraphicFramePr>
          <p:nvPr>
            <p:extLst>
              <p:ext uri="{D42A27DB-BD31-4B8C-83A1-F6EECF244321}">
                <p14:modId xmlns:p14="http://schemas.microsoft.com/office/powerpoint/2010/main" val="2225482118"/>
              </p:ext>
            </p:extLst>
          </p:nvPr>
        </p:nvGraphicFramePr>
        <p:xfrm>
          <a:off x="442234" y="1629957"/>
          <a:ext cx="4576309" cy="1618207"/>
        </p:xfrm>
        <a:graphic>
          <a:graphicData uri="http://schemas.openxmlformats.org/drawingml/2006/table">
            <a:tbl>
              <a:tblPr firstRow="1" firstCol="1" bandRow="1">
                <a:tableStyleId>{3B4B98B0-60AC-42C2-AFA5-B58CD77FA1E5}</a:tableStyleId>
              </a:tblPr>
              <a:tblGrid>
                <a:gridCol w="2854419">
                  <a:extLst>
                    <a:ext uri="{9D8B030D-6E8A-4147-A177-3AD203B41FA5}">
                      <a16:colId xmlns:a16="http://schemas.microsoft.com/office/drawing/2014/main" val="1988286460"/>
                    </a:ext>
                  </a:extLst>
                </a:gridCol>
                <a:gridCol w="1721890">
                  <a:extLst>
                    <a:ext uri="{9D8B030D-6E8A-4147-A177-3AD203B41FA5}">
                      <a16:colId xmlns:a16="http://schemas.microsoft.com/office/drawing/2014/main" val="2954760226"/>
                    </a:ext>
                  </a:extLst>
                </a:gridCol>
              </a:tblGrid>
              <a:tr h="534536">
                <a:tc>
                  <a:txBody>
                    <a:bodyPr/>
                    <a:lstStyle/>
                    <a:p>
                      <a:pPr marL="0" marR="0">
                        <a:lnSpc>
                          <a:spcPct val="107000"/>
                        </a:lnSpc>
                        <a:spcBef>
                          <a:spcPts val="0"/>
                        </a:spcBef>
                        <a:spcAft>
                          <a:spcPts val="0"/>
                        </a:spcAft>
                      </a:pPr>
                      <a:r>
                        <a:rPr lang="en-US" sz="1600" b="1" dirty="0">
                          <a:solidFill>
                            <a:srgbClr val="000000"/>
                          </a:solidFill>
                          <a:effectLst/>
                        </a:rPr>
                        <a:t>Material Nam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1600" b="1" dirty="0">
                          <a:solidFill>
                            <a:srgbClr val="000000"/>
                          </a:solidFill>
                          <a:effectLst/>
                        </a:rPr>
                        <a:t>Qty per batch (g)</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17287005"/>
                  </a:ext>
                </a:extLst>
              </a:tr>
              <a:tr h="279251">
                <a:tc>
                  <a:txBody>
                    <a:bodyPr/>
                    <a:lstStyle/>
                    <a:p>
                      <a:pPr marL="0" marR="0">
                        <a:lnSpc>
                          <a:spcPct val="107000"/>
                        </a:lnSpc>
                        <a:spcBef>
                          <a:spcPts val="0"/>
                        </a:spcBef>
                        <a:spcAft>
                          <a:spcPts val="0"/>
                        </a:spcAft>
                      </a:pPr>
                      <a:r>
                        <a:rPr lang="en-US" sz="1600" dirty="0">
                          <a:effectLst/>
                        </a:rPr>
                        <a:t>MCC Spheres (Cellets 20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1000.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182781209"/>
                  </a:ext>
                </a:extLst>
              </a:tr>
              <a:tr h="261660">
                <a:tc>
                  <a:txBody>
                    <a:bodyPr/>
                    <a:lstStyle/>
                    <a:p>
                      <a:pPr marL="0" marR="0">
                        <a:lnSpc>
                          <a:spcPct val="107000"/>
                        </a:lnSpc>
                        <a:spcBef>
                          <a:spcPts val="0"/>
                        </a:spcBef>
                        <a:spcAft>
                          <a:spcPts val="0"/>
                        </a:spcAft>
                      </a:pPr>
                      <a:r>
                        <a:rPr lang="en-US" sz="1600" dirty="0">
                          <a:effectLst/>
                        </a:rPr>
                        <a:t>Vardenafil HCL. 3H</a:t>
                      </a:r>
                      <a:r>
                        <a:rPr lang="en-US" sz="1600" baseline="-25000" dirty="0">
                          <a:effectLst/>
                        </a:rPr>
                        <a:t>2</a:t>
                      </a:r>
                      <a:r>
                        <a:rPr lang="en-US" sz="1600" dirty="0">
                          <a:effectLst/>
                        </a:rPr>
                        <a:t>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75.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267516535"/>
                  </a:ext>
                </a:extLst>
              </a:tr>
              <a:tr h="271380">
                <a:tc>
                  <a:txBody>
                    <a:bodyPr/>
                    <a:lstStyle/>
                    <a:p>
                      <a:pPr marL="0" marR="0">
                        <a:lnSpc>
                          <a:spcPct val="107000"/>
                        </a:lnSpc>
                        <a:spcBef>
                          <a:spcPts val="0"/>
                        </a:spcBef>
                        <a:spcAft>
                          <a:spcPts val="0"/>
                        </a:spcAft>
                      </a:pPr>
                      <a:r>
                        <a:rPr lang="en-US" sz="1600" dirty="0">
                          <a:effectLst/>
                        </a:rPr>
                        <a:t>Kollicoat</a:t>
                      </a:r>
                      <a:r>
                        <a:rPr lang="en-US" sz="1600" baseline="30000" dirty="0">
                          <a:effectLst/>
                        </a:rPr>
                        <a:t>®</a:t>
                      </a:r>
                      <a:r>
                        <a:rPr lang="en-US" sz="1600" dirty="0">
                          <a:effectLst/>
                        </a:rPr>
                        <a:t> IR</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25.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96370928"/>
                  </a:ext>
                </a:extLst>
              </a:tr>
              <a:tr h="271380">
                <a:tc>
                  <a:txBody>
                    <a:bodyPr/>
                    <a:lstStyle/>
                    <a:p>
                      <a:pPr marL="0" marR="0">
                        <a:lnSpc>
                          <a:spcPct val="107000"/>
                        </a:lnSpc>
                        <a:spcBef>
                          <a:spcPts val="0"/>
                        </a:spcBef>
                        <a:spcAft>
                          <a:spcPts val="0"/>
                        </a:spcAft>
                      </a:pPr>
                      <a:r>
                        <a:rPr lang="en-US" sz="1600" dirty="0">
                          <a:effectLst/>
                        </a:rPr>
                        <a:t>Water</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400.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410072805"/>
                  </a:ext>
                </a:extLst>
              </a:tr>
            </a:tbl>
          </a:graphicData>
        </a:graphic>
      </p:graphicFrame>
      <p:graphicFrame>
        <p:nvGraphicFramePr>
          <p:cNvPr id="9" name="Table 8">
            <a:extLst>
              <a:ext uri="{FF2B5EF4-FFF2-40B4-BE49-F238E27FC236}">
                <a16:creationId xmlns:a16="http://schemas.microsoft.com/office/drawing/2014/main" id="{AAC827E3-943B-A577-7232-FF77B47E9278}"/>
              </a:ext>
            </a:extLst>
          </p:cNvPr>
          <p:cNvGraphicFramePr>
            <a:graphicFrameLocks noGrp="1"/>
          </p:cNvGraphicFramePr>
          <p:nvPr>
            <p:extLst>
              <p:ext uri="{D42A27DB-BD31-4B8C-83A1-F6EECF244321}">
                <p14:modId xmlns:p14="http://schemas.microsoft.com/office/powerpoint/2010/main" val="1113729037"/>
              </p:ext>
            </p:extLst>
          </p:nvPr>
        </p:nvGraphicFramePr>
        <p:xfrm>
          <a:off x="406800" y="4178888"/>
          <a:ext cx="4611743" cy="1665053"/>
        </p:xfrm>
        <a:graphic>
          <a:graphicData uri="http://schemas.openxmlformats.org/drawingml/2006/table">
            <a:tbl>
              <a:tblPr firstRow="1" firstCol="1" bandRow="1">
                <a:tableStyleId>{3B4B98B0-60AC-42C2-AFA5-B58CD77FA1E5}</a:tableStyleId>
              </a:tblPr>
              <a:tblGrid>
                <a:gridCol w="3136350">
                  <a:extLst>
                    <a:ext uri="{9D8B030D-6E8A-4147-A177-3AD203B41FA5}">
                      <a16:colId xmlns:a16="http://schemas.microsoft.com/office/drawing/2014/main" val="72794721"/>
                    </a:ext>
                  </a:extLst>
                </a:gridCol>
                <a:gridCol w="1475393">
                  <a:extLst>
                    <a:ext uri="{9D8B030D-6E8A-4147-A177-3AD203B41FA5}">
                      <a16:colId xmlns:a16="http://schemas.microsoft.com/office/drawing/2014/main" val="2251122908"/>
                    </a:ext>
                  </a:extLst>
                </a:gridCol>
              </a:tblGrid>
              <a:tr h="506846">
                <a:tc>
                  <a:txBody>
                    <a:bodyPr/>
                    <a:lstStyle/>
                    <a:p>
                      <a:pPr marL="0" marR="0">
                        <a:lnSpc>
                          <a:spcPct val="107000"/>
                        </a:lnSpc>
                        <a:spcBef>
                          <a:spcPts val="0"/>
                        </a:spcBef>
                        <a:spcAft>
                          <a:spcPts val="0"/>
                        </a:spcAft>
                      </a:pPr>
                      <a:r>
                        <a:rPr lang="en-US" sz="1600" b="1" dirty="0">
                          <a:solidFill>
                            <a:srgbClr val="000000"/>
                          </a:solidFill>
                          <a:effectLst/>
                        </a:rPr>
                        <a:t>Parameters</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b="1" dirty="0">
                          <a:effectLst/>
                        </a:rPr>
                        <a:t>Observed Values</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48206908"/>
                  </a:ext>
                </a:extLst>
              </a:tr>
              <a:tr h="312462">
                <a:tc>
                  <a:txBody>
                    <a:bodyPr/>
                    <a:lstStyle/>
                    <a:p>
                      <a:pPr marL="0" marR="0" algn="l">
                        <a:lnSpc>
                          <a:spcPct val="107000"/>
                        </a:lnSpc>
                        <a:spcBef>
                          <a:spcPts val="0"/>
                        </a:spcBef>
                        <a:spcAft>
                          <a:spcPts val="0"/>
                        </a:spcAft>
                      </a:pPr>
                      <a:r>
                        <a:rPr lang="en-US" sz="1600" dirty="0">
                          <a:effectLst/>
                        </a:rPr>
                        <a:t>Inlet Temperature (</a:t>
                      </a:r>
                      <a:r>
                        <a:rPr lang="en-US" sz="1600" baseline="30000" dirty="0">
                          <a:effectLst/>
                        </a:rPr>
                        <a:t>0</a:t>
                      </a:r>
                      <a:r>
                        <a:rPr lang="en-US" sz="1600" dirty="0">
                          <a:effectLst/>
                        </a:rPr>
                        <a:t>C)</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48.0 - 52.6</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14616858"/>
                  </a:ext>
                </a:extLst>
              </a:tr>
              <a:tr h="281915">
                <a:tc>
                  <a:txBody>
                    <a:bodyPr/>
                    <a:lstStyle/>
                    <a:p>
                      <a:pPr marL="0" marR="0" algn="l">
                        <a:lnSpc>
                          <a:spcPct val="107000"/>
                        </a:lnSpc>
                        <a:spcBef>
                          <a:spcPts val="0"/>
                        </a:spcBef>
                        <a:spcAft>
                          <a:spcPts val="0"/>
                        </a:spcAft>
                      </a:pPr>
                      <a:r>
                        <a:rPr lang="en-US" sz="1600" dirty="0">
                          <a:effectLst/>
                        </a:rPr>
                        <a:t>Inlet Airflow (m</a:t>
                      </a:r>
                      <a:r>
                        <a:rPr lang="en-US" sz="1600" baseline="30000" dirty="0">
                          <a:effectLst/>
                        </a:rPr>
                        <a:t>3</a:t>
                      </a:r>
                      <a:r>
                        <a:rPr lang="en-US" sz="1600" dirty="0">
                          <a:effectLst/>
                        </a:rPr>
                        <a:t>/hr.)</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45 - 54</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22199948"/>
                  </a:ext>
                </a:extLst>
              </a:tr>
              <a:tr h="281915">
                <a:tc>
                  <a:txBody>
                    <a:bodyPr/>
                    <a:lstStyle/>
                    <a:p>
                      <a:pPr marL="0" marR="0" algn="l">
                        <a:lnSpc>
                          <a:spcPct val="107000"/>
                        </a:lnSpc>
                        <a:spcBef>
                          <a:spcPts val="0"/>
                        </a:spcBef>
                        <a:spcAft>
                          <a:spcPts val="0"/>
                        </a:spcAft>
                      </a:pPr>
                      <a:r>
                        <a:rPr lang="en-US" sz="1600" dirty="0">
                          <a:effectLst/>
                        </a:rPr>
                        <a:t>Product Temperature (</a:t>
                      </a:r>
                      <a:r>
                        <a:rPr lang="en-US" sz="1600" baseline="30000" dirty="0">
                          <a:effectLst/>
                        </a:rPr>
                        <a:t>0</a:t>
                      </a:r>
                      <a:r>
                        <a:rPr lang="en-US" sz="1600" dirty="0">
                          <a:effectLst/>
                        </a:rPr>
                        <a:t>C)</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39.6 - 41.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437340"/>
                  </a:ext>
                </a:extLst>
              </a:tr>
              <a:tr h="281915">
                <a:tc>
                  <a:txBody>
                    <a:bodyPr/>
                    <a:lstStyle/>
                    <a:p>
                      <a:pPr marL="0" marR="0" algn="l">
                        <a:lnSpc>
                          <a:spcPct val="107000"/>
                        </a:lnSpc>
                        <a:spcBef>
                          <a:spcPts val="0"/>
                        </a:spcBef>
                        <a:spcAft>
                          <a:spcPts val="0"/>
                        </a:spcAft>
                      </a:pPr>
                      <a:r>
                        <a:rPr lang="en-US" sz="1600" dirty="0">
                          <a:effectLst/>
                        </a:rPr>
                        <a:t>Exhaust Temperature (</a:t>
                      </a:r>
                      <a:r>
                        <a:rPr lang="en-US" sz="1600" baseline="30000" dirty="0">
                          <a:effectLst/>
                        </a:rPr>
                        <a:t>0</a:t>
                      </a:r>
                      <a:r>
                        <a:rPr lang="en-US" sz="1600" dirty="0">
                          <a:effectLst/>
                        </a:rPr>
                        <a:t>C)</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38.1 - 39.3</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296552958"/>
                  </a:ext>
                </a:extLst>
              </a:tr>
            </a:tbl>
          </a:graphicData>
        </a:graphic>
      </p:graphicFrame>
      <p:graphicFrame>
        <p:nvGraphicFramePr>
          <p:cNvPr id="11" name="Table 10">
            <a:extLst>
              <a:ext uri="{FF2B5EF4-FFF2-40B4-BE49-F238E27FC236}">
                <a16:creationId xmlns:a16="http://schemas.microsoft.com/office/drawing/2014/main" id="{2471E16C-8593-B7E4-D175-E293867EE6BA}"/>
              </a:ext>
            </a:extLst>
          </p:cNvPr>
          <p:cNvGraphicFramePr>
            <a:graphicFrameLocks noGrp="1"/>
          </p:cNvGraphicFramePr>
          <p:nvPr>
            <p:extLst>
              <p:ext uri="{D42A27DB-BD31-4B8C-83A1-F6EECF244321}">
                <p14:modId xmlns:p14="http://schemas.microsoft.com/office/powerpoint/2010/main" val="1819188120"/>
              </p:ext>
            </p:extLst>
          </p:nvPr>
        </p:nvGraphicFramePr>
        <p:xfrm>
          <a:off x="6293583" y="4181056"/>
          <a:ext cx="4671723" cy="1662885"/>
        </p:xfrm>
        <a:graphic>
          <a:graphicData uri="http://schemas.openxmlformats.org/drawingml/2006/table">
            <a:tbl>
              <a:tblPr firstRow="1" firstCol="1" bandRow="1">
                <a:tableStyleId>{3B4B98B0-60AC-42C2-AFA5-B58CD77FA1E5}</a:tableStyleId>
              </a:tblPr>
              <a:tblGrid>
                <a:gridCol w="3451885">
                  <a:extLst>
                    <a:ext uri="{9D8B030D-6E8A-4147-A177-3AD203B41FA5}">
                      <a16:colId xmlns:a16="http://schemas.microsoft.com/office/drawing/2014/main" val="72794721"/>
                    </a:ext>
                  </a:extLst>
                </a:gridCol>
                <a:gridCol w="1219838">
                  <a:extLst>
                    <a:ext uri="{9D8B030D-6E8A-4147-A177-3AD203B41FA5}">
                      <a16:colId xmlns:a16="http://schemas.microsoft.com/office/drawing/2014/main" val="2251122908"/>
                    </a:ext>
                  </a:extLst>
                </a:gridCol>
              </a:tblGrid>
              <a:tr h="388884">
                <a:tc>
                  <a:txBody>
                    <a:bodyPr/>
                    <a:lstStyle/>
                    <a:p>
                      <a:pPr marL="0" marR="0">
                        <a:lnSpc>
                          <a:spcPct val="107000"/>
                        </a:lnSpc>
                        <a:spcBef>
                          <a:spcPts val="0"/>
                        </a:spcBef>
                        <a:spcAft>
                          <a:spcPts val="0"/>
                        </a:spcAft>
                      </a:pPr>
                      <a:r>
                        <a:rPr lang="en-US" sz="1600" b="1" dirty="0">
                          <a:solidFill>
                            <a:srgbClr val="000000"/>
                          </a:solidFill>
                          <a:effectLst/>
                        </a:rPr>
                        <a:t>Parameters</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b="1" dirty="0">
                          <a:effectLst/>
                        </a:rPr>
                        <a:t>Observed Values</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48206908"/>
                  </a:ext>
                </a:extLst>
              </a:tr>
              <a:tr h="318949">
                <a:tc>
                  <a:txBody>
                    <a:bodyPr/>
                    <a:lstStyle/>
                    <a:p>
                      <a:pPr marL="0" marR="0" algn="l">
                        <a:lnSpc>
                          <a:spcPct val="107000"/>
                        </a:lnSpc>
                        <a:spcBef>
                          <a:spcPts val="0"/>
                        </a:spcBef>
                        <a:spcAft>
                          <a:spcPts val="0"/>
                        </a:spcAft>
                      </a:pPr>
                      <a:r>
                        <a:rPr lang="en-US" sz="1600" dirty="0">
                          <a:effectLst/>
                        </a:rPr>
                        <a:t>Atomization Air Pressure (</a:t>
                      </a:r>
                      <a:r>
                        <a:rPr lang="en-US" sz="1600" baseline="0" dirty="0">
                          <a:effectLst/>
                        </a:rPr>
                        <a:t>bar</a:t>
                      </a:r>
                      <a:r>
                        <a:rPr lang="en-US" sz="1600" dirty="0">
                          <a:effectLst/>
                        </a:rPr>
                        <a: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1.1 - 1.4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14616858"/>
                  </a:ext>
                </a:extLst>
              </a:tr>
              <a:tr h="274320">
                <a:tc>
                  <a:txBody>
                    <a:bodyPr/>
                    <a:lstStyle/>
                    <a:p>
                      <a:pPr marL="0" marR="0" algn="l">
                        <a:lnSpc>
                          <a:spcPct val="107000"/>
                        </a:lnSpc>
                        <a:spcBef>
                          <a:spcPts val="0"/>
                        </a:spcBef>
                        <a:spcAft>
                          <a:spcPts val="0"/>
                        </a:spcAft>
                      </a:pPr>
                      <a:r>
                        <a:rPr lang="en-US" sz="1600" dirty="0">
                          <a:effectLst/>
                        </a:rPr>
                        <a:t>Microclimate Air Pressure (mbar)</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50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22199948"/>
                  </a:ext>
                </a:extLst>
              </a:tr>
              <a:tr h="274320">
                <a:tc>
                  <a:txBody>
                    <a:bodyPr/>
                    <a:lstStyle/>
                    <a:p>
                      <a:pPr marL="0" marR="0" algn="l">
                        <a:lnSpc>
                          <a:spcPct val="107000"/>
                        </a:lnSpc>
                        <a:spcBef>
                          <a:spcPts val="0"/>
                        </a:spcBef>
                        <a:spcAft>
                          <a:spcPts val="0"/>
                        </a:spcAft>
                      </a:pPr>
                      <a:r>
                        <a:rPr lang="en-US" sz="1600" dirty="0">
                          <a:effectLst/>
                        </a:rPr>
                        <a:t>Spray Nozzle Size (mm)</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0.8 </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437340"/>
                  </a:ext>
                </a:extLst>
              </a:tr>
              <a:tr h="292439">
                <a:tc>
                  <a:txBody>
                    <a:bodyPr/>
                    <a:lstStyle/>
                    <a:p>
                      <a:pPr marL="0" marR="0" algn="l">
                        <a:lnSpc>
                          <a:spcPct val="107000"/>
                        </a:lnSpc>
                        <a:spcBef>
                          <a:spcPts val="0"/>
                        </a:spcBef>
                        <a:spcAft>
                          <a:spcPts val="0"/>
                        </a:spcAft>
                      </a:pPr>
                      <a:r>
                        <a:rPr lang="en-US" sz="1600" dirty="0">
                          <a:effectLst/>
                        </a:rPr>
                        <a:t>Spray Rate (g/min)</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0.8 – 1.5</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296552958"/>
                  </a:ext>
                </a:extLst>
              </a:tr>
            </a:tbl>
          </a:graphicData>
        </a:graphic>
      </p:graphicFrame>
      <p:pic>
        <p:nvPicPr>
          <p:cNvPr id="7" name="Picture 2" descr="Solidlab 1 | Syntegon">
            <a:extLst>
              <a:ext uri="{FF2B5EF4-FFF2-40B4-BE49-F238E27FC236}">
                <a16:creationId xmlns:a16="http://schemas.microsoft.com/office/drawing/2014/main" id="{0436A90D-F13B-B31C-51D3-E0E6A1AD0CB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293582" y="1266945"/>
            <a:ext cx="5651597" cy="2675135"/>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A031EEC-C7E8-637A-1D5D-86DA17BB0930}"/>
              </a:ext>
            </a:extLst>
          </p:cNvPr>
          <p:cNvSpPr txBox="1"/>
          <p:nvPr/>
        </p:nvSpPr>
        <p:spPr>
          <a:xfrm>
            <a:off x="361851" y="3706807"/>
            <a:ext cx="6096000" cy="369332"/>
          </a:xfrm>
          <a:prstGeom prst="rect">
            <a:avLst/>
          </a:prstGeom>
          <a:noFill/>
        </p:spPr>
        <p:txBody>
          <a:bodyPr wrap="square">
            <a:spAutoFit/>
          </a:bodyPr>
          <a:lstStyle/>
          <a:p>
            <a:pPr marL="0" indent="0">
              <a:buNone/>
            </a:pPr>
            <a:r>
              <a:rPr lang="en-US" sz="1800" b="1" dirty="0">
                <a:solidFill>
                  <a:schemeClr val="accent1"/>
                </a:solidFill>
              </a:rPr>
              <a:t>Drug Loading Process Parameters</a:t>
            </a:r>
          </a:p>
        </p:txBody>
      </p:sp>
      <p:sp>
        <p:nvSpPr>
          <p:cNvPr id="12" name="TextBox 11">
            <a:extLst>
              <a:ext uri="{FF2B5EF4-FFF2-40B4-BE49-F238E27FC236}">
                <a16:creationId xmlns:a16="http://schemas.microsoft.com/office/drawing/2014/main" id="{0681F231-79CA-7DCE-E630-F53271FEC96B}"/>
              </a:ext>
            </a:extLst>
          </p:cNvPr>
          <p:cNvSpPr txBox="1"/>
          <p:nvPr/>
        </p:nvSpPr>
        <p:spPr>
          <a:xfrm>
            <a:off x="361851" y="3247927"/>
            <a:ext cx="4041707" cy="307777"/>
          </a:xfrm>
          <a:prstGeom prst="rect">
            <a:avLst/>
          </a:prstGeom>
          <a:noFill/>
        </p:spPr>
        <p:txBody>
          <a:bodyPr wrap="square">
            <a:spAutoFit/>
          </a:bodyPr>
          <a:lstStyle/>
          <a:p>
            <a:pPr fontAlgn="auto">
              <a:spcBef>
                <a:spcPts val="0"/>
              </a:spcBef>
              <a:spcAft>
                <a:spcPts val="600"/>
              </a:spcAft>
              <a:defRPr/>
            </a:pPr>
            <a:r>
              <a:rPr kumimoji="0" lang="en-US" sz="1400" i="0" u="none" strike="noStrike" kern="1200" cap="none" spc="0" normalizeH="0" baseline="0" noProof="0" dirty="0">
                <a:ln>
                  <a:noFill/>
                </a:ln>
                <a:solidFill>
                  <a:srgbClr val="000000"/>
                </a:solidFill>
                <a:effectLst/>
                <a:uLnTx/>
                <a:uFillTx/>
                <a:latin typeface="Arial"/>
                <a:cs typeface="Arial"/>
              </a:rPr>
              <a:t>*Pellets size </a:t>
            </a:r>
            <a:r>
              <a:rPr lang="en-US" sz="1400" dirty="0">
                <a:solidFill>
                  <a:srgbClr val="000000"/>
                </a:solidFill>
                <a:latin typeface="Arial"/>
                <a:cs typeface="Arial"/>
              </a:rPr>
              <a:t>200</a:t>
            </a:r>
            <a:r>
              <a:rPr kumimoji="0" lang="en-US" sz="1400" i="0" u="none" strike="noStrike" kern="1200" cap="none" spc="0" normalizeH="0" baseline="0" noProof="0" dirty="0">
                <a:ln>
                  <a:noFill/>
                </a:ln>
                <a:solidFill>
                  <a:srgbClr val="000000"/>
                </a:solidFill>
                <a:effectLst/>
                <a:uLnTx/>
                <a:uFillTx/>
                <a:latin typeface="Arial"/>
                <a:cs typeface="Arial"/>
              </a:rPr>
              <a:t>-355 microns.</a:t>
            </a:r>
          </a:p>
        </p:txBody>
      </p:sp>
    </p:spTree>
    <p:extLst>
      <p:ext uri="{BB962C8B-B14F-4D97-AF65-F5344CB8AC3E}">
        <p14:creationId xmlns:p14="http://schemas.microsoft.com/office/powerpoint/2010/main" val="7761476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874EEB6E-4D3F-DC63-CF18-43036EBEBCD3}"/>
              </a:ext>
            </a:extLst>
          </p:cNvPr>
          <p:cNvGraphicFramePr>
            <a:graphicFrameLocks noChangeAspect="1"/>
          </p:cNvGraphicFramePr>
          <p:nvPr>
            <p:custDataLst>
              <p:tags r:id="rId1"/>
            </p:custDataLst>
            <p:extLst>
              <p:ext uri="{D42A27DB-BD31-4B8C-83A1-F6EECF244321}">
                <p14:modId xmlns:p14="http://schemas.microsoft.com/office/powerpoint/2010/main" val="2462239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3" name="think-cell data - do not delete" hidden="1">
                        <a:extLst>
                          <a:ext uri="{FF2B5EF4-FFF2-40B4-BE49-F238E27FC236}">
                            <a16:creationId xmlns:a16="http://schemas.microsoft.com/office/drawing/2014/main" id="{874EEB6E-4D3F-DC63-CF18-43036EBEBC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2" descr="Solidlab 1 | Syntegon">
            <a:extLst>
              <a:ext uri="{FF2B5EF4-FFF2-40B4-BE49-F238E27FC236}">
                <a16:creationId xmlns:a16="http://schemas.microsoft.com/office/drawing/2014/main" id="{029E189C-58E0-F45A-8158-13848D27897A}"/>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969760" y="1390706"/>
            <a:ext cx="5123277" cy="267513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621EE3CB-88A6-9846-0273-B29487B6AAC0}"/>
              </a:ext>
            </a:extLst>
          </p:cNvPr>
          <p:cNvSpPr>
            <a:spLocks noGrp="1"/>
          </p:cNvSpPr>
          <p:nvPr>
            <p:ph type="title"/>
          </p:nvPr>
        </p:nvSpPr>
        <p:spPr>
          <a:xfrm>
            <a:off x="406800" y="413745"/>
            <a:ext cx="11736000" cy="853200"/>
          </a:xfrm>
        </p:spPr>
        <p:txBody>
          <a:bodyPr vert="horz"/>
          <a:lstStyle/>
          <a:p>
            <a:r>
              <a:rPr lang="en-US" sz="2800" b="1" dirty="0"/>
              <a:t>Kollicoat</a:t>
            </a:r>
            <a:r>
              <a:rPr lang="en-US" sz="2800" baseline="30000" dirty="0">
                <a:effectLst/>
                <a:latin typeface="Arial" panose="020B0604020202020204" pitchFamily="34" charset="0"/>
                <a:ea typeface="Arial" panose="020B0604020202020204" pitchFamily="34" charset="0"/>
                <a:cs typeface="Times New Roman" panose="02020603050405020304" pitchFamily="18" charset="0"/>
              </a:rPr>
              <a:t>®</a:t>
            </a:r>
            <a:r>
              <a:rPr lang="en-US" sz="2800" b="1" dirty="0"/>
              <a:t> Smartseal 30 D coating on vardenafil </a:t>
            </a:r>
            <a:r>
              <a:rPr lang="en-US" dirty="0"/>
              <a:t>p</a:t>
            </a:r>
            <a:r>
              <a:rPr lang="en-US" sz="2800" b="1" dirty="0"/>
              <a:t>ellets</a:t>
            </a:r>
          </a:p>
        </p:txBody>
      </p:sp>
      <p:sp>
        <p:nvSpPr>
          <p:cNvPr id="6" name="Text Placeholder 5">
            <a:extLst>
              <a:ext uri="{FF2B5EF4-FFF2-40B4-BE49-F238E27FC236}">
                <a16:creationId xmlns:a16="http://schemas.microsoft.com/office/drawing/2014/main" id="{B66EA8C9-77CE-B963-7AC6-F60B658910B8}"/>
              </a:ext>
            </a:extLst>
          </p:cNvPr>
          <p:cNvSpPr>
            <a:spLocks noGrp="1"/>
          </p:cNvSpPr>
          <p:nvPr>
            <p:ph type="body" idx="1"/>
          </p:nvPr>
        </p:nvSpPr>
        <p:spPr>
          <a:xfrm>
            <a:off x="388823" y="1216892"/>
            <a:ext cx="11753977" cy="256308"/>
          </a:xfrm>
        </p:spPr>
        <p:txBody>
          <a:bodyPr/>
          <a:lstStyle/>
          <a:p>
            <a:pPr marL="0" indent="0">
              <a:lnSpc>
                <a:spcPct val="100000"/>
              </a:lnSpc>
              <a:buNone/>
            </a:pPr>
            <a:r>
              <a:rPr lang="en-US" sz="1800" b="1" dirty="0">
                <a:solidFill>
                  <a:schemeClr val="accent1"/>
                </a:solidFill>
              </a:rPr>
              <a:t>Coating Formula</a:t>
            </a:r>
          </a:p>
          <a:p>
            <a:pPr marL="0" indent="0">
              <a:buNone/>
            </a:pPr>
            <a:endParaRPr lang="en-US" sz="1800" b="1" dirty="0">
              <a:solidFill>
                <a:schemeClr val="accent1"/>
              </a:solidFill>
            </a:endParaRPr>
          </a:p>
          <a:p>
            <a:pPr marL="0" indent="0">
              <a:buNone/>
            </a:pPr>
            <a:endParaRPr lang="en-US" sz="1800" b="1" dirty="0">
              <a:solidFill>
                <a:schemeClr val="accent1"/>
              </a:solidFill>
            </a:endParaRPr>
          </a:p>
          <a:p>
            <a:pPr marL="0" indent="0">
              <a:buNone/>
            </a:pPr>
            <a:endParaRPr lang="en-US" sz="1800" b="1" dirty="0">
              <a:solidFill>
                <a:schemeClr val="accent1"/>
              </a:solidFill>
            </a:endParaRPr>
          </a:p>
          <a:p>
            <a:pPr marL="0" indent="0">
              <a:buNone/>
            </a:pPr>
            <a:endParaRPr lang="en-US" sz="1800" b="1" dirty="0">
              <a:solidFill>
                <a:schemeClr val="accent1"/>
              </a:solidFill>
            </a:endParaRPr>
          </a:p>
          <a:p>
            <a:pPr marL="0" indent="0">
              <a:buNone/>
            </a:pPr>
            <a:endParaRPr lang="en-US" sz="1800" b="1" dirty="0">
              <a:solidFill>
                <a:schemeClr val="accent1"/>
              </a:solidFill>
            </a:endParaRPr>
          </a:p>
        </p:txBody>
      </p:sp>
      <p:sp>
        <p:nvSpPr>
          <p:cNvPr id="3" name="Footer Placeholder 2">
            <a:extLst>
              <a:ext uri="{FF2B5EF4-FFF2-40B4-BE49-F238E27FC236}">
                <a16:creationId xmlns:a16="http://schemas.microsoft.com/office/drawing/2014/main" id="{DA728320-CECA-CCE2-D2DD-CC0175152F0A}"/>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800" i="0" u="none" strike="noStrike" kern="1200" cap="none" spc="0" normalizeH="0" baseline="0" noProof="0" dirty="0">
                <a:ln>
                  <a:noFill/>
                </a:ln>
                <a:solidFill>
                  <a:srgbClr val="000000"/>
                </a:solidFill>
                <a:effectLst/>
                <a:uLnTx/>
                <a:uFillTx/>
                <a:latin typeface="Arial" panose="020B0604020202020204"/>
                <a:cs typeface="Arial"/>
              </a:rPr>
              <a:t>BASF Pharma Solutions –Orals Platform</a:t>
            </a:r>
          </a:p>
        </p:txBody>
      </p:sp>
      <p:sp>
        <p:nvSpPr>
          <p:cNvPr id="4" name="Slide Number Placeholder 3">
            <a:extLst>
              <a:ext uri="{FF2B5EF4-FFF2-40B4-BE49-F238E27FC236}">
                <a16:creationId xmlns:a16="http://schemas.microsoft.com/office/drawing/2014/main" id="{02B46B7E-F0D8-B93D-ABC1-E18A4C1A13D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82EA1D04-CA53-4DE3-84A8-2B63E41036C9}" type="slidenum">
              <a:rPr kumimoji="0" lang="en-US" sz="8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6</a:t>
            </a:fld>
            <a:endParaRPr kumimoji="0" lang="en-US" sz="800" b="1" i="0" u="none" strike="noStrike" kern="1200" cap="none" spc="0" normalizeH="0" baseline="0" noProof="0" dirty="0">
              <a:ln>
                <a:noFill/>
              </a:ln>
              <a:solidFill>
                <a:srgbClr val="000000"/>
              </a:solidFill>
              <a:effectLst/>
              <a:uLnTx/>
              <a:uFillTx/>
              <a:latin typeface="Arial" panose="020B0604020202020204"/>
              <a:cs typeface="Arial"/>
            </a:endParaRPr>
          </a:p>
        </p:txBody>
      </p:sp>
      <p:graphicFrame>
        <p:nvGraphicFramePr>
          <p:cNvPr id="9" name="Table 8">
            <a:extLst>
              <a:ext uri="{FF2B5EF4-FFF2-40B4-BE49-F238E27FC236}">
                <a16:creationId xmlns:a16="http://schemas.microsoft.com/office/drawing/2014/main" id="{AAC827E3-943B-A577-7232-FF77B47E9278}"/>
              </a:ext>
            </a:extLst>
          </p:cNvPr>
          <p:cNvGraphicFramePr>
            <a:graphicFrameLocks noGrp="1"/>
          </p:cNvGraphicFramePr>
          <p:nvPr>
            <p:extLst>
              <p:ext uri="{D42A27DB-BD31-4B8C-83A1-F6EECF244321}">
                <p14:modId xmlns:p14="http://schemas.microsoft.com/office/powerpoint/2010/main" val="2139495586"/>
              </p:ext>
            </p:extLst>
          </p:nvPr>
        </p:nvGraphicFramePr>
        <p:xfrm>
          <a:off x="388823" y="4255598"/>
          <a:ext cx="4835760" cy="1779442"/>
        </p:xfrm>
        <a:graphic>
          <a:graphicData uri="http://schemas.openxmlformats.org/drawingml/2006/table">
            <a:tbl>
              <a:tblPr firstRow="1" firstCol="1" bandRow="1">
                <a:tableStyleId>{3B4B98B0-60AC-42C2-AFA5-B58CD77FA1E5}</a:tableStyleId>
              </a:tblPr>
              <a:tblGrid>
                <a:gridCol w="3194269">
                  <a:extLst>
                    <a:ext uri="{9D8B030D-6E8A-4147-A177-3AD203B41FA5}">
                      <a16:colId xmlns:a16="http://schemas.microsoft.com/office/drawing/2014/main" val="72794721"/>
                    </a:ext>
                  </a:extLst>
                </a:gridCol>
                <a:gridCol w="1641491">
                  <a:extLst>
                    <a:ext uri="{9D8B030D-6E8A-4147-A177-3AD203B41FA5}">
                      <a16:colId xmlns:a16="http://schemas.microsoft.com/office/drawing/2014/main" val="2251122908"/>
                    </a:ext>
                  </a:extLst>
                </a:gridCol>
              </a:tblGrid>
              <a:tr h="492935">
                <a:tc>
                  <a:txBody>
                    <a:bodyPr/>
                    <a:lstStyle/>
                    <a:p>
                      <a:pPr marL="0" marR="0">
                        <a:lnSpc>
                          <a:spcPct val="107000"/>
                        </a:lnSpc>
                        <a:spcBef>
                          <a:spcPts val="0"/>
                        </a:spcBef>
                        <a:spcAft>
                          <a:spcPts val="0"/>
                        </a:spcAft>
                      </a:pPr>
                      <a:r>
                        <a:rPr lang="en-US" sz="1600" b="1" dirty="0">
                          <a:solidFill>
                            <a:srgbClr val="000000"/>
                          </a:solidFill>
                          <a:effectLst/>
                        </a:rPr>
                        <a:t>Parameters</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b="1" dirty="0">
                          <a:effectLst/>
                        </a:rPr>
                        <a:t>Observed Values</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48206908"/>
                  </a:ext>
                </a:extLst>
              </a:tr>
              <a:tr h="355838">
                <a:tc>
                  <a:txBody>
                    <a:bodyPr/>
                    <a:lstStyle/>
                    <a:p>
                      <a:pPr marL="0" marR="0" algn="l">
                        <a:lnSpc>
                          <a:spcPct val="107000"/>
                        </a:lnSpc>
                        <a:spcBef>
                          <a:spcPts val="0"/>
                        </a:spcBef>
                        <a:spcAft>
                          <a:spcPts val="0"/>
                        </a:spcAft>
                      </a:pPr>
                      <a:r>
                        <a:rPr lang="en-US" sz="1600" dirty="0">
                          <a:effectLst/>
                        </a:rPr>
                        <a:t>Inlet Temperature (</a:t>
                      </a:r>
                      <a:r>
                        <a:rPr lang="en-US" sz="1600" baseline="30000" dirty="0">
                          <a:effectLst/>
                        </a:rPr>
                        <a:t>0</a:t>
                      </a:r>
                      <a:r>
                        <a:rPr lang="en-US" sz="1600" dirty="0">
                          <a:effectLst/>
                        </a:rPr>
                        <a:t>C)</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39.0 – 41.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14616858"/>
                  </a:ext>
                </a:extLst>
              </a:tr>
              <a:tr h="294640">
                <a:tc>
                  <a:txBody>
                    <a:bodyPr/>
                    <a:lstStyle/>
                    <a:p>
                      <a:pPr marL="0" marR="0" algn="l">
                        <a:lnSpc>
                          <a:spcPct val="107000"/>
                        </a:lnSpc>
                        <a:spcBef>
                          <a:spcPts val="0"/>
                        </a:spcBef>
                        <a:spcAft>
                          <a:spcPts val="0"/>
                        </a:spcAft>
                      </a:pPr>
                      <a:r>
                        <a:rPr lang="en-US" sz="1600" dirty="0">
                          <a:effectLst/>
                        </a:rPr>
                        <a:t>Inlet Airflow (m3/hr.)</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35 - 5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22199948"/>
                  </a:ext>
                </a:extLst>
              </a:tr>
              <a:tr h="325120">
                <a:tc>
                  <a:txBody>
                    <a:bodyPr/>
                    <a:lstStyle/>
                    <a:p>
                      <a:pPr marL="0" marR="0" algn="l">
                        <a:lnSpc>
                          <a:spcPct val="107000"/>
                        </a:lnSpc>
                        <a:spcBef>
                          <a:spcPts val="0"/>
                        </a:spcBef>
                        <a:spcAft>
                          <a:spcPts val="0"/>
                        </a:spcAft>
                      </a:pPr>
                      <a:r>
                        <a:rPr lang="en-US" sz="1600" dirty="0">
                          <a:effectLst/>
                        </a:rPr>
                        <a:t>Product Temperature (</a:t>
                      </a:r>
                      <a:r>
                        <a:rPr lang="en-US" sz="1600" baseline="30000" dirty="0">
                          <a:effectLst/>
                        </a:rPr>
                        <a:t>0</a:t>
                      </a:r>
                      <a:r>
                        <a:rPr lang="en-US" sz="1600" dirty="0">
                          <a:effectLst/>
                        </a:rPr>
                        <a:t>C)</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34.2 – 35.4</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437340"/>
                  </a:ext>
                </a:extLst>
              </a:tr>
              <a:tr h="300987">
                <a:tc>
                  <a:txBody>
                    <a:bodyPr/>
                    <a:lstStyle/>
                    <a:p>
                      <a:pPr marL="0" marR="0" algn="l">
                        <a:lnSpc>
                          <a:spcPct val="107000"/>
                        </a:lnSpc>
                        <a:spcBef>
                          <a:spcPts val="0"/>
                        </a:spcBef>
                        <a:spcAft>
                          <a:spcPts val="0"/>
                        </a:spcAft>
                      </a:pPr>
                      <a:r>
                        <a:rPr lang="en-US" sz="1600" dirty="0">
                          <a:effectLst/>
                        </a:rPr>
                        <a:t>Exhaust Temperature (</a:t>
                      </a:r>
                      <a:r>
                        <a:rPr lang="en-US" sz="1600" baseline="30000" dirty="0">
                          <a:effectLst/>
                        </a:rPr>
                        <a:t>0</a:t>
                      </a:r>
                      <a:r>
                        <a:rPr lang="en-US" sz="1600" dirty="0">
                          <a:effectLst/>
                        </a:rPr>
                        <a:t>C)</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32.2 – 33.9</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296552958"/>
                  </a:ext>
                </a:extLst>
              </a:tr>
            </a:tbl>
          </a:graphicData>
        </a:graphic>
      </p:graphicFrame>
      <p:graphicFrame>
        <p:nvGraphicFramePr>
          <p:cNvPr id="11" name="Table 10">
            <a:extLst>
              <a:ext uri="{FF2B5EF4-FFF2-40B4-BE49-F238E27FC236}">
                <a16:creationId xmlns:a16="http://schemas.microsoft.com/office/drawing/2014/main" id="{2471E16C-8593-B7E4-D175-E293867EE6BA}"/>
              </a:ext>
            </a:extLst>
          </p:cNvPr>
          <p:cNvGraphicFramePr>
            <a:graphicFrameLocks noGrp="1"/>
          </p:cNvGraphicFramePr>
          <p:nvPr>
            <p:extLst>
              <p:ext uri="{D42A27DB-BD31-4B8C-83A1-F6EECF244321}">
                <p14:modId xmlns:p14="http://schemas.microsoft.com/office/powerpoint/2010/main" val="2431682096"/>
              </p:ext>
            </p:extLst>
          </p:nvPr>
        </p:nvGraphicFramePr>
        <p:xfrm>
          <a:off x="6441440" y="4253104"/>
          <a:ext cx="5050572" cy="1781936"/>
        </p:xfrm>
        <a:graphic>
          <a:graphicData uri="http://schemas.openxmlformats.org/drawingml/2006/table">
            <a:tbl>
              <a:tblPr firstRow="1" firstCol="1" bandRow="1">
                <a:tableStyleId>{3B4B98B0-60AC-42C2-AFA5-B58CD77FA1E5}</a:tableStyleId>
              </a:tblPr>
              <a:tblGrid>
                <a:gridCol w="3393440">
                  <a:extLst>
                    <a:ext uri="{9D8B030D-6E8A-4147-A177-3AD203B41FA5}">
                      <a16:colId xmlns:a16="http://schemas.microsoft.com/office/drawing/2014/main" val="72794721"/>
                    </a:ext>
                  </a:extLst>
                </a:gridCol>
                <a:gridCol w="1657132">
                  <a:extLst>
                    <a:ext uri="{9D8B030D-6E8A-4147-A177-3AD203B41FA5}">
                      <a16:colId xmlns:a16="http://schemas.microsoft.com/office/drawing/2014/main" val="2251122908"/>
                    </a:ext>
                  </a:extLst>
                </a:gridCol>
              </a:tblGrid>
              <a:tr h="388884">
                <a:tc>
                  <a:txBody>
                    <a:bodyPr/>
                    <a:lstStyle/>
                    <a:p>
                      <a:pPr marL="0" marR="0">
                        <a:lnSpc>
                          <a:spcPct val="107000"/>
                        </a:lnSpc>
                        <a:spcBef>
                          <a:spcPts val="0"/>
                        </a:spcBef>
                        <a:spcAft>
                          <a:spcPts val="0"/>
                        </a:spcAft>
                      </a:pPr>
                      <a:r>
                        <a:rPr lang="en-US" sz="1600" b="1" dirty="0">
                          <a:solidFill>
                            <a:srgbClr val="000000"/>
                          </a:solidFill>
                          <a:effectLst/>
                        </a:rPr>
                        <a:t>Parameters</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b="1" dirty="0">
                          <a:effectLst/>
                        </a:rPr>
                        <a:t>Observed Values</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48206908"/>
                  </a:ext>
                </a:extLst>
              </a:tr>
              <a:tr h="365998">
                <a:tc>
                  <a:txBody>
                    <a:bodyPr/>
                    <a:lstStyle/>
                    <a:p>
                      <a:pPr marL="0" marR="0" algn="l">
                        <a:lnSpc>
                          <a:spcPct val="107000"/>
                        </a:lnSpc>
                        <a:spcBef>
                          <a:spcPts val="0"/>
                        </a:spcBef>
                        <a:spcAft>
                          <a:spcPts val="0"/>
                        </a:spcAft>
                      </a:pPr>
                      <a:r>
                        <a:rPr lang="en-US" sz="1600" dirty="0">
                          <a:effectLst/>
                        </a:rPr>
                        <a:t>Atomization Air Pressure (</a:t>
                      </a:r>
                      <a:r>
                        <a:rPr lang="en-US" sz="1600" baseline="0" dirty="0">
                          <a:effectLst/>
                        </a:rPr>
                        <a:t>bar</a:t>
                      </a:r>
                      <a:r>
                        <a:rPr lang="en-US" sz="1600" dirty="0">
                          <a:effectLst/>
                        </a:rPr>
                        <a: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1.0 – 1.1</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14616858"/>
                  </a:ext>
                </a:extLst>
              </a:tr>
              <a:tr h="292439">
                <a:tc>
                  <a:txBody>
                    <a:bodyPr/>
                    <a:lstStyle/>
                    <a:p>
                      <a:pPr marL="0" marR="0" algn="l">
                        <a:lnSpc>
                          <a:spcPct val="107000"/>
                        </a:lnSpc>
                        <a:spcBef>
                          <a:spcPts val="0"/>
                        </a:spcBef>
                        <a:spcAft>
                          <a:spcPts val="0"/>
                        </a:spcAft>
                      </a:pPr>
                      <a:r>
                        <a:rPr lang="en-US" sz="1600" dirty="0">
                          <a:effectLst/>
                        </a:rPr>
                        <a:t>Microclimate Air Pressure (mbar)</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600 - 70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22199948"/>
                  </a:ext>
                </a:extLst>
              </a:tr>
              <a:tr h="292439">
                <a:tc>
                  <a:txBody>
                    <a:bodyPr/>
                    <a:lstStyle/>
                    <a:p>
                      <a:pPr marL="0" marR="0" algn="l">
                        <a:lnSpc>
                          <a:spcPct val="107000"/>
                        </a:lnSpc>
                        <a:spcBef>
                          <a:spcPts val="0"/>
                        </a:spcBef>
                        <a:spcAft>
                          <a:spcPts val="0"/>
                        </a:spcAft>
                      </a:pPr>
                      <a:r>
                        <a:rPr lang="en-US" sz="1600" dirty="0">
                          <a:effectLst/>
                        </a:rPr>
                        <a:t>Spray Nozzle Size (mm)</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0.8</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437340"/>
                  </a:ext>
                </a:extLst>
              </a:tr>
              <a:tr h="328203">
                <a:tc>
                  <a:txBody>
                    <a:bodyPr/>
                    <a:lstStyle/>
                    <a:p>
                      <a:pPr marL="0" marR="0" algn="l">
                        <a:lnSpc>
                          <a:spcPct val="107000"/>
                        </a:lnSpc>
                        <a:spcBef>
                          <a:spcPts val="0"/>
                        </a:spcBef>
                        <a:spcAft>
                          <a:spcPts val="0"/>
                        </a:spcAft>
                      </a:pPr>
                      <a:r>
                        <a:rPr lang="en-US" sz="1600" dirty="0">
                          <a:effectLst/>
                        </a:rPr>
                        <a:t>Spray Rate (g/min)</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0.8 – 1.6</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296552958"/>
                  </a:ext>
                </a:extLst>
              </a:tr>
            </a:tbl>
          </a:graphicData>
        </a:graphic>
      </p:graphicFrame>
      <p:graphicFrame>
        <p:nvGraphicFramePr>
          <p:cNvPr id="7" name="Table 6">
            <a:extLst>
              <a:ext uri="{FF2B5EF4-FFF2-40B4-BE49-F238E27FC236}">
                <a16:creationId xmlns:a16="http://schemas.microsoft.com/office/drawing/2014/main" id="{E6AC1249-F529-FF7A-0A40-963FC641061B}"/>
              </a:ext>
            </a:extLst>
          </p:cNvPr>
          <p:cNvGraphicFramePr>
            <a:graphicFrameLocks noGrp="1"/>
          </p:cNvGraphicFramePr>
          <p:nvPr>
            <p:extLst>
              <p:ext uri="{D42A27DB-BD31-4B8C-83A1-F6EECF244321}">
                <p14:modId xmlns:p14="http://schemas.microsoft.com/office/powerpoint/2010/main" val="1398843021"/>
              </p:ext>
            </p:extLst>
          </p:nvPr>
        </p:nvGraphicFramePr>
        <p:xfrm>
          <a:off x="388822" y="1587905"/>
          <a:ext cx="6531175" cy="1950720"/>
        </p:xfrm>
        <a:graphic>
          <a:graphicData uri="http://schemas.openxmlformats.org/drawingml/2006/table">
            <a:tbl>
              <a:tblPr firstRow="1" firstCol="1" bandRow="1">
                <a:tableStyleId>{3B4B98B0-60AC-42C2-AFA5-B58CD77FA1E5}</a:tableStyleId>
              </a:tblPr>
              <a:tblGrid>
                <a:gridCol w="2669338">
                  <a:extLst>
                    <a:ext uri="{9D8B030D-6E8A-4147-A177-3AD203B41FA5}">
                      <a16:colId xmlns:a16="http://schemas.microsoft.com/office/drawing/2014/main" val="3892245676"/>
                    </a:ext>
                  </a:extLst>
                </a:gridCol>
                <a:gridCol w="1940560">
                  <a:extLst>
                    <a:ext uri="{9D8B030D-6E8A-4147-A177-3AD203B41FA5}">
                      <a16:colId xmlns:a16="http://schemas.microsoft.com/office/drawing/2014/main" val="114048508"/>
                    </a:ext>
                  </a:extLst>
                </a:gridCol>
                <a:gridCol w="1921277">
                  <a:extLst>
                    <a:ext uri="{9D8B030D-6E8A-4147-A177-3AD203B41FA5}">
                      <a16:colId xmlns:a16="http://schemas.microsoft.com/office/drawing/2014/main" val="2050342437"/>
                    </a:ext>
                  </a:extLst>
                </a:gridCol>
              </a:tblGrid>
              <a:tr h="384961">
                <a:tc>
                  <a:txBody>
                    <a:bodyPr/>
                    <a:lstStyle/>
                    <a:p>
                      <a:pPr marL="0" marR="0">
                        <a:lnSpc>
                          <a:spcPct val="100000"/>
                        </a:lnSpc>
                        <a:spcBef>
                          <a:spcPts val="0"/>
                        </a:spcBef>
                        <a:spcAft>
                          <a:spcPts val="0"/>
                        </a:spcAft>
                      </a:pPr>
                      <a:r>
                        <a:rPr lang="en-US" sz="1600" b="1" dirty="0">
                          <a:solidFill>
                            <a:srgbClr val="000000"/>
                          </a:solidFill>
                          <a:effectLst/>
                        </a:rPr>
                        <a:t>Material Nam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1600" b="1" dirty="0">
                          <a:solidFill>
                            <a:srgbClr val="000000"/>
                          </a:solidFill>
                          <a:effectLst/>
                        </a:rPr>
                        <a:t>Qty per batch (g)</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1600" b="1" dirty="0">
                          <a:solidFill>
                            <a:srgbClr val="000000"/>
                          </a:solidFill>
                          <a:effectLst/>
                        </a:rPr>
                        <a:t>% solid in the dried formula</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357964634"/>
                  </a:ext>
                </a:extLst>
              </a:tr>
              <a:tr h="384961">
                <a:tc>
                  <a:txBody>
                    <a:bodyPr/>
                    <a:lstStyle/>
                    <a:p>
                      <a:pPr marL="0" marR="0">
                        <a:lnSpc>
                          <a:spcPct val="100000"/>
                        </a:lnSpc>
                        <a:spcBef>
                          <a:spcPts val="0"/>
                        </a:spcBef>
                        <a:spcAft>
                          <a:spcPts val="0"/>
                        </a:spcAft>
                      </a:pPr>
                      <a:r>
                        <a:rPr lang="en-US" sz="1600" dirty="0">
                          <a:effectLst/>
                        </a:rPr>
                        <a:t>Vardenafil drug-loaded pellets</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rPr>
                        <a:t>250.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rPr>
                        <a: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057009458"/>
                  </a:ext>
                </a:extLst>
              </a:tr>
              <a:tr h="197685">
                <a:tc>
                  <a:txBody>
                    <a:bodyPr/>
                    <a:lstStyle/>
                    <a:p>
                      <a:pPr marL="0" marR="0">
                        <a:lnSpc>
                          <a:spcPct val="100000"/>
                        </a:lnSpc>
                        <a:spcBef>
                          <a:spcPts val="0"/>
                        </a:spcBef>
                        <a:spcAft>
                          <a:spcPts val="0"/>
                        </a:spcAft>
                      </a:pPr>
                      <a:r>
                        <a:rPr lang="en-US" sz="1600" dirty="0">
                          <a:effectLst/>
                        </a:rPr>
                        <a:t>Kollicoat</a:t>
                      </a:r>
                      <a:r>
                        <a:rPr lang="en-US" sz="1600" baseline="30000" dirty="0">
                          <a:effectLst/>
                        </a:rPr>
                        <a:t>®</a:t>
                      </a:r>
                      <a:r>
                        <a:rPr lang="en-US" sz="1600" dirty="0">
                          <a:effectLst/>
                        </a:rPr>
                        <a:t> Smartseal 30 D</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rPr>
                        <a:t>200.0 (60.0 g dry)</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rPr>
                        <a:t>80.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640868110"/>
                  </a:ext>
                </a:extLst>
              </a:tr>
              <a:tr h="185213">
                <a:tc>
                  <a:txBody>
                    <a:bodyPr/>
                    <a:lstStyle/>
                    <a:p>
                      <a:pPr marL="0" marR="0">
                        <a:lnSpc>
                          <a:spcPct val="100000"/>
                        </a:lnSpc>
                        <a:spcBef>
                          <a:spcPts val="0"/>
                        </a:spcBef>
                        <a:spcAft>
                          <a:spcPts val="0"/>
                        </a:spcAft>
                      </a:pPr>
                      <a:r>
                        <a:rPr lang="en-US" sz="1600" dirty="0">
                          <a:effectLst/>
                        </a:rPr>
                        <a:t>Talc</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rPr>
                        <a:t>7.5</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rPr>
                        <a:t>10.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186872325"/>
                  </a:ext>
                </a:extLst>
              </a:tr>
              <a:tr h="185213">
                <a:tc>
                  <a:txBody>
                    <a:bodyPr/>
                    <a:lstStyle/>
                    <a:p>
                      <a:pPr marL="0" marR="0">
                        <a:lnSpc>
                          <a:spcPct val="100000"/>
                        </a:lnSpc>
                        <a:spcBef>
                          <a:spcPts val="0"/>
                        </a:spcBef>
                        <a:spcAft>
                          <a:spcPts val="0"/>
                        </a:spcAft>
                      </a:pPr>
                      <a:r>
                        <a:rPr lang="en-US" sz="1600" dirty="0">
                          <a:effectLst/>
                        </a:rPr>
                        <a:t>Acetyl Tributyl Citrat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rPr>
                        <a:t>7.5</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rPr>
                        <a:t>10.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416961237"/>
                  </a:ext>
                </a:extLst>
              </a:tr>
              <a:tr h="185213">
                <a:tc>
                  <a:txBody>
                    <a:bodyPr/>
                    <a:lstStyle/>
                    <a:p>
                      <a:pPr marL="0" marR="0">
                        <a:lnSpc>
                          <a:spcPct val="100000"/>
                        </a:lnSpc>
                        <a:spcBef>
                          <a:spcPts val="0"/>
                        </a:spcBef>
                        <a:spcAft>
                          <a:spcPts val="0"/>
                        </a:spcAft>
                      </a:pPr>
                      <a:r>
                        <a:rPr lang="en-US" sz="1600" dirty="0">
                          <a:effectLst/>
                        </a:rPr>
                        <a:t>Purified Water</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rPr>
                        <a:t>160.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rPr>
                        <a: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57660808"/>
                  </a:ext>
                </a:extLst>
              </a:tr>
            </a:tbl>
          </a:graphicData>
        </a:graphic>
      </p:graphicFrame>
      <p:sp>
        <p:nvSpPr>
          <p:cNvPr id="8" name="TextBox 7">
            <a:extLst>
              <a:ext uri="{FF2B5EF4-FFF2-40B4-BE49-F238E27FC236}">
                <a16:creationId xmlns:a16="http://schemas.microsoft.com/office/drawing/2014/main" id="{A4B8E7C8-06CB-3C02-5275-0BE1C0D7CAF0}"/>
              </a:ext>
            </a:extLst>
          </p:cNvPr>
          <p:cNvSpPr txBox="1"/>
          <p:nvPr/>
        </p:nvSpPr>
        <p:spPr>
          <a:xfrm>
            <a:off x="345440" y="3812764"/>
            <a:ext cx="6096000" cy="369332"/>
          </a:xfrm>
          <a:prstGeom prst="rect">
            <a:avLst/>
          </a:prstGeom>
          <a:noFill/>
        </p:spPr>
        <p:txBody>
          <a:bodyPr wrap="square">
            <a:spAutoFit/>
          </a:bodyPr>
          <a:lstStyle/>
          <a:p>
            <a:pPr marL="0" indent="0">
              <a:buNone/>
            </a:pPr>
            <a:r>
              <a:rPr lang="en-US" sz="1800" b="1" dirty="0">
                <a:solidFill>
                  <a:schemeClr val="accent1"/>
                </a:solidFill>
              </a:rPr>
              <a:t>Kollicoat</a:t>
            </a:r>
            <a:r>
              <a:rPr lang="en-US" sz="1800" b="1" baseline="30000" dirty="0">
                <a:solidFill>
                  <a:schemeClr val="accent1"/>
                </a:solidFill>
              </a:rPr>
              <a:t>®</a:t>
            </a:r>
            <a:r>
              <a:rPr lang="en-US" sz="1800" b="1" dirty="0">
                <a:solidFill>
                  <a:schemeClr val="accent1"/>
                </a:solidFill>
              </a:rPr>
              <a:t> Smartseal Coating Process Parameters </a:t>
            </a:r>
          </a:p>
        </p:txBody>
      </p:sp>
    </p:spTree>
    <p:extLst>
      <p:ext uri="{BB962C8B-B14F-4D97-AF65-F5344CB8AC3E}">
        <p14:creationId xmlns:p14="http://schemas.microsoft.com/office/powerpoint/2010/main" val="9107720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1BB95C8-CCD6-ED22-E356-6C53B852F9A4}"/>
              </a:ext>
            </a:extLst>
          </p:cNvPr>
          <p:cNvGraphicFramePr>
            <a:graphicFrameLocks noChangeAspect="1"/>
          </p:cNvGraphicFramePr>
          <p:nvPr>
            <p:custDataLst>
              <p:tags r:id="rId1"/>
            </p:custDataLst>
            <p:extLst>
              <p:ext uri="{D42A27DB-BD31-4B8C-83A1-F6EECF244321}">
                <p14:modId xmlns:p14="http://schemas.microsoft.com/office/powerpoint/2010/main" val="2385550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7" name="think-cell data - do not delete" hidden="1">
                        <a:extLst>
                          <a:ext uri="{FF2B5EF4-FFF2-40B4-BE49-F238E27FC236}">
                            <a16:creationId xmlns:a16="http://schemas.microsoft.com/office/drawing/2014/main" id="{71BB95C8-CCD6-ED22-E356-6C53B852F9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A1C8D5-197D-2530-11B4-A24D2D03AB19}"/>
              </a:ext>
            </a:extLst>
          </p:cNvPr>
          <p:cNvSpPr>
            <a:spLocks noGrp="1"/>
          </p:cNvSpPr>
          <p:nvPr>
            <p:ph type="title"/>
          </p:nvPr>
        </p:nvSpPr>
        <p:spPr>
          <a:xfrm>
            <a:off x="219600" y="289760"/>
            <a:ext cx="11736000" cy="853200"/>
          </a:xfrm>
        </p:spPr>
        <p:txBody>
          <a:bodyPr vert="horz"/>
          <a:lstStyle/>
          <a:p>
            <a:r>
              <a:rPr lang="en-US" dirty="0"/>
              <a:t>Comparative dissolution of vardenafil pellets coated with Kollicoat</a:t>
            </a:r>
            <a:r>
              <a:rPr lang="en-US" sz="2800" baseline="30000" dirty="0">
                <a:effectLst/>
                <a:latin typeface="Arial" panose="020B0604020202020204" pitchFamily="34" charset="0"/>
                <a:ea typeface="Arial" panose="020B0604020202020204" pitchFamily="34" charset="0"/>
                <a:cs typeface="Times New Roman" panose="02020603050405020304" pitchFamily="18" charset="0"/>
              </a:rPr>
              <a:t>®</a:t>
            </a:r>
            <a:r>
              <a:rPr lang="en-US" dirty="0"/>
              <a:t> Smartseal 30 D (uncured): 25% w/g Vs 30% w/g</a:t>
            </a:r>
          </a:p>
        </p:txBody>
      </p:sp>
      <p:sp>
        <p:nvSpPr>
          <p:cNvPr id="3" name="Text Placeholder 2">
            <a:extLst>
              <a:ext uri="{FF2B5EF4-FFF2-40B4-BE49-F238E27FC236}">
                <a16:creationId xmlns:a16="http://schemas.microsoft.com/office/drawing/2014/main" id="{87F4C6B9-E05D-545C-5A46-83C73BCF275F}"/>
              </a:ext>
            </a:extLst>
          </p:cNvPr>
          <p:cNvSpPr>
            <a:spLocks noGrp="1"/>
          </p:cNvSpPr>
          <p:nvPr>
            <p:ph type="body" sz="half" idx="1"/>
          </p:nvPr>
        </p:nvSpPr>
        <p:spPr>
          <a:xfrm>
            <a:off x="219600" y="1730731"/>
            <a:ext cx="4496290" cy="3906012"/>
          </a:xfrm>
        </p:spPr>
        <p:txBody>
          <a:bodyPr/>
          <a:lstStyle/>
          <a:p>
            <a:r>
              <a:rPr lang="en-US" sz="1800" dirty="0"/>
              <a:t>Differences  in the drug release at initial time points </a:t>
            </a:r>
          </a:p>
          <a:p>
            <a:pPr marL="0" indent="0">
              <a:buNone/>
            </a:pPr>
            <a:endParaRPr lang="en-US" sz="1800" dirty="0"/>
          </a:p>
          <a:p>
            <a:r>
              <a:rPr lang="en-US" sz="1800" dirty="0"/>
              <a:t>Low standard deviation.</a:t>
            </a:r>
          </a:p>
          <a:p>
            <a:endParaRPr lang="en-US" sz="1800" dirty="0"/>
          </a:p>
          <a:p>
            <a:r>
              <a:rPr lang="en-US" sz="1800" dirty="0"/>
              <a:t>The study proceeded with a 30% weight gain coating.</a:t>
            </a:r>
          </a:p>
        </p:txBody>
      </p:sp>
      <p:sp>
        <p:nvSpPr>
          <p:cNvPr id="5" name="Slide Number Placeholder 4">
            <a:extLst>
              <a:ext uri="{FF2B5EF4-FFF2-40B4-BE49-F238E27FC236}">
                <a16:creationId xmlns:a16="http://schemas.microsoft.com/office/drawing/2014/main" id="{C8059103-38FF-CCE4-8481-E95E54E8617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7</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graphicFrame>
        <p:nvGraphicFramePr>
          <p:cNvPr id="9" name="Chart 8">
            <a:extLst>
              <a:ext uri="{FF2B5EF4-FFF2-40B4-BE49-F238E27FC236}">
                <a16:creationId xmlns:a16="http://schemas.microsoft.com/office/drawing/2014/main" id="{FA09122B-4564-430C-A247-4B2576229BA0}"/>
              </a:ext>
            </a:extLst>
          </p:cNvPr>
          <p:cNvGraphicFramePr>
            <a:graphicFrameLocks/>
          </p:cNvGraphicFramePr>
          <p:nvPr>
            <p:extLst>
              <p:ext uri="{D42A27DB-BD31-4B8C-83A1-F6EECF244321}">
                <p14:modId xmlns:p14="http://schemas.microsoft.com/office/powerpoint/2010/main" val="4024598002"/>
              </p:ext>
            </p:extLst>
          </p:nvPr>
        </p:nvGraphicFramePr>
        <p:xfrm>
          <a:off x="5104958" y="1723697"/>
          <a:ext cx="6850642" cy="4147894"/>
        </p:xfrm>
        <a:graphic>
          <a:graphicData uri="http://schemas.openxmlformats.org/drawingml/2006/chart">
            <c:chart xmlns:c="http://schemas.openxmlformats.org/drawingml/2006/chart" xmlns:r="http://schemas.openxmlformats.org/officeDocument/2006/relationships" r:id="rId6"/>
          </a:graphicData>
        </a:graphic>
      </p:graphicFrame>
      <p:sp>
        <p:nvSpPr>
          <p:cNvPr id="4" name="Footer Placeholder 11">
            <a:extLst>
              <a:ext uri="{FF2B5EF4-FFF2-40B4-BE49-F238E27FC236}">
                <a16:creationId xmlns:a16="http://schemas.microsoft.com/office/drawing/2014/main" id="{E0DC1310-921C-3D1B-C6D4-F902165AA9F4}"/>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35525557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4ED9D6F-2884-8D32-B724-AA551D673F96}"/>
              </a:ext>
            </a:extLst>
          </p:cNvPr>
          <p:cNvGraphicFramePr>
            <a:graphicFrameLocks noChangeAspect="1"/>
          </p:cNvGraphicFramePr>
          <p:nvPr>
            <p:custDataLst>
              <p:tags r:id="rId1"/>
            </p:custDataLst>
            <p:extLst>
              <p:ext uri="{D42A27DB-BD31-4B8C-83A1-F6EECF244321}">
                <p14:modId xmlns:p14="http://schemas.microsoft.com/office/powerpoint/2010/main" val="609613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8" name="think-cell data - do not delete" hidden="1">
                        <a:extLst>
                          <a:ext uri="{FF2B5EF4-FFF2-40B4-BE49-F238E27FC236}">
                            <a16:creationId xmlns:a16="http://schemas.microsoft.com/office/drawing/2014/main" id="{64ED9D6F-2884-8D32-B724-AA551D673F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A1C8D5-197D-2530-11B4-A24D2D03AB19}"/>
              </a:ext>
            </a:extLst>
          </p:cNvPr>
          <p:cNvSpPr>
            <a:spLocks noGrp="1"/>
          </p:cNvSpPr>
          <p:nvPr>
            <p:ph type="title"/>
          </p:nvPr>
        </p:nvSpPr>
        <p:spPr>
          <a:xfrm>
            <a:off x="219600" y="284954"/>
            <a:ext cx="11736000" cy="853200"/>
          </a:xfrm>
        </p:spPr>
        <p:txBody>
          <a:bodyPr vert="horz"/>
          <a:lstStyle/>
          <a:p>
            <a:r>
              <a:rPr lang="en-US" dirty="0"/>
              <a:t>Comparative dissolution of vardenafil pellets coated with Kollicoat</a:t>
            </a:r>
            <a:r>
              <a:rPr lang="en-US" sz="2800" baseline="30000" dirty="0">
                <a:effectLst/>
                <a:latin typeface="Arial" panose="020B0604020202020204" pitchFamily="34" charset="0"/>
                <a:ea typeface="Arial" panose="020B0604020202020204" pitchFamily="34" charset="0"/>
                <a:cs typeface="Times New Roman" panose="02020603050405020304" pitchFamily="18" charset="0"/>
              </a:rPr>
              <a:t>®</a:t>
            </a:r>
            <a:r>
              <a:rPr lang="en-US" dirty="0"/>
              <a:t> Smartseal 30 D (30% w/g): uncured Vs cured</a:t>
            </a:r>
          </a:p>
        </p:txBody>
      </p:sp>
      <p:sp>
        <p:nvSpPr>
          <p:cNvPr id="5" name="Slide Number Placeholder 4">
            <a:extLst>
              <a:ext uri="{FF2B5EF4-FFF2-40B4-BE49-F238E27FC236}">
                <a16:creationId xmlns:a16="http://schemas.microsoft.com/office/drawing/2014/main" id="{C8059103-38FF-CCE4-8481-E95E54E8617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8</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Text Placeholder 2">
            <a:extLst>
              <a:ext uri="{FF2B5EF4-FFF2-40B4-BE49-F238E27FC236}">
                <a16:creationId xmlns:a16="http://schemas.microsoft.com/office/drawing/2014/main" id="{FB3FC7A9-D74B-8015-BA17-0018BAEEBF8E}"/>
              </a:ext>
            </a:extLst>
          </p:cNvPr>
          <p:cNvSpPr>
            <a:spLocks noGrp="1"/>
          </p:cNvSpPr>
          <p:nvPr>
            <p:ph type="body" sz="half" idx="1"/>
          </p:nvPr>
        </p:nvSpPr>
        <p:spPr>
          <a:xfrm>
            <a:off x="165280" y="1917581"/>
            <a:ext cx="5203820" cy="3906012"/>
          </a:xfrm>
        </p:spPr>
        <p:txBody>
          <a:bodyPr/>
          <a:lstStyle/>
          <a:p>
            <a:pPr>
              <a:lnSpc>
                <a:spcPts val="2800"/>
              </a:lnSpc>
            </a:pPr>
            <a:r>
              <a:rPr lang="en-US" sz="1800" dirty="0"/>
              <a:t>Significant reduction in drug release was observed with the </a:t>
            </a:r>
            <a:r>
              <a:rPr lang="en-US" sz="1800" b="1" dirty="0"/>
              <a:t>curing of pellets at</a:t>
            </a:r>
            <a:r>
              <a:rPr lang="en-US" sz="1800" dirty="0"/>
              <a:t> </a:t>
            </a:r>
            <a:r>
              <a:rPr lang="en-US" sz="1800" b="1" dirty="0"/>
              <a:t>60 °C for 2 h.</a:t>
            </a:r>
            <a:endParaRPr lang="en-US" sz="1800" dirty="0"/>
          </a:p>
          <a:p>
            <a:pPr>
              <a:lnSpc>
                <a:spcPts val="2800"/>
              </a:lnSpc>
            </a:pPr>
            <a:endParaRPr lang="en-US" sz="1800" dirty="0"/>
          </a:p>
          <a:p>
            <a:pPr>
              <a:lnSpc>
                <a:spcPts val="2800"/>
              </a:lnSpc>
            </a:pPr>
            <a:r>
              <a:rPr lang="en-US" sz="1800" dirty="0"/>
              <a:t>The curing step in required for Kollicoat Smartseal 30 D (dispersion).</a:t>
            </a:r>
          </a:p>
          <a:p>
            <a:pPr>
              <a:lnSpc>
                <a:spcPts val="2800"/>
              </a:lnSpc>
            </a:pPr>
            <a:endParaRPr lang="en-US" sz="1800" dirty="0"/>
          </a:p>
          <a:p>
            <a:pPr marL="690563" indent="-344488">
              <a:lnSpc>
                <a:spcPts val="2800"/>
              </a:lnSpc>
              <a:buFont typeface="Wingdings" panose="05000000000000000000" pitchFamily="2" charset="2"/>
              <a:buChar char="v"/>
            </a:pPr>
            <a:endParaRPr lang="en-US" sz="1800" dirty="0"/>
          </a:p>
        </p:txBody>
      </p:sp>
      <p:graphicFrame>
        <p:nvGraphicFramePr>
          <p:cNvPr id="6" name="Chart 5">
            <a:extLst>
              <a:ext uri="{FF2B5EF4-FFF2-40B4-BE49-F238E27FC236}">
                <a16:creationId xmlns:a16="http://schemas.microsoft.com/office/drawing/2014/main" id="{FA09122B-4564-430C-A247-4B2576229BA0}"/>
              </a:ext>
            </a:extLst>
          </p:cNvPr>
          <p:cNvGraphicFramePr>
            <a:graphicFrameLocks/>
          </p:cNvGraphicFramePr>
          <p:nvPr>
            <p:extLst>
              <p:ext uri="{D42A27DB-BD31-4B8C-83A1-F6EECF244321}">
                <p14:modId xmlns:p14="http://schemas.microsoft.com/office/powerpoint/2010/main" val="985553938"/>
              </p:ext>
            </p:extLst>
          </p:nvPr>
        </p:nvGraphicFramePr>
        <p:xfrm>
          <a:off x="5423421" y="1488774"/>
          <a:ext cx="6603299" cy="4282598"/>
        </p:xfrm>
        <a:graphic>
          <a:graphicData uri="http://schemas.openxmlformats.org/drawingml/2006/chart">
            <c:chart xmlns:c="http://schemas.openxmlformats.org/drawingml/2006/chart" xmlns:r="http://schemas.openxmlformats.org/officeDocument/2006/relationships" r:id="rId6"/>
          </a:graphicData>
        </a:graphic>
      </p:graphicFrame>
      <p:sp>
        <p:nvSpPr>
          <p:cNvPr id="3" name="Footer Placeholder 11">
            <a:extLst>
              <a:ext uri="{FF2B5EF4-FFF2-40B4-BE49-F238E27FC236}">
                <a16:creationId xmlns:a16="http://schemas.microsoft.com/office/drawing/2014/main" id="{91DF3492-5555-B02A-C436-6068AE8C5001}"/>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29365609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85ACB34-474A-AC62-1101-BE4ED2C5D21A}"/>
              </a:ext>
            </a:extLst>
          </p:cNvPr>
          <p:cNvGraphicFramePr>
            <a:graphicFrameLocks noChangeAspect="1"/>
          </p:cNvGraphicFramePr>
          <p:nvPr>
            <p:custDataLst>
              <p:tags r:id="rId1"/>
            </p:custDataLst>
            <p:extLst>
              <p:ext uri="{D42A27DB-BD31-4B8C-83A1-F6EECF244321}">
                <p14:modId xmlns:p14="http://schemas.microsoft.com/office/powerpoint/2010/main" val="3440850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8" name="think-cell data - do not delete" hidden="1">
                        <a:extLst>
                          <a:ext uri="{FF2B5EF4-FFF2-40B4-BE49-F238E27FC236}">
                            <a16:creationId xmlns:a16="http://schemas.microsoft.com/office/drawing/2014/main" id="{985ACB34-474A-AC62-1101-BE4ED2C5D2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A1C8D5-197D-2530-11B4-A24D2D03AB19}"/>
              </a:ext>
            </a:extLst>
          </p:cNvPr>
          <p:cNvSpPr>
            <a:spLocks noGrp="1"/>
          </p:cNvSpPr>
          <p:nvPr>
            <p:ph type="title"/>
          </p:nvPr>
        </p:nvSpPr>
        <p:spPr>
          <a:xfrm>
            <a:off x="219600" y="389959"/>
            <a:ext cx="11736000" cy="853200"/>
          </a:xfrm>
        </p:spPr>
        <p:txBody>
          <a:bodyPr vert="horz"/>
          <a:lstStyle/>
          <a:p>
            <a:r>
              <a:rPr lang="en-US" dirty="0">
                <a:latin typeface="Arial"/>
              </a:rPr>
              <a:t>SEM Pictures of Vardenafil pellets coated with Kollicoat</a:t>
            </a:r>
            <a:r>
              <a:rPr lang="en-US" baseline="30000" dirty="0">
                <a:latin typeface="Arial"/>
              </a:rPr>
              <a:t>®</a:t>
            </a:r>
            <a:r>
              <a:rPr lang="en-US" dirty="0">
                <a:latin typeface="Arial"/>
              </a:rPr>
              <a:t> Smartseal</a:t>
            </a:r>
            <a:endParaRPr lang="en-US" dirty="0"/>
          </a:p>
        </p:txBody>
      </p:sp>
      <p:sp>
        <p:nvSpPr>
          <p:cNvPr id="5" name="Slide Number Placeholder 4">
            <a:extLst>
              <a:ext uri="{FF2B5EF4-FFF2-40B4-BE49-F238E27FC236}">
                <a16:creationId xmlns:a16="http://schemas.microsoft.com/office/drawing/2014/main" id="{C8059103-38FF-CCE4-8481-E95E54E8617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39</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14" name="TextBox 13">
            <a:extLst>
              <a:ext uri="{FF2B5EF4-FFF2-40B4-BE49-F238E27FC236}">
                <a16:creationId xmlns:a16="http://schemas.microsoft.com/office/drawing/2014/main" id="{4BA46663-1919-2CC7-1B71-BB22CD20254B}"/>
              </a:ext>
            </a:extLst>
          </p:cNvPr>
          <p:cNvSpPr txBox="1"/>
          <p:nvPr/>
        </p:nvSpPr>
        <p:spPr>
          <a:xfrm>
            <a:off x="4572000" y="3196286"/>
            <a:ext cx="2743200" cy="28469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850" b="1" dirty="0">
                <a:solidFill>
                  <a:srgbClr val="C50022"/>
                </a:solidFill>
              </a:rPr>
              <a:t>®</a:t>
            </a:r>
            <a:endParaRPr lang="en-US" dirty="0"/>
          </a:p>
        </p:txBody>
      </p:sp>
      <p:sp>
        <p:nvSpPr>
          <p:cNvPr id="15" name="Rectangle 14">
            <a:extLst>
              <a:ext uri="{FF2B5EF4-FFF2-40B4-BE49-F238E27FC236}">
                <a16:creationId xmlns:a16="http://schemas.microsoft.com/office/drawing/2014/main" id="{944E9F5C-37B9-8920-CF57-85CFB14E520D}"/>
              </a:ext>
            </a:extLst>
          </p:cNvPr>
          <p:cNvSpPr/>
          <p:nvPr/>
        </p:nvSpPr>
        <p:spPr>
          <a:xfrm>
            <a:off x="342900" y="1243159"/>
            <a:ext cx="11460299" cy="6069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t>Vardenafil-loaded pellets coated with Kollicoat</a:t>
            </a:r>
            <a:r>
              <a:rPr lang="en-US" baseline="30000" dirty="0"/>
              <a:t>® </a:t>
            </a:r>
            <a:r>
              <a:rPr lang="en-US" dirty="0"/>
              <a:t>Smartseal 30 D cured for 2 hours at 60</a:t>
            </a:r>
            <a:r>
              <a:rPr lang="en-US" baseline="30000" dirty="0"/>
              <a:t>0</a:t>
            </a:r>
            <a:r>
              <a:rPr lang="en-US" dirty="0"/>
              <a:t>C</a:t>
            </a:r>
          </a:p>
        </p:txBody>
      </p:sp>
      <p:pic>
        <p:nvPicPr>
          <p:cNvPr id="3" name="Picture 2">
            <a:extLst>
              <a:ext uri="{FF2B5EF4-FFF2-40B4-BE49-F238E27FC236}">
                <a16:creationId xmlns:a16="http://schemas.microsoft.com/office/drawing/2014/main" id="{4F601179-D166-4499-33D5-1F1C08C904B6}"/>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342900" y="1966358"/>
            <a:ext cx="5600700" cy="3549893"/>
          </a:xfrm>
          <a:prstGeom prst="rect">
            <a:avLst/>
          </a:prstGeom>
          <a:solidFill>
            <a:schemeClr val="tx1"/>
          </a:solidFill>
          <a:ln w="19050">
            <a:solidFill>
              <a:schemeClr val="tx1"/>
            </a:solidFill>
          </a:ln>
        </p:spPr>
      </p:pic>
      <p:pic>
        <p:nvPicPr>
          <p:cNvPr id="6" name="Picture 5">
            <a:extLst>
              <a:ext uri="{FF2B5EF4-FFF2-40B4-BE49-F238E27FC236}">
                <a16:creationId xmlns:a16="http://schemas.microsoft.com/office/drawing/2014/main" id="{31ABF4D0-C39F-7283-5B73-4791E2F306D3}"/>
              </a:ext>
            </a:extLst>
          </p:cNvPr>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6017244" y="1966356"/>
            <a:ext cx="5785955" cy="3549892"/>
          </a:xfrm>
          <a:prstGeom prst="rect">
            <a:avLst/>
          </a:prstGeom>
          <a:noFill/>
          <a:ln w="19050">
            <a:solidFill>
              <a:schemeClr val="tx1"/>
            </a:solidFill>
          </a:ln>
        </p:spPr>
      </p:pic>
      <p:sp>
        <p:nvSpPr>
          <p:cNvPr id="7" name="TextBox 6">
            <a:extLst>
              <a:ext uri="{FF2B5EF4-FFF2-40B4-BE49-F238E27FC236}">
                <a16:creationId xmlns:a16="http://schemas.microsoft.com/office/drawing/2014/main" id="{2DFBF5E0-5333-8D02-891F-5C56EB8D33C0}"/>
              </a:ext>
            </a:extLst>
          </p:cNvPr>
          <p:cNvSpPr txBox="1"/>
          <p:nvPr/>
        </p:nvSpPr>
        <p:spPr>
          <a:xfrm>
            <a:off x="6350717" y="2365365"/>
            <a:ext cx="1219200" cy="215444"/>
          </a:xfrm>
          <a:prstGeom prst="rect">
            <a:avLst/>
          </a:prstGeom>
          <a:noFill/>
        </p:spPr>
        <p:txBody>
          <a:bodyPr wrap="square" lIns="0" tIns="0" rIns="0" bIns="0" rtlCol="0">
            <a:spAutoFit/>
          </a:bodyPr>
          <a:lstStyle/>
          <a:p>
            <a:r>
              <a:rPr lang="en-US" sz="1400" b="1" dirty="0"/>
              <a:t>MCC core</a:t>
            </a:r>
          </a:p>
        </p:txBody>
      </p:sp>
      <p:sp>
        <p:nvSpPr>
          <p:cNvPr id="9" name="TextBox 8">
            <a:extLst>
              <a:ext uri="{FF2B5EF4-FFF2-40B4-BE49-F238E27FC236}">
                <a16:creationId xmlns:a16="http://schemas.microsoft.com/office/drawing/2014/main" id="{92395DB6-D0ED-71FD-F762-03B35D238CB9}"/>
              </a:ext>
            </a:extLst>
          </p:cNvPr>
          <p:cNvSpPr txBox="1"/>
          <p:nvPr/>
        </p:nvSpPr>
        <p:spPr>
          <a:xfrm>
            <a:off x="2209822" y="2344186"/>
            <a:ext cx="1104900" cy="215444"/>
          </a:xfrm>
          <a:prstGeom prst="rect">
            <a:avLst/>
          </a:prstGeom>
          <a:noFill/>
        </p:spPr>
        <p:txBody>
          <a:bodyPr wrap="square" lIns="0" tIns="0" rIns="0" bIns="0" rtlCol="0">
            <a:spAutoFit/>
          </a:bodyPr>
          <a:lstStyle/>
          <a:p>
            <a:r>
              <a:rPr lang="en-US" sz="1400" b="1" dirty="0"/>
              <a:t>MCC core</a:t>
            </a:r>
          </a:p>
        </p:txBody>
      </p:sp>
      <p:sp>
        <p:nvSpPr>
          <p:cNvPr id="10" name="TextBox 9">
            <a:extLst>
              <a:ext uri="{FF2B5EF4-FFF2-40B4-BE49-F238E27FC236}">
                <a16:creationId xmlns:a16="http://schemas.microsoft.com/office/drawing/2014/main" id="{C7BA339E-0387-CF07-96D1-D86B11F85BFB}"/>
              </a:ext>
            </a:extLst>
          </p:cNvPr>
          <p:cNvSpPr txBox="1"/>
          <p:nvPr/>
        </p:nvSpPr>
        <p:spPr>
          <a:xfrm>
            <a:off x="6923495" y="4057124"/>
            <a:ext cx="1219200" cy="646331"/>
          </a:xfrm>
          <a:prstGeom prst="rect">
            <a:avLst/>
          </a:prstGeom>
          <a:noFill/>
        </p:spPr>
        <p:txBody>
          <a:bodyPr wrap="square" lIns="0" tIns="0" rIns="0" bIns="0" rtlCol="0">
            <a:spAutoFit/>
          </a:bodyPr>
          <a:lstStyle/>
          <a:p>
            <a:r>
              <a:rPr lang="en-US" sz="1400" b="1" dirty="0">
                <a:solidFill>
                  <a:schemeClr val="bg1"/>
                </a:solidFill>
              </a:rPr>
              <a:t>Vardenafil + Kollicoat IR layer</a:t>
            </a:r>
          </a:p>
        </p:txBody>
      </p:sp>
      <p:cxnSp>
        <p:nvCxnSpPr>
          <p:cNvPr id="12" name="Straight Arrow Connector 11">
            <a:extLst>
              <a:ext uri="{FF2B5EF4-FFF2-40B4-BE49-F238E27FC236}">
                <a16:creationId xmlns:a16="http://schemas.microsoft.com/office/drawing/2014/main" id="{A8961092-9EE6-C1E9-3D02-66861AB5D070}"/>
              </a:ext>
            </a:extLst>
          </p:cNvPr>
          <p:cNvCxnSpPr>
            <a:cxnSpLocks/>
          </p:cNvCxnSpPr>
          <p:nvPr/>
        </p:nvCxnSpPr>
        <p:spPr>
          <a:xfrm>
            <a:off x="7569917" y="4550326"/>
            <a:ext cx="87630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3204102-8490-238D-9B48-EBE6895B06AC}"/>
              </a:ext>
            </a:extLst>
          </p:cNvPr>
          <p:cNvSpPr txBox="1"/>
          <p:nvPr/>
        </p:nvSpPr>
        <p:spPr>
          <a:xfrm>
            <a:off x="8521686" y="2929088"/>
            <a:ext cx="1455482" cy="430887"/>
          </a:xfrm>
          <a:prstGeom prst="rect">
            <a:avLst/>
          </a:prstGeom>
          <a:noFill/>
        </p:spPr>
        <p:txBody>
          <a:bodyPr wrap="square" lIns="0" tIns="0" rIns="0" bIns="0" rtlCol="0">
            <a:spAutoFit/>
          </a:bodyPr>
          <a:lstStyle/>
          <a:p>
            <a:r>
              <a:rPr lang="en-US" sz="1400" b="1" dirty="0">
                <a:solidFill>
                  <a:schemeClr val="bg1"/>
                </a:solidFill>
              </a:rPr>
              <a:t>Kollicoat Smartseal layer</a:t>
            </a:r>
          </a:p>
        </p:txBody>
      </p:sp>
      <p:cxnSp>
        <p:nvCxnSpPr>
          <p:cNvPr id="16" name="Straight Arrow Connector 15">
            <a:extLst>
              <a:ext uri="{FF2B5EF4-FFF2-40B4-BE49-F238E27FC236}">
                <a16:creationId xmlns:a16="http://schemas.microsoft.com/office/drawing/2014/main" id="{9BC282E0-33E3-4DE3-26B9-BFAFB0D1738C}"/>
              </a:ext>
            </a:extLst>
          </p:cNvPr>
          <p:cNvCxnSpPr>
            <a:cxnSpLocks/>
          </p:cNvCxnSpPr>
          <p:nvPr/>
        </p:nvCxnSpPr>
        <p:spPr>
          <a:xfrm>
            <a:off x="9389806" y="3078303"/>
            <a:ext cx="516826"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2E2287F-7978-E8B9-5633-0F68E73C515B}"/>
              </a:ext>
            </a:extLst>
          </p:cNvPr>
          <p:cNvSpPr txBox="1"/>
          <p:nvPr/>
        </p:nvSpPr>
        <p:spPr>
          <a:xfrm>
            <a:off x="3648727" y="2979684"/>
            <a:ext cx="1455482" cy="430887"/>
          </a:xfrm>
          <a:prstGeom prst="rect">
            <a:avLst/>
          </a:prstGeom>
          <a:noFill/>
        </p:spPr>
        <p:txBody>
          <a:bodyPr wrap="square" lIns="0" tIns="0" rIns="0" bIns="0" rtlCol="0">
            <a:spAutoFit/>
          </a:bodyPr>
          <a:lstStyle/>
          <a:p>
            <a:r>
              <a:rPr lang="en-US" sz="1400" b="1" dirty="0"/>
              <a:t>Kollicoat Smartseal layer</a:t>
            </a:r>
          </a:p>
        </p:txBody>
      </p:sp>
      <p:cxnSp>
        <p:nvCxnSpPr>
          <p:cNvPr id="24" name="Straight Arrow Connector 23">
            <a:extLst>
              <a:ext uri="{FF2B5EF4-FFF2-40B4-BE49-F238E27FC236}">
                <a16:creationId xmlns:a16="http://schemas.microsoft.com/office/drawing/2014/main" id="{78139645-D86C-63D5-B785-1A74A7BCBE28}"/>
              </a:ext>
            </a:extLst>
          </p:cNvPr>
          <p:cNvCxnSpPr>
            <a:cxnSpLocks/>
          </p:cNvCxnSpPr>
          <p:nvPr/>
        </p:nvCxnSpPr>
        <p:spPr>
          <a:xfrm>
            <a:off x="4572000" y="3144532"/>
            <a:ext cx="664051"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7DB5787-137C-0891-3C1E-9D2EC34421CD}"/>
              </a:ext>
            </a:extLst>
          </p:cNvPr>
          <p:cNvSpPr txBox="1"/>
          <p:nvPr/>
        </p:nvSpPr>
        <p:spPr>
          <a:xfrm>
            <a:off x="2934879" y="3890498"/>
            <a:ext cx="1327453" cy="646331"/>
          </a:xfrm>
          <a:prstGeom prst="rect">
            <a:avLst/>
          </a:prstGeom>
          <a:noFill/>
        </p:spPr>
        <p:txBody>
          <a:bodyPr wrap="square" lIns="0" tIns="0" rIns="0" bIns="0" rtlCol="0">
            <a:spAutoFit/>
          </a:bodyPr>
          <a:lstStyle/>
          <a:p>
            <a:r>
              <a:rPr lang="en-US" sz="1400" b="1" dirty="0"/>
              <a:t>Vardenafil + Kollicoat IR layer</a:t>
            </a:r>
          </a:p>
        </p:txBody>
      </p:sp>
      <p:cxnSp>
        <p:nvCxnSpPr>
          <p:cNvPr id="28" name="Straight Arrow Connector 27">
            <a:extLst>
              <a:ext uri="{FF2B5EF4-FFF2-40B4-BE49-F238E27FC236}">
                <a16:creationId xmlns:a16="http://schemas.microsoft.com/office/drawing/2014/main" id="{5C8A0222-5C69-924D-57EA-8951CEC8CDF5}"/>
              </a:ext>
            </a:extLst>
          </p:cNvPr>
          <p:cNvCxnSpPr>
            <a:cxnSpLocks/>
          </p:cNvCxnSpPr>
          <p:nvPr/>
        </p:nvCxnSpPr>
        <p:spPr>
          <a:xfrm>
            <a:off x="3451123" y="4404852"/>
            <a:ext cx="294966" cy="32559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 name="Footer Placeholder 11">
            <a:extLst>
              <a:ext uri="{FF2B5EF4-FFF2-40B4-BE49-F238E27FC236}">
                <a16:creationId xmlns:a16="http://schemas.microsoft.com/office/drawing/2014/main" id="{E091EC48-1382-A3C8-4EB4-34198E192C47}"/>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24231266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9D199D-ED6A-4444-A77E-C4CD9F16543D}"/>
              </a:ext>
            </a:extLst>
          </p:cNvPr>
          <p:cNvGraphicFramePr>
            <a:graphicFrameLocks noChangeAspect="1"/>
          </p:cNvGraphicFramePr>
          <p:nvPr>
            <p:custDataLst>
              <p:tags r:id="rId1"/>
            </p:custDataLst>
            <p:extLst>
              <p:ext uri="{D42A27DB-BD31-4B8C-83A1-F6EECF244321}">
                <p14:modId xmlns:p14="http://schemas.microsoft.com/office/powerpoint/2010/main" val="4077242607"/>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Slide" r:id="rId5" imgW="530" imgH="531" progId="TCLayout.ActiveDocument.1">
                  <p:embed/>
                </p:oleObj>
              </mc:Choice>
              <mc:Fallback>
                <p:oleObj name="think-cell Slide" r:id="rId5" imgW="530" imgH="531" progId="TCLayout.ActiveDocument.1">
                  <p:embed/>
                  <p:pic>
                    <p:nvPicPr>
                      <p:cNvPr id="3" name="Object 2" hidden="1">
                        <a:extLst>
                          <a:ext uri="{FF2B5EF4-FFF2-40B4-BE49-F238E27FC236}">
                            <a16:creationId xmlns:a16="http://schemas.microsoft.com/office/drawing/2014/main" id="{A09D199D-ED6A-4444-A77E-C4CD9F16543D}"/>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E138685-F1A3-4906-BB96-1E19CB34E7B7}"/>
              </a:ext>
            </a:extLst>
          </p:cNvPr>
          <p:cNvSpPr/>
          <p:nvPr>
            <p:custDataLst>
              <p:tags r:id="rId2"/>
            </p:custDataLst>
          </p:nvPr>
        </p:nvSpPr>
        <p:spPr>
          <a:xfrm>
            <a:off x="794"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7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4" name="Titel 23"/>
          <p:cNvSpPr>
            <a:spLocks noGrp="1"/>
          </p:cNvSpPr>
          <p:nvPr>
            <p:ph type="title"/>
          </p:nvPr>
        </p:nvSpPr>
        <p:spPr>
          <a:xfrm>
            <a:off x="227013" y="371194"/>
            <a:ext cx="11560629" cy="853200"/>
          </a:xfrm>
        </p:spPr>
        <p:txBody>
          <a:bodyPr vert="horz"/>
          <a:lstStyle/>
          <a:p>
            <a:r>
              <a:rPr lang="en-US" dirty="0"/>
              <a:t>Introduction to Taste-masking</a:t>
            </a:r>
          </a:p>
        </p:txBody>
      </p:sp>
      <p:sp>
        <p:nvSpPr>
          <p:cNvPr id="7" name="Foliennummernplatzhalter 6"/>
          <p:cNvSpPr>
            <a:spLocks noGrp="1"/>
          </p:cNvSpPr>
          <p:nvPr>
            <p:ph type="sldNum" sz="quarter" idx="4"/>
          </p:nvPr>
        </p:nvSpPr>
        <p:spPr>
          <a:xfrm>
            <a:off x="227013" y="6514798"/>
            <a:ext cx="384217" cy="151200"/>
          </a:xfrm>
          <a:prstGeom prst="rect">
            <a:avLst/>
          </a:prstGeom>
        </p:spPr>
        <p:txBody>
          <a:bodyPr lIns="0" tIns="0" rIns="0" bIns="0"/>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2EA1D04-CA53-4DE3-84A8-2B63E41036C9}" type="slidenum">
              <a:rPr lang="en-US" smtClean="0"/>
              <a:pPr>
                <a:defRPr/>
              </a:pPr>
              <a:t>4</a:t>
            </a:fld>
            <a:endParaRPr lang="en-US" sz="900" b="1" dirty="0">
              <a:solidFill>
                <a:srgbClr val="000000"/>
              </a:solidFill>
              <a:latin typeface="Arial" panose="020B0604020202020204"/>
              <a:cs typeface="Arial"/>
            </a:endParaRPr>
          </a:p>
        </p:txBody>
      </p:sp>
      <p:pic>
        <p:nvPicPr>
          <p:cNvPr id="5" name="Picture 4" descr="A close up of a device&#10;&#10;Description automatically generated">
            <a:extLst>
              <a:ext uri="{FF2B5EF4-FFF2-40B4-BE49-F238E27FC236}">
                <a16:creationId xmlns:a16="http://schemas.microsoft.com/office/drawing/2014/main" id="{D6B02EE8-A4DA-427B-BB73-F8778212385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470678" y="1615602"/>
            <a:ext cx="2269281" cy="2076725"/>
          </a:xfrm>
          <a:prstGeom prst="rect">
            <a:avLst/>
          </a:prstGeom>
        </p:spPr>
      </p:pic>
      <p:pic>
        <p:nvPicPr>
          <p:cNvPr id="6" name="Picture 5" descr="A group of people walking in the snow&#10;&#10;Description automatically generated">
            <a:extLst>
              <a:ext uri="{FF2B5EF4-FFF2-40B4-BE49-F238E27FC236}">
                <a16:creationId xmlns:a16="http://schemas.microsoft.com/office/drawing/2014/main" id="{F92B204F-28F4-41AD-8BE6-51FFA84F555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857792" y="1828492"/>
            <a:ext cx="2476416" cy="1650944"/>
          </a:xfrm>
          <a:prstGeom prst="rect">
            <a:avLst/>
          </a:prstGeom>
        </p:spPr>
      </p:pic>
      <p:pic>
        <p:nvPicPr>
          <p:cNvPr id="11" name="Picture 10" descr="A person looking at the camera&#10;&#10;Description automatically generated">
            <a:extLst>
              <a:ext uri="{FF2B5EF4-FFF2-40B4-BE49-F238E27FC236}">
                <a16:creationId xmlns:a16="http://schemas.microsoft.com/office/drawing/2014/main" id="{B61BE797-7F94-4CF1-BEB3-EBEC898EFCA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015603" y="1615775"/>
            <a:ext cx="3061302" cy="2041451"/>
          </a:xfrm>
          <a:prstGeom prst="rect">
            <a:avLst/>
          </a:prstGeom>
        </p:spPr>
      </p:pic>
      <p:sp>
        <p:nvSpPr>
          <p:cNvPr id="12" name="TextBox 11">
            <a:extLst>
              <a:ext uri="{FF2B5EF4-FFF2-40B4-BE49-F238E27FC236}">
                <a16:creationId xmlns:a16="http://schemas.microsoft.com/office/drawing/2014/main" id="{BFFAB9A2-35A8-4EE1-8B04-45F2717FCE71}"/>
              </a:ext>
            </a:extLst>
          </p:cNvPr>
          <p:cNvSpPr txBox="1"/>
          <p:nvPr/>
        </p:nvSpPr>
        <p:spPr>
          <a:xfrm>
            <a:off x="656340" y="3702860"/>
            <a:ext cx="1897955" cy="276999"/>
          </a:xfrm>
          <a:prstGeom prst="rect">
            <a:avLst/>
          </a:prstGeom>
          <a:noFill/>
        </p:spPr>
        <p:txBody>
          <a:bodyPr wrap="none" lIns="0" tIns="0" rIns="0" bIns="0" rtlCol="0">
            <a:spAutoFit/>
          </a:bodyPr>
          <a:lstStyle/>
          <a:p>
            <a:r>
              <a:rPr lang="en-US" b="1" dirty="0">
                <a:solidFill>
                  <a:srgbClr val="C00000"/>
                </a:solidFill>
              </a:rPr>
              <a:t>Aging population</a:t>
            </a:r>
          </a:p>
        </p:txBody>
      </p:sp>
      <p:sp>
        <p:nvSpPr>
          <p:cNvPr id="14" name="TextBox 13">
            <a:extLst>
              <a:ext uri="{FF2B5EF4-FFF2-40B4-BE49-F238E27FC236}">
                <a16:creationId xmlns:a16="http://schemas.microsoft.com/office/drawing/2014/main" id="{C8A8D6AF-C8B7-498B-8DDD-72DD2760CD7D}"/>
              </a:ext>
            </a:extLst>
          </p:cNvPr>
          <p:cNvSpPr txBox="1"/>
          <p:nvPr/>
        </p:nvSpPr>
        <p:spPr>
          <a:xfrm>
            <a:off x="4864737" y="3657226"/>
            <a:ext cx="2321213" cy="276999"/>
          </a:xfrm>
          <a:prstGeom prst="rect">
            <a:avLst/>
          </a:prstGeom>
          <a:noFill/>
        </p:spPr>
        <p:txBody>
          <a:bodyPr wrap="none" lIns="0" tIns="0" rIns="0" bIns="0" rtlCol="0">
            <a:spAutoFit/>
          </a:bodyPr>
          <a:lstStyle/>
          <a:p>
            <a:pPr algn="ctr"/>
            <a:r>
              <a:rPr lang="en-US" b="1" dirty="0">
                <a:solidFill>
                  <a:srgbClr val="C00000"/>
                </a:solidFill>
              </a:rPr>
              <a:t>Treatment adherence</a:t>
            </a:r>
          </a:p>
        </p:txBody>
      </p:sp>
      <p:sp>
        <p:nvSpPr>
          <p:cNvPr id="16" name="TextBox 15">
            <a:extLst>
              <a:ext uri="{FF2B5EF4-FFF2-40B4-BE49-F238E27FC236}">
                <a16:creationId xmlns:a16="http://schemas.microsoft.com/office/drawing/2014/main" id="{D6EE95CB-CF97-4974-B6FD-C0A9AD64B250}"/>
              </a:ext>
            </a:extLst>
          </p:cNvPr>
          <p:cNvSpPr txBox="1"/>
          <p:nvPr/>
        </p:nvSpPr>
        <p:spPr>
          <a:xfrm>
            <a:off x="908010" y="4061311"/>
            <a:ext cx="1394613" cy="677108"/>
          </a:xfrm>
          <a:prstGeom prst="rect">
            <a:avLst/>
          </a:prstGeom>
          <a:noFill/>
        </p:spPr>
        <p:txBody>
          <a:bodyPr wrap="none" lIns="0" tIns="0" rIns="0" bIns="0" rtlCol="0">
            <a:spAutoFit/>
          </a:bodyPr>
          <a:lstStyle/>
          <a:p>
            <a:r>
              <a:rPr lang="en-US" sz="4400" dirty="0">
                <a:solidFill>
                  <a:srgbClr val="C00000"/>
                </a:solidFill>
              </a:rPr>
              <a:t>70%</a:t>
            </a:r>
            <a:r>
              <a:rPr lang="en-US" sz="2400" baseline="30000" dirty="0">
                <a:solidFill>
                  <a:srgbClr val="C00000"/>
                </a:solidFill>
              </a:rPr>
              <a:t>[1]</a:t>
            </a:r>
            <a:endParaRPr lang="en-US" sz="4400" baseline="30000" dirty="0">
              <a:solidFill>
                <a:srgbClr val="C00000"/>
              </a:solidFill>
            </a:endParaRPr>
          </a:p>
        </p:txBody>
      </p:sp>
      <p:sp>
        <p:nvSpPr>
          <p:cNvPr id="17" name="TextBox 16">
            <a:extLst>
              <a:ext uri="{FF2B5EF4-FFF2-40B4-BE49-F238E27FC236}">
                <a16:creationId xmlns:a16="http://schemas.microsoft.com/office/drawing/2014/main" id="{80B4604C-46C5-41AB-BD3C-4E86567CCB0F}"/>
              </a:ext>
            </a:extLst>
          </p:cNvPr>
          <p:cNvSpPr txBox="1"/>
          <p:nvPr/>
        </p:nvSpPr>
        <p:spPr>
          <a:xfrm>
            <a:off x="491337" y="5784511"/>
            <a:ext cx="4241516" cy="531171"/>
          </a:xfrm>
          <a:prstGeom prst="rect">
            <a:avLst/>
          </a:prstGeom>
          <a:noFill/>
        </p:spPr>
        <p:txBody>
          <a:bodyPr wrap="square" lIns="0" tIns="0" rIns="0" bIns="0" rtlCol="0">
            <a:spAutoFit/>
          </a:bodyPr>
          <a:lstStyle/>
          <a:p>
            <a:pPr>
              <a:lnSpc>
                <a:spcPct val="150000"/>
              </a:lnSpc>
            </a:pPr>
            <a:r>
              <a:rPr lang="en-US" sz="800" dirty="0"/>
              <a:t>[1] </a:t>
            </a:r>
            <a:r>
              <a:rPr lang="en-US" sz="800" dirty="0">
                <a:hlinkClick r:id="rId10">
                  <a:extLst>
                    <a:ext uri="{A12FA001-AC4F-418D-AE19-62706E023703}">
                      <ahyp:hlinkClr xmlns:ahyp="http://schemas.microsoft.com/office/drawing/2018/hyperlinkcolor" val="tx"/>
                    </a:ext>
                  </a:extLst>
                </a:hlinkClick>
              </a:rPr>
              <a:t>SN Compr Clin Med</a:t>
            </a:r>
            <a:r>
              <a:rPr lang="en-US" sz="800" dirty="0"/>
              <a:t>. 2020 Aug 18 : 1–5. </a:t>
            </a:r>
          </a:p>
          <a:p>
            <a:pPr>
              <a:lnSpc>
                <a:spcPct val="150000"/>
              </a:lnSpc>
            </a:pPr>
            <a:r>
              <a:rPr lang="en-US" sz="800" dirty="0"/>
              <a:t>[2] </a:t>
            </a:r>
            <a:r>
              <a:rPr lang="en-US" sz="800" dirty="0">
                <a:hlinkClick r:id="rId11">
                  <a:extLst>
                    <a:ext uri="{A12FA001-AC4F-418D-AE19-62706E023703}">
                      <ahyp:hlinkClr xmlns:ahyp="http://schemas.microsoft.com/office/drawing/2018/hyperlinkcolor" val="tx"/>
                    </a:ext>
                  </a:extLst>
                </a:hlinkClick>
              </a:rPr>
              <a:t>Patient Prefer Adherence</a:t>
            </a:r>
            <a:r>
              <a:rPr lang="en-US" sz="800" dirty="0"/>
              <a:t>. 2012; 6: 109–125.</a:t>
            </a:r>
          </a:p>
          <a:p>
            <a:pPr>
              <a:lnSpc>
                <a:spcPct val="150000"/>
              </a:lnSpc>
            </a:pPr>
            <a:r>
              <a:rPr lang="en-US" sz="800" dirty="0"/>
              <a:t>[3] </a:t>
            </a:r>
            <a:r>
              <a:rPr lang="en-US" sz="800" dirty="0">
                <a:hlinkClick r:id="rId12">
                  <a:extLst>
                    <a:ext uri="{A12FA001-AC4F-418D-AE19-62706E023703}">
                      <ahyp:hlinkClr xmlns:ahyp="http://schemas.microsoft.com/office/drawing/2018/hyperlinkcolor" val="tx"/>
                    </a:ext>
                  </a:extLst>
                </a:hlinkClick>
              </a:rPr>
              <a:t>Sci Rep 7</a:t>
            </a:r>
            <a:r>
              <a:rPr lang="en-US" sz="800" dirty="0"/>
              <a:t>, 12074 (2017)</a:t>
            </a:r>
          </a:p>
        </p:txBody>
      </p:sp>
      <p:sp>
        <p:nvSpPr>
          <p:cNvPr id="20" name="TextBox 19">
            <a:extLst>
              <a:ext uri="{FF2B5EF4-FFF2-40B4-BE49-F238E27FC236}">
                <a16:creationId xmlns:a16="http://schemas.microsoft.com/office/drawing/2014/main" id="{608D074A-82DB-40A7-AE80-18C2F814D042}"/>
              </a:ext>
            </a:extLst>
          </p:cNvPr>
          <p:cNvSpPr txBox="1"/>
          <p:nvPr/>
        </p:nvSpPr>
        <p:spPr>
          <a:xfrm>
            <a:off x="9909381" y="3866826"/>
            <a:ext cx="1171218" cy="276999"/>
          </a:xfrm>
          <a:prstGeom prst="rect">
            <a:avLst/>
          </a:prstGeom>
          <a:noFill/>
        </p:spPr>
        <p:txBody>
          <a:bodyPr wrap="none" lIns="0" tIns="0" rIns="0" bIns="0" rtlCol="0">
            <a:spAutoFit/>
          </a:bodyPr>
          <a:lstStyle/>
          <a:p>
            <a:r>
              <a:rPr lang="en-US" b="1" dirty="0">
                <a:solidFill>
                  <a:srgbClr val="C00000"/>
                </a:solidFill>
              </a:rPr>
              <a:t>Bitter APIs</a:t>
            </a:r>
          </a:p>
        </p:txBody>
      </p:sp>
      <p:sp>
        <p:nvSpPr>
          <p:cNvPr id="21" name="TextBox 20">
            <a:extLst>
              <a:ext uri="{FF2B5EF4-FFF2-40B4-BE49-F238E27FC236}">
                <a16:creationId xmlns:a16="http://schemas.microsoft.com/office/drawing/2014/main" id="{C38142F6-B3E8-4408-B0A9-476B04759C46}"/>
              </a:ext>
            </a:extLst>
          </p:cNvPr>
          <p:cNvSpPr txBox="1"/>
          <p:nvPr/>
        </p:nvSpPr>
        <p:spPr>
          <a:xfrm>
            <a:off x="9842382" y="4201431"/>
            <a:ext cx="1359346" cy="677108"/>
          </a:xfrm>
          <a:prstGeom prst="rect">
            <a:avLst/>
          </a:prstGeom>
          <a:noFill/>
        </p:spPr>
        <p:txBody>
          <a:bodyPr wrap="none" lIns="0" tIns="0" rIns="0" bIns="0" rtlCol="0">
            <a:spAutoFit/>
          </a:bodyPr>
          <a:lstStyle/>
          <a:p>
            <a:r>
              <a:rPr lang="en-US" sz="4400" dirty="0">
                <a:solidFill>
                  <a:srgbClr val="C00000"/>
                </a:solidFill>
              </a:rPr>
              <a:t>66%</a:t>
            </a:r>
            <a:r>
              <a:rPr lang="en-US" sz="2400" baseline="30000" dirty="0">
                <a:solidFill>
                  <a:srgbClr val="C00000"/>
                </a:solidFill>
              </a:rPr>
              <a:t>[3]</a:t>
            </a:r>
            <a:endParaRPr lang="en-US" sz="4400" baseline="30000" dirty="0">
              <a:solidFill>
                <a:srgbClr val="C00000"/>
              </a:solidFill>
            </a:endParaRPr>
          </a:p>
        </p:txBody>
      </p:sp>
      <p:sp>
        <p:nvSpPr>
          <p:cNvPr id="22" name="TextBox 21">
            <a:extLst>
              <a:ext uri="{FF2B5EF4-FFF2-40B4-BE49-F238E27FC236}">
                <a16:creationId xmlns:a16="http://schemas.microsoft.com/office/drawing/2014/main" id="{5007050A-B03C-4693-A058-113ECDAAF07C}"/>
              </a:ext>
            </a:extLst>
          </p:cNvPr>
          <p:cNvSpPr txBox="1"/>
          <p:nvPr/>
        </p:nvSpPr>
        <p:spPr>
          <a:xfrm>
            <a:off x="5403154" y="4062222"/>
            <a:ext cx="1502972" cy="677108"/>
          </a:xfrm>
          <a:prstGeom prst="rect">
            <a:avLst/>
          </a:prstGeom>
          <a:noFill/>
        </p:spPr>
        <p:txBody>
          <a:bodyPr wrap="square" lIns="0" tIns="0" rIns="0" bIns="0" rtlCol="0">
            <a:spAutoFit/>
          </a:bodyPr>
          <a:lstStyle/>
          <a:p>
            <a:r>
              <a:rPr lang="en-US" sz="4400" dirty="0">
                <a:solidFill>
                  <a:srgbClr val="C00000"/>
                </a:solidFill>
              </a:rPr>
              <a:t>61%</a:t>
            </a:r>
            <a:r>
              <a:rPr lang="en-US" sz="2400" baseline="30000" dirty="0">
                <a:solidFill>
                  <a:srgbClr val="C00000"/>
                </a:solidFill>
              </a:rPr>
              <a:t>[2]</a:t>
            </a:r>
            <a:endParaRPr lang="en-US" sz="4400" baseline="30000" dirty="0">
              <a:solidFill>
                <a:srgbClr val="C00000"/>
              </a:solidFill>
            </a:endParaRPr>
          </a:p>
        </p:txBody>
      </p:sp>
      <p:sp>
        <p:nvSpPr>
          <p:cNvPr id="25" name="TextBox 24">
            <a:extLst>
              <a:ext uri="{FF2B5EF4-FFF2-40B4-BE49-F238E27FC236}">
                <a16:creationId xmlns:a16="http://schemas.microsoft.com/office/drawing/2014/main" id="{9E786802-E3BD-433E-A4A4-2555D45EC5C2}"/>
              </a:ext>
            </a:extLst>
          </p:cNvPr>
          <p:cNvSpPr txBox="1"/>
          <p:nvPr/>
        </p:nvSpPr>
        <p:spPr>
          <a:xfrm>
            <a:off x="423174" y="4874519"/>
            <a:ext cx="2649764" cy="184666"/>
          </a:xfrm>
          <a:prstGeom prst="rect">
            <a:avLst/>
          </a:prstGeom>
          <a:noFill/>
        </p:spPr>
        <p:txBody>
          <a:bodyPr wrap="none" lIns="0" tIns="0" rIns="0" bIns="0" rtlCol="0">
            <a:spAutoFit/>
          </a:bodyPr>
          <a:lstStyle/>
          <a:p>
            <a:r>
              <a:rPr lang="en-US" sz="1200" dirty="0"/>
              <a:t>nursing home residents with dysphagia</a:t>
            </a:r>
          </a:p>
        </p:txBody>
      </p:sp>
      <p:sp>
        <p:nvSpPr>
          <p:cNvPr id="26" name="TextBox 25">
            <a:extLst>
              <a:ext uri="{FF2B5EF4-FFF2-40B4-BE49-F238E27FC236}">
                <a16:creationId xmlns:a16="http://schemas.microsoft.com/office/drawing/2014/main" id="{397B1BEA-1285-49F8-9D2A-B0DBACFAE7AE}"/>
              </a:ext>
            </a:extLst>
          </p:cNvPr>
          <p:cNvSpPr txBox="1"/>
          <p:nvPr/>
        </p:nvSpPr>
        <p:spPr>
          <a:xfrm>
            <a:off x="4784265" y="4867327"/>
            <a:ext cx="2576475" cy="184666"/>
          </a:xfrm>
          <a:prstGeom prst="rect">
            <a:avLst/>
          </a:prstGeom>
          <a:noFill/>
        </p:spPr>
        <p:txBody>
          <a:bodyPr wrap="none" lIns="0" tIns="0" rIns="0" bIns="0" rtlCol="0">
            <a:spAutoFit/>
          </a:bodyPr>
          <a:lstStyle/>
          <a:p>
            <a:r>
              <a:rPr lang="en-US" sz="1200" dirty="0"/>
              <a:t>preference of ODT to standard tablets</a:t>
            </a:r>
          </a:p>
        </p:txBody>
      </p:sp>
      <p:sp>
        <p:nvSpPr>
          <p:cNvPr id="27" name="TextBox 26">
            <a:extLst>
              <a:ext uri="{FF2B5EF4-FFF2-40B4-BE49-F238E27FC236}">
                <a16:creationId xmlns:a16="http://schemas.microsoft.com/office/drawing/2014/main" id="{0E4A48DD-3E16-4844-BCB6-097629DF8B7B}"/>
              </a:ext>
            </a:extLst>
          </p:cNvPr>
          <p:cNvSpPr txBox="1"/>
          <p:nvPr/>
        </p:nvSpPr>
        <p:spPr>
          <a:xfrm>
            <a:off x="8835127" y="4878539"/>
            <a:ext cx="2965555" cy="184666"/>
          </a:xfrm>
          <a:prstGeom prst="rect">
            <a:avLst/>
          </a:prstGeom>
          <a:noFill/>
        </p:spPr>
        <p:txBody>
          <a:bodyPr wrap="none" lIns="0" tIns="0" rIns="0" bIns="0" rtlCol="0">
            <a:spAutoFit/>
          </a:bodyPr>
          <a:lstStyle/>
          <a:p>
            <a:r>
              <a:rPr lang="en-US" sz="1200" dirty="0"/>
              <a:t>currently in experimental and clinical stages</a:t>
            </a:r>
          </a:p>
        </p:txBody>
      </p:sp>
      <p:sp>
        <p:nvSpPr>
          <p:cNvPr id="15" name="Footer Placeholder 11">
            <a:extLst>
              <a:ext uri="{FF2B5EF4-FFF2-40B4-BE49-F238E27FC236}">
                <a16:creationId xmlns:a16="http://schemas.microsoft.com/office/drawing/2014/main" id="{F069F9B1-9369-D75F-7F7C-CC92E9616012}"/>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34970828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1466A34-306C-EB6F-6C0B-43AFA4D9C5F9}"/>
              </a:ext>
            </a:extLst>
          </p:cNvPr>
          <p:cNvGraphicFramePr>
            <a:graphicFrameLocks noChangeAspect="1"/>
          </p:cNvGraphicFramePr>
          <p:nvPr>
            <p:custDataLst>
              <p:tags r:id="rId1"/>
            </p:custDataLst>
            <p:extLst>
              <p:ext uri="{D42A27DB-BD31-4B8C-83A1-F6EECF244321}">
                <p14:modId xmlns:p14="http://schemas.microsoft.com/office/powerpoint/2010/main" val="2227659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8" name="think-cell data - do not delete" hidden="1">
                        <a:extLst>
                          <a:ext uri="{FF2B5EF4-FFF2-40B4-BE49-F238E27FC236}">
                            <a16:creationId xmlns:a16="http://schemas.microsoft.com/office/drawing/2014/main" id="{71466A34-306C-EB6F-6C0B-43AFA4D9C5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F5D1AD-4744-510E-EA2B-CB93527C0595}"/>
              </a:ext>
            </a:extLst>
          </p:cNvPr>
          <p:cNvSpPr>
            <a:spLocks noGrp="1"/>
          </p:cNvSpPr>
          <p:nvPr>
            <p:ph type="title"/>
          </p:nvPr>
        </p:nvSpPr>
        <p:spPr>
          <a:xfrm>
            <a:off x="456000" y="117587"/>
            <a:ext cx="11736000" cy="530253"/>
          </a:xfrm>
        </p:spPr>
        <p:txBody>
          <a:bodyPr vert="horz"/>
          <a:lstStyle/>
          <a:p>
            <a:r>
              <a:rPr lang="en-US" dirty="0"/>
              <a:t>Particle size distribution (PSD) of vardenafil coated pellets</a:t>
            </a:r>
          </a:p>
        </p:txBody>
      </p:sp>
      <p:sp>
        <p:nvSpPr>
          <p:cNvPr id="5" name="Slide Number Placeholder 4">
            <a:extLst>
              <a:ext uri="{FF2B5EF4-FFF2-40B4-BE49-F238E27FC236}">
                <a16:creationId xmlns:a16="http://schemas.microsoft.com/office/drawing/2014/main" id="{EAE5A1ED-DC38-3EAB-18A4-EAEA0E8BFED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0</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6" name="Picture 5">
            <a:extLst>
              <a:ext uri="{FF2B5EF4-FFF2-40B4-BE49-F238E27FC236}">
                <a16:creationId xmlns:a16="http://schemas.microsoft.com/office/drawing/2014/main" id="{0DBF289A-3FD7-369D-9BF0-5180A99126B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t="3624" r="3959" b="9284"/>
          <a:stretch/>
        </p:blipFill>
        <p:spPr bwMode="auto">
          <a:xfrm>
            <a:off x="774363" y="1196802"/>
            <a:ext cx="6355421" cy="4207114"/>
          </a:xfrm>
          <a:prstGeom prst="rect">
            <a:avLst/>
          </a:prstGeom>
          <a:noFill/>
          <a:ln>
            <a:noFill/>
          </a:ln>
        </p:spPr>
      </p:pic>
      <p:grpSp>
        <p:nvGrpSpPr>
          <p:cNvPr id="186" name="Group 185">
            <a:extLst>
              <a:ext uri="{FF2B5EF4-FFF2-40B4-BE49-F238E27FC236}">
                <a16:creationId xmlns:a16="http://schemas.microsoft.com/office/drawing/2014/main" id="{8D567446-5A70-ABF2-5AA6-B01FF5066325}"/>
              </a:ext>
            </a:extLst>
          </p:cNvPr>
          <p:cNvGrpSpPr/>
          <p:nvPr/>
        </p:nvGrpSpPr>
        <p:grpSpPr>
          <a:xfrm>
            <a:off x="7888038" y="1148037"/>
            <a:ext cx="3529598" cy="4090737"/>
            <a:chOff x="7748338" y="1002560"/>
            <a:chExt cx="3529598" cy="4090737"/>
          </a:xfrm>
        </p:grpSpPr>
        <p:pic>
          <p:nvPicPr>
            <p:cNvPr id="175" name="Picture 174">
              <a:extLst>
                <a:ext uri="{FF2B5EF4-FFF2-40B4-BE49-F238E27FC236}">
                  <a16:creationId xmlns:a16="http://schemas.microsoft.com/office/drawing/2014/main" id="{7250647D-771E-CBA1-E97B-0BF31D2E3E20}"/>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bwMode="auto">
            <a:xfrm>
              <a:off x="7748338" y="1002560"/>
              <a:ext cx="3529598" cy="4090737"/>
            </a:xfrm>
            <a:prstGeom prst="rect">
              <a:avLst/>
            </a:prstGeom>
            <a:noFill/>
            <a:ln>
              <a:noFill/>
            </a:ln>
          </p:spPr>
        </p:pic>
        <p:pic>
          <p:nvPicPr>
            <p:cNvPr id="176" name="Picture 175">
              <a:extLst>
                <a:ext uri="{FF2B5EF4-FFF2-40B4-BE49-F238E27FC236}">
                  <a16:creationId xmlns:a16="http://schemas.microsoft.com/office/drawing/2014/main" id="{F8B4BBC7-03E9-64A4-BA1A-B283EDBAD92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bwMode="auto">
            <a:xfrm>
              <a:off x="7773738" y="4890519"/>
              <a:ext cx="1304428" cy="18201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184" name="TextBox 183">
            <a:extLst>
              <a:ext uri="{FF2B5EF4-FFF2-40B4-BE49-F238E27FC236}">
                <a16:creationId xmlns:a16="http://schemas.microsoft.com/office/drawing/2014/main" id="{C0EECC22-9F89-9874-A464-1E6AB418847C}"/>
              </a:ext>
            </a:extLst>
          </p:cNvPr>
          <p:cNvSpPr txBox="1"/>
          <p:nvPr/>
        </p:nvSpPr>
        <p:spPr>
          <a:xfrm>
            <a:off x="7888038" y="5252716"/>
            <a:ext cx="3529598" cy="430887"/>
          </a:xfrm>
          <a:prstGeom prst="rect">
            <a:avLst/>
          </a:prstGeom>
          <a:solidFill>
            <a:schemeClr val="accent1"/>
          </a:solidFill>
        </p:spPr>
        <p:txBody>
          <a:bodyPr wrap="square">
            <a:spAutoFit/>
          </a:bodyPr>
          <a:lstStyle/>
          <a:p>
            <a:pPr algn="ctr"/>
            <a:r>
              <a:rPr lang="en-US" sz="1100" dirty="0">
                <a:solidFill>
                  <a:schemeClr val="bg1"/>
                </a:solidFill>
              </a:rPr>
              <a:t>(SEM of cross section of pellet coated with vardenafil + Kollicoat</a:t>
            </a:r>
            <a:r>
              <a:rPr lang="en-US" sz="1100" baseline="30000" dirty="0">
                <a:solidFill>
                  <a:schemeClr val="bg1"/>
                </a:solidFill>
              </a:rPr>
              <a:t>®</a:t>
            </a:r>
            <a:r>
              <a:rPr lang="en-US" sz="1100" dirty="0">
                <a:solidFill>
                  <a:schemeClr val="bg1"/>
                </a:solidFill>
              </a:rPr>
              <a:t> Smartseal – 30% WG)</a:t>
            </a:r>
          </a:p>
        </p:txBody>
      </p:sp>
      <p:sp>
        <p:nvSpPr>
          <p:cNvPr id="185" name="Text Placeholder 2">
            <a:extLst>
              <a:ext uri="{FF2B5EF4-FFF2-40B4-BE49-F238E27FC236}">
                <a16:creationId xmlns:a16="http://schemas.microsoft.com/office/drawing/2014/main" id="{DC156E62-E576-F9A9-2901-07275FA879E5}"/>
              </a:ext>
            </a:extLst>
          </p:cNvPr>
          <p:cNvSpPr>
            <a:spLocks noGrp="1"/>
          </p:cNvSpPr>
          <p:nvPr>
            <p:ph type="body" idx="1"/>
          </p:nvPr>
        </p:nvSpPr>
        <p:spPr>
          <a:xfrm>
            <a:off x="774363" y="6045768"/>
            <a:ext cx="8153068" cy="325216"/>
          </a:xfrm>
        </p:spPr>
        <p:txBody>
          <a:bodyPr/>
          <a:lstStyle/>
          <a:p>
            <a:r>
              <a:rPr lang="en-US" sz="1800" dirty="0"/>
              <a:t>Narrow PSD (RSD 18.75%) </a:t>
            </a:r>
            <a:r>
              <a:rPr lang="en-US" sz="1800" dirty="0">
                <a:sym typeface="Wingdings" panose="05000000000000000000" pitchFamily="2" charset="2"/>
              </a:rPr>
              <a:t> r</a:t>
            </a:r>
            <a:r>
              <a:rPr lang="en-US" sz="1800" dirty="0"/>
              <a:t>obust coating process </a:t>
            </a:r>
          </a:p>
        </p:txBody>
      </p:sp>
      <p:sp>
        <p:nvSpPr>
          <p:cNvPr id="188" name="TextBox 187">
            <a:extLst>
              <a:ext uri="{FF2B5EF4-FFF2-40B4-BE49-F238E27FC236}">
                <a16:creationId xmlns:a16="http://schemas.microsoft.com/office/drawing/2014/main" id="{B35754DC-0765-4A76-867A-FE70A7CA9128}"/>
              </a:ext>
            </a:extLst>
          </p:cNvPr>
          <p:cNvSpPr txBox="1"/>
          <p:nvPr/>
        </p:nvSpPr>
        <p:spPr>
          <a:xfrm>
            <a:off x="774364" y="5446289"/>
            <a:ext cx="6355420" cy="430887"/>
          </a:xfrm>
          <a:prstGeom prst="rect">
            <a:avLst/>
          </a:prstGeom>
          <a:solidFill>
            <a:schemeClr val="accent1"/>
          </a:solidFill>
        </p:spPr>
        <p:txBody>
          <a:bodyPr wrap="square">
            <a:spAutoFit/>
          </a:bodyPr>
          <a:lstStyle/>
          <a:p>
            <a:pPr algn="ctr"/>
            <a:r>
              <a:rPr lang="en-US" sz="1100" dirty="0">
                <a:solidFill>
                  <a:schemeClr val="bg1"/>
                </a:solidFill>
              </a:rPr>
              <a:t>Minimum: 290 µm                   Mean: 400  µm          </a:t>
            </a:r>
          </a:p>
          <a:p>
            <a:pPr algn="ctr"/>
            <a:r>
              <a:rPr lang="en-US" sz="1100" dirty="0">
                <a:solidFill>
                  <a:schemeClr val="bg1"/>
                </a:solidFill>
              </a:rPr>
              <a:t>Maximum: 594 µm                   Std.: Dev 75 µm  </a:t>
            </a:r>
          </a:p>
        </p:txBody>
      </p:sp>
      <p:sp>
        <p:nvSpPr>
          <p:cNvPr id="194" name="Text Placeholder 2">
            <a:extLst>
              <a:ext uri="{FF2B5EF4-FFF2-40B4-BE49-F238E27FC236}">
                <a16:creationId xmlns:a16="http://schemas.microsoft.com/office/drawing/2014/main" id="{25BEDD1D-3736-C4E2-1474-F96784BCF27B}"/>
              </a:ext>
            </a:extLst>
          </p:cNvPr>
          <p:cNvSpPr txBox="1">
            <a:spLocks/>
          </p:cNvSpPr>
          <p:nvPr/>
        </p:nvSpPr>
        <p:spPr>
          <a:xfrm>
            <a:off x="7913438" y="5730962"/>
            <a:ext cx="3504198" cy="325215"/>
          </a:xfrm>
          <a:prstGeom prst="rect">
            <a:avLst/>
          </a:prstGeom>
        </p:spPr>
        <p:txBody>
          <a:bodyPr vert="horz" lIns="0" tIns="0" rIns="0" bIns="0" rtlCol="0">
            <a:noAutofit/>
          </a:bodyPr>
          <a:lst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marL="0" lvl="0" indent="0" algn="ctr">
              <a:buNone/>
            </a:pPr>
            <a:r>
              <a:rPr lang="en-US" sz="1400" dirty="0"/>
              <a:t>Inert MCC Pellets PSD: 200 – 355 µm  </a:t>
            </a:r>
          </a:p>
        </p:txBody>
      </p:sp>
      <p:sp>
        <p:nvSpPr>
          <p:cNvPr id="10" name="TextBox 9">
            <a:extLst>
              <a:ext uri="{FF2B5EF4-FFF2-40B4-BE49-F238E27FC236}">
                <a16:creationId xmlns:a16="http://schemas.microsoft.com/office/drawing/2014/main" id="{57CD3991-025A-F076-780D-2BF368547AA8}"/>
              </a:ext>
            </a:extLst>
          </p:cNvPr>
          <p:cNvSpPr txBox="1"/>
          <p:nvPr/>
        </p:nvSpPr>
        <p:spPr>
          <a:xfrm>
            <a:off x="80543" y="759439"/>
            <a:ext cx="8153068" cy="276999"/>
          </a:xfrm>
          <a:prstGeom prst="rect">
            <a:avLst/>
          </a:prstGeom>
          <a:noFill/>
        </p:spPr>
        <p:txBody>
          <a:bodyPr wrap="square">
            <a:spAutoFit/>
          </a:bodyPr>
          <a:lstStyle/>
          <a:p>
            <a:pPr algn="ctr"/>
            <a:r>
              <a:rPr lang="en-US" sz="1200" b="1" dirty="0"/>
              <a:t>PSD of MCC pellets layered with Kollicoat</a:t>
            </a:r>
            <a:r>
              <a:rPr lang="en-US" sz="1200" b="1" baseline="30000" dirty="0"/>
              <a:t>®</a:t>
            </a:r>
            <a:r>
              <a:rPr lang="en-US" sz="1200" b="1" dirty="0"/>
              <a:t> IR + vardenafil, then coated with  Kollicoat</a:t>
            </a:r>
            <a:r>
              <a:rPr lang="en-US" sz="1200" b="1" baseline="30000" dirty="0"/>
              <a:t>®</a:t>
            </a:r>
            <a:r>
              <a:rPr lang="en-US" sz="1200" b="1" dirty="0"/>
              <a:t> Smartseal (30% WG)</a:t>
            </a:r>
          </a:p>
        </p:txBody>
      </p:sp>
      <p:sp>
        <p:nvSpPr>
          <p:cNvPr id="3" name="Footer Placeholder 11">
            <a:extLst>
              <a:ext uri="{FF2B5EF4-FFF2-40B4-BE49-F238E27FC236}">
                <a16:creationId xmlns:a16="http://schemas.microsoft.com/office/drawing/2014/main" id="{0A91746E-B6AC-B7DA-3016-2904F9381296}"/>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28193192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50C254F-1C8A-C08B-1307-03AA01279625}"/>
              </a:ext>
            </a:extLst>
          </p:cNvPr>
          <p:cNvGraphicFramePr>
            <a:graphicFrameLocks noChangeAspect="1"/>
          </p:cNvGraphicFramePr>
          <p:nvPr>
            <p:custDataLst>
              <p:tags r:id="rId1"/>
            </p:custDataLst>
            <p:extLst>
              <p:ext uri="{D42A27DB-BD31-4B8C-83A1-F6EECF244321}">
                <p14:modId xmlns:p14="http://schemas.microsoft.com/office/powerpoint/2010/main" val="1739718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7" name="think-cell data - do not delete" hidden="1">
                        <a:extLst>
                          <a:ext uri="{FF2B5EF4-FFF2-40B4-BE49-F238E27FC236}">
                            <a16:creationId xmlns:a16="http://schemas.microsoft.com/office/drawing/2014/main" id="{350C254F-1C8A-C08B-1307-03AA012796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1EE3CB-88A6-9846-0273-B29487B6AAC0}"/>
              </a:ext>
            </a:extLst>
          </p:cNvPr>
          <p:cNvSpPr>
            <a:spLocks noGrp="1"/>
          </p:cNvSpPr>
          <p:nvPr>
            <p:ph type="title"/>
          </p:nvPr>
        </p:nvSpPr>
        <p:spPr>
          <a:xfrm>
            <a:off x="406800" y="413745"/>
            <a:ext cx="11736000" cy="853200"/>
          </a:xfrm>
        </p:spPr>
        <p:txBody>
          <a:bodyPr vert="horz"/>
          <a:lstStyle/>
          <a:p>
            <a:r>
              <a:rPr lang="en-US" sz="2800" b="1" dirty="0"/>
              <a:t>Vardenafil MUPS 10mg - Ludiflash</a:t>
            </a:r>
            <a:r>
              <a:rPr lang="en-US" sz="2800" baseline="30000" dirty="0">
                <a:effectLst/>
                <a:latin typeface="Arial" panose="020B0604020202020204" pitchFamily="34" charset="0"/>
                <a:ea typeface="Arial" panose="020B0604020202020204" pitchFamily="34" charset="0"/>
                <a:cs typeface="Times New Roman" panose="02020603050405020304" pitchFamily="18" charset="0"/>
              </a:rPr>
              <a:t>®</a:t>
            </a:r>
            <a:endParaRPr lang="en-US" sz="2800" b="1" dirty="0"/>
          </a:p>
        </p:txBody>
      </p:sp>
      <p:sp>
        <p:nvSpPr>
          <p:cNvPr id="6" name="Text Placeholder 5">
            <a:extLst>
              <a:ext uri="{FF2B5EF4-FFF2-40B4-BE49-F238E27FC236}">
                <a16:creationId xmlns:a16="http://schemas.microsoft.com/office/drawing/2014/main" id="{B66EA8C9-77CE-B963-7AC6-F60B658910B8}"/>
              </a:ext>
            </a:extLst>
          </p:cNvPr>
          <p:cNvSpPr>
            <a:spLocks noGrp="1"/>
          </p:cNvSpPr>
          <p:nvPr>
            <p:ph type="body" idx="1"/>
          </p:nvPr>
        </p:nvSpPr>
        <p:spPr>
          <a:xfrm>
            <a:off x="475040" y="3622620"/>
            <a:ext cx="11753977" cy="315307"/>
          </a:xfrm>
        </p:spPr>
        <p:txBody>
          <a:bodyPr/>
          <a:lstStyle/>
          <a:p>
            <a:pPr marL="0" indent="0">
              <a:buNone/>
            </a:pPr>
            <a:r>
              <a:rPr lang="en-US" sz="1800" b="1" dirty="0">
                <a:solidFill>
                  <a:schemeClr val="accent1"/>
                </a:solidFill>
              </a:rPr>
              <a:t>Compression Parameters – Styl’one Compaction Simulator</a:t>
            </a:r>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p:txBody>
      </p:sp>
      <p:sp>
        <p:nvSpPr>
          <p:cNvPr id="4" name="Slide Number Placeholder 3">
            <a:extLst>
              <a:ext uri="{FF2B5EF4-FFF2-40B4-BE49-F238E27FC236}">
                <a16:creationId xmlns:a16="http://schemas.microsoft.com/office/drawing/2014/main" id="{02B46B7E-F0D8-B93D-ABC1-E18A4C1A13D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82EA1D04-CA53-4DE3-84A8-2B63E41036C9}" type="slidenum">
              <a:rPr kumimoji="0" lang="en-US" sz="8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1</a:t>
            </a:fld>
            <a:endParaRPr kumimoji="0" lang="en-US" sz="800" b="1" i="0" u="none" strike="noStrike" kern="1200" cap="none" spc="0" normalizeH="0" baseline="0" noProof="0" dirty="0">
              <a:ln>
                <a:noFill/>
              </a:ln>
              <a:solidFill>
                <a:srgbClr val="000000"/>
              </a:solidFill>
              <a:effectLst/>
              <a:uLnTx/>
              <a:uFillTx/>
              <a:latin typeface="Arial" panose="020B0604020202020204"/>
              <a:cs typeface="Arial"/>
            </a:endParaRPr>
          </a:p>
        </p:txBody>
      </p:sp>
      <p:graphicFrame>
        <p:nvGraphicFramePr>
          <p:cNvPr id="9" name="Table 8">
            <a:extLst>
              <a:ext uri="{FF2B5EF4-FFF2-40B4-BE49-F238E27FC236}">
                <a16:creationId xmlns:a16="http://schemas.microsoft.com/office/drawing/2014/main" id="{AAC827E3-943B-A577-7232-FF77B47E9278}"/>
              </a:ext>
            </a:extLst>
          </p:cNvPr>
          <p:cNvGraphicFramePr>
            <a:graphicFrameLocks noGrp="1"/>
          </p:cNvGraphicFramePr>
          <p:nvPr>
            <p:extLst>
              <p:ext uri="{D42A27DB-BD31-4B8C-83A1-F6EECF244321}">
                <p14:modId xmlns:p14="http://schemas.microsoft.com/office/powerpoint/2010/main" val="120626756"/>
              </p:ext>
            </p:extLst>
          </p:nvPr>
        </p:nvGraphicFramePr>
        <p:xfrm>
          <a:off x="475040" y="3943455"/>
          <a:ext cx="4468675" cy="2107875"/>
        </p:xfrm>
        <a:graphic>
          <a:graphicData uri="http://schemas.openxmlformats.org/drawingml/2006/table">
            <a:tbl>
              <a:tblPr firstRow="1" firstCol="1" bandRow="1">
                <a:tableStyleId>{3B4B98B0-60AC-42C2-AFA5-B58CD77FA1E5}</a:tableStyleId>
              </a:tblPr>
              <a:tblGrid>
                <a:gridCol w="1944498">
                  <a:extLst>
                    <a:ext uri="{9D8B030D-6E8A-4147-A177-3AD203B41FA5}">
                      <a16:colId xmlns:a16="http://schemas.microsoft.com/office/drawing/2014/main" val="72794721"/>
                    </a:ext>
                  </a:extLst>
                </a:gridCol>
                <a:gridCol w="2524177">
                  <a:extLst>
                    <a:ext uri="{9D8B030D-6E8A-4147-A177-3AD203B41FA5}">
                      <a16:colId xmlns:a16="http://schemas.microsoft.com/office/drawing/2014/main" val="2251122908"/>
                    </a:ext>
                  </a:extLst>
                </a:gridCol>
              </a:tblGrid>
              <a:tr h="430602">
                <a:tc>
                  <a:txBody>
                    <a:bodyPr/>
                    <a:lstStyle/>
                    <a:p>
                      <a:pPr marL="0" marR="0">
                        <a:lnSpc>
                          <a:spcPct val="107000"/>
                        </a:lnSpc>
                        <a:spcBef>
                          <a:spcPts val="0"/>
                        </a:spcBef>
                        <a:spcAft>
                          <a:spcPts val="0"/>
                        </a:spcAft>
                      </a:pPr>
                      <a:r>
                        <a:rPr lang="en-US" sz="1600" b="1" dirty="0">
                          <a:solidFill>
                            <a:srgbClr val="000000"/>
                          </a:solidFill>
                          <a:effectLst/>
                        </a:rPr>
                        <a:t>Parameters</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nSpc>
                          <a:spcPct val="107000"/>
                        </a:lnSpc>
                        <a:spcBef>
                          <a:spcPts val="0"/>
                        </a:spcBef>
                        <a:spcAft>
                          <a:spcPts val="0"/>
                        </a:spcAft>
                      </a:pPr>
                      <a:r>
                        <a:rPr lang="en-US" sz="1600" b="1" dirty="0">
                          <a:effectLst/>
                        </a:rPr>
                        <a:t>Observed Values</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48206908"/>
                  </a:ext>
                </a:extLst>
              </a:tr>
              <a:tr h="503986">
                <a:tc>
                  <a:txBody>
                    <a:bodyPr/>
                    <a:lstStyle/>
                    <a:p>
                      <a:pPr marL="0" marR="0" algn="l">
                        <a:lnSpc>
                          <a:spcPct val="107000"/>
                        </a:lnSpc>
                        <a:spcBef>
                          <a:spcPts val="0"/>
                        </a:spcBef>
                        <a:spcAft>
                          <a:spcPts val="0"/>
                        </a:spcAft>
                      </a:pPr>
                      <a:r>
                        <a:rPr lang="en-US" sz="1600" dirty="0">
                          <a:effectLst/>
                        </a:rPr>
                        <a:t>Punch Dimension</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10mm round Std. Concav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14616858"/>
                  </a:ext>
                </a:extLst>
              </a:tr>
              <a:tr h="387430">
                <a:tc>
                  <a:txBody>
                    <a:bodyPr/>
                    <a:lstStyle/>
                    <a:p>
                      <a:pPr marL="0" marR="0" algn="l">
                        <a:lnSpc>
                          <a:spcPct val="107000"/>
                        </a:lnSpc>
                        <a:spcBef>
                          <a:spcPts val="0"/>
                        </a:spcBef>
                        <a:spcAft>
                          <a:spcPts val="0"/>
                        </a:spcAft>
                      </a:pPr>
                      <a:r>
                        <a:rPr lang="en-US" sz="1600" dirty="0">
                          <a:effectLst/>
                        </a:rPr>
                        <a:t>Recip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Korsch XL 10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22199948"/>
                  </a:ext>
                </a:extLst>
              </a:tr>
              <a:tr h="503986">
                <a:tc>
                  <a:txBody>
                    <a:bodyPr/>
                    <a:lstStyle/>
                    <a:p>
                      <a:pPr marL="0" marR="0" algn="l">
                        <a:lnSpc>
                          <a:spcPct val="107000"/>
                        </a:lnSpc>
                        <a:spcBef>
                          <a:spcPts val="0"/>
                        </a:spcBef>
                        <a:spcAft>
                          <a:spcPts val="0"/>
                        </a:spcAft>
                      </a:pPr>
                      <a:r>
                        <a:rPr lang="en-US" sz="1600" dirty="0">
                          <a:effectLst/>
                        </a:rPr>
                        <a:t>Compression Pressure (kN)</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17</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437340"/>
                  </a:ext>
                </a:extLst>
              </a:tr>
              <a:tr h="281871">
                <a:tc>
                  <a:txBody>
                    <a:bodyPr/>
                    <a:lstStyle/>
                    <a:p>
                      <a:pPr marL="0" marR="0" algn="l">
                        <a:lnSpc>
                          <a:spcPct val="107000"/>
                        </a:lnSpc>
                        <a:spcBef>
                          <a:spcPts val="0"/>
                        </a:spcBef>
                        <a:spcAft>
                          <a:spcPts val="0"/>
                        </a:spcAft>
                      </a:pPr>
                      <a:r>
                        <a:rPr lang="en-US" sz="1600" dirty="0">
                          <a:effectLst/>
                        </a:rPr>
                        <a:t>Ejection Force (N)</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150 - 17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296552958"/>
                  </a:ext>
                </a:extLst>
              </a:tr>
            </a:tbl>
          </a:graphicData>
        </a:graphic>
      </p:graphicFrame>
      <p:graphicFrame>
        <p:nvGraphicFramePr>
          <p:cNvPr id="11" name="Table 10">
            <a:extLst>
              <a:ext uri="{FF2B5EF4-FFF2-40B4-BE49-F238E27FC236}">
                <a16:creationId xmlns:a16="http://schemas.microsoft.com/office/drawing/2014/main" id="{2471E16C-8593-B7E4-D175-E293867EE6BA}"/>
              </a:ext>
            </a:extLst>
          </p:cNvPr>
          <p:cNvGraphicFramePr>
            <a:graphicFrameLocks noGrp="1"/>
          </p:cNvGraphicFramePr>
          <p:nvPr>
            <p:extLst>
              <p:ext uri="{D42A27DB-BD31-4B8C-83A1-F6EECF244321}">
                <p14:modId xmlns:p14="http://schemas.microsoft.com/office/powerpoint/2010/main" val="1678385265"/>
              </p:ext>
            </p:extLst>
          </p:nvPr>
        </p:nvGraphicFramePr>
        <p:xfrm>
          <a:off x="5358027" y="3937927"/>
          <a:ext cx="4189517" cy="2107875"/>
        </p:xfrm>
        <a:graphic>
          <a:graphicData uri="http://schemas.openxmlformats.org/drawingml/2006/table">
            <a:tbl>
              <a:tblPr firstRow="1" firstCol="1" bandRow="1">
                <a:tableStyleId>{3B4B98B0-60AC-42C2-AFA5-B58CD77FA1E5}</a:tableStyleId>
              </a:tblPr>
              <a:tblGrid>
                <a:gridCol w="1832550">
                  <a:extLst>
                    <a:ext uri="{9D8B030D-6E8A-4147-A177-3AD203B41FA5}">
                      <a16:colId xmlns:a16="http://schemas.microsoft.com/office/drawing/2014/main" val="72794721"/>
                    </a:ext>
                  </a:extLst>
                </a:gridCol>
                <a:gridCol w="2356967">
                  <a:extLst>
                    <a:ext uri="{9D8B030D-6E8A-4147-A177-3AD203B41FA5}">
                      <a16:colId xmlns:a16="http://schemas.microsoft.com/office/drawing/2014/main" val="2251122908"/>
                    </a:ext>
                  </a:extLst>
                </a:gridCol>
              </a:tblGrid>
              <a:tr h="436279">
                <a:tc>
                  <a:txBody>
                    <a:bodyPr/>
                    <a:lstStyle/>
                    <a:p>
                      <a:pPr marL="0" marR="0">
                        <a:lnSpc>
                          <a:spcPct val="107000"/>
                        </a:lnSpc>
                        <a:spcBef>
                          <a:spcPts val="0"/>
                        </a:spcBef>
                        <a:spcAft>
                          <a:spcPts val="0"/>
                        </a:spcAft>
                      </a:pPr>
                      <a:r>
                        <a:rPr lang="en-US" sz="1600" b="1" dirty="0">
                          <a:solidFill>
                            <a:srgbClr val="000000"/>
                          </a:solidFill>
                          <a:effectLst/>
                        </a:rPr>
                        <a:t>Parameters</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b="1" dirty="0">
                          <a:effectLst/>
                        </a:rPr>
                        <a:t>Observed Values</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48206908"/>
                  </a:ext>
                </a:extLst>
              </a:tr>
              <a:tr h="504825">
                <a:tc>
                  <a:txBody>
                    <a:bodyPr/>
                    <a:lstStyle/>
                    <a:p>
                      <a:pPr marL="0" marR="0" algn="l">
                        <a:lnSpc>
                          <a:spcPct val="107000"/>
                        </a:lnSpc>
                        <a:spcBef>
                          <a:spcPts val="0"/>
                        </a:spcBef>
                        <a:spcAft>
                          <a:spcPts val="0"/>
                        </a:spcAft>
                      </a:pPr>
                      <a:r>
                        <a:rPr lang="en-US" sz="1600" dirty="0">
                          <a:effectLst/>
                        </a:rPr>
                        <a:t>Tablet Weight (mg)</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463.4 – 482.3</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14616858"/>
                  </a:ext>
                </a:extLst>
              </a:tr>
              <a:tr h="371475">
                <a:tc>
                  <a:txBody>
                    <a:bodyPr/>
                    <a:lstStyle/>
                    <a:p>
                      <a:pPr marL="0" marR="0" algn="l">
                        <a:lnSpc>
                          <a:spcPct val="107000"/>
                        </a:lnSpc>
                        <a:spcBef>
                          <a:spcPts val="0"/>
                        </a:spcBef>
                        <a:spcAft>
                          <a:spcPts val="0"/>
                        </a:spcAft>
                      </a:pPr>
                      <a:r>
                        <a:rPr lang="en-US" sz="1600" dirty="0">
                          <a:effectLst/>
                        </a:rPr>
                        <a:t>Hardness (N)</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40 - 51</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22199948"/>
                  </a:ext>
                </a:extLst>
              </a:tr>
              <a:tr h="0">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600" dirty="0">
                          <a:effectLst/>
                        </a:rPr>
                        <a:t>Disintegration Time (sec)</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23</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437340"/>
                  </a:ext>
                </a:extLst>
              </a:tr>
              <a:tr h="292439">
                <a:tc>
                  <a:txBody>
                    <a:bodyPr/>
                    <a:lstStyle/>
                    <a:p>
                      <a:pPr marL="0" marR="0" algn="l">
                        <a:lnSpc>
                          <a:spcPct val="107000"/>
                        </a:lnSpc>
                        <a:spcBef>
                          <a:spcPts val="0"/>
                        </a:spcBef>
                        <a:spcAft>
                          <a:spcPts val="0"/>
                        </a:spcAft>
                      </a:pPr>
                      <a:r>
                        <a:rPr lang="en-US" sz="1600" dirty="0">
                          <a:effectLst/>
                        </a:rPr>
                        <a:t>Thickness (mm)</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5.45- 5.51 </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296552958"/>
                  </a:ext>
                </a:extLst>
              </a:tr>
            </a:tbl>
          </a:graphicData>
        </a:graphic>
      </p:graphicFrame>
      <p:graphicFrame>
        <p:nvGraphicFramePr>
          <p:cNvPr id="8" name="Table 7">
            <a:extLst>
              <a:ext uri="{FF2B5EF4-FFF2-40B4-BE49-F238E27FC236}">
                <a16:creationId xmlns:a16="http://schemas.microsoft.com/office/drawing/2014/main" id="{33B970FF-C511-26BF-6941-1807426B6CF6}"/>
              </a:ext>
            </a:extLst>
          </p:cNvPr>
          <p:cNvGraphicFramePr>
            <a:graphicFrameLocks noGrp="1"/>
          </p:cNvGraphicFramePr>
          <p:nvPr>
            <p:extLst>
              <p:ext uri="{D42A27DB-BD31-4B8C-83A1-F6EECF244321}">
                <p14:modId xmlns:p14="http://schemas.microsoft.com/office/powerpoint/2010/main" val="3169731386"/>
              </p:ext>
            </p:extLst>
          </p:nvPr>
        </p:nvGraphicFramePr>
        <p:xfrm>
          <a:off x="438023" y="1516033"/>
          <a:ext cx="5586857" cy="1799571"/>
        </p:xfrm>
        <a:graphic>
          <a:graphicData uri="http://schemas.openxmlformats.org/drawingml/2006/table">
            <a:tbl>
              <a:tblPr firstRow="1" firstCol="1" bandRow="1">
                <a:tableStyleId>{3B4B98B0-60AC-42C2-AFA5-B58CD77FA1E5}</a:tableStyleId>
              </a:tblPr>
              <a:tblGrid>
                <a:gridCol w="3299818">
                  <a:extLst>
                    <a:ext uri="{9D8B030D-6E8A-4147-A177-3AD203B41FA5}">
                      <a16:colId xmlns:a16="http://schemas.microsoft.com/office/drawing/2014/main" val="2182592058"/>
                    </a:ext>
                  </a:extLst>
                </a:gridCol>
                <a:gridCol w="2287039">
                  <a:extLst>
                    <a:ext uri="{9D8B030D-6E8A-4147-A177-3AD203B41FA5}">
                      <a16:colId xmlns:a16="http://schemas.microsoft.com/office/drawing/2014/main" val="3376056949"/>
                    </a:ext>
                  </a:extLst>
                </a:gridCol>
              </a:tblGrid>
              <a:tr h="328974">
                <a:tc>
                  <a:txBody>
                    <a:bodyPr/>
                    <a:lstStyle/>
                    <a:p>
                      <a:pPr marL="0" marR="0">
                        <a:lnSpc>
                          <a:spcPct val="107000"/>
                        </a:lnSpc>
                        <a:spcBef>
                          <a:spcPts val="0"/>
                        </a:spcBef>
                        <a:spcAft>
                          <a:spcPts val="0"/>
                        </a:spcAft>
                      </a:pPr>
                      <a:r>
                        <a:rPr lang="en-US" sz="1600" b="1" dirty="0">
                          <a:effectLst/>
                        </a:rPr>
                        <a:t>Materials</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b="1" dirty="0">
                          <a:effectLst/>
                        </a:rPr>
                        <a:t>mg/tab</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35336358"/>
                  </a:ext>
                </a:extLst>
              </a:tr>
              <a:tr h="499666">
                <a:tc>
                  <a:txBody>
                    <a:bodyPr/>
                    <a:lstStyle/>
                    <a:p>
                      <a:pPr marL="0" marR="0">
                        <a:lnSpc>
                          <a:spcPct val="107000"/>
                        </a:lnSpc>
                        <a:spcBef>
                          <a:spcPts val="0"/>
                        </a:spcBef>
                        <a:spcAft>
                          <a:spcPts val="0"/>
                        </a:spcAft>
                      </a:pPr>
                      <a:r>
                        <a:rPr lang="en-US" sz="1600" dirty="0">
                          <a:effectLst/>
                        </a:rPr>
                        <a:t>Vardenafil pellets coated with Kollicoat</a:t>
                      </a:r>
                      <a:r>
                        <a:rPr lang="en-US" sz="1600" baseline="30000" dirty="0">
                          <a:effectLst/>
                        </a:rPr>
                        <a:t>®</a:t>
                      </a:r>
                      <a:r>
                        <a:rPr lang="en-US" sz="1600" dirty="0">
                          <a:effectLst/>
                        </a:rPr>
                        <a:t> Smartseal 30% w/g</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225.985 (eq. to 10mg of vardenafil)</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79088126"/>
                  </a:ext>
                </a:extLst>
              </a:tr>
              <a:tr h="158283">
                <a:tc>
                  <a:txBody>
                    <a:bodyPr/>
                    <a:lstStyle/>
                    <a:p>
                      <a:pPr marL="0" marR="0">
                        <a:lnSpc>
                          <a:spcPct val="107000"/>
                        </a:lnSpc>
                        <a:spcBef>
                          <a:spcPts val="0"/>
                        </a:spcBef>
                        <a:spcAft>
                          <a:spcPts val="0"/>
                        </a:spcAft>
                      </a:pPr>
                      <a:r>
                        <a:rPr lang="en-US" sz="1600" dirty="0">
                          <a:effectLst/>
                        </a:rPr>
                        <a:t>Ludiflash</a:t>
                      </a:r>
                      <a:r>
                        <a:rPr lang="en-US" sz="1600" baseline="30000" dirty="0">
                          <a:effectLst/>
                        </a:rPr>
                        <a: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225.47</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419183224"/>
                  </a:ext>
                </a:extLst>
              </a:tr>
              <a:tr h="158283">
                <a:tc>
                  <a:txBody>
                    <a:bodyPr/>
                    <a:lstStyle/>
                    <a:p>
                      <a:pPr marL="0" marR="0">
                        <a:lnSpc>
                          <a:spcPct val="107000"/>
                        </a:lnSpc>
                        <a:spcBef>
                          <a:spcPts val="0"/>
                        </a:spcBef>
                        <a:spcAft>
                          <a:spcPts val="0"/>
                        </a:spcAft>
                      </a:pPr>
                      <a:r>
                        <a:rPr lang="en-US" sz="1600" dirty="0">
                          <a:effectLst/>
                        </a:rPr>
                        <a:t>Kollidon</a:t>
                      </a:r>
                      <a:r>
                        <a:rPr lang="en-US" sz="1600" baseline="30000" dirty="0">
                          <a:effectLst/>
                        </a:rPr>
                        <a:t>®</a:t>
                      </a:r>
                      <a:r>
                        <a:rPr lang="en-US" sz="1600" dirty="0">
                          <a:effectLst/>
                        </a:rPr>
                        <a:t> CL SF (crospovidon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9.03</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068876453"/>
                  </a:ext>
                </a:extLst>
              </a:tr>
              <a:tr h="158283">
                <a:tc>
                  <a:txBody>
                    <a:bodyPr/>
                    <a:lstStyle/>
                    <a:p>
                      <a:pPr marL="0" marR="0">
                        <a:lnSpc>
                          <a:spcPct val="107000"/>
                        </a:lnSpc>
                        <a:spcBef>
                          <a:spcPts val="0"/>
                        </a:spcBef>
                        <a:spcAft>
                          <a:spcPts val="0"/>
                        </a:spcAft>
                      </a:pPr>
                      <a:r>
                        <a:rPr lang="en-US" sz="1600" dirty="0">
                          <a:effectLst/>
                        </a:rPr>
                        <a:t>Sodium stearyl fumarat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4.515</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93679010"/>
                  </a:ext>
                </a:extLst>
              </a:tr>
              <a:tr h="158283">
                <a:tc>
                  <a:txBody>
                    <a:bodyPr/>
                    <a:lstStyle/>
                    <a:p>
                      <a:pPr marL="0" marR="0">
                        <a:lnSpc>
                          <a:spcPct val="107000"/>
                        </a:lnSpc>
                        <a:spcBef>
                          <a:spcPts val="0"/>
                        </a:spcBef>
                        <a:spcAft>
                          <a:spcPts val="0"/>
                        </a:spcAft>
                      </a:pPr>
                      <a:r>
                        <a:rPr lang="en-US" sz="1600" b="1" dirty="0">
                          <a:effectLst/>
                        </a:rPr>
                        <a:t>Total</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b="1" dirty="0">
                          <a:effectLst/>
                        </a:rPr>
                        <a:t>465.0</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85289375"/>
                  </a:ext>
                </a:extLst>
              </a:tr>
            </a:tbl>
          </a:graphicData>
        </a:graphic>
      </p:graphicFrame>
      <p:pic>
        <p:nvPicPr>
          <p:cNvPr id="12" name="Picture 11">
            <a:extLst>
              <a:ext uri="{FF2B5EF4-FFF2-40B4-BE49-F238E27FC236}">
                <a16:creationId xmlns:a16="http://schemas.microsoft.com/office/drawing/2014/main" id="{25368414-498D-1050-0757-321A41F4C659}"/>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6588570" y="1516034"/>
            <a:ext cx="2399428" cy="1799571"/>
          </a:xfrm>
          <a:prstGeom prst="rect">
            <a:avLst/>
          </a:prstGeom>
          <a:noFill/>
          <a:ln>
            <a:noFill/>
          </a:ln>
        </p:spPr>
      </p:pic>
      <p:pic>
        <p:nvPicPr>
          <p:cNvPr id="13" name="Picture 12">
            <a:extLst>
              <a:ext uri="{FF2B5EF4-FFF2-40B4-BE49-F238E27FC236}">
                <a16:creationId xmlns:a16="http://schemas.microsoft.com/office/drawing/2014/main" id="{B210B0E7-61BB-D85D-2FF4-D3B903ACB252}"/>
              </a:ext>
            </a:extLst>
          </p:cNvPr>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9331560" y="1512919"/>
            <a:ext cx="2403580" cy="1802685"/>
          </a:xfrm>
          <a:prstGeom prst="rect">
            <a:avLst/>
          </a:prstGeom>
          <a:noFill/>
          <a:ln>
            <a:noFill/>
          </a:ln>
        </p:spPr>
      </p:pic>
      <p:sp>
        <p:nvSpPr>
          <p:cNvPr id="10" name="TextBox 9">
            <a:extLst>
              <a:ext uri="{FF2B5EF4-FFF2-40B4-BE49-F238E27FC236}">
                <a16:creationId xmlns:a16="http://schemas.microsoft.com/office/drawing/2014/main" id="{97ED521A-6EA7-313B-F528-55563B91FD8E}"/>
              </a:ext>
            </a:extLst>
          </p:cNvPr>
          <p:cNvSpPr txBox="1"/>
          <p:nvPr/>
        </p:nvSpPr>
        <p:spPr>
          <a:xfrm>
            <a:off x="386480" y="1113692"/>
            <a:ext cx="6116320" cy="369332"/>
          </a:xfrm>
          <a:prstGeom prst="rect">
            <a:avLst/>
          </a:prstGeom>
          <a:noFill/>
        </p:spPr>
        <p:txBody>
          <a:bodyPr wrap="square">
            <a:spAutoFit/>
          </a:bodyPr>
          <a:lstStyle/>
          <a:p>
            <a:pPr marL="0" indent="0">
              <a:buNone/>
            </a:pPr>
            <a:r>
              <a:rPr lang="en-US" sz="1800" b="1" dirty="0">
                <a:solidFill>
                  <a:schemeClr val="accent1"/>
                </a:solidFill>
              </a:rPr>
              <a:t>MUPS Formulation</a:t>
            </a:r>
          </a:p>
        </p:txBody>
      </p:sp>
      <p:sp>
        <p:nvSpPr>
          <p:cNvPr id="3" name="Footer Placeholder 11">
            <a:extLst>
              <a:ext uri="{FF2B5EF4-FFF2-40B4-BE49-F238E27FC236}">
                <a16:creationId xmlns:a16="http://schemas.microsoft.com/office/drawing/2014/main" id="{024C0EC0-2617-F721-1646-5610C2B84586}"/>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5" name="TextBox 4">
            <a:extLst>
              <a:ext uri="{FF2B5EF4-FFF2-40B4-BE49-F238E27FC236}">
                <a16:creationId xmlns:a16="http://schemas.microsoft.com/office/drawing/2014/main" id="{745338F3-46E5-B85F-E020-13ED237805F4}"/>
              </a:ext>
            </a:extLst>
          </p:cNvPr>
          <p:cNvSpPr txBox="1"/>
          <p:nvPr/>
        </p:nvSpPr>
        <p:spPr>
          <a:xfrm>
            <a:off x="9868417" y="4350437"/>
            <a:ext cx="2377440" cy="964880"/>
          </a:xfrm>
          <a:prstGeom prst="rect">
            <a:avLst/>
          </a:prstGeom>
          <a:noFill/>
        </p:spPr>
        <p:txBody>
          <a:bodyPr wrap="square">
            <a:spAutoFit/>
          </a:bodyPr>
          <a:lstStyle/>
          <a:p>
            <a:pPr marL="0" lvl="1" defTabSz="400050">
              <a:lnSpc>
                <a:spcPct val="90000"/>
              </a:lnSpc>
              <a:spcBef>
                <a:spcPct val="0"/>
              </a:spcBef>
              <a:spcAft>
                <a:spcPct val="15000"/>
              </a:spcAft>
              <a:buClr>
                <a:srgbClr val="004A96"/>
              </a:buClr>
            </a:pPr>
            <a:r>
              <a:rPr lang="en-US" sz="1400" b="1" dirty="0">
                <a:solidFill>
                  <a:schemeClr val="accent1"/>
                </a:solidFill>
                <a:latin typeface="+mn-lt"/>
                <a:cs typeface="+mn-cs"/>
              </a:rPr>
              <a:t>*Ludiflash</a:t>
            </a:r>
            <a:r>
              <a:rPr lang="en-US" sz="1400" b="1" baseline="30000" dirty="0">
                <a:solidFill>
                  <a:schemeClr val="accent1"/>
                </a:solidFill>
                <a:effectLst/>
              </a:rPr>
              <a:t>®</a:t>
            </a:r>
            <a:endParaRPr lang="en-US" sz="1400" b="1" dirty="0">
              <a:solidFill>
                <a:schemeClr val="accent1"/>
              </a:solidFill>
              <a:latin typeface="+mn-lt"/>
              <a:cs typeface="+mn-cs"/>
            </a:endParaRPr>
          </a:p>
          <a:p>
            <a:pPr marL="171450" lvl="1" indent="-171450" defTabSz="400050">
              <a:lnSpc>
                <a:spcPct val="90000"/>
              </a:lnSpc>
              <a:spcBef>
                <a:spcPct val="0"/>
              </a:spcBef>
              <a:spcAft>
                <a:spcPct val="15000"/>
              </a:spcAft>
              <a:buClr>
                <a:schemeClr val="accent1"/>
              </a:buClr>
              <a:buFont typeface="Wingdings" panose="05000000000000000000" pitchFamily="2" charset="2"/>
              <a:buChar char="ü"/>
            </a:pPr>
            <a:r>
              <a:rPr lang="en-US" sz="1400" dirty="0">
                <a:solidFill>
                  <a:srgbClr val="000000"/>
                </a:solidFill>
                <a:latin typeface="+mn-lt"/>
                <a:cs typeface="+mn-cs"/>
              </a:rPr>
              <a:t>D-mannitol</a:t>
            </a:r>
          </a:p>
          <a:p>
            <a:pPr marL="171450" lvl="1" indent="-171450" defTabSz="400050">
              <a:lnSpc>
                <a:spcPct val="90000"/>
              </a:lnSpc>
              <a:spcBef>
                <a:spcPct val="0"/>
              </a:spcBef>
              <a:spcAft>
                <a:spcPct val="15000"/>
              </a:spcAft>
              <a:buClr>
                <a:schemeClr val="accent1"/>
              </a:buClr>
              <a:buFont typeface="Wingdings" panose="05000000000000000000" pitchFamily="2" charset="2"/>
              <a:buChar char="ü"/>
            </a:pPr>
            <a:r>
              <a:rPr lang="en-US" sz="1400" dirty="0">
                <a:solidFill>
                  <a:srgbClr val="000000"/>
                </a:solidFill>
                <a:latin typeface="+mn-lt"/>
                <a:cs typeface="+mn-cs"/>
              </a:rPr>
              <a:t>Kollicoat</a:t>
            </a:r>
            <a:r>
              <a:rPr lang="en-US" sz="1400" baseline="30000" dirty="0">
                <a:solidFill>
                  <a:srgbClr val="000000"/>
                </a:solidFill>
                <a:latin typeface="+mn-lt"/>
                <a:cs typeface="+mn-cs"/>
              </a:rPr>
              <a:t>®</a:t>
            </a:r>
            <a:r>
              <a:rPr lang="en-US" sz="1400" dirty="0">
                <a:solidFill>
                  <a:srgbClr val="000000"/>
                </a:solidFill>
                <a:latin typeface="+mn-lt"/>
                <a:cs typeface="+mn-cs"/>
              </a:rPr>
              <a:t> SR 30 D**</a:t>
            </a:r>
          </a:p>
          <a:p>
            <a:pPr marL="171450" lvl="1" indent="-171450" defTabSz="400050">
              <a:lnSpc>
                <a:spcPct val="90000"/>
              </a:lnSpc>
              <a:spcBef>
                <a:spcPct val="0"/>
              </a:spcBef>
              <a:spcAft>
                <a:spcPct val="15000"/>
              </a:spcAft>
              <a:buClr>
                <a:schemeClr val="accent1"/>
              </a:buClr>
              <a:buFont typeface="Wingdings" panose="05000000000000000000" pitchFamily="2" charset="2"/>
              <a:buChar char="ü"/>
            </a:pPr>
            <a:r>
              <a:rPr lang="en-US" sz="1400" dirty="0">
                <a:solidFill>
                  <a:srgbClr val="000000"/>
                </a:solidFill>
                <a:latin typeface="+mn-lt"/>
                <a:cs typeface="+mn-cs"/>
              </a:rPr>
              <a:t>Kollidon</a:t>
            </a:r>
            <a:r>
              <a:rPr lang="en-US" sz="1400" baseline="30000" dirty="0">
                <a:solidFill>
                  <a:srgbClr val="000000"/>
                </a:solidFill>
                <a:latin typeface="+mn-lt"/>
                <a:cs typeface="+mn-cs"/>
              </a:rPr>
              <a:t>®</a:t>
            </a:r>
            <a:r>
              <a:rPr lang="en-US" sz="1400" dirty="0">
                <a:solidFill>
                  <a:srgbClr val="000000"/>
                </a:solidFill>
                <a:latin typeface="+mn-lt"/>
                <a:cs typeface="+mn-cs"/>
              </a:rPr>
              <a:t> CL-SF </a:t>
            </a:r>
          </a:p>
        </p:txBody>
      </p:sp>
      <p:sp>
        <p:nvSpPr>
          <p:cNvPr id="14" name="TextBox 13">
            <a:extLst>
              <a:ext uri="{FF2B5EF4-FFF2-40B4-BE49-F238E27FC236}">
                <a16:creationId xmlns:a16="http://schemas.microsoft.com/office/drawing/2014/main" id="{BBD32421-F127-086C-C385-8AB6ED6CE655}"/>
              </a:ext>
            </a:extLst>
          </p:cNvPr>
          <p:cNvSpPr txBox="1"/>
          <p:nvPr/>
        </p:nvSpPr>
        <p:spPr>
          <a:xfrm>
            <a:off x="10054920" y="5455200"/>
            <a:ext cx="2773680" cy="332399"/>
          </a:xfrm>
          <a:prstGeom prst="rect">
            <a:avLst/>
          </a:prstGeom>
          <a:noFill/>
        </p:spPr>
        <p:txBody>
          <a:bodyPr wrap="square" lIns="0" tIns="0" rIns="0" bIns="0" rtlCol="0">
            <a:spAutoFit/>
          </a:bodyPr>
          <a:lstStyle/>
          <a:p>
            <a:pPr marL="0" lvl="1" defTabSz="400050">
              <a:lnSpc>
                <a:spcPct val="90000"/>
              </a:lnSpc>
              <a:spcBef>
                <a:spcPct val="0"/>
              </a:spcBef>
              <a:spcAft>
                <a:spcPct val="15000"/>
              </a:spcAft>
              <a:buClr>
                <a:srgbClr val="004A96"/>
              </a:buClr>
            </a:pPr>
            <a:r>
              <a:rPr lang="en-US" sz="1200" dirty="0"/>
              <a:t>**</a:t>
            </a:r>
            <a:r>
              <a:rPr lang="en-US" sz="1000" dirty="0">
                <a:solidFill>
                  <a:srgbClr val="000000"/>
                </a:solidFill>
                <a:latin typeface="+mn-lt"/>
                <a:cs typeface="+mn-cs"/>
              </a:rPr>
              <a:t>Polyvinyl acetate (PVAc) + </a:t>
            </a:r>
          </a:p>
          <a:p>
            <a:pPr marL="0" lvl="1" defTabSz="400050">
              <a:lnSpc>
                <a:spcPct val="90000"/>
              </a:lnSpc>
              <a:spcBef>
                <a:spcPct val="0"/>
              </a:spcBef>
              <a:spcAft>
                <a:spcPct val="15000"/>
              </a:spcAft>
              <a:buClr>
                <a:srgbClr val="004A96"/>
              </a:buClr>
            </a:pPr>
            <a:r>
              <a:rPr lang="en-US" sz="1000" dirty="0">
                <a:solidFill>
                  <a:srgbClr val="000000"/>
                </a:solidFill>
                <a:latin typeface="+mn-lt"/>
                <a:cs typeface="+mn-cs"/>
              </a:rPr>
              <a:t>Kollidon</a:t>
            </a:r>
            <a:r>
              <a:rPr lang="en-US" sz="1000" baseline="30000" dirty="0">
                <a:solidFill>
                  <a:srgbClr val="000000"/>
                </a:solidFill>
                <a:latin typeface="+mn-lt"/>
                <a:cs typeface="+mn-cs"/>
              </a:rPr>
              <a:t>®</a:t>
            </a:r>
            <a:r>
              <a:rPr lang="en-US" sz="1000" dirty="0">
                <a:solidFill>
                  <a:srgbClr val="000000"/>
                </a:solidFill>
                <a:latin typeface="+mn-lt"/>
                <a:cs typeface="+mn-cs"/>
              </a:rPr>
              <a:t> 30</a:t>
            </a:r>
            <a:endParaRPr lang="en-US" sz="1200" dirty="0"/>
          </a:p>
        </p:txBody>
      </p:sp>
    </p:spTree>
    <p:extLst>
      <p:ext uri="{BB962C8B-B14F-4D97-AF65-F5344CB8AC3E}">
        <p14:creationId xmlns:p14="http://schemas.microsoft.com/office/powerpoint/2010/main" val="15269955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45A58DF-36DA-8AFB-4DDE-57E1E1CEA19B}"/>
              </a:ext>
            </a:extLst>
          </p:cNvPr>
          <p:cNvGraphicFramePr>
            <a:graphicFrameLocks noChangeAspect="1"/>
          </p:cNvGraphicFramePr>
          <p:nvPr>
            <p:custDataLst>
              <p:tags r:id="rId1"/>
            </p:custDataLst>
            <p:extLst>
              <p:ext uri="{D42A27DB-BD31-4B8C-83A1-F6EECF244321}">
                <p14:modId xmlns:p14="http://schemas.microsoft.com/office/powerpoint/2010/main" val="2991209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8" name="think-cell data - do not delete" hidden="1">
                        <a:extLst>
                          <a:ext uri="{FF2B5EF4-FFF2-40B4-BE49-F238E27FC236}">
                            <a16:creationId xmlns:a16="http://schemas.microsoft.com/office/drawing/2014/main" id="{545A58DF-36DA-8AFB-4DDE-57E1E1CEA1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A1C8D5-197D-2530-11B4-A24D2D03AB19}"/>
              </a:ext>
            </a:extLst>
          </p:cNvPr>
          <p:cNvSpPr>
            <a:spLocks noGrp="1"/>
          </p:cNvSpPr>
          <p:nvPr>
            <p:ph type="title"/>
          </p:nvPr>
        </p:nvSpPr>
        <p:spPr>
          <a:xfrm>
            <a:off x="374430" y="342000"/>
            <a:ext cx="12115275" cy="853200"/>
          </a:xfrm>
        </p:spPr>
        <p:txBody>
          <a:bodyPr vert="horz"/>
          <a:lstStyle/>
          <a:p>
            <a:r>
              <a:rPr lang="en-US" dirty="0"/>
              <a:t>Comparative Dissolution: Vardenafil pellets vs Vardenafil MUPS</a:t>
            </a:r>
          </a:p>
        </p:txBody>
      </p:sp>
      <p:sp>
        <p:nvSpPr>
          <p:cNvPr id="5" name="Slide Number Placeholder 4">
            <a:extLst>
              <a:ext uri="{FF2B5EF4-FFF2-40B4-BE49-F238E27FC236}">
                <a16:creationId xmlns:a16="http://schemas.microsoft.com/office/drawing/2014/main" id="{C8059103-38FF-CCE4-8481-E95E54E8617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2</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 name="Text Placeholder 2">
            <a:extLst>
              <a:ext uri="{FF2B5EF4-FFF2-40B4-BE49-F238E27FC236}">
                <a16:creationId xmlns:a16="http://schemas.microsoft.com/office/drawing/2014/main" id="{500715CF-13DF-04ED-2F85-EC4A998B1CE0}"/>
              </a:ext>
            </a:extLst>
          </p:cNvPr>
          <p:cNvSpPr>
            <a:spLocks noGrp="1"/>
          </p:cNvSpPr>
          <p:nvPr>
            <p:ph type="body" sz="half" idx="1"/>
          </p:nvPr>
        </p:nvSpPr>
        <p:spPr>
          <a:xfrm>
            <a:off x="374430" y="1902594"/>
            <a:ext cx="4496290" cy="3906012"/>
          </a:xfrm>
        </p:spPr>
        <p:txBody>
          <a:bodyPr/>
          <a:lstStyle/>
          <a:p>
            <a:r>
              <a:rPr lang="en-US" sz="1800" dirty="0"/>
              <a:t>Vardenafil MUPS with Ludiflash</a:t>
            </a:r>
            <a:r>
              <a:rPr lang="en-US" sz="1800" baseline="30000" dirty="0"/>
              <a:t>®</a:t>
            </a:r>
            <a:r>
              <a:rPr lang="en-US" sz="1800" dirty="0"/>
              <a:t> presented negligibly release differences compared to vardenafil pellets.</a:t>
            </a:r>
          </a:p>
          <a:p>
            <a:endParaRPr lang="en-US" sz="1800" dirty="0"/>
          </a:p>
          <a:p>
            <a:pPr marL="0" indent="0">
              <a:buNone/>
            </a:pPr>
            <a:endParaRPr lang="en-US" sz="1800" dirty="0"/>
          </a:p>
          <a:p>
            <a:r>
              <a:rPr lang="en-US" sz="1800" dirty="0"/>
              <a:t>Overall, the tableting process is feasible for the pellets with Ludiflash</a:t>
            </a:r>
            <a:r>
              <a:rPr lang="en-US" sz="1800" baseline="30000" dirty="0"/>
              <a:t>®</a:t>
            </a:r>
            <a:r>
              <a:rPr lang="en-US" sz="1800" dirty="0"/>
              <a:t> in the composition.</a:t>
            </a:r>
          </a:p>
          <a:p>
            <a:pPr marL="0" indent="0">
              <a:buNone/>
            </a:pPr>
            <a:endParaRPr lang="en-US" sz="1800" dirty="0"/>
          </a:p>
        </p:txBody>
      </p:sp>
      <p:graphicFrame>
        <p:nvGraphicFramePr>
          <p:cNvPr id="6" name="Chart 5">
            <a:extLst>
              <a:ext uri="{FF2B5EF4-FFF2-40B4-BE49-F238E27FC236}">
                <a16:creationId xmlns:a16="http://schemas.microsoft.com/office/drawing/2014/main" id="{FA09122B-4564-430C-A247-4B2576229BA0}"/>
              </a:ext>
            </a:extLst>
          </p:cNvPr>
          <p:cNvGraphicFramePr>
            <a:graphicFrameLocks/>
          </p:cNvGraphicFramePr>
          <p:nvPr>
            <p:extLst>
              <p:ext uri="{D42A27DB-BD31-4B8C-83A1-F6EECF244321}">
                <p14:modId xmlns:p14="http://schemas.microsoft.com/office/powerpoint/2010/main" val="2829853359"/>
              </p:ext>
            </p:extLst>
          </p:nvPr>
        </p:nvGraphicFramePr>
        <p:xfrm>
          <a:off x="5638800" y="1514476"/>
          <a:ext cx="6178770" cy="4038599"/>
        </p:xfrm>
        <a:graphic>
          <a:graphicData uri="http://schemas.openxmlformats.org/drawingml/2006/chart">
            <c:chart xmlns:c="http://schemas.openxmlformats.org/drawingml/2006/chart" xmlns:r="http://schemas.openxmlformats.org/officeDocument/2006/relationships" r:id="rId6"/>
          </a:graphicData>
        </a:graphic>
      </p:graphicFrame>
      <p:sp>
        <p:nvSpPr>
          <p:cNvPr id="4" name="Footer Placeholder 11">
            <a:extLst>
              <a:ext uri="{FF2B5EF4-FFF2-40B4-BE49-F238E27FC236}">
                <a16:creationId xmlns:a16="http://schemas.microsoft.com/office/drawing/2014/main" id="{24CA4290-C509-61B9-8791-A7C27B7777D2}"/>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3572979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8095FDB-766C-34E9-C431-F4D8EDEA9B4B}"/>
              </a:ext>
            </a:extLst>
          </p:cNvPr>
          <p:cNvGraphicFramePr>
            <a:graphicFrameLocks noChangeAspect="1"/>
          </p:cNvGraphicFramePr>
          <p:nvPr>
            <p:custDataLst>
              <p:tags r:id="rId1"/>
            </p:custDataLst>
            <p:extLst>
              <p:ext uri="{D42A27DB-BD31-4B8C-83A1-F6EECF244321}">
                <p14:modId xmlns:p14="http://schemas.microsoft.com/office/powerpoint/2010/main" val="437624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7" name="think-cell data - do not delete" hidden="1">
                        <a:extLst>
                          <a:ext uri="{FF2B5EF4-FFF2-40B4-BE49-F238E27FC236}">
                            <a16:creationId xmlns:a16="http://schemas.microsoft.com/office/drawing/2014/main" id="{38095FDB-766C-34E9-C431-F4D8EDEA9B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61065B-E2D9-84FE-4800-037EA670A8CF}"/>
              </a:ext>
            </a:extLst>
          </p:cNvPr>
          <p:cNvSpPr>
            <a:spLocks noGrp="1"/>
          </p:cNvSpPr>
          <p:nvPr>
            <p:ph type="title"/>
          </p:nvPr>
        </p:nvSpPr>
        <p:spPr>
          <a:xfrm>
            <a:off x="456000" y="273946"/>
            <a:ext cx="11736000" cy="853200"/>
          </a:xfrm>
        </p:spPr>
        <p:txBody>
          <a:bodyPr vert="horz"/>
          <a:lstStyle/>
          <a:p>
            <a:r>
              <a:rPr lang="en-US" dirty="0"/>
              <a:t>SEM of tablet cross section showing the pellets surface </a:t>
            </a:r>
          </a:p>
        </p:txBody>
      </p:sp>
      <p:sp>
        <p:nvSpPr>
          <p:cNvPr id="3" name="Text Placeholder 2">
            <a:extLst>
              <a:ext uri="{FF2B5EF4-FFF2-40B4-BE49-F238E27FC236}">
                <a16:creationId xmlns:a16="http://schemas.microsoft.com/office/drawing/2014/main" id="{971CE4C3-E39D-B9D0-7DE2-3233B9D4871E}"/>
              </a:ext>
            </a:extLst>
          </p:cNvPr>
          <p:cNvSpPr>
            <a:spLocks noGrp="1"/>
          </p:cNvSpPr>
          <p:nvPr>
            <p:ph type="body" idx="1"/>
          </p:nvPr>
        </p:nvSpPr>
        <p:spPr>
          <a:xfrm>
            <a:off x="811238" y="5281018"/>
            <a:ext cx="10251300" cy="775335"/>
          </a:xfrm>
        </p:spPr>
        <p:txBody>
          <a:bodyPr/>
          <a:lstStyle/>
          <a:p>
            <a:r>
              <a:rPr lang="en-US" dirty="0"/>
              <a:t>No apparent pellet cracking after tableting with Ludiflash</a:t>
            </a:r>
            <a:r>
              <a:rPr kumimoji="0" lang="en-US" sz="2000" b="0" i="0" u="none" strike="noStrike" kern="1200" cap="none" spc="0" normalizeH="0" baseline="30000" noProof="0" dirty="0">
                <a:ln>
                  <a:noFill/>
                </a:ln>
                <a:effectLst/>
                <a:uLnTx/>
                <a:uFillTx/>
                <a:latin typeface="Arial" panose="020B0604020202020204" pitchFamily="34" charset="0"/>
                <a:cs typeface="Arial"/>
              </a:rPr>
              <a:t>® </a:t>
            </a:r>
            <a:endParaRPr lang="en-US" dirty="0"/>
          </a:p>
          <a:p>
            <a:r>
              <a:rPr lang="en-US" dirty="0"/>
              <a:t>Formulated Kollicoat</a:t>
            </a:r>
            <a:r>
              <a:rPr kumimoji="0" lang="en-US" sz="2000" b="0" i="0" u="none" strike="noStrike" kern="1200" cap="none" spc="0" normalizeH="0" baseline="30000" noProof="0" dirty="0">
                <a:ln>
                  <a:noFill/>
                </a:ln>
                <a:effectLst/>
                <a:uLnTx/>
                <a:uFillTx/>
                <a:latin typeface="Arial" panose="020B0604020202020204" pitchFamily="34" charset="0"/>
                <a:cs typeface="Arial"/>
              </a:rPr>
              <a:t>® </a:t>
            </a:r>
            <a:r>
              <a:rPr lang="en-US" dirty="0"/>
              <a:t>Smartseal forms an elastic film suitable for MUPS </a:t>
            </a:r>
          </a:p>
        </p:txBody>
      </p:sp>
      <p:sp>
        <p:nvSpPr>
          <p:cNvPr id="5" name="Slide Number Placeholder 4">
            <a:extLst>
              <a:ext uri="{FF2B5EF4-FFF2-40B4-BE49-F238E27FC236}">
                <a16:creationId xmlns:a16="http://schemas.microsoft.com/office/drawing/2014/main" id="{8C65FBD0-9E14-64EB-EDE6-D88A403BD2F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3</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6" name="Picture 5">
            <a:extLst>
              <a:ext uri="{FF2B5EF4-FFF2-40B4-BE49-F238E27FC236}">
                <a16:creationId xmlns:a16="http://schemas.microsoft.com/office/drawing/2014/main" id="{E009B2B5-E5BF-80A1-5694-B30545F2B4DC}"/>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811238" y="1425150"/>
            <a:ext cx="4911711" cy="3683783"/>
          </a:xfrm>
          <a:prstGeom prst="rect">
            <a:avLst/>
          </a:prstGeom>
          <a:noFill/>
        </p:spPr>
      </p:pic>
      <p:pic>
        <p:nvPicPr>
          <p:cNvPr id="19" name="Picture 18">
            <a:extLst>
              <a:ext uri="{FF2B5EF4-FFF2-40B4-BE49-F238E27FC236}">
                <a16:creationId xmlns:a16="http://schemas.microsoft.com/office/drawing/2014/main" id="{CCC0A36B-BA81-F6F5-ECE5-0E1C921656C6}"/>
              </a:ext>
            </a:extLst>
          </p:cNvPr>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6351672" y="1425150"/>
            <a:ext cx="4911709" cy="3683782"/>
          </a:xfrm>
          <a:prstGeom prst="rect">
            <a:avLst/>
          </a:prstGeom>
          <a:noFill/>
        </p:spPr>
      </p:pic>
      <p:sp>
        <p:nvSpPr>
          <p:cNvPr id="54" name="TextBox 53">
            <a:extLst>
              <a:ext uri="{FF2B5EF4-FFF2-40B4-BE49-F238E27FC236}">
                <a16:creationId xmlns:a16="http://schemas.microsoft.com/office/drawing/2014/main" id="{9357F614-660C-ACC0-D611-4C257A77FABB}"/>
              </a:ext>
            </a:extLst>
          </p:cNvPr>
          <p:cNvSpPr txBox="1"/>
          <p:nvPr/>
        </p:nvSpPr>
        <p:spPr>
          <a:xfrm>
            <a:off x="811238" y="1040429"/>
            <a:ext cx="10452143" cy="384721"/>
          </a:xfrm>
          <a:prstGeom prst="rect">
            <a:avLst/>
          </a:prstGeom>
          <a:solidFill>
            <a:schemeClr val="accent1"/>
          </a:solidFill>
        </p:spPr>
        <p:txBody>
          <a:bodyPr wrap="square">
            <a:spAutoFit/>
          </a:bodyPr>
          <a:lstStyle/>
          <a:p>
            <a:pPr marR="0" lvl="0" algn="ctr" defTabSz="914400" rtl="0" eaLnBrk="1" fontAlgn="auto" latinLnBrk="0" hangingPunct="1">
              <a:lnSpc>
                <a:spcPct val="95000"/>
              </a:lnSpc>
              <a:spcBef>
                <a:spcPts val="1800"/>
              </a:spcBef>
              <a:spcAft>
                <a:spcPts val="0"/>
              </a:spcAft>
              <a:buClr>
                <a:srgbClr val="C50022"/>
              </a:buClr>
              <a:buSzPct val="100000"/>
              <a:tabLst/>
              <a:defRPr/>
            </a:pPr>
            <a:r>
              <a:rPr kumimoji="0" lang="en-US" sz="2000" b="0" i="0" u="none" strike="noStrike" kern="1200" cap="none" spc="0" normalizeH="0" baseline="0" noProof="0" dirty="0">
                <a:ln>
                  <a:noFill/>
                </a:ln>
                <a:solidFill>
                  <a:schemeClr val="bg1"/>
                </a:solidFill>
                <a:effectLst/>
                <a:uLnTx/>
                <a:uFillTx/>
                <a:latin typeface="Arial" panose="020B0604020202020204" pitchFamily="34" charset="0"/>
                <a:cs typeface="Arial"/>
              </a:rPr>
              <a:t>Vardenafil pellets coated with Kollicoat</a:t>
            </a:r>
            <a:r>
              <a:rPr kumimoji="0" lang="en-US" sz="2000" b="0" i="0" u="none" strike="noStrike" kern="1200" cap="none" spc="0" normalizeH="0" baseline="30000" noProof="0" dirty="0">
                <a:ln>
                  <a:noFill/>
                </a:ln>
                <a:solidFill>
                  <a:schemeClr val="bg1"/>
                </a:solidFill>
                <a:effectLst/>
                <a:uLnTx/>
                <a:uFillTx/>
                <a:latin typeface="Arial" panose="020B0604020202020204" pitchFamily="34" charset="0"/>
                <a:cs typeface="Arial"/>
              </a:rPr>
              <a:t>® </a:t>
            </a:r>
            <a:r>
              <a:rPr kumimoji="0" lang="en-US" sz="2000" b="0" i="0" u="none" strike="noStrike" kern="1200" cap="none" spc="0" normalizeH="0" baseline="0" noProof="0" dirty="0">
                <a:ln>
                  <a:noFill/>
                </a:ln>
                <a:solidFill>
                  <a:schemeClr val="bg1"/>
                </a:solidFill>
                <a:effectLst/>
                <a:uLnTx/>
                <a:uFillTx/>
                <a:latin typeface="Arial" panose="020B0604020202020204" pitchFamily="34" charset="0"/>
                <a:cs typeface="Arial"/>
              </a:rPr>
              <a:t>Smartseal 30 D tableted with Ludiflash</a:t>
            </a:r>
            <a:r>
              <a:rPr kumimoji="0" lang="en-US" sz="2000" b="0" i="0" u="none" strike="noStrike" kern="1200" cap="none" spc="0" normalizeH="0" baseline="30000" noProof="0" dirty="0">
                <a:ln>
                  <a:noFill/>
                </a:ln>
                <a:solidFill>
                  <a:schemeClr val="bg1"/>
                </a:solidFill>
                <a:effectLst/>
                <a:uLnTx/>
                <a:uFillTx/>
                <a:latin typeface="Arial" panose="020B0604020202020204" pitchFamily="34" charset="0"/>
                <a:cs typeface="Arial"/>
              </a:rPr>
              <a:t> ® </a:t>
            </a:r>
            <a:endParaRPr kumimoji="0" lang="en-US" sz="2000" b="0" i="0" u="none" strike="noStrike" kern="1200" cap="none" spc="0" normalizeH="0" baseline="0" noProof="0" dirty="0">
              <a:ln>
                <a:noFill/>
              </a:ln>
              <a:solidFill>
                <a:schemeClr val="bg1"/>
              </a:solidFill>
              <a:effectLst/>
              <a:uLnTx/>
              <a:uFillTx/>
              <a:latin typeface="Arial" panose="020B0604020202020204" pitchFamily="34" charset="0"/>
              <a:cs typeface="Arial"/>
            </a:endParaRPr>
          </a:p>
        </p:txBody>
      </p:sp>
      <p:sp>
        <p:nvSpPr>
          <p:cNvPr id="55" name="TextBox 54">
            <a:extLst>
              <a:ext uri="{FF2B5EF4-FFF2-40B4-BE49-F238E27FC236}">
                <a16:creationId xmlns:a16="http://schemas.microsoft.com/office/drawing/2014/main" id="{6C12AA4F-B95D-0756-6FB9-FB0833C58737}"/>
              </a:ext>
            </a:extLst>
          </p:cNvPr>
          <p:cNvSpPr txBox="1"/>
          <p:nvPr/>
        </p:nvSpPr>
        <p:spPr>
          <a:xfrm>
            <a:off x="811237" y="4724211"/>
            <a:ext cx="4911711" cy="384721"/>
          </a:xfrm>
          <a:prstGeom prst="rect">
            <a:avLst/>
          </a:prstGeom>
          <a:solidFill>
            <a:schemeClr val="accent1"/>
          </a:solidFill>
        </p:spPr>
        <p:txBody>
          <a:bodyPr wrap="square">
            <a:spAutoFit/>
          </a:bodyPr>
          <a:lstStyle/>
          <a:p>
            <a:pPr marR="0" lvl="0" algn="ctr" defTabSz="914400" rtl="0" eaLnBrk="1" fontAlgn="auto" latinLnBrk="0" hangingPunct="1">
              <a:lnSpc>
                <a:spcPct val="95000"/>
              </a:lnSpc>
              <a:spcBef>
                <a:spcPts val="1800"/>
              </a:spcBef>
              <a:spcAft>
                <a:spcPts val="0"/>
              </a:spcAft>
              <a:buClr>
                <a:srgbClr val="C50022"/>
              </a:buClr>
              <a:buSzPct val="100000"/>
              <a:tabLst/>
              <a:defRPr/>
            </a:pPr>
            <a:r>
              <a:rPr kumimoji="0" lang="en-US" sz="2000" b="0" i="0" u="none" strike="noStrike" kern="1200" cap="none" spc="0" normalizeH="0" baseline="0" noProof="0" dirty="0">
                <a:ln>
                  <a:noFill/>
                </a:ln>
                <a:solidFill>
                  <a:schemeClr val="bg1"/>
                </a:solidFill>
                <a:effectLst/>
                <a:uLnTx/>
                <a:uFillTx/>
                <a:latin typeface="Arial" panose="020B0604020202020204" pitchFamily="34" charset="0"/>
                <a:cs typeface="Arial"/>
              </a:rPr>
              <a:t>Tablet Cross Section 75x</a:t>
            </a:r>
          </a:p>
        </p:txBody>
      </p:sp>
      <p:sp>
        <p:nvSpPr>
          <p:cNvPr id="56" name="TextBox 55">
            <a:extLst>
              <a:ext uri="{FF2B5EF4-FFF2-40B4-BE49-F238E27FC236}">
                <a16:creationId xmlns:a16="http://schemas.microsoft.com/office/drawing/2014/main" id="{57A7B300-3D4D-2260-0D85-083BEC0CDBC4}"/>
              </a:ext>
            </a:extLst>
          </p:cNvPr>
          <p:cNvSpPr txBox="1"/>
          <p:nvPr/>
        </p:nvSpPr>
        <p:spPr>
          <a:xfrm>
            <a:off x="6348064" y="4724210"/>
            <a:ext cx="4911711" cy="384721"/>
          </a:xfrm>
          <a:prstGeom prst="rect">
            <a:avLst/>
          </a:prstGeom>
          <a:solidFill>
            <a:schemeClr val="accent1"/>
          </a:solidFill>
        </p:spPr>
        <p:txBody>
          <a:bodyPr wrap="square">
            <a:spAutoFit/>
          </a:bodyPr>
          <a:lstStyle/>
          <a:p>
            <a:pPr marR="0" lvl="0" algn="ctr" defTabSz="914400" rtl="0" eaLnBrk="1" fontAlgn="auto" latinLnBrk="0" hangingPunct="1">
              <a:lnSpc>
                <a:spcPct val="95000"/>
              </a:lnSpc>
              <a:spcBef>
                <a:spcPts val="1800"/>
              </a:spcBef>
              <a:spcAft>
                <a:spcPts val="0"/>
              </a:spcAft>
              <a:buClr>
                <a:srgbClr val="C50022"/>
              </a:buClr>
              <a:buSzPct val="100000"/>
              <a:tabLst/>
              <a:defRPr/>
            </a:pPr>
            <a:r>
              <a:rPr kumimoji="0" lang="en-US" sz="2000" b="0" i="0" u="none" strike="noStrike" kern="1200" cap="none" spc="0" normalizeH="0" baseline="0" noProof="0" dirty="0">
                <a:ln>
                  <a:noFill/>
                </a:ln>
                <a:solidFill>
                  <a:schemeClr val="bg1"/>
                </a:solidFill>
                <a:effectLst/>
                <a:uLnTx/>
                <a:uFillTx/>
                <a:latin typeface="Arial" panose="020B0604020202020204" pitchFamily="34" charset="0"/>
                <a:cs typeface="Arial"/>
              </a:rPr>
              <a:t>Tablet Cross Section 100x</a:t>
            </a:r>
          </a:p>
        </p:txBody>
      </p:sp>
      <p:sp>
        <p:nvSpPr>
          <p:cNvPr id="8" name="Footer Placeholder 11">
            <a:extLst>
              <a:ext uri="{FF2B5EF4-FFF2-40B4-BE49-F238E27FC236}">
                <a16:creationId xmlns:a16="http://schemas.microsoft.com/office/drawing/2014/main" id="{AD94FED9-F443-08DB-41AF-00F97A6EFFDB}"/>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780194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B94FC77-3B88-B97F-9635-8FC661710C57}"/>
              </a:ext>
            </a:extLst>
          </p:cNvPr>
          <p:cNvGraphicFramePr>
            <a:graphicFrameLocks noChangeAspect="1"/>
          </p:cNvGraphicFramePr>
          <p:nvPr>
            <p:custDataLst>
              <p:tags r:id="rId1"/>
            </p:custDataLst>
            <p:extLst>
              <p:ext uri="{D42A27DB-BD31-4B8C-83A1-F6EECF244321}">
                <p14:modId xmlns:p14="http://schemas.microsoft.com/office/powerpoint/2010/main" val="3156469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10" name="think-cell data - do not delete" hidden="1">
                        <a:extLst>
                          <a:ext uri="{FF2B5EF4-FFF2-40B4-BE49-F238E27FC236}">
                            <a16:creationId xmlns:a16="http://schemas.microsoft.com/office/drawing/2014/main" id="{2B94FC77-3B88-B97F-9635-8FC661710C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C7E2F-49F4-6905-2BD0-851FB4CDB0BC}"/>
              </a:ext>
            </a:extLst>
          </p:cNvPr>
          <p:cNvSpPr>
            <a:spLocks noGrp="1"/>
          </p:cNvSpPr>
          <p:nvPr>
            <p:ph type="title"/>
          </p:nvPr>
        </p:nvSpPr>
        <p:spPr>
          <a:xfrm>
            <a:off x="226800" y="352424"/>
            <a:ext cx="11736000" cy="853200"/>
          </a:xfrm>
        </p:spPr>
        <p:txBody>
          <a:bodyPr vert="horz"/>
          <a:lstStyle/>
          <a:p>
            <a:r>
              <a:rPr lang="en-US" dirty="0"/>
              <a:t>Dissolution observation: uncured pellets and cured pellets coated with Kollicoat</a:t>
            </a:r>
            <a:r>
              <a:rPr lang="en-US" baseline="30000" dirty="0"/>
              <a:t>®</a:t>
            </a:r>
            <a:r>
              <a:rPr lang="en-US" dirty="0"/>
              <a:t> Smartseal 30 D</a:t>
            </a:r>
          </a:p>
        </p:txBody>
      </p:sp>
      <p:sp>
        <p:nvSpPr>
          <p:cNvPr id="3" name="Text Placeholder 2">
            <a:extLst>
              <a:ext uri="{FF2B5EF4-FFF2-40B4-BE49-F238E27FC236}">
                <a16:creationId xmlns:a16="http://schemas.microsoft.com/office/drawing/2014/main" id="{EE36CAA3-95D8-C5A5-07F3-27500EB65957}"/>
              </a:ext>
            </a:extLst>
          </p:cNvPr>
          <p:cNvSpPr>
            <a:spLocks noGrp="1"/>
          </p:cNvSpPr>
          <p:nvPr>
            <p:ph type="body" idx="1"/>
          </p:nvPr>
        </p:nvSpPr>
        <p:spPr>
          <a:xfrm>
            <a:off x="1648424" y="1859551"/>
            <a:ext cx="8895151" cy="2886853"/>
          </a:xfrm>
        </p:spPr>
        <p:txBody>
          <a:bodyPr/>
          <a:lstStyle/>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pPr marL="0" indent="0">
              <a:buNone/>
            </a:pPr>
            <a:endParaRPr lang="en-US" b="1" dirty="0"/>
          </a:p>
          <a:p>
            <a:pPr marL="0" indent="0">
              <a:buNone/>
            </a:pPr>
            <a:r>
              <a:rPr lang="en-US" sz="1600" b="1" dirty="0"/>
              <a:t>                   Uncured pellets                                                                     Cured Pellets</a:t>
            </a:r>
          </a:p>
          <a:p>
            <a:pPr marL="0" indent="0">
              <a:buNone/>
            </a:pPr>
            <a:endParaRPr lang="en-US" sz="1600" b="1" dirty="0"/>
          </a:p>
        </p:txBody>
      </p:sp>
      <p:sp>
        <p:nvSpPr>
          <p:cNvPr id="5" name="Slide Number Placeholder 4">
            <a:extLst>
              <a:ext uri="{FF2B5EF4-FFF2-40B4-BE49-F238E27FC236}">
                <a16:creationId xmlns:a16="http://schemas.microsoft.com/office/drawing/2014/main" id="{E50A60F7-0C3C-3937-4045-AF61DD13DAD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4</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11" name="1DCB3D00-5FFE-4049-BE19-8F1ABF66326F">
            <a:extLst>
              <a:ext uri="{FF2B5EF4-FFF2-40B4-BE49-F238E27FC236}">
                <a16:creationId xmlns:a16="http://schemas.microsoft.com/office/drawing/2014/main" id="{0F7617E7-AB7B-5C3F-4E2F-5ABC76F5F615}"/>
              </a:ext>
            </a:extLst>
          </p:cNvPr>
          <p:cNvPicPr>
            <a:picLocks noChangeAspect="1"/>
          </p:cNvPicPr>
          <p:nvPr/>
        </p:nvPicPr>
        <p:blipFill rotWithShape="1">
          <a:blip r:embed="rId6" r:link="rId7" cstate="email">
            <a:extLst>
              <a:ext uri="{28A0092B-C50C-407E-A947-70E740481C1C}">
                <a14:useLocalDpi xmlns:a14="http://schemas.microsoft.com/office/drawing/2010/main"/>
              </a:ext>
            </a:extLst>
          </a:blip>
          <a:srcRect/>
          <a:stretch>
            <a:fillRect/>
          </a:stretch>
        </p:blipFill>
        <p:spPr bwMode="auto">
          <a:xfrm>
            <a:off x="1648425" y="1457334"/>
            <a:ext cx="3401206" cy="2886853"/>
          </a:xfrm>
          <a:prstGeom prst="rect">
            <a:avLst/>
          </a:prstGeom>
          <a:noFill/>
          <a:ln>
            <a:noFill/>
          </a:ln>
        </p:spPr>
      </p:pic>
      <p:pic>
        <p:nvPicPr>
          <p:cNvPr id="6" name="B0695BEC-4AC3-410D-A2B2-1BCA932F8AB3" descr="IMG_0119.jpg">
            <a:extLst>
              <a:ext uri="{FF2B5EF4-FFF2-40B4-BE49-F238E27FC236}">
                <a16:creationId xmlns:a16="http://schemas.microsoft.com/office/drawing/2014/main" id="{0C57DEA9-3021-755D-224A-2037F5C2CEEA}"/>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142371" y="1457333"/>
            <a:ext cx="3401205" cy="2886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2">
            <a:extLst>
              <a:ext uri="{FF2B5EF4-FFF2-40B4-BE49-F238E27FC236}">
                <a16:creationId xmlns:a16="http://schemas.microsoft.com/office/drawing/2014/main" id="{348757EA-F69F-F296-E40F-0373E647EAE8}"/>
              </a:ext>
            </a:extLst>
          </p:cNvPr>
          <p:cNvSpPr txBox="1">
            <a:spLocks/>
          </p:cNvSpPr>
          <p:nvPr/>
        </p:nvSpPr>
        <p:spPr>
          <a:xfrm>
            <a:off x="1203363" y="4909528"/>
            <a:ext cx="4291330" cy="1054392"/>
          </a:xfrm>
          <a:prstGeom prst="rect">
            <a:avLst/>
          </a:prstGeom>
          <a:solidFill>
            <a:schemeClr val="accent5"/>
          </a:solidFill>
        </p:spPr>
        <p:txBody>
          <a:bodyPr vert="horz" lIns="0" tIns="0" rIns="0" bIns="0" rtlCol="0" anchor="ctr">
            <a:noAutofit/>
          </a:bodyPr>
          <a:lst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marL="0" indent="0" algn="ctr">
              <a:buNone/>
            </a:pPr>
            <a:r>
              <a:rPr lang="en-US" sz="1800" dirty="0"/>
              <a:t>Majority of pellets are reaching to bottom during dissolution with small number of pellets floating on top of the medium.</a:t>
            </a:r>
          </a:p>
        </p:txBody>
      </p:sp>
      <p:sp>
        <p:nvSpPr>
          <p:cNvPr id="8" name="Text Placeholder 2">
            <a:extLst>
              <a:ext uri="{FF2B5EF4-FFF2-40B4-BE49-F238E27FC236}">
                <a16:creationId xmlns:a16="http://schemas.microsoft.com/office/drawing/2014/main" id="{D28B3525-DD28-FA0D-9A42-3253ED12E788}"/>
              </a:ext>
            </a:extLst>
          </p:cNvPr>
          <p:cNvSpPr txBox="1">
            <a:spLocks/>
          </p:cNvSpPr>
          <p:nvPr/>
        </p:nvSpPr>
        <p:spPr>
          <a:xfrm>
            <a:off x="6697309" y="4909528"/>
            <a:ext cx="4291330" cy="1054392"/>
          </a:xfrm>
          <a:prstGeom prst="rect">
            <a:avLst/>
          </a:prstGeom>
          <a:solidFill>
            <a:schemeClr val="accent5"/>
          </a:solidFill>
        </p:spPr>
        <p:txBody>
          <a:bodyPr vert="horz" lIns="0" tIns="0" rIns="0" bIns="0" rtlCol="0" anchor="ctr">
            <a:noAutofit/>
          </a:bodyPr>
          <a:lst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marL="0" indent="0" algn="ctr">
              <a:buNone/>
            </a:pPr>
            <a:r>
              <a:rPr lang="en-US" sz="1800" dirty="0">
                <a:latin typeface="Arial"/>
              </a:rPr>
              <a:t>Majority of pellets are floating on top of the medium with minimum pellets reaching the bottom</a:t>
            </a:r>
            <a:r>
              <a:rPr lang="en-US" sz="1800" dirty="0"/>
              <a:t>.</a:t>
            </a:r>
          </a:p>
        </p:txBody>
      </p:sp>
      <p:sp>
        <p:nvSpPr>
          <p:cNvPr id="4" name="Footer Placeholder 11">
            <a:extLst>
              <a:ext uri="{FF2B5EF4-FFF2-40B4-BE49-F238E27FC236}">
                <a16:creationId xmlns:a16="http://schemas.microsoft.com/office/drawing/2014/main" id="{B1970DB4-F8EF-1BC2-D944-57EA0113F1F2}"/>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26179901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834C236-4268-9094-B704-B6DB81BF07B3}"/>
              </a:ext>
            </a:extLst>
          </p:cNvPr>
          <p:cNvGraphicFramePr>
            <a:graphicFrameLocks noChangeAspect="1"/>
          </p:cNvGraphicFramePr>
          <p:nvPr>
            <p:custDataLst>
              <p:tags r:id="rId1"/>
            </p:custDataLst>
            <p:extLst>
              <p:ext uri="{D42A27DB-BD31-4B8C-83A1-F6EECF244321}">
                <p14:modId xmlns:p14="http://schemas.microsoft.com/office/powerpoint/2010/main" val="4197251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9" name="think-cell data - do not delete" hidden="1">
                        <a:extLst>
                          <a:ext uri="{FF2B5EF4-FFF2-40B4-BE49-F238E27FC236}">
                            <a16:creationId xmlns:a16="http://schemas.microsoft.com/office/drawing/2014/main" id="{3834C236-4268-9094-B704-B6DB81BF07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A1C8D5-197D-2530-11B4-A24D2D03AB19}"/>
              </a:ext>
            </a:extLst>
          </p:cNvPr>
          <p:cNvSpPr>
            <a:spLocks noGrp="1"/>
          </p:cNvSpPr>
          <p:nvPr>
            <p:ph type="title"/>
          </p:nvPr>
        </p:nvSpPr>
        <p:spPr>
          <a:xfrm>
            <a:off x="59000" y="221989"/>
            <a:ext cx="12074000" cy="853200"/>
          </a:xfrm>
        </p:spPr>
        <p:txBody>
          <a:bodyPr vert="horz"/>
          <a:lstStyle/>
          <a:p>
            <a:r>
              <a:rPr lang="en-US" dirty="0">
                <a:latin typeface="Arial"/>
              </a:rPr>
              <a:t>Dissolution of vardenafil pellets coated with Kollicoat</a:t>
            </a:r>
            <a:r>
              <a:rPr kumimoji="0" lang="en-US" sz="2800" b="0" i="0" u="none" strike="noStrike" kern="1200" cap="none" spc="0" normalizeH="0" baseline="30000" noProof="0" dirty="0">
                <a:ln>
                  <a:noFill/>
                </a:ln>
                <a:effectLst/>
                <a:uLnTx/>
                <a:uFillTx/>
                <a:latin typeface="Arial" panose="020B0604020202020204" pitchFamily="34" charset="0"/>
                <a:cs typeface="Arial"/>
              </a:rPr>
              <a:t>®  </a:t>
            </a:r>
            <a:r>
              <a:rPr lang="en-US" dirty="0">
                <a:latin typeface="Arial"/>
              </a:rPr>
              <a:t>Smartseal in pH 6.8 buffer: basket Vs paddle</a:t>
            </a:r>
            <a:endParaRPr lang="en-US" dirty="0"/>
          </a:p>
        </p:txBody>
      </p:sp>
      <p:sp>
        <p:nvSpPr>
          <p:cNvPr id="5" name="Slide Number Placeholder 4">
            <a:extLst>
              <a:ext uri="{FF2B5EF4-FFF2-40B4-BE49-F238E27FC236}">
                <a16:creationId xmlns:a16="http://schemas.microsoft.com/office/drawing/2014/main" id="{C8059103-38FF-CCE4-8481-E95E54E8617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5</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 name="Text Placeholder 2">
            <a:extLst>
              <a:ext uri="{FF2B5EF4-FFF2-40B4-BE49-F238E27FC236}">
                <a16:creationId xmlns:a16="http://schemas.microsoft.com/office/drawing/2014/main" id="{500715CF-13DF-04ED-2F85-EC4A998B1CE0}"/>
              </a:ext>
            </a:extLst>
          </p:cNvPr>
          <p:cNvSpPr>
            <a:spLocks noGrp="1"/>
          </p:cNvSpPr>
          <p:nvPr>
            <p:ph type="body" sz="half" idx="1"/>
          </p:nvPr>
        </p:nvSpPr>
        <p:spPr>
          <a:xfrm>
            <a:off x="468238" y="1965579"/>
            <a:ext cx="4496290" cy="3906012"/>
          </a:xfrm>
        </p:spPr>
        <p:txBody>
          <a:bodyPr vert="horz" lIns="0" tIns="0" rIns="0" bIns="0" rtlCol="0" anchor="t">
            <a:noAutofit/>
          </a:bodyPr>
          <a:lstStyle/>
          <a:p>
            <a:pPr marL="341630" indent="-341630"/>
            <a:endParaRPr lang="en-US" sz="1600" dirty="0"/>
          </a:p>
          <a:p>
            <a:pPr marL="0" indent="0">
              <a:buNone/>
            </a:pPr>
            <a:endParaRPr lang="en-US" sz="1600" dirty="0"/>
          </a:p>
        </p:txBody>
      </p:sp>
      <p:graphicFrame>
        <p:nvGraphicFramePr>
          <p:cNvPr id="6" name="Chart 5">
            <a:extLst>
              <a:ext uri="{FF2B5EF4-FFF2-40B4-BE49-F238E27FC236}">
                <a16:creationId xmlns:a16="http://schemas.microsoft.com/office/drawing/2014/main" id="{FA09122B-4564-430C-A247-4B2576229BA0}"/>
              </a:ext>
            </a:extLst>
          </p:cNvPr>
          <p:cNvGraphicFramePr>
            <a:graphicFrameLocks/>
          </p:cNvGraphicFramePr>
          <p:nvPr>
            <p:extLst>
              <p:ext uri="{D42A27DB-BD31-4B8C-83A1-F6EECF244321}">
                <p14:modId xmlns:p14="http://schemas.microsoft.com/office/powerpoint/2010/main" val="1807869797"/>
              </p:ext>
            </p:extLst>
          </p:nvPr>
        </p:nvGraphicFramePr>
        <p:xfrm>
          <a:off x="5301015" y="1551180"/>
          <a:ext cx="6678640" cy="4306207"/>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 Placeholder 2">
            <a:extLst>
              <a:ext uri="{FF2B5EF4-FFF2-40B4-BE49-F238E27FC236}">
                <a16:creationId xmlns:a16="http://schemas.microsoft.com/office/drawing/2014/main" id="{6D58E467-B506-5F27-F2C5-10E7C9853DC4}"/>
              </a:ext>
            </a:extLst>
          </p:cNvPr>
          <p:cNvSpPr txBox="1">
            <a:spLocks/>
          </p:cNvSpPr>
          <p:nvPr/>
        </p:nvSpPr>
        <p:spPr>
          <a:xfrm>
            <a:off x="468238" y="2070683"/>
            <a:ext cx="4401240" cy="3906011"/>
          </a:xfrm>
          <a:prstGeom prst="rect">
            <a:avLst/>
          </a:prstGeom>
        </p:spPr>
        <p:txBody>
          <a:bodyPr vert="horz" lIns="0" tIns="0" rIns="0" bIns="0" rtlCol="0">
            <a:noAutofit/>
          </a:bodyPr>
          <a:lst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lnSpc>
                <a:spcPts val="2500"/>
              </a:lnSpc>
            </a:pPr>
            <a:r>
              <a:rPr lang="en-US" sz="1800" dirty="0"/>
              <a:t>Basket was tested in the dissolution test and compared to the paddle results. </a:t>
            </a:r>
          </a:p>
          <a:p>
            <a:pPr marL="0" indent="0">
              <a:lnSpc>
                <a:spcPts val="2500"/>
              </a:lnSpc>
              <a:buNone/>
            </a:pPr>
            <a:endParaRPr lang="en-US" sz="1800" dirty="0"/>
          </a:p>
          <a:p>
            <a:pPr lvl="0">
              <a:lnSpc>
                <a:spcPts val="2500"/>
              </a:lnSpc>
            </a:pPr>
            <a:r>
              <a:rPr lang="en-US" sz="1800" dirty="0"/>
              <a:t>Both Basket and Paddle apparatus showed similar release patterns.</a:t>
            </a:r>
          </a:p>
          <a:p>
            <a:pPr lvl="0">
              <a:lnSpc>
                <a:spcPts val="2500"/>
              </a:lnSpc>
            </a:pPr>
            <a:endParaRPr lang="en-US" sz="1800" dirty="0"/>
          </a:p>
          <a:p>
            <a:pPr lvl="0">
              <a:lnSpc>
                <a:spcPts val="2500"/>
              </a:lnSpc>
            </a:pPr>
            <a:r>
              <a:rPr lang="en-US" sz="1800" dirty="0"/>
              <a:t>Next trials were tested using basket.  </a:t>
            </a:r>
          </a:p>
        </p:txBody>
      </p:sp>
      <p:sp>
        <p:nvSpPr>
          <p:cNvPr id="4" name="Footer Placeholder 11">
            <a:extLst>
              <a:ext uri="{FF2B5EF4-FFF2-40B4-BE49-F238E27FC236}">
                <a16:creationId xmlns:a16="http://schemas.microsoft.com/office/drawing/2014/main" id="{75520366-0995-7539-2B39-286EB80D0772}"/>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10784126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C89B912-432A-841F-D081-F9FE0E5DD679}"/>
              </a:ext>
            </a:extLst>
          </p:cNvPr>
          <p:cNvGraphicFramePr>
            <a:graphicFrameLocks noChangeAspect="1"/>
          </p:cNvGraphicFramePr>
          <p:nvPr>
            <p:custDataLst>
              <p:tags r:id="rId1"/>
            </p:custDataLst>
            <p:extLst>
              <p:ext uri="{D42A27DB-BD31-4B8C-83A1-F6EECF244321}">
                <p14:modId xmlns:p14="http://schemas.microsoft.com/office/powerpoint/2010/main" val="1446819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think-cell data - do not delete" hidden="1">
                        <a:extLst>
                          <a:ext uri="{FF2B5EF4-FFF2-40B4-BE49-F238E27FC236}">
                            <a16:creationId xmlns:a16="http://schemas.microsoft.com/office/drawing/2014/main" id="{5C89B912-432A-841F-D081-F9FE0E5DD6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A1C8D5-197D-2530-11B4-A24D2D03AB19}"/>
              </a:ext>
            </a:extLst>
          </p:cNvPr>
          <p:cNvSpPr>
            <a:spLocks noGrp="1"/>
          </p:cNvSpPr>
          <p:nvPr>
            <p:ph type="title"/>
          </p:nvPr>
        </p:nvSpPr>
        <p:spPr>
          <a:xfrm>
            <a:off x="228000" y="328999"/>
            <a:ext cx="11736000" cy="853200"/>
          </a:xfrm>
        </p:spPr>
        <p:txBody>
          <a:bodyPr vert="horz"/>
          <a:lstStyle/>
          <a:p>
            <a:r>
              <a:rPr lang="en-US" dirty="0">
                <a:latin typeface="Arial"/>
              </a:rPr>
              <a:t>Effect of curing step on vardenafil pellets coated with Kollicoat</a:t>
            </a:r>
            <a:r>
              <a:rPr lang="en-US" sz="2800" baseline="30000" dirty="0">
                <a:effectLst/>
                <a:latin typeface="Arial" panose="020B0604020202020204" pitchFamily="34" charset="0"/>
                <a:ea typeface="Arial" panose="020B0604020202020204" pitchFamily="34" charset="0"/>
                <a:cs typeface="Times New Roman" panose="02020603050405020304" pitchFamily="18" charset="0"/>
              </a:rPr>
              <a:t>®</a:t>
            </a:r>
            <a:r>
              <a:rPr lang="en-US" dirty="0">
                <a:latin typeface="Arial"/>
              </a:rPr>
              <a:t> Smartseal 30 D at 30% weight gain (w/g) </a:t>
            </a:r>
          </a:p>
        </p:txBody>
      </p:sp>
      <p:sp>
        <p:nvSpPr>
          <p:cNvPr id="5" name="Slide Number Placeholder 4">
            <a:extLst>
              <a:ext uri="{FF2B5EF4-FFF2-40B4-BE49-F238E27FC236}">
                <a16:creationId xmlns:a16="http://schemas.microsoft.com/office/drawing/2014/main" id="{C8059103-38FF-CCE4-8481-E95E54E8617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6</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Text Placeholder 2">
            <a:extLst>
              <a:ext uri="{FF2B5EF4-FFF2-40B4-BE49-F238E27FC236}">
                <a16:creationId xmlns:a16="http://schemas.microsoft.com/office/drawing/2014/main" id="{943C0BAF-1506-9733-06A9-2E13B9249F4A}"/>
              </a:ext>
            </a:extLst>
          </p:cNvPr>
          <p:cNvSpPr>
            <a:spLocks noGrp="1"/>
          </p:cNvSpPr>
          <p:nvPr>
            <p:ph type="body" sz="half" idx="1"/>
          </p:nvPr>
        </p:nvSpPr>
        <p:spPr>
          <a:xfrm>
            <a:off x="236400" y="1715022"/>
            <a:ext cx="4091277" cy="4355176"/>
          </a:xfrm>
        </p:spPr>
        <p:txBody>
          <a:bodyPr/>
          <a:lstStyle/>
          <a:p>
            <a:r>
              <a:rPr lang="en-US" sz="1800" b="1" dirty="0"/>
              <a:t>A curing step is recommended </a:t>
            </a:r>
            <a:r>
              <a:rPr lang="en-US" sz="1800" dirty="0"/>
              <a:t>when working with </a:t>
            </a:r>
            <a:r>
              <a:rPr lang="en-US" sz="1800" b="1" dirty="0"/>
              <a:t>Kollicoat</a:t>
            </a:r>
            <a:r>
              <a:rPr lang="en-US" sz="1800" b="1" baseline="30000" dirty="0"/>
              <a:t>®</a:t>
            </a:r>
            <a:r>
              <a:rPr lang="en-US" sz="1800" b="1" dirty="0"/>
              <a:t> Smartseal 30 D </a:t>
            </a:r>
            <a:r>
              <a:rPr lang="en-US" sz="1800" dirty="0"/>
              <a:t>dispersion.</a:t>
            </a:r>
          </a:p>
          <a:p>
            <a:endParaRPr lang="en-US" sz="1800" dirty="0"/>
          </a:p>
          <a:p>
            <a:r>
              <a:rPr lang="en-US" sz="1800" dirty="0"/>
              <a:t>In this formulation, all three curing times (</a:t>
            </a:r>
            <a:r>
              <a:rPr lang="en-US" sz="1800" b="1" dirty="0"/>
              <a:t>1h, 2h, and 3h</a:t>
            </a:r>
            <a:r>
              <a:rPr lang="en-US" sz="1800" dirty="0"/>
              <a:t>) at 60 °C presented similar drug release in the pH 6.8 buffer media.</a:t>
            </a:r>
          </a:p>
          <a:p>
            <a:pPr marL="0" indent="0">
              <a:buNone/>
            </a:pPr>
            <a:endParaRPr lang="en-US" sz="1800" dirty="0"/>
          </a:p>
          <a:p>
            <a:r>
              <a:rPr lang="en-US" sz="1800" b="1" dirty="0"/>
              <a:t>2h curing time at 60 °C </a:t>
            </a:r>
            <a:r>
              <a:rPr lang="en-US" sz="1800" dirty="0"/>
              <a:t>was selected to be used. </a:t>
            </a:r>
          </a:p>
        </p:txBody>
      </p:sp>
      <p:graphicFrame>
        <p:nvGraphicFramePr>
          <p:cNvPr id="8" name="Chart 7">
            <a:extLst>
              <a:ext uri="{FF2B5EF4-FFF2-40B4-BE49-F238E27FC236}">
                <a16:creationId xmlns:a16="http://schemas.microsoft.com/office/drawing/2014/main" id="{FA09122B-4564-430C-A247-4B2576229BA0}"/>
              </a:ext>
            </a:extLst>
          </p:cNvPr>
          <p:cNvGraphicFramePr>
            <a:graphicFrameLocks/>
          </p:cNvGraphicFramePr>
          <p:nvPr>
            <p:extLst>
              <p:ext uri="{D42A27DB-BD31-4B8C-83A1-F6EECF244321}">
                <p14:modId xmlns:p14="http://schemas.microsoft.com/office/powerpoint/2010/main" val="1795844735"/>
              </p:ext>
            </p:extLst>
          </p:nvPr>
        </p:nvGraphicFramePr>
        <p:xfrm>
          <a:off x="4744720" y="1632133"/>
          <a:ext cx="7210880" cy="4229875"/>
        </p:xfrm>
        <a:graphic>
          <a:graphicData uri="http://schemas.openxmlformats.org/drawingml/2006/chart">
            <c:chart xmlns:c="http://schemas.openxmlformats.org/drawingml/2006/chart" xmlns:r="http://schemas.openxmlformats.org/officeDocument/2006/relationships" r:id="rId6"/>
          </a:graphicData>
        </a:graphic>
      </p:graphicFrame>
      <p:sp>
        <p:nvSpPr>
          <p:cNvPr id="3" name="Footer Placeholder 11">
            <a:extLst>
              <a:ext uri="{FF2B5EF4-FFF2-40B4-BE49-F238E27FC236}">
                <a16:creationId xmlns:a16="http://schemas.microsoft.com/office/drawing/2014/main" id="{2E09F86F-7761-972D-42A7-93B2F34EA1BD}"/>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33139778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0468374-BC6A-7E7F-05B8-96488787F4C4}"/>
              </a:ext>
            </a:extLst>
          </p:cNvPr>
          <p:cNvGraphicFramePr>
            <a:graphicFrameLocks noChangeAspect="1"/>
          </p:cNvGraphicFramePr>
          <p:nvPr>
            <p:custDataLst>
              <p:tags r:id="rId1"/>
            </p:custDataLst>
            <p:extLst>
              <p:ext uri="{D42A27DB-BD31-4B8C-83A1-F6EECF244321}">
                <p14:modId xmlns:p14="http://schemas.microsoft.com/office/powerpoint/2010/main" val="2652213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8" name="think-cell data - do not delete" hidden="1">
                        <a:extLst>
                          <a:ext uri="{FF2B5EF4-FFF2-40B4-BE49-F238E27FC236}">
                            <a16:creationId xmlns:a16="http://schemas.microsoft.com/office/drawing/2014/main" id="{60468374-BC6A-7E7F-05B8-96488787F4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1EE3CB-88A6-9846-0273-B29487B6AAC0}"/>
              </a:ext>
            </a:extLst>
          </p:cNvPr>
          <p:cNvSpPr>
            <a:spLocks noGrp="1"/>
          </p:cNvSpPr>
          <p:nvPr>
            <p:ph type="title"/>
          </p:nvPr>
        </p:nvSpPr>
        <p:spPr>
          <a:xfrm>
            <a:off x="351360" y="172800"/>
            <a:ext cx="11736000" cy="853200"/>
          </a:xfrm>
        </p:spPr>
        <p:txBody>
          <a:bodyPr vert="horz"/>
          <a:lstStyle/>
          <a:p>
            <a:r>
              <a:rPr lang="en-US" sz="2800" b="1" dirty="0">
                <a:latin typeface="Arial"/>
              </a:rPr>
              <a:t>Kollicoat</a:t>
            </a:r>
            <a:r>
              <a:rPr lang="en-US" sz="2800" baseline="30000" dirty="0">
                <a:effectLst/>
                <a:latin typeface="Arial"/>
                <a:ea typeface="Arial" panose="020B0604020202020204" pitchFamily="34" charset="0"/>
                <a:cs typeface="Times New Roman"/>
              </a:rPr>
              <a:t>®</a:t>
            </a:r>
            <a:r>
              <a:rPr lang="en-US" sz="2800" b="1" dirty="0">
                <a:latin typeface="Arial"/>
              </a:rPr>
              <a:t> Smartseal 30 D coating on vardenafil </a:t>
            </a:r>
            <a:r>
              <a:rPr lang="en-US" dirty="0">
                <a:latin typeface="Arial"/>
              </a:rPr>
              <a:t>p</a:t>
            </a:r>
            <a:r>
              <a:rPr lang="en-US" sz="2800" b="1" dirty="0">
                <a:latin typeface="Arial"/>
              </a:rPr>
              <a:t>ellets</a:t>
            </a:r>
            <a:r>
              <a:rPr lang="en-US" dirty="0">
                <a:latin typeface="Arial"/>
              </a:rPr>
              <a:t> – </a:t>
            </a:r>
            <a:br>
              <a:rPr lang="en-US" dirty="0">
                <a:latin typeface="Arial"/>
              </a:rPr>
            </a:br>
            <a:r>
              <a:rPr lang="en-US" dirty="0">
                <a:latin typeface="Arial"/>
              </a:rPr>
              <a:t>scaled-up lab batch</a:t>
            </a:r>
            <a:endParaRPr lang="en-US" sz="2800" b="1" dirty="0"/>
          </a:p>
        </p:txBody>
      </p:sp>
      <p:sp>
        <p:nvSpPr>
          <p:cNvPr id="6" name="Text Placeholder 5">
            <a:extLst>
              <a:ext uri="{FF2B5EF4-FFF2-40B4-BE49-F238E27FC236}">
                <a16:creationId xmlns:a16="http://schemas.microsoft.com/office/drawing/2014/main" id="{B66EA8C9-77CE-B963-7AC6-F60B658910B8}"/>
              </a:ext>
            </a:extLst>
          </p:cNvPr>
          <p:cNvSpPr>
            <a:spLocks noGrp="1"/>
          </p:cNvSpPr>
          <p:nvPr>
            <p:ph type="body" idx="1"/>
          </p:nvPr>
        </p:nvSpPr>
        <p:spPr>
          <a:xfrm>
            <a:off x="342371" y="1191735"/>
            <a:ext cx="11753977" cy="413160"/>
          </a:xfrm>
        </p:spPr>
        <p:txBody>
          <a:bodyPr/>
          <a:lstStyle/>
          <a:p>
            <a:pPr marL="0" indent="0">
              <a:buNone/>
            </a:pPr>
            <a:r>
              <a:rPr lang="en-US" sz="1800" b="1" dirty="0">
                <a:solidFill>
                  <a:schemeClr val="accent1"/>
                </a:solidFill>
              </a:rPr>
              <a:t>Coating Formula</a:t>
            </a:r>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p:txBody>
      </p:sp>
      <p:sp>
        <p:nvSpPr>
          <p:cNvPr id="4" name="Slide Number Placeholder 3">
            <a:extLst>
              <a:ext uri="{FF2B5EF4-FFF2-40B4-BE49-F238E27FC236}">
                <a16:creationId xmlns:a16="http://schemas.microsoft.com/office/drawing/2014/main" id="{02B46B7E-F0D8-B93D-ABC1-E18A4C1A13D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82EA1D04-CA53-4DE3-84A8-2B63E41036C9}" type="slidenum">
              <a:rPr kumimoji="0" lang="en-US" sz="8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7</a:t>
            </a:fld>
            <a:endParaRPr kumimoji="0" lang="en-US" sz="800" b="1" i="0" u="none" strike="noStrike" kern="1200" cap="none" spc="0" normalizeH="0" baseline="0" noProof="0" dirty="0">
              <a:ln>
                <a:noFill/>
              </a:ln>
              <a:solidFill>
                <a:srgbClr val="000000"/>
              </a:solidFill>
              <a:effectLst/>
              <a:uLnTx/>
              <a:uFillTx/>
              <a:latin typeface="Arial" panose="020B0604020202020204"/>
              <a:cs typeface="Arial"/>
            </a:endParaRPr>
          </a:p>
        </p:txBody>
      </p:sp>
      <p:graphicFrame>
        <p:nvGraphicFramePr>
          <p:cNvPr id="9" name="Table 8">
            <a:extLst>
              <a:ext uri="{FF2B5EF4-FFF2-40B4-BE49-F238E27FC236}">
                <a16:creationId xmlns:a16="http://schemas.microsoft.com/office/drawing/2014/main" id="{AAC827E3-943B-A577-7232-FF77B47E9278}"/>
              </a:ext>
            </a:extLst>
          </p:cNvPr>
          <p:cNvGraphicFramePr>
            <a:graphicFrameLocks noGrp="1"/>
          </p:cNvGraphicFramePr>
          <p:nvPr>
            <p:extLst>
              <p:ext uri="{D42A27DB-BD31-4B8C-83A1-F6EECF244321}">
                <p14:modId xmlns:p14="http://schemas.microsoft.com/office/powerpoint/2010/main" val="2342680207"/>
              </p:ext>
            </p:extLst>
          </p:nvPr>
        </p:nvGraphicFramePr>
        <p:xfrm>
          <a:off x="351360" y="4082558"/>
          <a:ext cx="4731158" cy="1937242"/>
        </p:xfrm>
        <a:graphic>
          <a:graphicData uri="http://schemas.openxmlformats.org/drawingml/2006/table">
            <a:tbl>
              <a:tblPr firstRow="1" firstCol="1" bandRow="1">
                <a:tableStyleId>{3B4B98B0-60AC-42C2-AFA5-B58CD77FA1E5}</a:tableStyleId>
              </a:tblPr>
              <a:tblGrid>
                <a:gridCol w="2794074">
                  <a:extLst>
                    <a:ext uri="{9D8B030D-6E8A-4147-A177-3AD203B41FA5}">
                      <a16:colId xmlns:a16="http://schemas.microsoft.com/office/drawing/2014/main" val="72794721"/>
                    </a:ext>
                  </a:extLst>
                </a:gridCol>
                <a:gridCol w="1937084">
                  <a:extLst>
                    <a:ext uri="{9D8B030D-6E8A-4147-A177-3AD203B41FA5}">
                      <a16:colId xmlns:a16="http://schemas.microsoft.com/office/drawing/2014/main" val="2251122908"/>
                    </a:ext>
                  </a:extLst>
                </a:gridCol>
              </a:tblGrid>
              <a:tr h="442423">
                <a:tc>
                  <a:txBody>
                    <a:bodyPr/>
                    <a:lstStyle/>
                    <a:p>
                      <a:pPr marL="0" marR="0">
                        <a:lnSpc>
                          <a:spcPct val="107000"/>
                        </a:lnSpc>
                        <a:spcBef>
                          <a:spcPts val="0"/>
                        </a:spcBef>
                        <a:spcAft>
                          <a:spcPts val="0"/>
                        </a:spcAft>
                      </a:pPr>
                      <a:r>
                        <a:rPr lang="en-US" sz="1600" b="1" dirty="0">
                          <a:solidFill>
                            <a:srgbClr val="000000"/>
                          </a:solidFill>
                          <a:effectLst/>
                        </a:rPr>
                        <a:t>Parameters</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b="1" dirty="0">
                          <a:effectLst/>
                        </a:rPr>
                        <a:t>Observed Values</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48206908"/>
                  </a:ext>
                </a:extLst>
              </a:tr>
              <a:tr h="375605">
                <a:tc>
                  <a:txBody>
                    <a:bodyPr/>
                    <a:lstStyle/>
                    <a:p>
                      <a:pPr marL="0" marR="0" algn="l">
                        <a:lnSpc>
                          <a:spcPct val="107000"/>
                        </a:lnSpc>
                        <a:spcBef>
                          <a:spcPts val="0"/>
                        </a:spcBef>
                        <a:spcAft>
                          <a:spcPts val="0"/>
                        </a:spcAft>
                      </a:pPr>
                      <a:r>
                        <a:rPr lang="en-US" sz="1600" dirty="0">
                          <a:effectLst/>
                        </a:rPr>
                        <a:t>Inlet Temperature (</a:t>
                      </a:r>
                      <a:r>
                        <a:rPr lang="en-US" sz="1600" baseline="30000" dirty="0">
                          <a:effectLst/>
                        </a:rPr>
                        <a:t>0</a:t>
                      </a:r>
                      <a:r>
                        <a:rPr lang="en-US" sz="1600" dirty="0">
                          <a:effectLst/>
                        </a:rPr>
                        <a:t>C)</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41.0 – 48.3</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14616858"/>
                  </a:ext>
                </a:extLst>
              </a:tr>
              <a:tr h="343560">
                <a:tc>
                  <a:txBody>
                    <a:bodyPr/>
                    <a:lstStyle/>
                    <a:p>
                      <a:pPr marL="0" marR="0" algn="l">
                        <a:lnSpc>
                          <a:spcPct val="107000"/>
                        </a:lnSpc>
                        <a:spcBef>
                          <a:spcPts val="0"/>
                        </a:spcBef>
                        <a:spcAft>
                          <a:spcPts val="0"/>
                        </a:spcAft>
                      </a:pPr>
                      <a:r>
                        <a:rPr lang="en-US" sz="1600" dirty="0">
                          <a:effectLst/>
                        </a:rPr>
                        <a:t>Inlet Airflow (m</a:t>
                      </a:r>
                      <a:r>
                        <a:rPr lang="en-US" sz="1600" baseline="30000" dirty="0">
                          <a:effectLst/>
                        </a:rPr>
                        <a:t>3</a:t>
                      </a:r>
                      <a:r>
                        <a:rPr lang="en-US" sz="1600" dirty="0">
                          <a:effectLst/>
                        </a:rPr>
                        <a:t>/hr.)</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40 - 60</a:t>
                      </a:r>
                      <a:endParaRPr lang="en-US" sz="1600" dirty="0">
                        <a:effectLst/>
                        <a:latin typeface="Arial"/>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22199948"/>
                  </a:ext>
                </a:extLst>
              </a:tr>
              <a:tr h="381588">
                <a:tc>
                  <a:txBody>
                    <a:bodyPr/>
                    <a:lstStyle/>
                    <a:p>
                      <a:pPr marL="0" marR="0" algn="l">
                        <a:lnSpc>
                          <a:spcPct val="107000"/>
                        </a:lnSpc>
                        <a:spcBef>
                          <a:spcPts val="0"/>
                        </a:spcBef>
                        <a:spcAft>
                          <a:spcPts val="0"/>
                        </a:spcAft>
                      </a:pPr>
                      <a:r>
                        <a:rPr lang="en-US" sz="1600" dirty="0">
                          <a:effectLst/>
                        </a:rPr>
                        <a:t>Product Temperature (</a:t>
                      </a:r>
                      <a:r>
                        <a:rPr lang="en-US" sz="1600" baseline="30000" dirty="0">
                          <a:effectLst/>
                        </a:rPr>
                        <a:t>0</a:t>
                      </a:r>
                      <a:r>
                        <a:rPr lang="en-US" sz="1600" dirty="0">
                          <a:effectLst/>
                        </a:rPr>
                        <a:t>C)</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35.1 – 37.1</a:t>
                      </a:r>
                      <a:endParaRPr lang="en-US" sz="1600" dirty="0">
                        <a:effectLst/>
                        <a:latin typeface="Arial"/>
                        <a:ea typeface="Arial" panose="020B0604020202020204" pitchFamily="34" charset="0"/>
                        <a:cs typeface="Times New Roman"/>
                      </a:endParaRPr>
                    </a:p>
                  </a:txBody>
                  <a:tcPr marL="68580" marR="68580" marT="0" marB="0" anchor="ctr"/>
                </a:tc>
                <a:extLst>
                  <a:ext uri="{0D108BD9-81ED-4DB2-BD59-A6C34878D82A}">
                    <a16:rowId xmlns:a16="http://schemas.microsoft.com/office/drawing/2014/main" val="8437340"/>
                  </a:ext>
                </a:extLst>
              </a:tr>
              <a:tr h="394066">
                <a:tc>
                  <a:txBody>
                    <a:bodyPr/>
                    <a:lstStyle/>
                    <a:p>
                      <a:pPr marL="0" marR="0" algn="l">
                        <a:lnSpc>
                          <a:spcPct val="107000"/>
                        </a:lnSpc>
                        <a:spcBef>
                          <a:spcPts val="0"/>
                        </a:spcBef>
                        <a:spcAft>
                          <a:spcPts val="0"/>
                        </a:spcAft>
                      </a:pPr>
                      <a:r>
                        <a:rPr lang="en-US" sz="1600" dirty="0">
                          <a:effectLst/>
                        </a:rPr>
                        <a:t>Exhaust Temperature (</a:t>
                      </a:r>
                      <a:r>
                        <a:rPr lang="en-US" sz="1600" baseline="30000" dirty="0">
                          <a:effectLst/>
                        </a:rPr>
                        <a:t>0</a:t>
                      </a:r>
                      <a:r>
                        <a:rPr lang="en-US" sz="1600" dirty="0">
                          <a:effectLst/>
                        </a:rPr>
                        <a:t>C)</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32.7 – 35.2</a:t>
                      </a:r>
                      <a:endParaRPr lang="en-US" sz="1600" dirty="0">
                        <a:effectLst/>
                        <a:latin typeface="Arial"/>
                        <a:ea typeface="Arial" panose="020B0604020202020204" pitchFamily="34" charset="0"/>
                        <a:cs typeface="Times New Roman"/>
                      </a:endParaRPr>
                    </a:p>
                  </a:txBody>
                  <a:tcPr marL="68580" marR="68580" marT="0" marB="0" anchor="ctr"/>
                </a:tc>
                <a:extLst>
                  <a:ext uri="{0D108BD9-81ED-4DB2-BD59-A6C34878D82A}">
                    <a16:rowId xmlns:a16="http://schemas.microsoft.com/office/drawing/2014/main" val="1296552958"/>
                  </a:ext>
                </a:extLst>
              </a:tr>
            </a:tbl>
          </a:graphicData>
        </a:graphic>
      </p:graphicFrame>
      <p:graphicFrame>
        <p:nvGraphicFramePr>
          <p:cNvPr id="11" name="Table 10">
            <a:extLst>
              <a:ext uri="{FF2B5EF4-FFF2-40B4-BE49-F238E27FC236}">
                <a16:creationId xmlns:a16="http://schemas.microsoft.com/office/drawing/2014/main" id="{2471E16C-8593-B7E4-D175-E293867EE6BA}"/>
              </a:ext>
            </a:extLst>
          </p:cNvPr>
          <p:cNvGraphicFramePr>
            <a:graphicFrameLocks noGrp="1"/>
          </p:cNvGraphicFramePr>
          <p:nvPr>
            <p:extLst>
              <p:ext uri="{D42A27DB-BD31-4B8C-83A1-F6EECF244321}">
                <p14:modId xmlns:p14="http://schemas.microsoft.com/office/powerpoint/2010/main" val="870074223"/>
              </p:ext>
            </p:extLst>
          </p:nvPr>
        </p:nvGraphicFramePr>
        <p:xfrm>
          <a:off x="5155746" y="4073105"/>
          <a:ext cx="5265268" cy="1934481"/>
        </p:xfrm>
        <a:graphic>
          <a:graphicData uri="http://schemas.openxmlformats.org/drawingml/2006/table">
            <a:tbl>
              <a:tblPr firstRow="1" firstCol="1" bandRow="1">
                <a:tableStyleId>{3B4B98B0-60AC-42C2-AFA5-B58CD77FA1E5}</a:tableStyleId>
              </a:tblPr>
              <a:tblGrid>
                <a:gridCol w="3420533">
                  <a:extLst>
                    <a:ext uri="{9D8B030D-6E8A-4147-A177-3AD203B41FA5}">
                      <a16:colId xmlns:a16="http://schemas.microsoft.com/office/drawing/2014/main" val="72794721"/>
                    </a:ext>
                  </a:extLst>
                </a:gridCol>
                <a:gridCol w="1844735">
                  <a:extLst>
                    <a:ext uri="{9D8B030D-6E8A-4147-A177-3AD203B41FA5}">
                      <a16:colId xmlns:a16="http://schemas.microsoft.com/office/drawing/2014/main" val="2251122908"/>
                    </a:ext>
                  </a:extLst>
                </a:gridCol>
              </a:tblGrid>
              <a:tr h="460795">
                <a:tc>
                  <a:txBody>
                    <a:bodyPr/>
                    <a:lstStyle/>
                    <a:p>
                      <a:pPr marL="0" marR="0">
                        <a:lnSpc>
                          <a:spcPct val="107000"/>
                        </a:lnSpc>
                        <a:spcBef>
                          <a:spcPts val="0"/>
                        </a:spcBef>
                        <a:spcAft>
                          <a:spcPts val="0"/>
                        </a:spcAft>
                      </a:pPr>
                      <a:r>
                        <a:rPr lang="en-US" sz="1600" b="1" dirty="0">
                          <a:solidFill>
                            <a:srgbClr val="000000"/>
                          </a:solidFill>
                          <a:effectLst/>
                        </a:rPr>
                        <a:t>Parameters</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b="1" dirty="0">
                          <a:effectLst/>
                        </a:rPr>
                        <a:t>Observed Values</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48206908"/>
                  </a:ext>
                </a:extLst>
              </a:tr>
              <a:tr h="365152">
                <a:tc>
                  <a:txBody>
                    <a:bodyPr/>
                    <a:lstStyle/>
                    <a:p>
                      <a:pPr marL="0" marR="0" algn="l">
                        <a:lnSpc>
                          <a:spcPct val="107000"/>
                        </a:lnSpc>
                        <a:spcBef>
                          <a:spcPts val="0"/>
                        </a:spcBef>
                        <a:spcAft>
                          <a:spcPts val="0"/>
                        </a:spcAft>
                      </a:pPr>
                      <a:r>
                        <a:rPr lang="en-US" sz="1600" dirty="0">
                          <a:effectLst/>
                        </a:rPr>
                        <a:t>Atomization Air Pressure (</a:t>
                      </a:r>
                      <a:r>
                        <a:rPr lang="en-US" sz="1600" baseline="0" dirty="0">
                          <a:effectLst/>
                        </a:rPr>
                        <a:t>bar</a:t>
                      </a:r>
                      <a:r>
                        <a:rPr lang="en-US" sz="1600" dirty="0">
                          <a:effectLst/>
                        </a:rPr>
                        <a: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1.25 – 1.50</a:t>
                      </a:r>
                      <a:endParaRPr lang="en-US" sz="1600" dirty="0">
                        <a:effectLst/>
                        <a:latin typeface="Arial"/>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14616858"/>
                  </a:ext>
                </a:extLst>
              </a:tr>
              <a:tr h="357352">
                <a:tc>
                  <a:txBody>
                    <a:bodyPr/>
                    <a:lstStyle/>
                    <a:p>
                      <a:pPr marL="0" marR="0" algn="l">
                        <a:lnSpc>
                          <a:spcPct val="107000"/>
                        </a:lnSpc>
                        <a:spcBef>
                          <a:spcPts val="0"/>
                        </a:spcBef>
                        <a:spcAft>
                          <a:spcPts val="0"/>
                        </a:spcAft>
                      </a:pPr>
                      <a:r>
                        <a:rPr lang="en-US" sz="1600" dirty="0">
                          <a:effectLst/>
                        </a:rPr>
                        <a:t>Microclimate Air Pressure (mbar)</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600 - 626</a:t>
                      </a:r>
                      <a:endParaRPr lang="en-US" sz="1600" dirty="0">
                        <a:effectLst/>
                        <a:latin typeface="Arial"/>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22199948"/>
                  </a:ext>
                </a:extLst>
              </a:tr>
              <a:tr h="385010">
                <a:tc>
                  <a:txBody>
                    <a:bodyPr/>
                    <a:lstStyle/>
                    <a:p>
                      <a:pPr marL="0" marR="0" algn="l">
                        <a:lnSpc>
                          <a:spcPct val="107000"/>
                        </a:lnSpc>
                        <a:spcBef>
                          <a:spcPts val="0"/>
                        </a:spcBef>
                        <a:spcAft>
                          <a:spcPts val="0"/>
                        </a:spcAft>
                      </a:pPr>
                      <a:r>
                        <a:rPr lang="en-US" sz="1600" dirty="0">
                          <a:effectLst/>
                        </a:rPr>
                        <a:t>Spray Nozzle Size (mm)</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0.8mm</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437340"/>
                  </a:ext>
                </a:extLst>
              </a:tr>
              <a:tr h="366172">
                <a:tc>
                  <a:txBody>
                    <a:bodyPr/>
                    <a:lstStyle/>
                    <a:p>
                      <a:pPr marL="0" marR="0" algn="l">
                        <a:lnSpc>
                          <a:spcPct val="107000"/>
                        </a:lnSpc>
                        <a:spcBef>
                          <a:spcPts val="0"/>
                        </a:spcBef>
                        <a:spcAft>
                          <a:spcPts val="0"/>
                        </a:spcAft>
                      </a:pPr>
                      <a:r>
                        <a:rPr lang="en-US" sz="1600" dirty="0">
                          <a:effectLst/>
                        </a:rPr>
                        <a:t>Spray Rate (g/min)</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1.0 - 2.60</a:t>
                      </a:r>
                      <a:endParaRPr lang="en-US" sz="1600" dirty="0">
                        <a:effectLst/>
                        <a:latin typeface="Arial"/>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296552958"/>
                  </a:ext>
                </a:extLst>
              </a:tr>
            </a:tbl>
          </a:graphicData>
        </a:graphic>
      </p:graphicFrame>
      <p:graphicFrame>
        <p:nvGraphicFramePr>
          <p:cNvPr id="7" name="Table 6">
            <a:extLst>
              <a:ext uri="{FF2B5EF4-FFF2-40B4-BE49-F238E27FC236}">
                <a16:creationId xmlns:a16="http://schemas.microsoft.com/office/drawing/2014/main" id="{E6AC1249-F529-FF7A-0A40-963FC641061B}"/>
              </a:ext>
            </a:extLst>
          </p:cNvPr>
          <p:cNvGraphicFramePr>
            <a:graphicFrameLocks noGrp="1"/>
          </p:cNvGraphicFramePr>
          <p:nvPr>
            <p:extLst>
              <p:ext uri="{D42A27DB-BD31-4B8C-83A1-F6EECF244321}">
                <p14:modId xmlns:p14="http://schemas.microsoft.com/office/powerpoint/2010/main" val="1208333494"/>
              </p:ext>
            </p:extLst>
          </p:nvPr>
        </p:nvGraphicFramePr>
        <p:xfrm>
          <a:off x="351360" y="1547425"/>
          <a:ext cx="6859065" cy="1764668"/>
        </p:xfrm>
        <a:graphic>
          <a:graphicData uri="http://schemas.openxmlformats.org/drawingml/2006/table">
            <a:tbl>
              <a:tblPr firstRow="1" firstCol="1" bandRow="1">
                <a:tableStyleId>{3B4B98B0-60AC-42C2-AFA5-B58CD77FA1E5}</a:tableStyleId>
              </a:tblPr>
              <a:tblGrid>
                <a:gridCol w="3068115">
                  <a:extLst>
                    <a:ext uri="{9D8B030D-6E8A-4147-A177-3AD203B41FA5}">
                      <a16:colId xmlns:a16="http://schemas.microsoft.com/office/drawing/2014/main" val="3892245676"/>
                    </a:ext>
                  </a:extLst>
                </a:gridCol>
                <a:gridCol w="1819275">
                  <a:extLst>
                    <a:ext uri="{9D8B030D-6E8A-4147-A177-3AD203B41FA5}">
                      <a16:colId xmlns:a16="http://schemas.microsoft.com/office/drawing/2014/main" val="114048508"/>
                    </a:ext>
                  </a:extLst>
                </a:gridCol>
                <a:gridCol w="1971675">
                  <a:extLst>
                    <a:ext uri="{9D8B030D-6E8A-4147-A177-3AD203B41FA5}">
                      <a16:colId xmlns:a16="http://schemas.microsoft.com/office/drawing/2014/main" val="2050342437"/>
                    </a:ext>
                  </a:extLst>
                </a:gridCol>
              </a:tblGrid>
              <a:tr h="384961">
                <a:tc>
                  <a:txBody>
                    <a:bodyPr/>
                    <a:lstStyle/>
                    <a:p>
                      <a:pPr marL="0" marR="0">
                        <a:lnSpc>
                          <a:spcPct val="107000"/>
                        </a:lnSpc>
                        <a:spcBef>
                          <a:spcPts val="0"/>
                        </a:spcBef>
                        <a:spcAft>
                          <a:spcPts val="0"/>
                        </a:spcAft>
                      </a:pPr>
                      <a:r>
                        <a:rPr lang="en-US" sz="1600" b="1" dirty="0">
                          <a:solidFill>
                            <a:srgbClr val="000000"/>
                          </a:solidFill>
                          <a:effectLst/>
                        </a:rPr>
                        <a:t>Material Nam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b="1" dirty="0">
                          <a:solidFill>
                            <a:srgbClr val="000000"/>
                          </a:solidFill>
                          <a:effectLst/>
                        </a:rPr>
                        <a:t>Qty per batch (g)</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b="1" dirty="0">
                          <a:solidFill>
                            <a:srgbClr val="000000"/>
                          </a:solidFill>
                          <a:effectLst/>
                        </a:rPr>
                        <a:t>% solid in formula</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357964634"/>
                  </a:ext>
                </a:extLst>
              </a:tr>
              <a:tr h="384961">
                <a:tc>
                  <a:txBody>
                    <a:bodyPr/>
                    <a:lstStyle/>
                    <a:p>
                      <a:pPr marL="0" marR="0">
                        <a:lnSpc>
                          <a:spcPct val="107000"/>
                        </a:lnSpc>
                        <a:spcBef>
                          <a:spcPts val="0"/>
                        </a:spcBef>
                        <a:spcAft>
                          <a:spcPts val="0"/>
                        </a:spcAft>
                      </a:pPr>
                      <a:r>
                        <a:rPr lang="en-US" sz="1600" dirty="0">
                          <a:effectLst/>
                        </a:rPr>
                        <a:t>Vardenafil-loaded pellets</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750.0</a:t>
                      </a:r>
                      <a:endParaRPr lang="en-US" sz="1600" dirty="0">
                        <a:effectLst/>
                        <a:latin typeface="Arial"/>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057009458"/>
                  </a:ext>
                </a:extLst>
              </a:tr>
              <a:tr h="268941">
                <a:tc>
                  <a:txBody>
                    <a:bodyPr/>
                    <a:lstStyle/>
                    <a:p>
                      <a:pPr marL="0" marR="0">
                        <a:lnSpc>
                          <a:spcPct val="107000"/>
                        </a:lnSpc>
                        <a:spcBef>
                          <a:spcPts val="0"/>
                        </a:spcBef>
                        <a:spcAft>
                          <a:spcPts val="0"/>
                        </a:spcAft>
                      </a:pPr>
                      <a:r>
                        <a:rPr lang="en-US" sz="1600" dirty="0">
                          <a:effectLst/>
                        </a:rPr>
                        <a:t>Kollicoat</a:t>
                      </a:r>
                      <a:r>
                        <a:rPr lang="en-US" sz="1600" baseline="30000" dirty="0">
                          <a:effectLst/>
                        </a:rPr>
                        <a:t>®</a:t>
                      </a:r>
                      <a:r>
                        <a:rPr lang="en-US" sz="1600" dirty="0">
                          <a:effectLst/>
                        </a:rPr>
                        <a:t> Smartseal 30 D</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600.0 (180.0)</a:t>
                      </a:r>
                      <a:endParaRPr lang="en-US" sz="1600" dirty="0">
                        <a:effectLst/>
                        <a:latin typeface="Arial"/>
                        <a:ea typeface="Arial" panose="020B0604020202020204" pitchFamily="34" charset="0"/>
                        <a:cs typeface="Times New Roman"/>
                      </a:endParaRPr>
                    </a:p>
                  </a:txBody>
                  <a:tcPr marL="68580" marR="68580" marT="0" marB="0" anchor="ctr"/>
                </a:tc>
                <a:tc>
                  <a:txBody>
                    <a:bodyPr/>
                    <a:lstStyle/>
                    <a:p>
                      <a:pPr marL="0" marR="0" algn="ctr">
                        <a:lnSpc>
                          <a:spcPct val="107000"/>
                        </a:lnSpc>
                        <a:spcBef>
                          <a:spcPts val="0"/>
                        </a:spcBef>
                        <a:spcAft>
                          <a:spcPts val="0"/>
                        </a:spcAft>
                      </a:pPr>
                      <a:r>
                        <a:rPr lang="en-US" sz="1600" dirty="0">
                          <a:effectLst/>
                        </a:rPr>
                        <a:t>80.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640868110"/>
                  </a:ext>
                </a:extLst>
              </a:tr>
              <a:tr h="185213">
                <a:tc>
                  <a:txBody>
                    <a:bodyPr/>
                    <a:lstStyle/>
                    <a:p>
                      <a:pPr marL="0" marR="0">
                        <a:lnSpc>
                          <a:spcPct val="107000"/>
                        </a:lnSpc>
                        <a:spcBef>
                          <a:spcPts val="0"/>
                        </a:spcBef>
                        <a:spcAft>
                          <a:spcPts val="0"/>
                        </a:spcAft>
                      </a:pPr>
                      <a:r>
                        <a:rPr lang="en-US" sz="1600" dirty="0">
                          <a:effectLst/>
                        </a:rPr>
                        <a:t>Talc</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22.5</a:t>
                      </a:r>
                      <a:endParaRPr lang="en-US" sz="1600" dirty="0">
                        <a:effectLst/>
                        <a:latin typeface="Arial"/>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10.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186872325"/>
                  </a:ext>
                </a:extLst>
              </a:tr>
              <a:tr h="185213">
                <a:tc>
                  <a:txBody>
                    <a:bodyPr/>
                    <a:lstStyle/>
                    <a:p>
                      <a:pPr marL="0" marR="0">
                        <a:lnSpc>
                          <a:spcPct val="107000"/>
                        </a:lnSpc>
                        <a:spcBef>
                          <a:spcPts val="0"/>
                        </a:spcBef>
                        <a:spcAft>
                          <a:spcPts val="0"/>
                        </a:spcAft>
                      </a:pPr>
                      <a:r>
                        <a:rPr lang="en-US" sz="1600" dirty="0">
                          <a:effectLst/>
                        </a:rPr>
                        <a:t>Acetyl Tributyl Citrat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22.5</a:t>
                      </a:r>
                      <a:endParaRPr lang="en-US" sz="1600" dirty="0">
                        <a:effectLst/>
                        <a:latin typeface="Arial"/>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10.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416961237"/>
                  </a:ext>
                </a:extLst>
              </a:tr>
              <a:tr h="185213">
                <a:tc>
                  <a:txBody>
                    <a:bodyPr/>
                    <a:lstStyle/>
                    <a:p>
                      <a:pPr marL="0" marR="0">
                        <a:lnSpc>
                          <a:spcPct val="107000"/>
                        </a:lnSpc>
                        <a:spcBef>
                          <a:spcPts val="0"/>
                        </a:spcBef>
                        <a:spcAft>
                          <a:spcPts val="0"/>
                        </a:spcAft>
                      </a:pPr>
                      <a:r>
                        <a:rPr lang="en-US" sz="1600" dirty="0">
                          <a:effectLst/>
                        </a:rPr>
                        <a:t>Purified Water</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480.0</a:t>
                      </a:r>
                      <a:endParaRPr lang="en-US" sz="1600" dirty="0">
                        <a:effectLst/>
                        <a:latin typeface="Arial"/>
                        <a:ea typeface="Arial" panose="020B0604020202020204" pitchFamily="34" charset="0"/>
                        <a:cs typeface="Times New Roman"/>
                      </a:endParaRPr>
                    </a:p>
                  </a:txBody>
                  <a:tcPr marL="68580" marR="68580" marT="0" marB="0" anchor="ctr"/>
                </a:tc>
                <a:tc>
                  <a:txBody>
                    <a:bodyPr/>
                    <a:lstStyle/>
                    <a:p>
                      <a:pPr marL="0" marR="0" algn="ctr">
                        <a:lnSpc>
                          <a:spcPct val="107000"/>
                        </a:lnSpc>
                        <a:spcBef>
                          <a:spcPts val="0"/>
                        </a:spcBef>
                        <a:spcAft>
                          <a:spcPts val="0"/>
                        </a:spcAft>
                      </a:pPr>
                      <a:r>
                        <a:rPr lang="en-US" sz="1600" dirty="0">
                          <a:effectLst/>
                        </a:rPr>
                        <a: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57660808"/>
                  </a:ext>
                </a:extLst>
              </a:tr>
            </a:tbl>
          </a:graphicData>
        </a:graphic>
      </p:graphicFrame>
      <p:sp>
        <p:nvSpPr>
          <p:cNvPr id="14" name="TextBox 13">
            <a:extLst>
              <a:ext uri="{FF2B5EF4-FFF2-40B4-BE49-F238E27FC236}">
                <a16:creationId xmlns:a16="http://schemas.microsoft.com/office/drawing/2014/main" id="{C91A2E62-0BA9-1215-4815-4197BABE499B}"/>
              </a:ext>
            </a:extLst>
          </p:cNvPr>
          <p:cNvSpPr txBox="1"/>
          <p:nvPr/>
        </p:nvSpPr>
        <p:spPr>
          <a:xfrm>
            <a:off x="342371" y="3663864"/>
            <a:ext cx="9887961" cy="355482"/>
          </a:xfrm>
          <a:prstGeom prst="rect">
            <a:avLst/>
          </a:prstGeom>
          <a:noFill/>
        </p:spPr>
        <p:txBody>
          <a:bodyPr wrap="square">
            <a:spAutoFit/>
          </a:bodyPr>
          <a:lstStyle/>
          <a:p>
            <a:pPr marL="0" marR="0" lvl="0" indent="0" defTabSz="914400" rtl="0" eaLnBrk="1" fontAlgn="auto" latinLnBrk="0" hangingPunct="1">
              <a:lnSpc>
                <a:spcPct val="95000"/>
              </a:lnSpc>
              <a:spcBef>
                <a:spcPts val="1800"/>
              </a:spcBef>
              <a:spcAft>
                <a:spcPts val="0"/>
              </a:spcAft>
              <a:buClr>
                <a:srgbClr val="C50022"/>
              </a:buClr>
              <a:buSzPct val="100000"/>
              <a:buFont typeface="Wingdings" panose="05000000000000000000" pitchFamily="2" charset="2"/>
              <a:buNone/>
              <a:tabLst/>
              <a:defRPr/>
            </a:pPr>
            <a:r>
              <a:rPr kumimoji="0" lang="en-US" sz="1800" b="1" i="0" u="none" strike="noStrike" kern="1200" cap="none" spc="0" normalizeH="0" baseline="0" noProof="0" dirty="0">
                <a:ln>
                  <a:noFill/>
                </a:ln>
                <a:solidFill>
                  <a:schemeClr val="accent1"/>
                </a:solidFill>
                <a:effectLst/>
                <a:uLnTx/>
                <a:uFillTx/>
                <a:latin typeface="Arial" panose="020B0604020202020204" pitchFamily="34" charset="0"/>
                <a:cs typeface="Arial"/>
              </a:rPr>
              <a:t>Kollicoat</a:t>
            </a:r>
            <a:r>
              <a:rPr kumimoji="0" lang="en-US" sz="1800" b="1" i="0" u="none" strike="noStrike" kern="1200" cap="none" spc="0" normalizeH="0" baseline="30000" noProof="0" dirty="0">
                <a:ln>
                  <a:noFill/>
                </a:ln>
                <a:solidFill>
                  <a:schemeClr val="accent1"/>
                </a:solidFill>
                <a:effectLst/>
                <a:uLnTx/>
                <a:uFillTx/>
                <a:latin typeface="Arial" panose="020B0604020202020204" pitchFamily="34" charset="0"/>
                <a:cs typeface="Arial"/>
              </a:rPr>
              <a:t>®</a:t>
            </a:r>
            <a:r>
              <a:rPr kumimoji="0" lang="en-US" sz="1800" b="1" i="0" u="none" strike="noStrike" kern="1200" cap="none" spc="0" normalizeH="0" baseline="0" noProof="0" dirty="0">
                <a:ln>
                  <a:noFill/>
                </a:ln>
                <a:solidFill>
                  <a:schemeClr val="accent1"/>
                </a:solidFill>
                <a:effectLst/>
                <a:uLnTx/>
                <a:uFillTx/>
                <a:latin typeface="Arial" panose="020B0604020202020204" pitchFamily="34" charset="0"/>
                <a:cs typeface="Arial"/>
              </a:rPr>
              <a:t> Smartseal Coating Process Parameters – </a:t>
            </a:r>
            <a:r>
              <a:rPr lang="en-US" b="1" dirty="0">
                <a:solidFill>
                  <a:schemeClr val="accent1"/>
                </a:solidFill>
                <a:latin typeface="Arial" panose="020B0604020202020204" pitchFamily="34" charset="0"/>
                <a:cs typeface="Arial"/>
              </a:rPr>
              <a:t>Solidlab </a:t>
            </a:r>
            <a:endParaRPr kumimoji="0" lang="en-US" sz="1800" b="1" i="0" u="none" strike="noStrike" kern="1200" cap="none" spc="0" normalizeH="0" baseline="0" noProof="0" dirty="0">
              <a:ln>
                <a:noFill/>
              </a:ln>
              <a:solidFill>
                <a:schemeClr val="accent1"/>
              </a:solidFill>
              <a:effectLst/>
              <a:uLnTx/>
              <a:uFillTx/>
              <a:latin typeface="Arial" panose="020B0604020202020204" pitchFamily="34" charset="0"/>
              <a:cs typeface="Arial"/>
            </a:endParaRPr>
          </a:p>
        </p:txBody>
      </p:sp>
      <p:sp>
        <p:nvSpPr>
          <p:cNvPr id="3" name="Footer Placeholder 11">
            <a:extLst>
              <a:ext uri="{FF2B5EF4-FFF2-40B4-BE49-F238E27FC236}">
                <a16:creationId xmlns:a16="http://schemas.microsoft.com/office/drawing/2014/main" id="{A4EAE3F8-FE81-D7E9-522B-BABD2C76AFF7}"/>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26" name="TextBox 25">
            <a:extLst>
              <a:ext uri="{FF2B5EF4-FFF2-40B4-BE49-F238E27FC236}">
                <a16:creationId xmlns:a16="http://schemas.microsoft.com/office/drawing/2014/main" id="{769AB40D-BA3D-1DE8-AA04-EA78DEC136BE}"/>
              </a:ext>
            </a:extLst>
          </p:cNvPr>
          <p:cNvSpPr txBox="1"/>
          <p:nvPr/>
        </p:nvSpPr>
        <p:spPr>
          <a:xfrm>
            <a:off x="8086873" y="1904992"/>
            <a:ext cx="3622831" cy="1200329"/>
          </a:xfrm>
          <a:prstGeom prst="rect">
            <a:avLst/>
          </a:prstGeom>
          <a:noFill/>
        </p:spPr>
        <p:txBody>
          <a:bodyPr wrap="square">
            <a:spAutoFit/>
          </a:bodyPr>
          <a:lstStyle/>
          <a:p>
            <a:r>
              <a:rPr lang="en-US" b="1" dirty="0">
                <a:latin typeface="Arial"/>
              </a:rPr>
              <a:t>Scale-up lab batch:</a:t>
            </a:r>
          </a:p>
          <a:p>
            <a:endParaRPr lang="en-US" b="1" dirty="0">
              <a:latin typeface="Arial"/>
            </a:endParaRPr>
          </a:p>
          <a:p>
            <a:r>
              <a:rPr lang="en-US" dirty="0">
                <a:latin typeface="Arial"/>
              </a:rPr>
              <a:t>Batch from 250 g to 750 g vardenafil-loaded pellets.</a:t>
            </a:r>
            <a:endParaRPr lang="en-US" dirty="0"/>
          </a:p>
        </p:txBody>
      </p:sp>
      <p:cxnSp>
        <p:nvCxnSpPr>
          <p:cNvPr id="28" name="Straight Arrow Connector 27">
            <a:extLst>
              <a:ext uri="{FF2B5EF4-FFF2-40B4-BE49-F238E27FC236}">
                <a16:creationId xmlns:a16="http://schemas.microsoft.com/office/drawing/2014/main" id="{94223701-29BD-6266-9987-C786A13A209C}"/>
              </a:ext>
            </a:extLst>
          </p:cNvPr>
          <p:cNvCxnSpPr/>
          <p:nvPr/>
        </p:nvCxnSpPr>
        <p:spPr>
          <a:xfrm>
            <a:off x="7332876" y="2116899"/>
            <a:ext cx="631546"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21741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69ADF31-8439-88B2-9266-641209702D02}"/>
              </a:ext>
            </a:extLst>
          </p:cNvPr>
          <p:cNvGraphicFramePr>
            <a:graphicFrameLocks noChangeAspect="1"/>
          </p:cNvGraphicFramePr>
          <p:nvPr>
            <p:custDataLst>
              <p:tags r:id="rId1"/>
            </p:custDataLst>
            <p:extLst>
              <p:ext uri="{D42A27DB-BD31-4B8C-83A1-F6EECF244321}">
                <p14:modId xmlns:p14="http://schemas.microsoft.com/office/powerpoint/2010/main" val="140834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7" name="think-cell data - do not delete" hidden="1">
                        <a:extLst>
                          <a:ext uri="{FF2B5EF4-FFF2-40B4-BE49-F238E27FC236}">
                            <a16:creationId xmlns:a16="http://schemas.microsoft.com/office/drawing/2014/main" id="{569ADF31-8439-88B2-9266-641209702D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A1C8D5-197D-2530-11B4-A24D2D03AB19}"/>
              </a:ext>
            </a:extLst>
          </p:cNvPr>
          <p:cNvSpPr>
            <a:spLocks noGrp="1"/>
          </p:cNvSpPr>
          <p:nvPr>
            <p:ph type="title"/>
          </p:nvPr>
        </p:nvSpPr>
        <p:spPr>
          <a:xfrm>
            <a:off x="212344" y="425686"/>
            <a:ext cx="11736000" cy="853200"/>
          </a:xfrm>
        </p:spPr>
        <p:txBody>
          <a:bodyPr vert="horz"/>
          <a:lstStyle/>
          <a:p>
            <a:r>
              <a:rPr lang="en-US" dirty="0">
                <a:latin typeface="Arial"/>
              </a:rPr>
              <a:t>Comparative dissolution of vardenafil Kollicoat</a:t>
            </a:r>
            <a:r>
              <a:rPr lang="en-US" sz="2800" baseline="30000" dirty="0">
                <a:effectLst/>
                <a:latin typeface="Arial" panose="020B0604020202020204" pitchFamily="34" charset="0"/>
                <a:ea typeface="Arial" panose="020B0604020202020204" pitchFamily="34" charset="0"/>
                <a:cs typeface="Times New Roman" panose="02020603050405020304" pitchFamily="18" charset="0"/>
              </a:rPr>
              <a:t>®</a:t>
            </a:r>
            <a:r>
              <a:rPr lang="en-US" dirty="0">
                <a:latin typeface="Arial"/>
              </a:rPr>
              <a:t> Smartseal 30 D coated pellets- 25%w/g Vs 30%w/g – scaled-up lab batch</a:t>
            </a:r>
          </a:p>
        </p:txBody>
      </p:sp>
      <p:sp>
        <p:nvSpPr>
          <p:cNvPr id="5" name="Slide Number Placeholder 4">
            <a:extLst>
              <a:ext uri="{FF2B5EF4-FFF2-40B4-BE49-F238E27FC236}">
                <a16:creationId xmlns:a16="http://schemas.microsoft.com/office/drawing/2014/main" id="{C8059103-38FF-CCE4-8481-E95E54E8617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8</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11" name="Text Placeholder 2">
            <a:extLst>
              <a:ext uri="{FF2B5EF4-FFF2-40B4-BE49-F238E27FC236}">
                <a16:creationId xmlns:a16="http://schemas.microsoft.com/office/drawing/2014/main" id="{CB96F30B-83D1-BDF1-8FA8-BA7ACFC70858}"/>
              </a:ext>
            </a:extLst>
          </p:cNvPr>
          <p:cNvSpPr>
            <a:spLocks noGrp="1"/>
          </p:cNvSpPr>
          <p:nvPr>
            <p:ph type="body" sz="half" idx="1"/>
          </p:nvPr>
        </p:nvSpPr>
        <p:spPr>
          <a:xfrm>
            <a:off x="100208" y="1672977"/>
            <a:ext cx="5380577" cy="4076469"/>
          </a:xfrm>
        </p:spPr>
        <p:txBody>
          <a:bodyPr vert="horz" lIns="0" tIns="0" rIns="0" bIns="0" rtlCol="0" anchor="t">
            <a:noAutofit/>
          </a:bodyPr>
          <a:lstStyle/>
          <a:p>
            <a:pPr marL="341630" indent="-341630">
              <a:lnSpc>
                <a:spcPts val="2500"/>
              </a:lnSpc>
            </a:pPr>
            <a:r>
              <a:rPr lang="en-US" sz="1800" dirty="0">
                <a:latin typeface="Arial"/>
              </a:rPr>
              <a:t>Small-lab scale or scaled-up lab batches presented </a:t>
            </a:r>
            <a:r>
              <a:rPr lang="en-US" sz="1800" b="1" dirty="0">
                <a:latin typeface="Arial"/>
              </a:rPr>
              <a:t>similar behavior.</a:t>
            </a:r>
            <a:endParaRPr lang="en-US" sz="1800" dirty="0">
              <a:latin typeface="Arial"/>
            </a:endParaRPr>
          </a:p>
          <a:p>
            <a:pPr marL="0" indent="0">
              <a:lnSpc>
                <a:spcPts val="2500"/>
              </a:lnSpc>
              <a:buNone/>
            </a:pPr>
            <a:endParaRPr lang="en-US" sz="1800" dirty="0">
              <a:latin typeface="Arial"/>
            </a:endParaRPr>
          </a:p>
          <a:p>
            <a:pPr marL="341630" indent="-341630">
              <a:lnSpc>
                <a:spcPts val="2500"/>
              </a:lnSpc>
            </a:pPr>
            <a:r>
              <a:rPr lang="en-US" sz="1800" dirty="0">
                <a:solidFill>
                  <a:srgbClr val="0E101A"/>
                </a:solidFill>
                <a:effectLst/>
              </a:rPr>
              <a:t>The </a:t>
            </a:r>
            <a:r>
              <a:rPr lang="en-US" sz="1800" b="1" dirty="0">
                <a:solidFill>
                  <a:srgbClr val="0E101A"/>
                </a:solidFill>
                <a:effectLst/>
              </a:rPr>
              <a:t>curing step </a:t>
            </a:r>
            <a:r>
              <a:rPr lang="en-US" sz="1800" dirty="0">
                <a:solidFill>
                  <a:srgbClr val="0E101A"/>
                </a:solidFill>
                <a:effectLst/>
              </a:rPr>
              <a:t>at 60 °C for 2 hours effectively </a:t>
            </a:r>
            <a:r>
              <a:rPr lang="en-US" sz="1800" b="1" dirty="0"/>
              <a:t>reduced the drug release.</a:t>
            </a:r>
          </a:p>
          <a:p>
            <a:pPr marL="341630" indent="-341630">
              <a:lnSpc>
                <a:spcPts val="2500"/>
              </a:lnSpc>
            </a:pPr>
            <a:endParaRPr lang="en-US" sz="1800" b="1" dirty="0"/>
          </a:p>
          <a:p>
            <a:pPr marL="341630" indent="-341630">
              <a:lnSpc>
                <a:spcPts val="2500"/>
              </a:lnSpc>
            </a:pPr>
            <a:r>
              <a:rPr lang="en-US" sz="1800" dirty="0"/>
              <a:t>Pellets coated with 30 % w/g have demonstrated significant </a:t>
            </a:r>
            <a:r>
              <a:rPr lang="en-US" sz="1800" b="1" dirty="0"/>
              <a:t>taste-masking functionality</a:t>
            </a:r>
            <a:r>
              <a:rPr lang="en-US" sz="1800" dirty="0"/>
              <a:t>. </a:t>
            </a:r>
          </a:p>
        </p:txBody>
      </p:sp>
      <p:graphicFrame>
        <p:nvGraphicFramePr>
          <p:cNvPr id="6" name="Chart 5">
            <a:extLst>
              <a:ext uri="{FF2B5EF4-FFF2-40B4-BE49-F238E27FC236}">
                <a16:creationId xmlns:a16="http://schemas.microsoft.com/office/drawing/2014/main" id="{FA09122B-4564-430C-A247-4B2576229BA0}"/>
              </a:ext>
            </a:extLst>
          </p:cNvPr>
          <p:cNvGraphicFramePr>
            <a:graphicFrameLocks/>
          </p:cNvGraphicFramePr>
          <p:nvPr>
            <p:extLst>
              <p:ext uri="{D42A27DB-BD31-4B8C-83A1-F6EECF244321}">
                <p14:modId xmlns:p14="http://schemas.microsoft.com/office/powerpoint/2010/main" val="1007622034"/>
              </p:ext>
            </p:extLst>
          </p:nvPr>
        </p:nvGraphicFramePr>
        <p:xfrm>
          <a:off x="5480785" y="1672978"/>
          <a:ext cx="6611007" cy="4345048"/>
        </p:xfrm>
        <a:graphic>
          <a:graphicData uri="http://schemas.openxmlformats.org/drawingml/2006/chart">
            <c:chart xmlns:c="http://schemas.openxmlformats.org/drawingml/2006/chart" xmlns:r="http://schemas.openxmlformats.org/officeDocument/2006/relationships" r:id="rId6"/>
          </a:graphicData>
        </a:graphic>
      </p:graphicFrame>
      <p:sp>
        <p:nvSpPr>
          <p:cNvPr id="3" name="Footer Placeholder 11">
            <a:extLst>
              <a:ext uri="{FF2B5EF4-FFF2-40B4-BE49-F238E27FC236}">
                <a16:creationId xmlns:a16="http://schemas.microsoft.com/office/drawing/2014/main" id="{FEB09AE4-5A6F-25EB-763A-8E66728AEC40}"/>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9476059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211011B-2914-4A4F-4536-AABBF3A96FAE}"/>
              </a:ext>
            </a:extLst>
          </p:cNvPr>
          <p:cNvGraphicFramePr>
            <a:graphicFrameLocks noChangeAspect="1"/>
          </p:cNvGraphicFramePr>
          <p:nvPr>
            <p:custDataLst>
              <p:tags r:id="rId1"/>
            </p:custDataLst>
            <p:extLst>
              <p:ext uri="{D42A27DB-BD31-4B8C-83A1-F6EECF244321}">
                <p14:modId xmlns:p14="http://schemas.microsoft.com/office/powerpoint/2010/main" val="2658758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7" name="think-cell data - do not delete" hidden="1">
                        <a:extLst>
                          <a:ext uri="{FF2B5EF4-FFF2-40B4-BE49-F238E27FC236}">
                            <a16:creationId xmlns:a16="http://schemas.microsoft.com/office/drawing/2014/main" id="{0211011B-2914-4A4F-4536-AABBF3A96F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C7E2F-49F4-6905-2BD0-851FB4CDB0BC}"/>
              </a:ext>
            </a:extLst>
          </p:cNvPr>
          <p:cNvSpPr>
            <a:spLocks noGrp="1"/>
          </p:cNvSpPr>
          <p:nvPr>
            <p:ph type="title"/>
          </p:nvPr>
        </p:nvSpPr>
        <p:spPr>
          <a:xfrm>
            <a:off x="291145" y="340908"/>
            <a:ext cx="11736000" cy="853200"/>
          </a:xfrm>
        </p:spPr>
        <p:txBody>
          <a:bodyPr vert="horz"/>
          <a:lstStyle/>
          <a:p>
            <a:r>
              <a:rPr lang="en-US" dirty="0"/>
              <a:t>Dissolution observation of </a:t>
            </a:r>
            <a:r>
              <a:rPr lang="en-US" dirty="0">
                <a:latin typeface="Arial"/>
              </a:rPr>
              <a:t>vardenafil pellets coated with Kollicoat</a:t>
            </a:r>
            <a:r>
              <a:rPr lang="en-US" sz="2800" baseline="30000" dirty="0">
                <a:effectLst/>
                <a:latin typeface="Arial" panose="020B0604020202020204" pitchFamily="34" charset="0"/>
                <a:ea typeface="Arial" panose="020B0604020202020204" pitchFamily="34" charset="0"/>
                <a:cs typeface="Times New Roman" panose="02020603050405020304" pitchFamily="18" charset="0"/>
              </a:rPr>
              <a:t>®</a:t>
            </a:r>
            <a:r>
              <a:rPr lang="en-US" dirty="0">
                <a:latin typeface="Arial"/>
              </a:rPr>
              <a:t> Smartseal 30 D </a:t>
            </a:r>
            <a:r>
              <a:rPr lang="en-US" dirty="0"/>
              <a:t>in basket apparatus</a:t>
            </a:r>
          </a:p>
        </p:txBody>
      </p:sp>
      <p:sp>
        <p:nvSpPr>
          <p:cNvPr id="3" name="Text Placeholder 2">
            <a:extLst>
              <a:ext uri="{FF2B5EF4-FFF2-40B4-BE49-F238E27FC236}">
                <a16:creationId xmlns:a16="http://schemas.microsoft.com/office/drawing/2014/main" id="{EE36CAA3-95D8-C5A5-07F3-27500EB65957}"/>
              </a:ext>
            </a:extLst>
          </p:cNvPr>
          <p:cNvSpPr>
            <a:spLocks noGrp="1"/>
          </p:cNvSpPr>
          <p:nvPr>
            <p:ph type="body" idx="1"/>
          </p:nvPr>
        </p:nvSpPr>
        <p:spPr>
          <a:xfrm>
            <a:off x="3066763" y="5305024"/>
            <a:ext cx="8960382" cy="533400"/>
          </a:xfrm>
        </p:spPr>
        <p:txBody>
          <a:bodyPr vert="horz" lIns="0" tIns="0" rIns="0" bIns="0" rtlCol="0" anchor="t">
            <a:noAutofit/>
          </a:bodyPr>
          <a:lstStyle/>
          <a:p>
            <a:pPr>
              <a:buFont typeface="Arial" panose="020B0604020202020204" pitchFamily="34" charset="0"/>
              <a:buChar char="■"/>
            </a:pPr>
            <a:r>
              <a:rPr lang="en-US" sz="1800" dirty="0">
                <a:latin typeface="Arial"/>
              </a:rPr>
              <a:t>Basket apparatus with fine mesh (150 microns) ensures the exposure of all Kollicoat</a:t>
            </a:r>
            <a:r>
              <a:rPr lang="en-US" sz="1800" baseline="30000" dirty="0">
                <a:effectLst/>
                <a:latin typeface="Arial"/>
                <a:ea typeface="Arial" panose="020B0604020202020204" pitchFamily="34" charset="0"/>
                <a:cs typeface="Times New Roman"/>
              </a:rPr>
              <a:t>®</a:t>
            </a:r>
            <a:r>
              <a:rPr lang="en-US" sz="1800" dirty="0">
                <a:latin typeface="Arial"/>
              </a:rPr>
              <a:t> Smartseal coated pellets during dissolution. Coated pellets didn’t dissolve.</a:t>
            </a:r>
          </a:p>
          <a:p>
            <a:pPr marL="0" indent="0">
              <a:buNone/>
            </a:pPr>
            <a:endParaRPr lang="en-US" sz="1600" b="1" dirty="0"/>
          </a:p>
          <a:p>
            <a:pPr marL="0" indent="0">
              <a:buNone/>
            </a:pPr>
            <a:endParaRPr lang="en-US" sz="1600" b="1" i="1" dirty="0"/>
          </a:p>
        </p:txBody>
      </p:sp>
      <p:sp>
        <p:nvSpPr>
          <p:cNvPr id="5" name="Slide Number Placeholder 4">
            <a:extLst>
              <a:ext uri="{FF2B5EF4-FFF2-40B4-BE49-F238E27FC236}">
                <a16:creationId xmlns:a16="http://schemas.microsoft.com/office/drawing/2014/main" id="{E50A60F7-0C3C-3937-4045-AF61DD13DAD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49</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25" name="Picture 24">
            <a:extLst>
              <a:ext uri="{FF2B5EF4-FFF2-40B4-BE49-F238E27FC236}">
                <a16:creationId xmlns:a16="http://schemas.microsoft.com/office/drawing/2014/main" id="{BDFEDA3F-F90C-BBCB-9CBD-235505EF12A0}"/>
              </a:ext>
            </a:extLst>
          </p:cNvPr>
          <p:cNvPicPr>
            <a:picLocks noChangeAspect="1"/>
          </p:cNvPicPr>
          <p:nvPr/>
        </p:nvPicPr>
        <p:blipFill>
          <a:blip r:embed="rId6"/>
          <a:stretch>
            <a:fillRect/>
          </a:stretch>
        </p:blipFill>
        <p:spPr>
          <a:xfrm rot="5400000">
            <a:off x="1795945" y="663692"/>
            <a:ext cx="2474457" cy="5042527"/>
          </a:xfrm>
          <a:prstGeom prst="rect">
            <a:avLst/>
          </a:prstGeom>
        </p:spPr>
      </p:pic>
      <p:pic>
        <p:nvPicPr>
          <p:cNvPr id="27" name="Picture 26" descr="A picture containing metalware, knob&#10;&#10;Description automatically generated">
            <a:extLst>
              <a:ext uri="{FF2B5EF4-FFF2-40B4-BE49-F238E27FC236}">
                <a16:creationId xmlns:a16="http://schemas.microsoft.com/office/drawing/2014/main" id="{5F4E7FFD-5A4D-1F1E-8FB8-B1FD1215659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5400000">
            <a:off x="7423121" y="427409"/>
            <a:ext cx="2474458" cy="5515095"/>
          </a:xfrm>
          <a:prstGeom prst="rect">
            <a:avLst/>
          </a:prstGeom>
        </p:spPr>
      </p:pic>
      <p:sp>
        <p:nvSpPr>
          <p:cNvPr id="9" name="TextBox 8">
            <a:extLst>
              <a:ext uri="{FF2B5EF4-FFF2-40B4-BE49-F238E27FC236}">
                <a16:creationId xmlns:a16="http://schemas.microsoft.com/office/drawing/2014/main" id="{FCA8A292-0A95-F5E4-56A3-9B79E48D1A28}"/>
              </a:ext>
            </a:extLst>
          </p:cNvPr>
          <p:cNvSpPr txBox="1"/>
          <p:nvPr/>
        </p:nvSpPr>
        <p:spPr>
          <a:xfrm>
            <a:off x="1638300" y="4422184"/>
            <a:ext cx="3200400" cy="369332"/>
          </a:xfrm>
          <a:prstGeom prst="rect">
            <a:avLst/>
          </a:prstGeom>
          <a:noFill/>
        </p:spPr>
        <p:txBody>
          <a:bodyPr wrap="square">
            <a:spAutoFit/>
          </a:bodyPr>
          <a:lstStyle/>
          <a:p>
            <a:r>
              <a:rPr lang="en-US" sz="1800" b="1" dirty="0">
                <a:latin typeface="Arial"/>
              </a:rPr>
              <a:t>25% Coated Cured pellets  </a:t>
            </a:r>
            <a:endParaRPr lang="en-US" dirty="0"/>
          </a:p>
        </p:txBody>
      </p:sp>
      <p:sp>
        <p:nvSpPr>
          <p:cNvPr id="11" name="TextBox 10">
            <a:extLst>
              <a:ext uri="{FF2B5EF4-FFF2-40B4-BE49-F238E27FC236}">
                <a16:creationId xmlns:a16="http://schemas.microsoft.com/office/drawing/2014/main" id="{C769671F-D599-AA32-6973-4B43C2DC857D}"/>
              </a:ext>
            </a:extLst>
          </p:cNvPr>
          <p:cNvSpPr txBox="1"/>
          <p:nvPr/>
        </p:nvSpPr>
        <p:spPr>
          <a:xfrm>
            <a:off x="7189228" y="4422184"/>
            <a:ext cx="3126347" cy="369332"/>
          </a:xfrm>
          <a:prstGeom prst="rect">
            <a:avLst/>
          </a:prstGeom>
          <a:noFill/>
        </p:spPr>
        <p:txBody>
          <a:bodyPr wrap="square">
            <a:spAutoFit/>
          </a:bodyPr>
          <a:lstStyle/>
          <a:p>
            <a:pPr marL="0" indent="0">
              <a:buNone/>
            </a:pPr>
            <a:r>
              <a:rPr lang="en-US" sz="1800" b="1" dirty="0">
                <a:latin typeface="Arial"/>
              </a:rPr>
              <a:t>30% Coated Cured pellets</a:t>
            </a:r>
            <a:endParaRPr lang="en-US" dirty="0"/>
          </a:p>
        </p:txBody>
      </p:sp>
      <p:sp>
        <p:nvSpPr>
          <p:cNvPr id="4" name="TextBox 3">
            <a:extLst>
              <a:ext uri="{FF2B5EF4-FFF2-40B4-BE49-F238E27FC236}">
                <a16:creationId xmlns:a16="http://schemas.microsoft.com/office/drawing/2014/main" id="{4BD38843-A829-5E28-C1EA-3AE63CFA914C}"/>
              </a:ext>
            </a:extLst>
          </p:cNvPr>
          <p:cNvSpPr txBox="1"/>
          <p:nvPr/>
        </p:nvSpPr>
        <p:spPr>
          <a:xfrm>
            <a:off x="586800" y="4986948"/>
            <a:ext cx="2400300" cy="1169551"/>
          </a:xfrm>
          <a:prstGeom prst="rect">
            <a:avLst/>
          </a:prstGeom>
          <a:noFill/>
          <a:ln>
            <a:solidFill>
              <a:schemeClr val="accent1"/>
            </a:solidFill>
          </a:ln>
        </p:spPr>
        <p:txBody>
          <a:bodyPr wrap="square">
            <a:spAutoFit/>
          </a:bodyPr>
          <a:lstStyle/>
          <a:p>
            <a:pPr marL="0" lvl="0" indent="0">
              <a:buNone/>
            </a:pPr>
            <a:r>
              <a:rPr lang="en-US" sz="1400" dirty="0"/>
              <a:t>Dissolution conditions:</a:t>
            </a:r>
          </a:p>
          <a:p>
            <a:pPr marL="0" lvl="0" indent="0">
              <a:lnSpc>
                <a:spcPct val="100000"/>
              </a:lnSpc>
              <a:spcBef>
                <a:spcPts val="0"/>
              </a:spcBef>
              <a:buNone/>
            </a:pPr>
            <a:r>
              <a:rPr lang="en-US" sz="1400" dirty="0"/>
              <a:t>Basket: 100 rpm</a:t>
            </a:r>
          </a:p>
          <a:p>
            <a:pPr marL="0" lvl="0" indent="0">
              <a:lnSpc>
                <a:spcPct val="100000"/>
              </a:lnSpc>
              <a:spcBef>
                <a:spcPts val="0"/>
              </a:spcBef>
              <a:buNone/>
            </a:pPr>
            <a:r>
              <a:rPr lang="en-US" sz="1400" dirty="0"/>
              <a:t>Media: Phosphate buffer, pH 6.8 at 37 </a:t>
            </a:r>
            <a:r>
              <a:rPr lang="en-US" sz="1400" baseline="30000" dirty="0"/>
              <a:t>°</a:t>
            </a:r>
            <a:r>
              <a:rPr lang="en-US" sz="1400" dirty="0"/>
              <a:t>C ± 0.5</a:t>
            </a:r>
            <a:r>
              <a:rPr lang="en-US" sz="1400" baseline="30000" dirty="0"/>
              <a:t> °</a:t>
            </a:r>
            <a:r>
              <a:rPr lang="en-US" sz="1400" dirty="0"/>
              <a:t>C </a:t>
            </a:r>
          </a:p>
          <a:p>
            <a:pPr marL="0" lvl="0" indent="0">
              <a:lnSpc>
                <a:spcPct val="100000"/>
              </a:lnSpc>
              <a:spcBef>
                <a:spcPts val="0"/>
              </a:spcBef>
              <a:buNone/>
            </a:pPr>
            <a:r>
              <a:rPr lang="en-US" sz="1400" dirty="0"/>
              <a:t>Volume: 900 ml</a:t>
            </a:r>
          </a:p>
        </p:txBody>
      </p:sp>
      <p:sp>
        <p:nvSpPr>
          <p:cNvPr id="6" name="Footer Placeholder 11">
            <a:extLst>
              <a:ext uri="{FF2B5EF4-FFF2-40B4-BE49-F238E27FC236}">
                <a16:creationId xmlns:a16="http://schemas.microsoft.com/office/drawing/2014/main" id="{577851D6-4065-CF79-48F9-BF0D86484E1E}"/>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cxnSp>
        <p:nvCxnSpPr>
          <p:cNvPr id="12" name="Straight Arrow Connector 11">
            <a:extLst>
              <a:ext uri="{FF2B5EF4-FFF2-40B4-BE49-F238E27FC236}">
                <a16:creationId xmlns:a16="http://schemas.microsoft.com/office/drawing/2014/main" id="{0E01779D-5968-DD5D-3D5A-767D04F1F139}"/>
              </a:ext>
            </a:extLst>
          </p:cNvPr>
          <p:cNvCxnSpPr>
            <a:cxnSpLocks/>
          </p:cNvCxnSpPr>
          <p:nvPr/>
        </p:nvCxnSpPr>
        <p:spPr>
          <a:xfrm>
            <a:off x="8906005" y="1603332"/>
            <a:ext cx="1638" cy="1602333"/>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764497A-A702-491C-C65E-CD14701C967E}"/>
              </a:ext>
            </a:extLst>
          </p:cNvPr>
          <p:cNvCxnSpPr>
            <a:cxnSpLocks/>
          </p:cNvCxnSpPr>
          <p:nvPr/>
        </p:nvCxnSpPr>
        <p:spPr>
          <a:xfrm>
            <a:off x="3171256" y="1640630"/>
            <a:ext cx="0" cy="149924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ECC0582-C0E8-77FE-9198-E057F665A8FA}"/>
              </a:ext>
            </a:extLst>
          </p:cNvPr>
          <p:cNvSpPr txBox="1"/>
          <p:nvPr/>
        </p:nvSpPr>
        <p:spPr>
          <a:xfrm>
            <a:off x="2987100" y="1409996"/>
            <a:ext cx="6144373" cy="276999"/>
          </a:xfrm>
          <a:prstGeom prst="rect">
            <a:avLst/>
          </a:prstGeom>
          <a:solidFill>
            <a:schemeClr val="accent1"/>
          </a:solidFill>
        </p:spPr>
        <p:txBody>
          <a:bodyPr wrap="square" lIns="0" tIns="0" rIns="0" bIns="0" rtlCol="0">
            <a:spAutoFit/>
          </a:bodyPr>
          <a:lstStyle/>
          <a:p>
            <a:pPr algn="ctr"/>
            <a:r>
              <a:rPr lang="en-US" dirty="0">
                <a:solidFill>
                  <a:schemeClr val="bg1"/>
                </a:solidFill>
              </a:rPr>
              <a:t>Pellets remaining in the basket after dissolution </a:t>
            </a:r>
          </a:p>
        </p:txBody>
      </p:sp>
      <p:cxnSp>
        <p:nvCxnSpPr>
          <p:cNvPr id="26" name="Straight Arrow Connector 25">
            <a:extLst>
              <a:ext uri="{FF2B5EF4-FFF2-40B4-BE49-F238E27FC236}">
                <a16:creationId xmlns:a16="http://schemas.microsoft.com/office/drawing/2014/main" id="{1E85C990-03DD-3940-4339-981E89A79043}"/>
              </a:ext>
            </a:extLst>
          </p:cNvPr>
          <p:cNvCxnSpPr>
            <a:cxnSpLocks/>
          </p:cNvCxnSpPr>
          <p:nvPr/>
        </p:nvCxnSpPr>
        <p:spPr>
          <a:xfrm>
            <a:off x="1820533" y="2915442"/>
            <a:ext cx="0" cy="44886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5329D8D4-392E-1C11-538A-70C966BF3E47}"/>
              </a:ext>
            </a:extLst>
          </p:cNvPr>
          <p:cNvCxnSpPr>
            <a:cxnSpLocks/>
          </p:cNvCxnSpPr>
          <p:nvPr/>
        </p:nvCxnSpPr>
        <p:spPr>
          <a:xfrm>
            <a:off x="4402983" y="2929058"/>
            <a:ext cx="0" cy="44886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F94E4BB1-312C-CB21-8EE3-BA5E5E88DABF}"/>
              </a:ext>
            </a:extLst>
          </p:cNvPr>
          <p:cNvCxnSpPr>
            <a:cxnSpLocks/>
          </p:cNvCxnSpPr>
          <p:nvPr/>
        </p:nvCxnSpPr>
        <p:spPr>
          <a:xfrm flipV="1">
            <a:off x="7189228" y="3139876"/>
            <a:ext cx="193526" cy="345407"/>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92E96575-3A5F-ADCD-C10D-CB052270554B}"/>
              </a:ext>
            </a:extLst>
          </p:cNvPr>
          <p:cNvCxnSpPr>
            <a:cxnSpLocks/>
          </p:cNvCxnSpPr>
          <p:nvPr/>
        </p:nvCxnSpPr>
        <p:spPr>
          <a:xfrm flipV="1">
            <a:off x="10089395" y="3256296"/>
            <a:ext cx="193526" cy="345407"/>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09258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61C90D0-908A-4626-850A-FD84466DC12B}"/>
              </a:ext>
            </a:extLst>
          </p:cNvPr>
          <p:cNvGraphicFramePr>
            <a:graphicFrameLocks noChangeAspect="1"/>
          </p:cNvGraphicFramePr>
          <p:nvPr>
            <p:custDataLst>
              <p:tags r:id="rId1"/>
            </p:custDataLst>
            <p:extLst>
              <p:ext uri="{D42A27DB-BD31-4B8C-83A1-F6EECF244321}">
                <p14:modId xmlns:p14="http://schemas.microsoft.com/office/powerpoint/2010/main" val="324210137"/>
              </p:ext>
            </p:extLst>
          </p:nvPr>
        </p:nvGraphicFramePr>
        <p:xfrm>
          <a:off x="2912" y="2565"/>
          <a:ext cx="2117" cy="2117"/>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461C90D0-908A-4626-850A-FD84466DC12B}"/>
                          </a:ext>
                        </a:extLst>
                      </p:cNvPr>
                      <p:cNvPicPr/>
                      <p:nvPr/>
                    </p:nvPicPr>
                    <p:blipFill>
                      <a:blip r:embed="rId6"/>
                      <a:stretch>
                        <a:fillRect/>
                      </a:stretch>
                    </p:blipFill>
                    <p:spPr>
                      <a:xfrm>
                        <a:off x="2912" y="2565"/>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4F81242-8F01-4562-BC92-1AFF16A83521}"/>
              </a:ext>
            </a:extLst>
          </p:cNvPr>
          <p:cNvSpPr/>
          <p:nvPr>
            <p:custDataLst>
              <p:tags r:id="rId2"/>
            </p:custDataLst>
          </p:nvPr>
        </p:nvSpPr>
        <p:spPr>
          <a:xfrm>
            <a:off x="795" y="448"/>
            <a:ext cx="211639" cy="2116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700" b="1"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4" name="Slide Number Placeholder 3">
            <a:extLst>
              <a:ext uri="{FF2B5EF4-FFF2-40B4-BE49-F238E27FC236}">
                <a16:creationId xmlns:a16="http://schemas.microsoft.com/office/drawing/2014/main" id="{3A546257-E20E-4C7B-8B68-D23055CA6636}"/>
              </a:ext>
            </a:extLst>
          </p:cNvPr>
          <p:cNvSpPr>
            <a:spLocks noGrp="1"/>
          </p:cNvSpPr>
          <p:nvPr>
            <p:ph type="sldNum" sz="quarter" idx="4"/>
          </p:nvPr>
        </p:nvSpPr>
        <p:spPr>
          <a:xfrm>
            <a:off x="227013" y="6514798"/>
            <a:ext cx="384217" cy="151200"/>
          </a:xfrm>
          <a:prstGeom prst="rect">
            <a:avLst/>
          </a:prstGeom>
        </p:spPr>
        <p:txBody>
          <a:bodyPr lIns="0" tIns="0" rIns="0" bIns="0"/>
          <a:lstStyle>
            <a:defPPr>
              <a:defRPr lang="de-DE"/>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2EA1D04-CA53-4DE3-84A8-2B63E41036C9}" type="slidenum">
              <a:rPr lang="en-US" smtClean="0"/>
              <a:pPr>
                <a:defRPr/>
              </a:pPr>
              <a:t>5</a:t>
            </a:fld>
            <a:endParaRPr lang="en-US" sz="900" b="1" dirty="0">
              <a:solidFill>
                <a:srgbClr val="000000"/>
              </a:solidFill>
              <a:latin typeface="Arial" panose="020B0604020202020204"/>
              <a:cs typeface="Arial"/>
            </a:endParaRPr>
          </a:p>
        </p:txBody>
      </p:sp>
      <p:sp>
        <p:nvSpPr>
          <p:cNvPr id="5" name="Title 4">
            <a:extLst>
              <a:ext uri="{FF2B5EF4-FFF2-40B4-BE49-F238E27FC236}">
                <a16:creationId xmlns:a16="http://schemas.microsoft.com/office/drawing/2014/main" id="{8FC01437-AB19-46D8-9E77-89EEC63F40EC}"/>
              </a:ext>
            </a:extLst>
          </p:cNvPr>
          <p:cNvSpPr>
            <a:spLocks noGrp="1"/>
          </p:cNvSpPr>
          <p:nvPr>
            <p:ph type="title"/>
          </p:nvPr>
        </p:nvSpPr>
        <p:spPr>
          <a:xfrm>
            <a:off x="227807" y="124866"/>
            <a:ext cx="11736386" cy="853200"/>
          </a:xfrm>
        </p:spPr>
        <p:txBody>
          <a:bodyPr vert="horz"/>
          <a:lstStyle/>
          <a:p>
            <a:r>
              <a:rPr lang="en-US" sz="2700" dirty="0"/>
              <a:t>Most Common (Intra)Oral Dosage Forms that might require a taste-masking approach</a:t>
            </a:r>
          </a:p>
        </p:txBody>
      </p:sp>
      <p:graphicFrame>
        <p:nvGraphicFramePr>
          <p:cNvPr id="11" name="Diagram 10">
            <a:extLst>
              <a:ext uri="{FF2B5EF4-FFF2-40B4-BE49-F238E27FC236}">
                <a16:creationId xmlns:a16="http://schemas.microsoft.com/office/drawing/2014/main" id="{4617C181-2D32-4604-9D75-24F50EFFCEDE}"/>
              </a:ext>
            </a:extLst>
          </p:cNvPr>
          <p:cNvGraphicFramePr/>
          <p:nvPr>
            <p:extLst>
              <p:ext uri="{D42A27DB-BD31-4B8C-83A1-F6EECF244321}">
                <p14:modId xmlns:p14="http://schemas.microsoft.com/office/powerpoint/2010/main" val="2497909680"/>
              </p:ext>
            </p:extLst>
          </p:nvPr>
        </p:nvGraphicFramePr>
        <p:xfrm>
          <a:off x="130629" y="1690385"/>
          <a:ext cx="11964760" cy="516761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0" name="TextBox 9">
            <a:extLst>
              <a:ext uri="{FF2B5EF4-FFF2-40B4-BE49-F238E27FC236}">
                <a16:creationId xmlns:a16="http://schemas.microsoft.com/office/drawing/2014/main" id="{6490520D-6644-BB7C-3F66-04F81D21BF06}"/>
              </a:ext>
            </a:extLst>
          </p:cNvPr>
          <p:cNvSpPr txBox="1"/>
          <p:nvPr/>
        </p:nvSpPr>
        <p:spPr>
          <a:xfrm>
            <a:off x="292327" y="1044054"/>
            <a:ext cx="11066106" cy="646331"/>
          </a:xfrm>
          <a:prstGeom prst="rect">
            <a:avLst/>
          </a:prstGeom>
          <a:noFill/>
        </p:spPr>
        <p:txBody>
          <a:bodyPr wrap="square">
            <a:spAutoFit/>
          </a:bodyPr>
          <a:lstStyle/>
          <a:p>
            <a:pPr marL="285750" indent="-285750">
              <a:buClr>
                <a:schemeClr val="accent1"/>
              </a:buClr>
              <a:buFont typeface="Wingdings" panose="05000000000000000000" pitchFamily="2" charset="2"/>
              <a:buChar char="§"/>
            </a:pPr>
            <a:r>
              <a:rPr lang="en-US" sz="1800" dirty="0"/>
              <a:t>Intraoral products are classified on their disintegration speed.</a:t>
            </a:r>
          </a:p>
          <a:p>
            <a:pPr marL="285750" indent="-285750">
              <a:buClr>
                <a:schemeClr val="accent1"/>
              </a:buClr>
              <a:buFont typeface="Wingdings" panose="05000000000000000000" pitchFamily="2" charset="2"/>
              <a:buChar char="§"/>
            </a:pPr>
            <a:r>
              <a:rPr lang="en-US" sz="1800" dirty="0"/>
              <a:t>Different technologies are employed for effective taste-masking. </a:t>
            </a:r>
            <a:endParaRPr lang="en-US" dirty="0"/>
          </a:p>
        </p:txBody>
      </p:sp>
      <p:sp>
        <p:nvSpPr>
          <p:cNvPr id="22" name="Footer Placeholder 11">
            <a:extLst>
              <a:ext uri="{FF2B5EF4-FFF2-40B4-BE49-F238E27FC236}">
                <a16:creationId xmlns:a16="http://schemas.microsoft.com/office/drawing/2014/main" id="{E335CCAF-CEAA-31EA-2404-A1DF86846CA0}"/>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21274234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B954C7B-341D-0E50-6702-BD702F5AE252}"/>
              </a:ext>
            </a:extLst>
          </p:cNvPr>
          <p:cNvGraphicFramePr>
            <a:graphicFrameLocks noChangeAspect="1"/>
          </p:cNvGraphicFramePr>
          <p:nvPr>
            <p:custDataLst>
              <p:tags r:id="rId1"/>
            </p:custDataLst>
            <p:extLst>
              <p:ext uri="{D42A27DB-BD31-4B8C-83A1-F6EECF244321}">
                <p14:modId xmlns:p14="http://schemas.microsoft.com/office/powerpoint/2010/main" val="3186395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8" name="think-cell data - do not delete" hidden="1">
                        <a:extLst>
                          <a:ext uri="{FF2B5EF4-FFF2-40B4-BE49-F238E27FC236}">
                            <a16:creationId xmlns:a16="http://schemas.microsoft.com/office/drawing/2014/main" id="{1B954C7B-341D-0E50-6702-BD702F5AE2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1EE3CB-88A6-9846-0273-B29487B6AAC0}"/>
              </a:ext>
            </a:extLst>
          </p:cNvPr>
          <p:cNvSpPr>
            <a:spLocks noGrp="1"/>
          </p:cNvSpPr>
          <p:nvPr>
            <p:ph type="title"/>
          </p:nvPr>
        </p:nvSpPr>
        <p:spPr>
          <a:xfrm>
            <a:off x="406800" y="209970"/>
            <a:ext cx="11736000" cy="583562"/>
          </a:xfrm>
        </p:spPr>
        <p:txBody>
          <a:bodyPr vert="horz"/>
          <a:lstStyle/>
          <a:p>
            <a:r>
              <a:rPr lang="en-US" sz="2800" b="1" dirty="0">
                <a:latin typeface="Arial"/>
              </a:rPr>
              <a:t>Impact of BHT on Kollicoat</a:t>
            </a:r>
            <a:r>
              <a:rPr lang="en-US" sz="2800" baseline="30000" dirty="0">
                <a:effectLst/>
                <a:latin typeface="Arial" panose="020B0604020202020204" pitchFamily="34" charset="0"/>
                <a:ea typeface="Arial" panose="020B0604020202020204" pitchFamily="34" charset="0"/>
                <a:cs typeface="Times New Roman" panose="02020603050405020304" pitchFamily="18" charset="0"/>
              </a:rPr>
              <a:t>®</a:t>
            </a:r>
            <a:r>
              <a:rPr lang="en-US" sz="2800" b="1" dirty="0">
                <a:latin typeface="Arial"/>
              </a:rPr>
              <a:t> Smartseal 30 D</a:t>
            </a:r>
            <a:r>
              <a:rPr lang="en-US" dirty="0">
                <a:latin typeface="Arial"/>
              </a:rPr>
              <a:t> film-coating</a:t>
            </a:r>
            <a:endParaRPr lang="en-US" sz="2800" b="1" dirty="0"/>
          </a:p>
        </p:txBody>
      </p:sp>
      <p:sp>
        <p:nvSpPr>
          <p:cNvPr id="6" name="Text Placeholder 5">
            <a:extLst>
              <a:ext uri="{FF2B5EF4-FFF2-40B4-BE49-F238E27FC236}">
                <a16:creationId xmlns:a16="http://schemas.microsoft.com/office/drawing/2014/main" id="{B66EA8C9-77CE-B963-7AC6-F60B658910B8}"/>
              </a:ext>
            </a:extLst>
          </p:cNvPr>
          <p:cNvSpPr>
            <a:spLocks noGrp="1"/>
          </p:cNvSpPr>
          <p:nvPr>
            <p:ph type="body" idx="1"/>
          </p:nvPr>
        </p:nvSpPr>
        <p:spPr>
          <a:xfrm>
            <a:off x="406800" y="951468"/>
            <a:ext cx="11753977" cy="258471"/>
          </a:xfrm>
        </p:spPr>
        <p:txBody>
          <a:bodyPr/>
          <a:lstStyle/>
          <a:p>
            <a:pPr marL="0" indent="0">
              <a:buNone/>
            </a:pPr>
            <a:r>
              <a:rPr lang="en-US" sz="1800" b="1" dirty="0">
                <a:solidFill>
                  <a:schemeClr val="accent1"/>
                </a:solidFill>
              </a:rPr>
              <a:t>Coating Formula</a:t>
            </a:r>
          </a:p>
        </p:txBody>
      </p:sp>
      <p:sp>
        <p:nvSpPr>
          <p:cNvPr id="4" name="Slide Number Placeholder 3">
            <a:extLst>
              <a:ext uri="{FF2B5EF4-FFF2-40B4-BE49-F238E27FC236}">
                <a16:creationId xmlns:a16="http://schemas.microsoft.com/office/drawing/2014/main" id="{02B46B7E-F0D8-B93D-ABC1-E18A4C1A13D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82EA1D04-CA53-4DE3-84A8-2B63E41036C9}" type="slidenum">
              <a:rPr kumimoji="0" lang="en-US" sz="8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0</a:t>
            </a:fld>
            <a:endParaRPr kumimoji="0" lang="en-US" sz="800" b="1" i="0" u="none" strike="noStrike" kern="1200" cap="none" spc="0" normalizeH="0" baseline="0" noProof="0" dirty="0">
              <a:ln>
                <a:noFill/>
              </a:ln>
              <a:solidFill>
                <a:srgbClr val="000000"/>
              </a:solidFill>
              <a:effectLst/>
              <a:uLnTx/>
              <a:uFillTx/>
              <a:latin typeface="Arial" panose="020B0604020202020204"/>
              <a:cs typeface="Arial"/>
            </a:endParaRPr>
          </a:p>
        </p:txBody>
      </p:sp>
      <p:graphicFrame>
        <p:nvGraphicFramePr>
          <p:cNvPr id="9" name="Table 8">
            <a:extLst>
              <a:ext uri="{FF2B5EF4-FFF2-40B4-BE49-F238E27FC236}">
                <a16:creationId xmlns:a16="http://schemas.microsoft.com/office/drawing/2014/main" id="{AAC827E3-943B-A577-7232-FF77B47E9278}"/>
              </a:ext>
            </a:extLst>
          </p:cNvPr>
          <p:cNvGraphicFramePr>
            <a:graphicFrameLocks noGrp="1"/>
          </p:cNvGraphicFramePr>
          <p:nvPr>
            <p:extLst>
              <p:ext uri="{D42A27DB-BD31-4B8C-83A1-F6EECF244321}">
                <p14:modId xmlns:p14="http://schemas.microsoft.com/office/powerpoint/2010/main" val="4186810109"/>
              </p:ext>
            </p:extLst>
          </p:nvPr>
        </p:nvGraphicFramePr>
        <p:xfrm>
          <a:off x="406800" y="4233018"/>
          <a:ext cx="3829262" cy="1763086"/>
        </p:xfrm>
        <a:graphic>
          <a:graphicData uri="http://schemas.openxmlformats.org/drawingml/2006/table">
            <a:tbl>
              <a:tblPr firstRow="1" firstCol="1" bandRow="1">
                <a:tableStyleId>{3B4B98B0-60AC-42C2-AFA5-B58CD77FA1E5}</a:tableStyleId>
              </a:tblPr>
              <a:tblGrid>
                <a:gridCol w="2650858">
                  <a:extLst>
                    <a:ext uri="{9D8B030D-6E8A-4147-A177-3AD203B41FA5}">
                      <a16:colId xmlns:a16="http://schemas.microsoft.com/office/drawing/2014/main" val="72794721"/>
                    </a:ext>
                  </a:extLst>
                </a:gridCol>
                <a:gridCol w="1178404">
                  <a:extLst>
                    <a:ext uri="{9D8B030D-6E8A-4147-A177-3AD203B41FA5}">
                      <a16:colId xmlns:a16="http://schemas.microsoft.com/office/drawing/2014/main" val="2251122908"/>
                    </a:ext>
                  </a:extLst>
                </a:gridCol>
              </a:tblGrid>
              <a:tr h="519957">
                <a:tc>
                  <a:txBody>
                    <a:bodyPr/>
                    <a:lstStyle/>
                    <a:p>
                      <a:pPr marL="0" marR="0">
                        <a:lnSpc>
                          <a:spcPct val="107000"/>
                        </a:lnSpc>
                        <a:spcBef>
                          <a:spcPts val="0"/>
                        </a:spcBef>
                        <a:spcAft>
                          <a:spcPts val="0"/>
                        </a:spcAft>
                      </a:pPr>
                      <a:r>
                        <a:rPr lang="en-US" sz="1600" b="1" dirty="0">
                          <a:solidFill>
                            <a:srgbClr val="000000"/>
                          </a:solidFill>
                          <a:effectLst/>
                        </a:rPr>
                        <a:t>Parameters</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b="1" dirty="0">
                          <a:effectLst/>
                        </a:rPr>
                        <a:t>Observed Values</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48206908"/>
                  </a:ext>
                </a:extLst>
              </a:tr>
              <a:tr h="367278">
                <a:tc>
                  <a:txBody>
                    <a:bodyPr/>
                    <a:lstStyle/>
                    <a:p>
                      <a:pPr marL="0" marR="0" algn="l">
                        <a:lnSpc>
                          <a:spcPct val="107000"/>
                        </a:lnSpc>
                        <a:spcBef>
                          <a:spcPts val="0"/>
                        </a:spcBef>
                        <a:spcAft>
                          <a:spcPts val="0"/>
                        </a:spcAft>
                      </a:pPr>
                      <a:r>
                        <a:rPr lang="en-US" sz="1600" dirty="0">
                          <a:effectLst/>
                        </a:rPr>
                        <a:t>Inlet Temperature (</a:t>
                      </a:r>
                      <a:r>
                        <a:rPr lang="en-US" sz="1600" baseline="30000" dirty="0">
                          <a:effectLst/>
                        </a:rPr>
                        <a:t>0</a:t>
                      </a:r>
                      <a:r>
                        <a:rPr lang="en-US" sz="1600" dirty="0">
                          <a:effectLst/>
                        </a:rPr>
                        <a:t>C)</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42.3 – 50.3</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14616858"/>
                  </a:ext>
                </a:extLst>
              </a:tr>
              <a:tr h="299472">
                <a:tc>
                  <a:txBody>
                    <a:bodyPr/>
                    <a:lstStyle/>
                    <a:p>
                      <a:pPr marL="0" marR="0" algn="l">
                        <a:lnSpc>
                          <a:spcPct val="107000"/>
                        </a:lnSpc>
                        <a:spcBef>
                          <a:spcPts val="0"/>
                        </a:spcBef>
                        <a:spcAft>
                          <a:spcPts val="0"/>
                        </a:spcAft>
                      </a:pPr>
                      <a:r>
                        <a:rPr lang="en-US" sz="1600" dirty="0">
                          <a:effectLst/>
                        </a:rPr>
                        <a:t>Inlet Airflow (m3/hr.)</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45 - 60</a:t>
                      </a:r>
                      <a:endParaRPr lang="en-US" sz="1600" dirty="0">
                        <a:effectLst/>
                        <a:latin typeface="Arial"/>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22199948"/>
                  </a:ext>
                </a:extLst>
              </a:tr>
              <a:tr h="304800">
                <a:tc>
                  <a:txBody>
                    <a:bodyPr/>
                    <a:lstStyle/>
                    <a:p>
                      <a:pPr marL="0" marR="0" algn="l">
                        <a:lnSpc>
                          <a:spcPct val="107000"/>
                        </a:lnSpc>
                        <a:spcBef>
                          <a:spcPts val="0"/>
                        </a:spcBef>
                        <a:spcAft>
                          <a:spcPts val="0"/>
                        </a:spcAft>
                      </a:pPr>
                      <a:r>
                        <a:rPr lang="en-US" sz="1600" dirty="0">
                          <a:effectLst/>
                        </a:rPr>
                        <a:t>Product Temperature (</a:t>
                      </a:r>
                      <a:r>
                        <a:rPr lang="en-US" sz="1600" baseline="30000" dirty="0">
                          <a:effectLst/>
                        </a:rPr>
                        <a:t>0</a:t>
                      </a:r>
                      <a:r>
                        <a:rPr lang="en-US" sz="1600" dirty="0">
                          <a:effectLst/>
                        </a:rPr>
                        <a:t>C)</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36.1 – 37.2</a:t>
                      </a:r>
                      <a:endParaRPr lang="en-US" sz="1600" dirty="0">
                        <a:effectLst/>
                        <a:latin typeface="Arial"/>
                        <a:ea typeface="Arial" panose="020B0604020202020204" pitchFamily="34" charset="0"/>
                        <a:cs typeface="Times New Roman"/>
                      </a:endParaRPr>
                    </a:p>
                  </a:txBody>
                  <a:tcPr marL="68580" marR="68580" marT="0" marB="0" anchor="ctr"/>
                </a:tc>
                <a:extLst>
                  <a:ext uri="{0D108BD9-81ED-4DB2-BD59-A6C34878D82A}">
                    <a16:rowId xmlns:a16="http://schemas.microsoft.com/office/drawing/2014/main" val="8437340"/>
                  </a:ext>
                </a:extLst>
              </a:tr>
              <a:tr h="271579">
                <a:tc>
                  <a:txBody>
                    <a:bodyPr/>
                    <a:lstStyle/>
                    <a:p>
                      <a:pPr marL="0" marR="0" algn="l">
                        <a:lnSpc>
                          <a:spcPct val="107000"/>
                        </a:lnSpc>
                        <a:spcBef>
                          <a:spcPts val="0"/>
                        </a:spcBef>
                        <a:spcAft>
                          <a:spcPts val="0"/>
                        </a:spcAft>
                      </a:pPr>
                      <a:r>
                        <a:rPr lang="en-US" sz="1600" dirty="0">
                          <a:effectLst/>
                        </a:rPr>
                        <a:t>Exhaust Temperature (</a:t>
                      </a:r>
                      <a:r>
                        <a:rPr lang="en-US" sz="1600" baseline="30000" dirty="0">
                          <a:effectLst/>
                        </a:rPr>
                        <a:t>0</a:t>
                      </a:r>
                      <a:r>
                        <a:rPr lang="en-US" sz="1600" dirty="0">
                          <a:effectLst/>
                        </a:rPr>
                        <a:t>C)</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32.3 – 36.0</a:t>
                      </a:r>
                      <a:endParaRPr lang="en-US" sz="1600" dirty="0">
                        <a:effectLst/>
                        <a:latin typeface="Arial"/>
                        <a:ea typeface="Arial" panose="020B0604020202020204" pitchFamily="34" charset="0"/>
                        <a:cs typeface="Times New Roman"/>
                      </a:endParaRPr>
                    </a:p>
                  </a:txBody>
                  <a:tcPr marL="68580" marR="68580" marT="0" marB="0" anchor="ctr"/>
                </a:tc>
                <a:extLst>
                  <a:ext uri="{0D108BD9-81ED-4DB2-BD59-A6C34878D82A}">
                    <a16:rowId xmlns:a16="http://schemas.microsoft.com/office/drawing/2014/main" val="1296552958"/>
                  </a:ext>
                </a:extLst>
              </a:tr>
            </a:tbl>
          </a:graphicData>
        </a:graphic>
      </p:graphicFrame>
      <p:graphicFrame>
        <p:nvGraphicFramePr>
          <p:cNvPr id="11" name="Table 10">
            <a:extLst>
              <a:ext uri="{FF2B5EF4-FFF2-40B4-BE49-F238E27FC236}">
                <a16:creationId xmlns:a16="http://schemas.microsoft.com/office/drawing/2014/main" id="{2471E16C-8593-B7E4-D175-E293867EE6BA}"/>
              </a:ext>
            </a:extLst>
          </p:cNvPr>
          <p:cNvGraphicFramePr>
            <a:graphicFrameLocks noGrp="1"/>
          </p:cNvGraphicFramePr>
          <p:nvPr>
            <p:extLst>
              <p:ext uri="{D42A27DB-BD31-4B8C-83A1-F6EECF244321}">
                <p14:modId xmlns:p14="http://schemas.microsoft.com/office/powerpoint/2010/main" val="4172342044"/>
              </p:ext>
            </p:extLst>
          </p:nvPr>
        </p:nvGraphicFramePr>
        <p:xfrm>
          <a:off x="4503812" y="4233018"/>
          <a:ext cx="4930138" cy="1768749"/>
        </p:xfrm>
        <a:graphic>
          <a:graphicData uri="http://schemas.openxmlformats.org/drawingml/2006/table">
            <a:tbl>
              <a:tblPr firstRow="1" firstCol="1" bandRow="1">
                <a:tableStyleId>{3B4B98B0-60AC-42C2-AFA5-B58CD77FA1E5}</a:tableStyleId>
              </a:tblPr>
              <a:tblGrid>
                <a:gridCol w="3401588">
                  <a:extLst>
                    <a:ext uri="{9D8B030D-6E8A-4147-A177-3AD203B41FA5}">
                      <a16:colId xmlns:a16="http://schemas.microsoft.com/office/drawing/2014/main" val="72794721"/>
                    </a:ext>
                  </a:extLst>
                </a:gridCol>
                <a:gridCol w="1528550">
                  <a:extLst>
                    <a:ext uri="{9D8B030D-6E8A-4147-A177-3AD203B41FA5}">
                      <a16:colId xmlns:a16="http://schemas.microsoft.com/office/drawing/2014/main" val="2251122908"/>
                    </a:ext>
                  </a:extLst>
                </a:gridCol>
              </a:tblGrid>
              <a:tr h="510432">
                <a:tc>
                  <a:txBody>
                    <a:bodyPr/>
                    <a:lstStyle/>
                    <a:p>
                      <a:pPr marL="0" marR="0">
                        <a:lnSpc>
                          <a:spcPct val="107000"/>
                        </a:lnSpc>
                        <a:spcBef>
                          <a:spcPts val="0"/>
                        </a:spcBef>
                        <a:spcAft>
                          <a:spcPts val="0"/>
                        </a:spcAft>
                      </a:pPr>
                      <a:r>
                        <a:rPr lang="en-US" sz="1600" b="1" dirty="0">
                          <a:solidFill>
                            <a:srgbClr val="000000"/>
                          </a:solidFill>
                          <a:effectLst/>
                        </a:rPr>
                        <a:t>Parameters</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b="1" dirty="0">
                          <a:effectLst/>
                        </a:rPr>
                        <a:t>Observed Values</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48206908"/>
                  </a:ext>
                </a:extLst>
              </a:tr>
              <a:tr h="381000">
                <a:tc>
                  <a:txBody>
                    <a:bodyPr/>
                    <a:lstStyle/>
                    <a:p>
                      <a:pPr marL="0" marR="0" algn="l">
                        <a:lnSpc>
                          <a:spcPct val="107000"/>
                        </a:lnSpc>
                        <a:spcBef>
                          <a:spcPts val="0"/>
                        </a:spcBef>
                        <a:spcAft>
                          <a:spcPts val="0"/>
                        </a:spcAft>
                      </a:pPr>
                      <a:r>
                        <a:rPr lang="en-US" sz="1600" dirty="0">
                          <a:effectLst/>
                        </a:rPr>
                        <a:t>Atomization Air Pressure (</a:t>
                      </a:r>
                      <a:r>
                        <a:rPr lang="en-US" sz="1600" baseline="0" dirty="0">
                          <a:effectLst/>
                        </a:rPr>
                        <a:t>bar</a:t>
                      </a:r>
                      <a:r>
                        <a:rPr lang="en-US" sz="1600" dirty="0">
                          <a:effectLst/>
                        </a:rPr>
                        <a: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1.25 – 1.47</a:t>
                      </a:r>
                      <a:endParaRPr lang="en-US" sz="1600" dirty="0">
                        <a:effectLst/>
                        <a:latin typeface="Arial"/>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14616858"/>
                  </a:ext>
                </a:extLst>
              </a:tr>
              <a:tr h="292439">
                <a:tc>
                  <a:txBody>
                    <a:bodyPr/>
                    <a:lstStyle/>
                    <a:p>
                      <a:pPr marL="0" marR="0" algn="l">
                        <a:lnSpc>
                          <a:spcPct val="107000"/>
                        </a:lnSpc>
                        <a:spcBef>
                          <a:spcPts val="0"/>
                        </a:spcBef>
                        <a:spcAft>
                          <a:spcPts val="0"/>
                        </a:spcAft>
                      </a:pPr>
                      <a:r>
                        <a:rPr lang="en-US" sz="1600" dirty="0">
                          <a:effectLst/>
                        </a:rPr>
                        <a:t>Microclimate Air Pressure (mbar)</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600 - 650</a:t>
                      </a:r>
                      <a:endParaRPr lang="en-US" sz="1600" dirty="0">
                        <a:effectLst/>
                        <a:latin typeface="Arial"/>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22199948"/>
                  </a:ext>
                </a:extLst>
              </a:tr>
              <a:tr h="292439">
                <a:tc>
                  <a:txBody>
                    <a:bodyPr/>
                    <a:lstStyle/>
                    <a:p>
                      <a:pPr marL="0" marR="0" algn="l">
                        <a:lnSpc>
                          <a:spcPct val="107000"/>
                        </a:lnSpc>
                        <a:spcBef>
                          <a:spcPts val="0"/>
                        </a:spcBef>
                        <a:spcAft>
                          <a:spcPts val="0"/>
                        </a:spcAft>
                      </a:pPr>
                      <a:r>
                        <a:rPr lang="en-US" sz="1600" dirty="0">
                          <a:effectLst/>
                        </a:rPr>
                        <a:t>Spray Nozzle Size (mm)</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0.8mm</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437340"/>
                  </a:ext>
                </a:extLst>
              </a:tr>
              <a:tr h="292439">
                <a:tc>
                  <a:txBody>
                    <a:bodyPr/>
                    <a:lstStyle/>
                    <a:p>
                      <a:pPr marL="0" marR="0" algn="l">
                        <a:lnSpc>
                          <a:spcPct val="107000"/>
                        </a:lnSpc>
                        <a:spcBef>
                          <a:spcPts val="0"/>
                        </a:spcBef>
                        <a:spcAft>
                          <a:spcPts val="0"/>
                        </a:spcAft>
                      </a:pPr>
                      <a:r>
                        <a:rPr lang="en-US" sz="1600" dirty="0">
                          <a:effectLst/>
                        </a:rPr>
                        <a:t>Spray Rate (g/min)</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1.0 - 2.60</a:t>
                      </a:r>
                      <a:endParaRPr lang="en-US" sz="1600" dirty="0">
                        <a:effectLst/>
                        <a:latin typeface="Arial"/>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296552958"/>
                  </a:ext>
                </a:extLst>
              </a:tr>
            </a:tbl>
          </a:graphicData>
        </a:graphic>
      </p:graphicFrame>
      <p:graphicFrame>
        <p:nvGraphicFramePr>
          <p:cNvPr id="7" name="Table 6">
            <a:extLst>
              <a:ext uri="{FF2B5EF4-FFF2-40B4-BE49-F238E27FC236}">
                <a16:creationId xmlns:a16="http://schemas.microsoft.com/office/drawing/2014/main" id="{E6AC1249-F529-FF7A-0A40-963FC641061B}"/>
              </a:ext>
            </a:extLst>
          </p:cNvPr>
          <p:cNvGraphicFramePr>
            <a:graphicFrameLocks noGrp="1"/>
          </p:cNvGraphicFramePr>
          <p:nvPr>
            <p:extLst>
              <p:ext uri="{D42A27DB-BD31-4B8C-83A1-F6EECF244321}">
                <p14:modId xmlns:p14="http://schemas.microsoft.com/office/powerpoint/2010/main" val="1361495691"/>
              </p:ext>
            </p:extLst>
          </p:nvPr>
        </p:nvGraphicFramePr>
        <p:xfrm>
          <a:off x="406800" y="1305668"/>
          <a:ext cx="6927450" cy="2124499"/>
        </p:xfrm>
        <a:graphic>
          <a:graphicData uri="http://schemas.openxmlformats.org/drawingml/2006/table">
            <a:tbl>
              <a:tblPr firstRow="1" firstCol="1" bandRow="1">
                <a:tableStyleId>{3B4B98B0-60AC-42C2-AFA5-B58CD77FA1E5}</a:tableStyleId>
              </a:tblPr>
              <a:tblGrid>
                <a:gridCol w="3209420">
                  <a:extLst>
                    <a:ext uri="{9D8B030D-6E8A-4147-A177-3AD203B41FA5}">
                      <a16:colId xmlns:a16="http://schemas.microsoft.com/office/drawing/2014/main" val="3892245676"/>
                    </a:ext>
                  </a:extLst>
                </a:gridCol>
                <a:gridCol w="1738812">
                  <a:extLst>
                    <a:ext uri="{9D8B030D-6E8A-4147-A177-3AD203B41FA5}">
                      <a16:colId xmlns:a16="http://schemas.microsoft.com/office/drawing/2014/main" val="114048508"/>
                    </a:ext>
                  </a:extLst>
                </a:gridCol>
                <a:gridCol w="1979218">
                  <a:extLst>
                    <a:ext uri="{9D8B030D-6E8A-4147-A177-3AD203B41FA5}">
                      <a16:colId xmlns:a16="http://schemas.microsoft.com/office/drawing/2014/main" val="2050342437"/>
                    </a:ext>
                  </a:extLst>
                </a:gridCol>
              </a:tblGrid>
              <a:tr h="384961">
                <a:tc>
                  <a:txBody>
                    <a:bodyPr/>
                    <a:lstStyle/>
                    <a:p>
                      <a:pPr marL="0" marR="0">
                        <a:lnSpc>
                          <a:spcPct val="107000"/>
                        </a:lnSpc>
                        <a:spcBef>
                          <a:spcPts val="0"/>
                        </a:spcBef>
                        <a:spcAft>
                          <a:spcPts val="0"/>
                        </a:spcAft>
                      </a:pPr>
                      <a:r>
                        <a:rPr lang="en-US" sz="1600" b="1" dirty="0">
                          <a:solidFill>
                            <a:srgbClr val="000000"/>
                          </a:solidFill>
                          <a:effectLst/>
                        </a:rPr>
                        <a:t>Material Nam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b="1" dirty="0">
                          <a:solidFill>
                            <a:srgbClr val="000000"/>
                          </a:solidFill>
                          <a:effectLst/>
                        </a:rPr>
                        <a:t>Qty per batch (g)</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b="1" dirty="0">
                          <a:solidFill>
                            <a:srgbClr val="000000"/>
                          </a:solidFill>
                          <a:effectLst/>
                        </a:rPr>
                        <a:t>% solid in Coating formula</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357964634"/>
                  </a:ext>
                </a:extLst>
              </a:tr>
              <a:tr h="384961">
                <a:tc>
                  <a:txBody>
                    <a:bodyPr/>
                    <a:lstStyle/>
                    <a:p>
                      <a:pPr marL="0" marR="0">
                        <a:lnSpc>
                          <a:spcPct val="107000"/>
                        </a:lnSpc>
                        <a:spcBef>
                          <a:spcPts val="0"/>
                        </a:spcBef>
                        <a:spcAft>
                          <a:spcPts val="0"/>
                        </a:spcAft>
                      </a:pPr>
                      <a:r>
                        <a:rPr lang="en-US" sz="1600" dirty="0">
                          <a:effectLst/>
                        </a:rPr>
                        <a:t>Vardenafil-loaded pellets</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750.0</a:t>
                      </a:r>
                      <a:endParaRPr lang="en-US" sz="1600" dirty="0">
                        <a:effectLst/>
                        <a:latin typeface="Arial"/>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057009458"/>
                  </a:ext>
                </a:extLst>
              </a:tr>
              <a:tr h="268941">
                <a:tc>
                  <a:txBody>
                    <a:bodyPr/>
                    <a:lstStyle/>
                    <a:p>
                      <a:pPr marL="0" marR="0">
                        <a:lnSpc>
                          <a:spcPct val="107000"/>
                        </a:lnSpc>
                        <a:spcBef>
                          <a:spcPts val="0"/>
                        </a:spcBef>
                        <a:spcAft>
                          <a:spcPts val="0"/>
                        </a:spcAft>
                      </a:pPr>
                      <a:r>
                        <a:rPr lang="en-US" sz="1600" dirty="0">
                          <a:effectLst/>
                        </a:rPr>
                        <a:t>Kollicoat</a:t>
                      </a:r>
                      <a:r>
                        <a:rPr lang="en-US" sz="1600" baseline="30000" dirty="0">
                          <a:effectLst/>
                        </a:rPr>
                        <a:t>®</a:t>
                      </a:r>
                      <a:r>
                        <a:rPr lang="en-US" sz="1600" dirty="0">
                          <a:effectLst/>
                        </a:rPr>
                        <a:t> Smartseal 30D</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176.49 (588.3)</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78.44</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640868110"/>
                  </a:ext>
                </a:extLst>
              </a:tr>
              <a:tr h="185213">
                <a:tc>
                  <a:txBody>
                    <a:bodyPr/>
                    <a:lstStyle/>
                    <a:p>
                      <a:pPr marL="0" marR="0">
                        <a:lnSpc>
                          <a:spcPct val="107000"/>
                        </a:lnSpc>
                        <a:spcBef>
                          <a:spcPts val="0"/>
                        </a:spcBef>
                        <a:spcAft>
                          <a:spcPts val="0"/>
                        </a:spcAft>
                      </a:pPr>
                      <a:r>
                        <a:rPr lang="en-US" sz="1600" dirty="0">
                          <a:effectLst/>
                        </a:rPr>
                        <a:t>Talc</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22.05</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9.8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186872325"/>
                  </a:ext>
                </a:extLst>
              </a:tr>
              <a:tr h="185213">
                <a:tc>
                  <a:txBody>
                    <a:bodyPr/>
                    <a:lstStyle/>
                    <a:p>
                      <a:pPr marL="0" marR="0">
                        <a:lnSpc>
                          <a:spcPct val="107000"/>
                        </a:lnSpc>
                        <a:spcBef>
                          <a:spcPts val="0"/>
                        </a:spcBef>
                        <a:spcAft>
                          <a:spcPts val="0"/>
                        </a:spcAft>
                      </a:pPr>
                      <a:r>
                        <a:rPr lang="en-US" sz="1600" dirty="0">
                          <a:effectLst/>
                        </a:rPr>
                        <a:t>Acetyl Tributyl Citrat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22.05</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9.8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16961237"/>
                  </a:ext>
                </a:extLst>
              </a:tr>
              <a:tr h="185213">
                <a:tc>
                  <a:txBody>
                    <a:bodyPr/>
                    <a:lstStyle/>
                    <a:p>
                      <a:pPr marL="0" marR="0">
                        <a:lnSpc>
                          <a:spcPct val="107000"/>
                        </a:lnSpc>
                        <a:spcBef>
                          <a:spcPts val="0"/>
                        </a:spcBef>
                        <a:spcAft>
                          <a:spcPts val="0"/>
                        </a:spcAft>
                      </a:pPr>
                      <a:r>
                        <a:rPr lang="en-US" sz="1600" dirty="0">
                          <a:effectLst/>
                        </a:rPr>
                        <a:t>Butylated Hydroxytoluen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4.41</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1.96</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03315341"/>
                  </a:ext>
                </a:extLst>
              </a:tr>
              <a:tr h="185213">
                <a:tc>
                  <a:txBody>
                    <a:bodyPr/>
                    <a:lstStyle/>
                    <a:p>
                      <a:pPr marL="0" marR="0">
                        <a:lnSpc>
                          <a:spcPct val="107000"/>
                        </a:lnSpc>
                        <a:spcBef>
                          <a:spcPts val="0"/>
                        </a:spcBef>
                        <a:spcAft>
                          <a:spcPts val="0"/>
                        </a:spcAft>
                      </a:pPr>
                      <a:r>
                        <a:rPr lang="en-US" sz="1600" dirty="0">
                          <a:effectLst/>
                        </a:rPr>
                        <a:t>Purified Water</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488.19</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57660808"/>
                  </a:ext>
                </a:extLst>
              </a:tr>
            </a:tbl>
          </a:graphicData>
        </a:graphic>
      </p:graphicFrame>
      <p:sp>
        <p:nvSpPr>
          <p:cNvPr id="17" name="TextBox 16">
            <a:extLst>
              <a:ext uri="{FF2B5EF4-FFF2-40B4-BE49-F238E27FC236}">
                <a16:creationId xmlns:a16="http://schemas.microsoft.com/office/drawing/2014/main" id="{B0C5B92C-F6AF-3596-837E-720F5C18DAA5}"/>
              </a:ext>
            </a:extLst>
          </p:cNvPr>
          <p:cNvSpPr txBox="1"/>
          <p:nvPr/>
        </p:nvSpPr>
        <p:spPr>
          <a:xfrm>
            <a:off x="339150" y="3788404"/>
            <a:ext cx="9094800" cy="369332"/>
          </a:xfrm>
          <a:prstGeom prst="rect">
            <a:avLst/>
          </a:prstGeom>
          <a:noFill/>
        </p:spPr>
        <p:txBody>
          <a:bodyPr wrap="square">
            <a:spAutoFit/>
          </a:bodyPr>
          <a:lstStyle/>
          <a:p>
            <a:pPr marL="0" indent="0">
              <a:spcBef>
                <a:spcPts val="1000"/>
              </a:spcBef>
              <a:buNone/>
            </a:pPr>
            <a:r>
              <a:rPr lang="en-US" sz="1800" b="1" dirty="0">
                <a:solidFill>
                  <a:schemeClr val="accent1"/>
                </a:solidFill>
              </a:rPr>
              <a:t>Kollicoat</a:t>
            </a:r>
            <a:r>
              <a:rPr lang="en-US" sz="1800" b="1" baseline="30000" dirty="0">
                <a:solidFill>
                  <a:schemeClr val="accent1"/>
                </a:solidFill>
                <a:effectLst/>
                <a:latin typeface="Arial" panose="020B0604020202020204" pitchFamily="34" charset="0"/>
                <a:ea typeface="Arial" panose="020B0604020202020204" pitchFamily="34" charset="0"/>
                <a:cs typeface="Times New Roman" panose="02020603050405020304" pitchFamily="18" charset="0"/>
              </a:rPr>
              <a:t>®</a:t>
            </a:r>
            <a:r>
              <a:rPr lang="en-US" sz="1800" b="1" dirty="0">
                <a:solidFill>
                  <a:schemeClr val="accent1"/>
                </a:solidFill>
              </a:rPr>
              <a:t> Smartseal Coating Process Parameters – </a:t>
            </a:r>
            <a:r>
              <a:rPr lang="en-US" b="1" dirty="0">
                <a:solidFill>
                  <a:schemeClr val="accent1"/>
                </a:solidFill>
              </a:rPr>
              <a:t>Solidlab</a:t>
            </a:r>
            <a:endParaRPr lang="en-US" sz="1800" b="1" dirty="0">
              <a:solidFill>
                <a:schemeClr val="accent1"/>
              </a:solidFill>
            </a:endParaRPr>
          </a:p>
        </p:txBody>
      </p:sp>
      <p:sp>
        <p:nvSpPr>
          <p:cNvPr id="3" name="Footer Placeholder 11">
            <a:extLst>
              <a:ext uri="{FF2B5EF4-FFF2-40B4-BE49-F238E27FC236}">
                <a16:creationId xmlns:a16="http://schemas.microsoft.com/office/drawing/2014/main" id="{EB559B5C-491D-9363-274F-E1403C436EC0}"/>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14398126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213521C-E9B9-A888-E83E-B92C22D57CB8}"/>
              </a:ext>
            </a:extLst>
          </p:cNvPr>
          <p:cNvGraphicFramePr>
            <a:graphicFrameLocks noChangeAspect="1"/>
          </p:cNvGraphicFramePr>
          <p:nvPr>
            <p:custDataLst>
              <p:tags r:id="rId1"/>
            </p:custDataLst>
            <p:extLst>
              <p:ext uri="{D42A27DB-BD31-4B8C-83A1-F6EECF244321}">
                <p14:modId xmlns:p14="http://schemas.microsoft.com/office/powerpoint/2010/main" val="3559054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8" name="think-cell data - do not delete" hidden="1">
                        <a:extLst>
                          <a:ext uri="{FF2B5EF4-FFF2-40B4-BE49-F238E27FC236}">
                            <a16:creationId xmlns:a16="http://schemas.microsoft.com/office/drawing/2014/main" id="{2213521C-E9B9-A888-E83E-B92C22D57C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A1C8D5-197D-2530-11B4-A24D2D03AB19}"/>
              </a:ext>
            </a:extLst>
          </p:cNvPr>
          <p:cNvSpPr>
            <a:spLocks noGrp="1"/>
          </p:cNvSpPr>
          <p:nvPr>
            <p:ph type="title"/>
          </p:nvPr>
        </p:nvSpPr>
        <p:spPr>
          <a:xfrm>
            <a:off x="226800" y="292258"/>
            <a:ext cx="11736000" cy="853200"/>
          </a:xfrm>
        </p:spPr>
        <p:txBody>
          <a:bodyPr vert="horz"/>
          <a:lstStyle/>
          <a:p>
            <a:r>
              <a:rPr lang="en-US" dirty="0"/>
              <a:t>Comparative Dissolution: vardenafil pellets coated with 30% w/g Kollicoat</a:t>
            </a:r>
            <a:r>
              <a:rPr lang="en-US" sz="2800" baseline="30000" dirty="0">
                <a:effectLst/>
                <a:latin typeface="Arial" panose="020B0604020202020204" pitchFamily="34" charset="0"/>
                <a:ea typeface="Arial" panose="020B0604020202020204" pitchFamily="34" charset="0"/>
                <a:cs typeface="Times New Roman" panose="02020603050405020304" pitchFamily="18" charset="0"/>
              </a:rPr>
              <a:t>®</a:t>
            </a:r>
            <a:r>
              <a:rPr lang="en-US" dirty="0"/>
              <a:t> Smartseal 30 D + BHT: uncured Vs cured</a:t>
            </a:r>
          </a:p>
        </p:txBody>
      </p:sp>
      <p:sp>
        <p:nvSpPr>
          <p:cNvPr id="5" name="Slide Number Placeholder 4">
            <a:extLst>
              <a:ext uri="{FF2B5EF4-FFF2-40B4-BE49-F238E27FC236}">
                <a16:creationId xmlns:a16="http://schemas.microsoft.com/office/drawing/2014/main" id="{C8059103-38FF-CCE4-8481-E95E54E8617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1</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Text Placeholder 2">
            <a:extLst>
              <a:ext uri="{FF2B5EF4-FFF2-40B4-BE49-F238E27FC236}">
                <a16:creationId xmlns:a16="http://schemas.microsoft.com/office/drawing/2014/main" id="{13FB9EAC-B59B-2A47-0BBE-C3D767B0B0F4}"/>
              </a:ext>
            </a:extLst>
          </p:cNvPr>
          <p:cNvSpPr>
            <a:spLocks noGrp="1"/>
          </p:cNvSpPr>
          <p:nvPr>
            <p:ph type="body" sz="half" idx="1"/>
          </p:nvPr>
        </p:nvSpPr>
        <p:spPr>
          <a:xfrm>
            <a:off x="226800" y="1889960"/>
            <a:ext cx="4873520" cy="3754813"/>
          </a:xfrm>
        </p:spPr>
        <p:txBody>
          <a:bodyPr/>
          <a:lstStyle/>
          <a:p>
            <a:r>
              <a:rPr lang="en-US" sz="1800" dirty="0"/>
              <a:t>Vardenafil release was higher in the film-coating with BHT:</a:t>
            </a:r>
          </a:p>
          <a:p>
            <a:r>
              <a:rPr lang="en-US" sz="1800" dirty="0"/>
              <a:t>With BHT</a:t>
            </a:r>
          </a:p>
          <a:p>
            <a:pPr marL="914400" indent="-279400">
              <a:lnSpc>
                <a:spcPct val="100000"/>
              </a:lnSpc>
              <a:spcBef>
                <a:spcPts val="600"/>
              </a:spcBef>
              <a:buFont typeface="Wingdings" panose="05000000000000000000" pitchFamily="2" charset="2"/>
              <a:buChar char="v"/>
            </a:pPr>
            <a:r>
              <a:rPr lang="en-US" sz="1800" dirty="0"/>
              <a:t>uncured pellets: 40% of drug</a:t>
            </a:r>
          </a:p>
          <a:p>
            <a:pPr marL="914400" indent="-279400">
              <a:lnSpc>
                <a:spcPct val="100000"/>
              </a:lnSpc>
              <a:spcBef>
                <a:spcPts val="600"/>
              </a:spcBef>
              <a:buFont typeface="Wingdings" panose="05000000000000000000" pitchFamily="2" charset="2"/>
              <a:buChar char="v"/>
            </a:pPr>
            <a:r>
              <a:rPr lang="en-US" sz="1800" dirty="0"/>
              <a:t>cured pellets: 19% of drug</a:t>
            </a:r>
          </a:p>
          <a:p>
            <a:r>
              <a:rPr lang="en-US" sz="1800" dirty="0"/>
              <a:t>Without BHT</a:t>
            </a:r>
          </a:p>
          <a:p>
            <a:pPr marL="914400" indent="-279400">
              <a:lnSpc>
                <a:spcPct val="100000"/>
              </a:lnSpc>
              <a:spcBef>
                <a:spcPts val="600"/>
              </a:spcBef>
              <a:buFont typeface="Wingdings" panose="05000000000000000000" pitchFamily="2" charset="2"/>
              <a:buChar char="v"/>
            </a:pPr>
            <a:r>
              <a:rPr lang="en-US" sz="1800" dirty="0"/>
              <a:t>uncured pellets: 33% of drug*</a:t>
            </a:r>
          </a:p>
          <a:p>
            <a:pPr marL="914400" indent="-279400">
              <a:lnSpc>
                <a:spcPct val="100000"/>
              </a:lnSpc>
              <a:spcBef>
                <a:spcPts val="600"/>
              </a:spcBef>
              <a:buFont typeface="Wingdings" panose="05000000000000000000" pitchFamily="2" charset="2"/>
              <a:buChar char="v"/>
            </a:pPr>
            <a:r>
              <a:rPr lang="en-US" sz="1800" dirty="0"/>
              <a:t>cured pellets: 8% of drug*</a:t>
            </a:r>
          </a:p>
          <a:p>
            <a:r>
              <a:rPr lang="en-US" sz="1800" dirty="0"/>
              <a:t>The faster release could be attributed to the plasticizer effect of BHT in the coating film. </a:t>
            </a:r>
          </a:p>
        </p:txBody>
      </p:sp>
      <p:graphicFrame>
        <p:nvGraphicFramePr>
          <p:cNvPr id="6" name="Chart 5">
            <a:extLst>
              <a:ext uri="{FF2B5EF4-FFF2-40B4-BE49-F238E27FC236}">
                <a16:creationId xmlns:a16="http://schemas.microsoft.com/office/drawing/2014/main" id="{FA09122B-4564-430C-A247-4B2576229BA0}"/>
              </a:ext>
            </a:extLst>
          </p:cNvPr>
          <p:cNvGraphicFramePr>
            <a:graphicFrameLocks/>
          </p:cNvGraphicFramePr>
          <p:nvPr>
            <p:extLst>
              <p:ext uri="{D42A27DB-BD31-4B8C-83A1-F6EECF244321}">
                <p14:modId xmlns:p14="http://schemas.microsoft.com/office/powerpoint/2010/main" val="4174820543"/>
              </p:ext>
            </p:extLst>
          </p:nvPr>
        </p:nvGraphicFramePr>
        <p:xfrm>
          <a:off x="5284601" y="1738761"/>
          <a:ext cx="6484883" cy="3906012"/>
        </p:xfrm>
        <a:graphic>
          <a:graphicData uri="http://schemas.openxmlformats.org/drawingml/2006/chart">
            <c:chart xmlns:c="http://schemas.openxmlformats.org/drawingml/2006/chart" xmlns:r="http://schemas.openxmlformats.org/officeDocument/2006/relationships" r:id="rId6"/>
          </a:graphicData>
        </a:graphic>
      </p:graphicFrame>
      <p:sp>
        <p:nvSpPr>
          <p:cNvPr id="3" name="Footer Placeholder 11">
            <a:extLst>
              <a:ext uri="{FF2B5EF4-FFF2-40B4-BE49-F238E27FC236}">
                <a16:creationId xmlns:a16="http://schemas.microsoft.com/office/drawing/2014/main" id="{2A958489-AFAC-F7AA-EEBE-B2141453F41B}"/>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4" name="TextBox 3">
            <a:extLst>
              <a:ext uri="{FF2B5EF4-FFF2-40B4-BE49-F238E27FC236}">
                <a16:creationId xmlns:a16="http://schemas.microsoft.com/office/drawing/2014/main" id="{45184498-4066-7809-9B9F-F61248941EF3}"/>
              </a:ext>
            </a:extLst>
          </p:cNvPr>
          <p:cNvSpPr txBox="1"/>
          <p:nvPr/>
        </p:nvSpPr>
        <p:spPr>
          <a:xfrm>
            <a:off x="5954485" y="5791201"/>
            <a:ext cx="6694713" cy="215444"/>
          </a:xfrm>
          <a:prstGeom prst="rect">
            <a:avLst/>
          </a:prstGeom>
          <a:noFill/>
        </p:spPr>
        <p:txBody>
          <a:bodyPr wrap="square" lIns="0" tIns="0" rIns="0" bIns="0" rtlCol="0">
            <a:spAutoFit/>
          </a:bodyPr>
          <a:lstStyle/>
          <a:p>
            <a:r>
              <a:rPr lang="en-US" sz="1400" dirty="0"/>
              <a:t>*data provided on previous slides. For comparison and reference only. </a:t>
            </a:r>
          </a:p>
        </p:txBody>
      </p:sp>
      <p:sp>
        <p:nvSpPr>
          <p:cNvPr id="9" name="TextBox 8">
            <a:extLst>
              <a:ext uri="{FF2B5EF4-FFF2-40B4-BE49-F238E27FC236}">
                <a16:creationId xmlns:a16="http://schemas.microsoft.com/office/drawing/2014/main" id="{E04B6C6A-F142-9A5E-A4EE-3B4276065FE8}"/>
              </a:ext>
            </a:extLst>
          </p:cNvPr>
          <p:cNvSpPr txBox="1"/>
          <p:nvPr/>
        </p:nvSpPr>
        <p:spPr>
          <a:xfrm>
            <a:off x="267828" y="5904676"/>
            <a:ext cx="4873520" cy="184666"/>
          </a:xfrm>
          <a:prstGeom prst="rect">
            <a:avLst/>
          </a:prstGeom>
          <a:noFill/>
        </p:spPr>
        <p:txBody>
          <a:bodyPr wrap="square" lIns="0" tIns="0" rIns="0" bIns="0" rtlCol="0">
            <a:spAutoFit/>
          </a:bodyPr>
          <a:lstStyle/>
          <a:p>
            <a:r>
              <a:rPr lang="en-US" sz="1200" dirty="0"/>
              <a:t>*data provided on previous slides. For comparison and reference only. </a:t>
            </a:r>
          </a:p>
        </p:txBody>
      </p:sp>
    </p:spTree>
    <p:extLst>
      <p:ext uri="{BB962C8B-B14F-4D97-AF65-F5344CB8AC3E}">
        <p14:creationId xmlns:p14="http://schemas.microsoft.com/office/powerpoint/2010/main" val="26745528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30E0C67-B4E9-AE6B-BC2A-3834B02D8956}"/>
              </a:ext>
            </a:extLst>
          </p:cNvPr>
          <p:cNvGraphicFramePr>
            <a:graphicFrameLocks noChangeAspect="1"/>
          </p:cNvGraphicFramePr>
          <p:nvPr>
            <p:custDataLst>
              <p:tags r:id="rId1"/>
            </p:custDataLst>
            <p:extLst>
              <p:ext uri="{D42A27DB-BD31-4B8C-83A1-F6EECF244321}">
                <p14:modId xmlns:p14="http://schemas.microsoft.com/office/powerpoint/2010/main" val="3542295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7" name="think-cell data - do not delete" hidden="1">
                        <a:extLst>
                          <a:ext uri="{FF2B5EF4-FFF2-40B4-BE49-F238E27FC236}">
                            <a16:creationId xmlns:a16="http://schemas.microsoft.com/office/drawing/2014/main" id="{D30E0C67-B4E9-AE6B-BC2A-3834B02D89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A1C8D5-197D-2530-11B4-A24D2D03AB19}"/>
              </a:ext>
            </a:extLst>
          </p:cNvPr>
          <p:cNvSpPr>
            <a:spLocks noGrp="1"/>
          </p:cNvSpPr>
          <p:nvPr>
            <p:ph type="title"/>
          </p:nvPr>
        </p:nvSpPr>
        <p:spPr>
          <a:xfrm>
            <a:off x="219600" y="389959"/>
            <a:ext cx="11736000" cy="853200"/>
          </a:xfrm>
        </p:spPr>
        <p:txBody>
          <a:bodyPr vert="horz"/>
          <a:lstStyle/>
          <a:p>
            <a:r>
              <a:rPr lang="en-US" dirty="0">
                <a:latin typeface="Arial"/>
              </a:rPr>
              <a:t>Effect of curing time on vardenafil pellets coated with Kollicoat</a:t>
            </a:r>
            <a:r>
              <a:rPr lang="en-US" sz="2800" baseline="30000" dirty="0">
                <a:effectLst/>
                <a:latin typeface="Arial" panose="020B0604020202020204" pitchFamily="34" charset="0"/>
                <a:ea typeface="Arial" panose="020B0604020202020204" pitchFamily="34" charset="0"/>
                <a:cs typeface="Times New Roman" panose="02020603050405020304" pitchFamily="18" charset="0"/>
              </a:rPr>
              <a:t>®</a:t>
            </a:r>
            <a:r>
              <a:rPr lang="en-US" dirty="0">
                <a:latin typeface="Arial"/>
              </a:rPr>
              <a:t> Smartseal 30 D + BHT</a:t>
            </a:r>
            <a:endParaRPr lang="en-US" dirty="0"/>
          </a:p>
        </p:txBody>
      </p:sp>
      <p:sp>
        <p:nvSpPr>
          <p:cNvPr id="5" name="Slide Number Placeholder 4">
            <a:extLst>
              <a:ext uri="{FF2B5EF4-FFF2-40B4-BE49-F238E27FC236}">
                <a16:creationId xmlns:a16="http://schemas.microsoft.com/office/drawing/2014/main" id="{C8059103-38FF-CCE4-8481-E95E54E8617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2</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 name="Text Placeholder 2">
            <a:extLst>
              <a:ext uri="{FF2B5EF4-FFF2-40B4-BE49-F238E27FC236}">
                <a16:creationId xmlns:a16="http://schemas.microsoft.com/office/drawing/2014/main" id="{3B4574AF-D4D3-9A11-2C42-250CBB890ED9}"/>
              </a:ext>
            </a:extLst>
          </p:cNvPr>
          <p:cNvSpPr>
            <a:spLocks noGrp="1"/>
          </p:cNvSpPr>
          <p:nvPr>
            <p:ph type="body" sz="half" idx="1"/>
          </p:nvPr>
        </p:nvSpPr>
        <p:spPr>
          <a:xfrm>
            <a:off x="226800" y="2445316"/>
            <a:ext cx="4695986" cy="2396871"/>
          </a:xfrm>
        </p:spPr>
        <p:txBody>
          <a:bodyPr/>
          <a:lstStyle/>
          <a:p>
            <a:pPr>
              <a:lnSpc>
                <a:spcPts val="2600"/>
              </a:lnSpc>
            </a:pPr>
            <a:r>
              <a:rPr lang="en-US" sz="1800" dirty="0"/>
              <a:t>Both 1- and 2-hour curing steps at 60 °C with fluidized motion showed similar drug release in the phosphate buffer pH 6.8.</a:t>
            </a:r>
          </a:p>
          <a:p>
            <a:pPr marL="0" indent="0">
              <a:lnSpc>
                <a:spcPts val="2600"/>
              </a:lnSpc>
              <a:buNone/>
            </a:pPr>
            <a:endParaRPr lang="en-US" sz="1800" dirty="0"/>
          </a:p>
          <a:p>
            <a:pPr>
              <a:lnSpc>
                <a:spcPts val="2600"/>
              </a:lnSpc>
            </a:pPr>
            <a:r>
              <a:rPr lang="en-US" sz="1800" dirty="0"/>
              <a:t>It was decided to keep the curing condition at 60 °C for 2 hours to match with pellets coated without BHT.</a:t>
            </a:r>
          </a:p>
        </p:txBody>
      </p:sp>
      <p:graphicFrame>
        <p:nvGraphicFramePr>
          <p:cNvPr id="6" name="Chart 5">
            <a:extLst>
              <a:ext uri="{FF2B5EF4-FFF2-40B4-BE49-F238E27FC236}">
                <a16:creationId xmlns:a16="http://schemas.microsoft.com/office/drawing/2014/main" id="{FA09122B-4564-430C-A247-4B2576229BA0}"/>
              </a:ext>
            </a:extLst>
          </p:cNvPr>
          <p:cNvGraphicFramePr>
            <a:graphicFrameLocks/>
          </p:cNvGraphicFramePr>
          <p:nvPr>
            <p:extLst>
              <p:ext uri="{D42A27DB-BD31-4B8C-83A1-F6EECF244321}">
                <p14:modId xmlns:p14="http://schemas.microsoft.com/office/powerpoint/2010/main" val="1036199487"/>
              </p:ext>
            </p:extLst>
          </p:nvPr>
        </p:nvGraphicFramePr>
        <p:xfrm>
          <a:off x="5286704" y="1632939"/>
          <a:ext cx="6453352" cy="4021627"/>
        </p:xfrm>
        <a:graphic>
          <a:graphicData uri="http://schemas.openxmlformats.org/drawingml/2006/chart">
            <c:chart xmlns:c="http://schemas.openxmlformats.org/drawingml/2006/chart" xmlns:r="http://schemas.openxmlformats.org/officeDocument/2006/relationships" r:id="rId6"/>
          </a:graphicData>
        </a:graphic>
      </p:graphicFrame>
      <p:sp>
        <p:nvSpPr>
          <p:cNvPr id="25" name="Footer Placeholder 11">
            <a:extLst>
              <a:ext uri="{FF2B5EF4-FFF2-40B4-BE49-F238E27FC236}">
                <a16:creationId xmlns:a16="http://schemas.microsoft.com/office/drawing/2014/main" id="{136F2463-702B-4143-3DA4-DD596C02EB6B}"/>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20422922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10D4921-DEED-DEF6-FD9B-2096B45ECFD5}"/>
              </a:ext>
            </a:extLst>
          </p:cNvPr>
          <p:cNvGraphicFramePr>
            <a:graphicFrameLocks noChangeAspect="1"/>
          </p:cNvGraphicFramePr>
          <p:nvPr>
            <p:custDataLst>
              <p:tags r:id="rId1"/>
            </p:custDataLst>
            <p:extLst>
              <p:ext uri="{D42A27DB-BD31-4B8C-83A1-F6EECF244321}">
                <p14:modId xmlns:p14="http://schemas.microsoft.com/office/powerpoint/2010/main" val="779309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6" name="think-cell data - do not delete" hidden="1">
                        <a:extLst>
                          <a:ext uri="{FF2B5EF4-FFF2-40B4-BE49-F238E27FC236}">
                            <a16:creationId xmlns:a16="http://schemas.microsoft.com/office/drawing/2014/main" id="{A10D4921-DEED-DEF6-FD9B-2096B45ECF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A1C8D5-197D-2530-11B4-A24D2D03AB19}"/>
              </a:ext>
            </a:extLst>
          </p:cNvPr>
          <p:cNvSpPr>
            <a:spLocks noGrp="1"/>
          </p:cNvSpPr>
          <p:nvPr>
            <p:ph type="title"/>
          </p:nvPr>
        </p:nvSpPr>
        <p:spPr>
          <a:xfrm>
            <a:off x="226800" y="190800"/>
            <a:ext cx="11736000" cy="853200"/>
          </a:xfrm>
        </p:spPr>
        <p:txBody>
          <a:bodyPr vert="horz"/>
          <a:lstStyle/>
          <a:p>
            <a:r>
              <a:rPr lang="en-US" dirty="0">
                <a:latin typeface="Arial"/>
              </a:rPr>
              <a:t>Comparative dissolution of vardenafil pellets coated with Kollicoat</a:t>
            </a:r>
            <a:r>
              <a:rPr lang="en-US" sz="2800" baseline="30000" dirty="0">
                <a:effectLst/>
                <a:latin typeface="Arial" panose="020B0604020202020204" pitchFamily="34" charset="0"/>
                <a:ea typeface="Arial" panose="020B0604020202020204" pitchFamily="34" charset="0"/>
                <a:cs typeface="Times New Roman" panose="02020603050405020304" pitchFamily="18" charset="0"/>
              </a:rPr>
              <a:t>®</a:t>
            </a:r>
            <a:r>
              <a:rPr lang="en-US" dirty="0">
                <a:latin typeface="Arial"/>
              </a:rPr>
              <a:t> Smartseal 30 D (with BHT &amp; without BHT)</a:t>
            </a:r>
          </a:p>
        </p:txBody>
      </p:sp>
      <p:sp>
        <p:nvSpPr>
          <p:cNvPr id="5" name="Slide Number Placeholder 4">
            <a:extLst>
              <a:ext uri="{FF2B5EF4-FFF2-40B4-BE49-F238E27FC236}">
                <a16:creationId xmlns:a16="http://schemas.microsoft.com/office/drawing/2014/main" id="{C8059103-38FF-CCE4-8481-E95E54E8617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3</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 name="Text Placeholder 2">
            <a:extLst>
              <a:ext uri="{FF2B5EF4-FFF2-40B4-BE49-F238E27FC236}">
                <a16:creationId xmlns:a16="http://schemas.microsoft.com/office/drawing/2014/main" id="{1DDDC718-FF80-C2D7-E9C9-7DB78F910991}"/>
              </a:ext>
            </a:extLst>
          </p:cNvPr>
          <p:cNvSpPr>
            <a:spLocks noGrp="1"/>
          </p:cNvSpPr>
          <p:nvPr>
            <p:ph type="body" sz="half" idx="1"/>
          </p:nvPr>
        </p:nvSpPr>
        <p:spPr>
          <a:xfrm>
            <a:off x="406800" y="2346756"/>
            <a:ext cx="4795821" cy="3906012"/>
          </a:xfrm>
        </p:spPr>
        <p:txBody>
          <a:bodyPr/>
          <a:lstStyle/>
          <a:p>
            <a:pPr>
              <a:lnSpc>
                <a:spcPts val="2600"/>
              </a:lnSpc>
            </a:pPr>
            <a:r>
              <a:rPr lang="en-US" sz="1800" dirty="0"/>
              <a:t>No differences in the drug release with the film-coating with and without BHT.</a:t>
            </a:r>
          </a:p>
          <a:p>
            <a:pPr>
              <a:lnSpc>
                <a:spcPts val="2600"/>
              </a:lnSpc>
            </a:pPr>
            <a:endParaRPr lang="en-US" sz="1800" dirty="0"/>
          </a:p>
          <a:p>
            <a:pPr>
              <a:lnSpc>
                <a:spcPts val="2600"/>
              </a:lnSpc>
            </a:pPr>
            <a:r>
              <a:rPr lang="en-US" sz="1800" dirty="0"/>
              <a:t>Kollicoat</a:t>
            </a:r>
            <a:r>
              <a:rPr lang="en-US" sz="1800" baseline="30000" dirty="0">
                <a:effectLst/>
              </a:rPr>
              <a:t> ®</a:t>
            </a:r>
            <a:r>
              <a:rPr lang="en-US" sz="1800" dirty="0"/>
              <a:t> Smartseal provides a fast release in the acid environment.</a:t>
            </a:r>
          </a:p>
          <a:p>
            <a:pPr>
              <a:lnSpc>
                <a:spcPts val="2600"/>
              </a:lnSpc>
            </a:pPr>
            <a:endParaRPr lang="en-US" sz="1800" dirty="0"/>
          </a:p>
          <a:p>
            <a:pPr marL="0" indent="0">
              <a:lnSpc>
                <a:spcPts val="2600"/>
              </a:lnSpc>
              <a:buNone/>
            </a:pPr>
            <a:endParaRPr lang="en-US" sz="1600" dirty="0"/>
          </a:p>
        </p:txBody>
      </p:sp>
      <p:graphicFrame>
        <p:nvGraphicFramePr>
          <p:cNvPr id="3" name="Chart 2">
            <a:extLst>
              <a:ext uri="{FF2B5EF4-FFF2-40B4-BE49-F238E27FC236}">
                <a16:creationId xmlns:a16="http://schemas.microsoft.com/office/drawing/2014/main" id="{FA09122B-4564-430C-A247-4B2576229BA0}"/>
              </a:ext>
            </a:extLst>
          </p:cNvPr>
          <p:cNvGraphicFramePr>
            <a:graphicFrameLocks/>
          </p:cNvGraphicFramePr>
          <p:nvPr>
            <p:extLst>
              <p:ext uri="{D42A27DB-BD31-4B8C-83A1-F6EECF244321}">
                <p14:modId xmlns:p14="http://schemas.microsoft.com/office/powerpoint/2010/main" val="3553138370"/>
              </p:ext>
            </p:extLst>
          </p:nvPr>
        </p:nvGraphicFramePr>
        <p:xfrm>
          <a:off x="5354053" y="1503947"/>
          <a:ext cx="6225015" cy="4297763"/>
        </p:xfrm>
        <a:graphic>
          <a:graphicData uri="http://schemas.openxmlformats.org/drawingml/2006/chart">
            <c:chart xmlns:c="http://schemas.openxmlformats.org/drawingml/2006/chart" xmlns:r="http://schemas.openxmlformats.org/officeDocument/2006/relationships" r:id="rId6"/>
          </a:graphicData>
        </a:graphic>
      </p:graphicFrame>
      <p:sp>
        <p:nvSpPr>
          <p:cNvPr id="16" name="Footer Placeholder 11">
            <a:extLst>
              <a:ext uri="{FF2B5EF4-FFF2-40B4-BE49-F238E27FC236}">
                <a16:creationId xmlns:a16="http://schemas.microsoft.com/office/drawing/2014/main" id="{F9394176-7F7D-49C3-FDF3-F0EAEA46776E}"/>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278970234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909B00FE-2BA9-31A7-B3C2-F9747945D043}"/>
              </a:ext>
            </a:extLst>
          </p:cNvPr>
          <p:cNvGraphicFramePr>
            <a:graphicFrameLocks noChangeAspect="1"/>
          </p:cNvGraphicFramePr>
          <p:nvPr>
            <p:custDataLst>
              <p:tags r:id="rId1"/>
            </p:custDataLst>
            <p:extLst>
              <p:ext uri="{D42A27DB-BD31-4B8C-83A1-F6EECF244321}">
                <p14:modId xmlns:p14="http://schemas.microsoft.com/office/powerpoint/2010/main" val="2851384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15" name="think-cell data - do not delete" hidden="1">
                        <a:extLst>
                          <a:ext uri="{FF2B5EF4-FFF2-40B4-BE49-F238E27FC236}">
                            <a16:creationId xmlns:a16="http://schemas.microsoft.com/office/drawing/2014/main" id="{909B00FE-2BA9-31A7-B3C2-F9747945D0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1EE3CB-88A6-9846-0273-B29487B6AAC0}"/>
              </a:ext>
            </a:extLst>
          </p:cNvPr>
          <p:cNvSpPr>
            <a:spLocks noGrp="1"/>
          </p:cNvSpPr>
          <p:nvPr>
            <p:ph type="title"/>
          </p:nvPr>
        </p:nvSpPr>
        <p:spPr>
          <a:xfrm>
            <a:off x="441360" y="213876"/>
            <a:ext cx="11736000" cy="568540"/>
          </a:xfrm>
        </p:spPr>
        <p:txBody>
          <a:bodyPr vert="horz"/>
          <a:lstStyle/>
          <a:p>
            <a:r>
              <a:rPr lang="en-US" dirty="0"/>
              <a:t>Stressed condition test (50</a:t>
            </a:r>
            <a:r>
              <a:rPr lang="en-US" baseline="30000" dirty="0"/>
              <a:t>°</a:t>
            </a:r>
            <a:r>
              <a:rPr lang="en-US" dirty="0"/>
              <a:t>C and 90% RH)</a:t>
            </a:r>
            <a:endParaRPr lang="en-US" sz="2800" b="1" dirty="0"/>
          </a:p>
        </p:txBody>
      </p:sp>
      <p:sp>
        <p:nvSpPr>
          <p:cNvPr id="4" name="Slide Number Placeholder 3">
            <a:extLst>
              <a:ext uri="{FF2B5EF4-FFF2-40B4-BE49-F238E27FC236}">
                <a16:creationId xmlns:a16="http://schemas.microsoft.com/office/drawing/2014/main" id="{02B46B7E-F0D8-B93D-ABC1-E18A4C1A13D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82EA1D04-CA53-4DE3-84A8-2B63E41036C9}" type="slidenum">
              <a:rPr kumimoji="0" lang="en-US" sz="8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4</a:t>
            </a:fld>
            <a:endParaRPr kumimoji="0" lang="en-US" sz="800" b="1"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7" name="Picture 6" descr="A picture containing indoor, food&#10;&#10;Description automatically generated">
            <a:extLst>
              <a:ext uri="{FF2B5EF4-FFF2-40B4-BE49-F238E27FC236}">
                <a16:creationId xmlns:a16="http://schemas.microsoft.com/office/drawing/2014/main" id="{5124E592-8A35-CE36-9771-B1BC8C00EB5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597895" y="1123556"/>
            <a:ext cx="7434232" cy="3746666"/>
          </a:xfrm>
          <a:prstGeom prst="rect">
            <a:avLst/>
          </a:prstGeom>
        </p:spPr>
      </p:pic>
      <p:sp>
        <p:nvSpPr>
          <p:cNvPr id="10" name="Rectangle 9">
            <a:extLst>
              <a:ext uri="{FF2B5EF4-FFF2-40B4-BE49-F238E27FC236}">
                <a16:creationId xmlns:a16="http://schemas.microsoft.com/office/drawing/2014/main" id="{EB38B5B0-03B3-2E75-7393-DAAD8E48883A}"/>
              </a:ext>
            </a:extLst>
          </p:cNvPr>
          <p:cNvSpPr/>
          <p:nvPr/>
        </p:nvSpPr>
        <p:spPr>
          <a:xfrm>
            <a:off x="2592365" y="4833028"/>
            <a:ext cx="3722767" cy="66114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ardenafil pellets coated with Kollicoat</a:t>
            </a:r>
            <a:r>
              <a:rPr lang="en-US" sz="1400" baseline="30000" dirty="0">
                <a:effectLst/>
              </a:rPr>
              <a:t> ®</a:t>
            </a:r>
            <a:r>
              <a:rPr lang="en-US" sz="1400" dirty="0"/>
              <a:t> Smartseal 30 D without BHT (after 1 week)</a:t>
            </a:r>
          </a:p>
        </p:txBody>
      </p:sp>
      <p:sp>
        <p:nvSpPr>
          <p:cNvPr id="12" name="Rectangle 11">
            <a:extLst>
              <a:ext uri="{FF2B5EF4-FFF2-40B4-BE49-F238E27FC236}">
                <a16:creationId xmlns:a16="http://schemas.microsoft.com/office/drawing/2014/main" id="{1E60397B-4215-6E29-BB85-95C2CE52699C}"/>
              </a:ext>
            </a:extLst>
          </p:cNvPr>
          <p:cNvSpPr/>
          <p:nvPr/>
        </p:nvSpPr>
        <p:spPr>
          <a:xfrm>
            <a:off x="6309360" y="4832678"/>
            <a:ext cx="3722767" cy="65649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ardenafil pellets coated with Kollicoat</a:t>
            </a:r>
            <a:r>
              <a:rPr lang="en-US" sz="1400" baseline="30000" dirty="0">
                <a:effectLst/>
              </a:rPr>
              <a:t> ®</a:t>
            </a:r>
            <a:r>
              <a:rPr lang="en-US" sz="1400" dirty="0"/>
              <a:t> Smartseal 30 D with BHT (after 1 week)</a:t>
            </a:r>
          </a:p>
        </p:txBody>
      </p:sp>
      <p:sp>
        <p:nvSpPr>
          <p:cNvPr id="13" name="Rectangle 12">
            <a:extLst>
              <a:ext uri="{FF2B5EF4-FFF2-40B4-BE49-F238E27FC236}">
                <a16:creationId xmlns:a16="http://schemas.microsoft.com/office/drawing/2014/main" id="{22799E69-4C9E-9A3A-080E-5979E1256EE0}"/>
              </a:ext>
            </a:extLst>
          </p:cNvPr>
          <p:cNvSpPr/>
          <p:nvPr/>
        </p:nvSpPr>
        <p:spPr>
          <a:xfrm>
            <a:off x="2597895" y="870158"/>
            <a:ext cx="7434232" cy="2627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ellets after 1 week under the stressed condition: 50°C and 90% RH</a:t>
            </a:r>
            <a:endParaRPr lang="en-US" dirty="0"/>
          </a:p>
        </p:txBody>
      </p:sp>
      <p:sp>
        <p:nvSpPr>
          <p:cNvPr id="16" name="TextBox 15">
            <a:extLst>
              <a:ext uri="{FF2B5EF4-FFF2-40B4-BE49-F238E27FC236}">
                <a16:creationId xmlns:a16="http://schemas.microsoft.com/office/drawing/2014/main" id="{E01CE77E-4695-46C6-55E2-6DF9B5746E1A}"/>
              </a:ext>
            </a:extLst>
          </p:cNvPr>
          <p:cNvSpPr txBox="1"/>
          <p:nvPr/>
        </p:nvSpPr>
        <p:spPr>
          <a:xfrm>
            <a:off x="226800" y="5618510"/>
            <a:ext cx="11896080" cy="369332"/>
          </a:xfrm>
          <a:prstGeom prst="rect">
            <a:avLst/>
          </a:prstGeom>
          <a:noFill/>
        </p:spPr>
        <p:txBody>
          <a:bodyPr wrap="square">
            <a:spAutoFit/>
          </a:bodyPr>
          <a:lstStyle/>
          <a:p>
            <a:pPr marL="285750" indent="-285750">
              <a:buClr>
                <a:schemeClr val="accent1"/>
              </a:buClr>
              <a:buFont typeface="Arial" panose="020B0604020202020204" pitchFamily="34" charset="0"/>
              <a:buChar char="■"/>
            </a:pPr>
            <a:r>
              <a:rPr lang="en-US" dirty="0">
                <a:latin typeface="Arial"/>
              </a:rPr>
              <a:t>After 1 week of stressed condition, pellets without BHT were slightly more yellow.</a:t>
            </a:r>
          </a:p>
        </p:txBody>
      </p:sp>
      <p:sp>
        <p:nvSpPr>
          <p:cNvPr id="28" name="Footer Placeholder 11">
            <a:extLst>
              <a:ext uri="{FF2B5EF4-FFF2-40B4-BE49-F238E27FC236}">
                <a16:creationId xmlns:a16="http://schemas.microsoft.com/office/drawing/2014/main" id="{36B5C356-7E39-D053-2A6A-B4CDA96E277E}"/>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26047087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77EBB38-4B6B-1B99-62E7-A2D9B35A526F}"/>
              </a:ext>
            </a:extLst>
          </p:cNvPr>
          <p:cNvGraphicFramePr>
            <a:graphicFrameLocks noChangeAspect="1"/>
          </p:cNvGraphicFramePr>
          <p:nvPr>
            <p:custDataLst>
              <p:tags r:id="rId1"/>
            </p:custDataLst>
            <p:extLst>
              <p:ext uri="{D42A27DB-BD31-4B8C-83A1-F6EECF244321}">
                <p14:modId xmlns:p14="http://schemas.microsoft.com/office/powerpoint/2010/main" val="3748133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7" name="think-cell data - do not delete" hidden="1">
                        <a:extLst>
                          <a:ext uri="{FF2B5EF4-FFF2-40B4-BE49-F238E27FC236}">
                            <a16:creationId xmlns:a16="http://schemas.microsoft.com/office/drawing/2014/main" id="{B77EBB38-4B6B-1B99-62E7-A2D9B35A52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1EE3CB-88A6-9846-0273-B29487B6AAC0}"/>
              </a:ext>
            </a:extLst>
          </p:cNvPr>
          <p:cNvSpPr>
            <a:spLocks noGrp="1"/>
          </p:cNvSpPr>
          <p:nvPr>
            <p:ph type="title"/>
          </p:nvPr>
        </p:nvSpPr>
        <p:spPr>
          <a:xfrm>
            <a:off x="108083" y="197563"/>
            <a:ext cx="12021233" cy="853200"/>
          </a:xfrm>
        </p:spPr>
        <p:txBody>
          <a:bodyPr vert="horz"/>
          <a:lstStyle/>
          <a:p>
            <a:r>
              <a:rPr lang="en-US" dirty="0"/>
              <a:t>MUPS of vardenafil 10 mg- Formulation – for stressed condition study: </a:t>
            </a:r>
            <a:endParaRPr lang="en-US" sz="2800" b="1" baseline="30000" dirty="0"/>
          </a:p>
        </p:txBody>
      </p:sp>
      <p:sp>
        <p:nvSpPr>
          <p:cNvPr id="6" name="Text Placeholder 5">
            <a:extLst>
              <a:ext uri="{FF2B5EF4-FFF2-40B4-BE49-F238E27FC236}">
                <a16:creationId xmlns:a16="http://schemas.microsoft.com/office/drawing/2014/main" id="{B66EA8C9-77CE-B963-7AC6-F60B658910B8}"/>
              </a:ext>
            </a:extLst>
          </p:cNvPr>
          <p:cNvSpPr>
            <a:spLocks noGrp="1"/>
          </p:cNvSpPr>
          <p:nvPr>
            <p:ph type="body" idx="1"/>
          </p:nvPr>
        </p:nvSpPr>
        <p:spPr>
          <a:xfrm>
            <a:off x="388708" y="1250904"/>
            <a:ext cx="8834720" cy="400282"/>
          </a:xfrm>
        </p:spPr>
        <p:txBody>
          <a:bodyPr/>
          <a:lstStyle/>
          <a:p>
            <a:pPr marL="0" indent="0">
              <a:buNone/>
            </a:pPr>
            <a:r>
              <a:rPr lang="en-US" sz="1800" b="1" dirty="0">
                <a:solidFill>
                  <a:schemeClr val="accent1"/>
                </a:solidFill>
              </a:rPr>
              <a:t>Formulation of MUPS of vardenafil </a:t>
            </a:r>
            <a:r>
              <a:rPr lang="en-US" sz="1800" b="1" dirty="0">
                <a:solidFill>
                  <a:schemeClr val="accent1"/>
                </a:solidFill>
                <a:effectLst/>
              </a:rPr>
              <a:t>pellets coated with Kollicoat</a:t>
            </a:r>
            <a:r>
              <a:rPr lang="en-US" sz="1800" b="1" baseline="30000" dirty="0">
                <a:solidFill>
                  <a:schemeClr val="accent1"/>
                </a:solidFill>
                <a:effectLst/>
              </a:rPr>
              <a:t>®</a:t>
            </a:r>
            <a:r>
              <a:rPr lang="en-US" sz="1800" b="1" dirty="0">
                <a:solidFill>
                  <a:schemeClr val="accent1"/>
                </a:solidFill>
                <a:effectLst/>
              </a:rPr>
              <a:t> Smartseal 30 D</a:t>
            </a:r>
            <a:endParaRPr lang="en-US" sz="1800" b="1" dirty="0">
              <a:solidFill>
                <a:schemeClr val="accent1"/>
              </a:solidFill>
            </a:endParaRPr>
          </a:p>
        </p:txBody>
      </p:sp>
      <p:sp>
        <p:nvSpPr>
          <p:cNvPr id="4" name="Slide Number Placeholder 3">
            <a:extLst>
              <a:ext uri="{FF2B5EF4-FFF2-40B4-BE49-F238E27FC236}">
                <a16:creationId xmlns:a16="http://schemas.microsoft.com/office/drawing/2014/main" id="{02B46B7E-F0D8-B93D-ABC1-E18A4C1A13D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82EA1D04-CA53-4DE3-84A8-2B63E41036C9}" type="slidenum">
              <a:rPr kumimoji="0" lang="en-US" sz="8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5</a:t>
            </a:fld>
            <a:endParaRPr kumimoji="0" lang="en-US" sz="800" b="1" i="0" u="none" strike="noStrike" kern="1200" cap="none" spc="0" normalizeH="0" baseline="0" noProof="0" dirty="0">
              <a:ln>
                <a:noFill/>
              </a:ln>
              <a:solidFill>
                <a:srgbClr val="000000"/>
              </a:solidFill>
              <a:effectLst/>
              <a:uLnTx/>
              <a:uFillTx/>
              <a:latin typeface="Arial" panose="020B0604020202020204"/>
              <a:cs typeface="Arial"/>
            </a:endParaRPr>
          </a:p>
        </p:txBody>
      </p:sp>
      <p:graphicFrame>
        <p:nvGraphicFramePr>
          <p:cNvPr id="8" name="Table 7">
            <a:extLst>
              <a:ext uri="{FF2B5EF4-FFF2-40B4-BE49-F238E27FC236}">
                <a16:creationId xmlns:a16="http://schemas.microsoft.com/office/drawing/2014/main" id="{33B970FF-C511-26BF-6941-1807426B6CF6}"/>
              </a:ext>
            </a:extLst>
          </p:cNvPr>
          <p:cNvGraphicFramePr>
            <a:graphicFrameLocks noGrp="1"/>
          </p:cNvGraphicFramePr>
          <p:nvPr>
            <p:extLst>
              <p:ext uri="{D42A27DB-BD31-4B8C-83A1-F6EECF244321}">
                <p14:modId xmlns:p14="http://schemas.microsoft.com/office/powerpoint/2010/main" val="4125970998"/>
              </p:ext>
            </p:extLst>
          </p:nvPr>
        </p:nvGraphicFramePr>
        <p:xfrm>
          <a:off x="388708" y="1651186"/>
          <a:ext cx="8685943" cy="3985303"/>
        </p:xfrm>
        <a:graphic>
          <a:graphicData uri="http://schemas.openxmlformats.org/drawingml/2006/table">
            <a:tbl>
              <a:tblPr firstRow="1" firstCol="1" bandRow="1">
                <a:tableStyleId>{3B4B98B0-60AC-42C2-AFA5-B58CD77FA1E5}</a:tableStyleId>
              </a:tblPr>
              <a:tblGrid>
                <a:gridCol w="3401937">
                  <a:extLst>
                    <a:ext uri="{9D8B030D-6E8A-4147-A177-3AD203B41FA5}">
                      <a16:colId xmlns:a16="http://schemas.microsoft.com/office/drawing/2014/main" val="2182592058"/>
                    </a:ext>
                  </a:extLst>
                </a:gridCol>
                <a:gridCol w="1692098">
                  <a:extLst>
                    <a:ext uri="{9D8B030D-6E8A-4147-A177-3AD203B41FA5}">
                      <a16:colId xmlns:a16="http://schemas.microsoft.com/office/drawing/2014/main" val="3376056949"/>
                    </a:ext>
                  </a:extLst>
                </a:gridCol>
                <a:gridCol w="1795954">
                  <a:extLst>
                    <a:ext uri="{9D8B030D-6E8A-4147-A177-3AD203B41FA5}">
                      <a16:colId xmlns:a16="http://schemas.microsoft.com/office/drawing/2014/main" val="1732131900"/>
                    </a:ext>
                  </a:extLst>
                </a:gridCol>
                <a:gridCol w="1795954">
                  <a:extLst>
                    <a:ext uri="{9D8B030D-6E8A-4147-A177-3AD203B41FA5}">
                      <a16:colId xmlns:a16="http://schemas.microsoft.com/office/drawing/2014/main" val="1187324612"/>
                    </a:ext>
                  </a:extLst>
                </a:gridCol>
              </a:tblGrid>
              <a:tr h="91669">
                <a:tc rowSpan="2">
                  <a:txBody>
                    <a:bodyPr/>
                    <a:lstStyle/>
                    <a:p>
                      <a:pPr marL="0" marR="0" algn="ctr">
                        <a:lnSpc>
                          <a:spcPct val="107000"/>
                        </a:lnSpc>
                        <a:spcBef>
                          <a:spcPts val="0"/>
                        </a:spcBef>
                        <a:spcAft>
                          <a:spcPts val="0"/>
                        </a:spcAft>
                      </a:pPr>
                      <a:r>
                        <a:rPr lang="en-US" sz="1600" b="1" dirty="0">
                          <a:solidFill>
                            <a:schemeClr val="bg1"/>
                          </a:solidFill>
                          <a:effectLst/>
                        </a:rPr>
                        <a:t>Materials</a:t>
                      </a:r>
                      <a:endParaRPr lang="en-US" sz="1600" dirty="0">
                        <a:solidFill>
                          <a:schemeClr val="bg1"/>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gridSpan="3">
                  <a:txBody>
                    <a:bodyPr/>
                    <a:lstStyle/>
                    <a:p>
                      <a:pPr marL="0" marR="0" algn="ctr">
                        <a:lnSpc>
                          <a:spcPct val="107000"/>
                        </a:lnSpc>
                        <a:spcBef>
                          <a:spcPts val="0"/>
                        </a:spcBef>
                        <a:spcAft>
                          <a:spcPts val="0"/>
                        </a:spcAft>
                      </a:pPr>
                      <a:r>
                        <a:rPr lang="en-US" sz="1600" b="1" dirty="0">
                          <a:solidFill>
                            <a:schemeClr val="bg1"/>
                          </a:solidFill>
                          <a:effectLst/>
                        </a:rPr>
                        <a:t>mg/tab</a:t>
                      </a:r>
                      <a:endParaRPr lang="en-US" sz="1600" dirty="0">
                        <a:solidFill>
                          <a:schemeClr val="bg1"/>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hMerge="1">
                  <a:txBody>
                    <a:bodyPr/>
                    <a:lstStyle/>
                    <a:p>
                      <a:pPr marL="0" marR="0" algn="ctr">
                        <a:lnSpc>
                          <a:spcPct val="107000"/>
                        </a:lnSpc>
                        <a:spcBef>
                          <a:spcPts val="0"/>
                        </a:spcBef>
                        <a:spcAft>
                          <a:spcPts val="0"/>
                        </a:spcAft>
                      </a:pP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gn="ctr">
                        <a:lnSpc>
                          <a:spcPct val="107000"/>
                        </a:lnSpc>
                        <a:spcBef>
                          <a:spcPts val="0"/>
                        </a:spcBef>
                        <a:spcAft>
                          <a:spcPts val="0"/>
                        </a:spcAft>
                      </a:pP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5336358"/>
                  </a:ext>
                </a:extLst>
              </a:tr>
              <a:tr h="192463">
                <a:tc vMerge="1">
                  <a:txBody>
                    <a:bodyPr/>
                    <a:lstStyle/>
                    <a:p>
                      <a:pPr marL="0" marR="0">
                        <a:lnSpc>
                          <a:spcPct val="107000"/>
                        </a:lnSpc>
                        <a:spcBef>
                          <a:spcPts val="0"/>
                        </a:spcBef>
                        <a:spcAft>
                          <a:spcPts val="0"/>
                        </a:spcAft>
                      </a:pP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800" dirty="0">
                          <a:solidFill>
                            <a:schemeClr val="bg1"/>
                          </a:solidFill>
                          <a:effectLst/>
                        </a:rPr>
                        <a:t>MUPS w/ Ludiflash</a:t>
                      </a:r>
                      <a:r>
                        <a:rPr lang="en-US" sz="1800" baseline="30000" dirty="0">
                          <a:solidFill>
                            <a:schemeClr val="bg1"/>
                          </a:solidFill>
                          <a:effectLst/>
                        </a:rPr>
                        <a:t>®</a:t>
                      </a:r>
                      <a:endParaRPr lang="en-US" sz="1800" dirty="0">
                        <a:solidFill>
                          <a:schemeClr val="bg1"/>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800" dirty="0">
                          <a:solidFill>
                            <a:schemeClr val="bg1"/>
                          </a:solidFill>
                          <a:effectLst/>
                        </a:rPr>
                        <a:t>MUPS w/ Ludipress</a:t>
                      </a:r>
                      <a:r>
                        <a:rPr lang="en-US" sz="1800" baseline="30000" dirty="0">
                          <a:solidFill>
                            <a:schemeClr val="bg1"/>
                          </a:solidFill>
                          <a:effectLst/>
                        </a:rPr>
                        <a:t>®</a:t>
                      </a:r>
                      <a:endParaRPr lang="en-US" sz="1800" dirty="0">
                        <a:solidFill>
                          <a:schemeClr val="bg1"/>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800" dirty="0">
                          <a:solidFill>
                            <a:schemeClr val="bg1"/>
                          </a:solidFill>
                          <a:effectLst/>
                        </a:rPr>
                        <a:t>MUPS w/</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sz="1800" dirty="0">
                          <a:solidFill>
                            <a:schemeClr val="bg1"/>
                          </a:solidFill>
                          <a:effectLst/>
                        </a:rPr>
                        <a:t> MCC 102</a:t>
                      </a:r>
                      <a:endParaRPr lang="en-US" sz="1800" dirty="0">
                        <a:solidFill>
                          <a:schemeClr val="bg1"/>
                        </a:solidFill>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accent1"/>
                    </a:solidFill>
                  </a:tcPr>
                </a:tc>
                <a:extLst>
                  <a:ext uri="{0D108BD9-81ED-4DB2-BD59-A6C34878D82A}">
                    <a16:rowId xmlns:a16="http://schemas.microsoft.com/office/drawing/2014/main" val="3078455058"/>
                  </a:ext>
                </a:extLst>
              </a:tr>
              <a:tr h="535872">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600" dirty="0">
                          <a:effectLst/>
                        </a:rPr>
                        <a:t>Vardenafil pellets coated with Kollicoat</a:t>
                      </a:r>
                      <a:r>
                        <a:rPr lang="en-US" sz="1600" baseline="30000" dirty="0">
                          <a:effectLst/>
                        </a:rPr>
                        <a:t>®</a:t>
                      </a:r>
                      <a:r>
                        <a:rPr lang="en-US" sz="1600" dirty="0">
                          <a:effectLst/>
                        </a:rPr>
                        <a:t> Smartseal 30% w/g</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US" sz="1600" dirty="0">
                          <a:effectLst/>
                        </a:rPr>
                        <a:t>(With and without BH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T w="12700" cap="flat" cmpd="sng" algn="ctr">
                      <a:solidFill>
                        <a:schemeClr val="bg2"/>
                      </a:solidFill>
                      <a:prstDash val="solid"/>
                      <a:round/>
                      <a:headEnd type="none" w="med" len="med"/>
                      <a:tailEnd type="none" w="med" len="med"/>
                    </a:lnT>
                  </a:tcPr>
                </a:tc>
                <a:tc>
                  <a:txBody>
                    <a:bodyPr/>
                    <a:lstStyle/>
                    <a:p>
                      <a:pPr marL="0" marR="0" algn="ctr">
                        <a:lnSpc>
                          <a:spcPct val="107000"/>
                        </a:lnSpc>
                        <a:spcBef>
                          <a:spcPts val="0"/>
                        </a:spcBef>
                        <a:spcAft>
                          <a:spcPts val="0"/>
                        </a:spcAft>
                      </a:pPr>
                      <a:r>
                        <a:rPr lang="en-US" sz="1600" kern="1200" dirty="0">
                          <a:solidFill>
                            <a:srgbClr val="000000"/>
                          </a:solidFill>
                          <a:effectLst/>
                        </a:rPr>
                        <a:t>225.985 </a:t>
                      </a:r>
                    </a:p>
                    <a:p>
                      <a:pPr marL="0" marR="0" algn="ctr">
                        <a:lnSpc>
                          <a:spcPct val="107000"/>
                        </a:lnSpc>
                        <a:spcBef>
                          <a:spcPts val="0"/>
                        </a:spcBef>
                        <a:spcAft>
                          <a:spcPts val="0"/>
                        </a:spcAft>
                      </a:pPr>
                      <a:r>
                        <a:rPr lang="en-US" sz="1600" kern="1200" dirty="0">
                          <a:solidFill>
                            <a:srgbClr val="000000"/>
                          </a:solidFill>
                          <a:effectLst/>
                        </a:rPr>
                        <a:t>(eq. to 10 mg of vardenafil bas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T w="12700" cap="flat" cmpd="sng" algn="ctr">
                      <a:solidFill>
                        <a:schemeClr val="bg2"/>
                      </a:solidFill>
                      <a:prstDash val="solid"/>
                      <a:round/>
                      <a:headEnd type="none" w="med" len="med"/>
                      <a:tailEnd type="none" w="med" len="med"/>
                    </a:lnT>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kern="1200" dirty="0">
                          <a:solidFill>
                            <a:srgbClr val="000000"/>
                          </a:solidFill>
                          <a:effectLst/>
                        </a:rPr>
                        <a:t>225.985 </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kern="1200" dirty="0">
                          <a:solidFill>
                            <a:srgbClr val="000000"/>
                          </a:solidFill>
                          <a:effectLst/>
                        </a:rPr>
                        <a:t>(eq. to 10 mg of vardenafil bas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T w="12700" cap="flat" cmpd="sng" algn="ctr">
                      <a:solidFill>
                        <a:schemeClr val="bg2"/>
                      </a:solidFill>
                      <a:prstDash val="solid"/>
                      <a:round/>
                      <a:headEnd type="none" w="med" len="med"/>
                      <a:tailEnd type="none" w="med" len="med"/>
                    </a:lnT>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kern="1200" dirty="0">
                          <a:solidFill>
                            <a:srgbClr val="000000"/>
                          </a:solidFill>
                          <a:effectLst/>
                        </a:rPr>
                        <a:t>225.985 </a:t>
                      </a:r>
                    </a:p>
                    <a:p>
                      <a:pPr marL="0" marR="0" algn="ctr">
                        <a:lnSpc>
                          <a:spcPct val="107000"/>
                        </a:lnSpc>
                        <a:spcBef>
                          <a:spcPts val="0"/>
                        </a:spcBef>
                        <a:spcAft>
                          <a:spcPts val="0"/>
                        </a:spcAft>
                      </a:pPr>
                      <a:r>
                        <a:rPr lang="en-US" sz="1600" kern="1200" dirty="0">
                          <a:solidFill>
                            <a:srgbClr val="000000"/>
                          </a:solidFill>
                          <a:effectLst/>
                        </a:rPr>
                        <a:t>(eq. to 10 mg of vardenafil bas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lnT w="12700" cap="flat" cmpd="sng" algn="ctr">
                      <a:solidFill>
                        <a:schemeClr val="bg2"/>
                      </a:solidFill>
                      <a:prstDash val="solid"/>
                      <a:round/>
                      <a:headEnd type="none" w="med" len="med"/>
                      <a:tailEnd type="none" w="med" len="med"/>
                    </a:lnT>
                  </a:tcPr>
                </a:tc>
                <a:extLst>
                  <a:ext uri="{0D108BD9-81ED-4DB2-BD59-A6C34878D82A}">
                    <a16:rowId xmlns:a16="http://schemas.microsoft.com/office/drawing/2014/main" val="2479088126"/>
                  </a:ext>
                </a:extLst>
              </a:tr>
              <a:tr h="382130">
                <a:tc>
                  <a:txBody>
                    <a:bodyPr/>
                    <a:lstStyle/>
                    <a:p>
                      <a:pPr marL="0" marR="0">
                        <a:lnSpc>
                          <a:spcPct val="107000"/>
                        </a:lnSpc>
                        <a:spcBef>
                          <a:spcPts val="0"/>
                        </a:spcBef>
                        <a:spcAft>
                          <a:spcPts val="0"/>
                        </a:spcAft>
                      </a:pPr>
                      <a:r>
                        <a:rPr lang="en-US" sz="1600" dirty="0">
                          <a:effectLst/>
                        </a:rPr>
                        <a:t>Ludiflash</a:t>
                      </a:r>
                      <a:r>
                        <a:rPr lang="en-US" sz="1600" baseline="30000" dirty="0">
                          <a:effectLst/>
                        </a:rPr>
                        <a: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kern="1200" dirty="0">
                          <a:solidFill>
                            <a:srgbClr val="000000"/>
                          </a:solidFill>
                          <a:effectLst/>
                        </a:rPr>
                        <a:t>221.135</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419183224"/>
                  </a:ext>
                </a:extLst>
              </a:tr>
              <a:tr h="317241">
                <a:tc>
                  <a:txBody>
                    <a:bodyPr/>
                    <a:lstStyle/>
                    <a:p>
                      <a:pPr marL="0" marR="0">
                        <a:lnSpc>
                          <a:spcPct val="107000"/>
                        </a:lnSpc>
                        <a:spcBef>
                          <a:spcPts val="0"/>
                        </a:spcBef>
                        <a:spcAft>
                          <a:spcPts val="0"/>
                        </a:spcAft>
                      </a:pPr>
                      <a:r>
                        <a:rPr lang="en-US" sz="1600" dirty="0">
                          <a:effectLst/>
                        </a:rPr>
                        <a:t>Ludipress</a:t>
                      </a:r>
                      <a:r>
                        <a:rPr lang="en-US" sz="1600" baseline="30000" dirty="0">
                          <a:effectLst/>
                        </a:rPr>
                        <a: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kern="1200" dirty="0">
                          <a:solidFill>
                            <a:srgbClr val="000000"/>
                          </a:solidFill>
                          <a:effectLst/>
                        </a:rPr>
                        <a:t>221.135</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408901001"/>
                  </a:ext>
                </a:extLst>
              </a:tr>
              <a:tr h="375826">
                <a:tc>
                  <a:txBody>
                    <a:bodyPr/>
                    <a:lstStyle/>
                    <a:p>
                      <a:pPr marL="0" marR="0">
                        <a:lnSpc>
                          <a:spcPct val="107000"/>
                        </a:lnSpc>
                        <a:spcBef>
                          <a:spcPts val="0"/>
                        </a:spcBef>
                        <a:spcAft>
                          <a:spcPts val="0"/>
                        </a:spcAft>
                      </a:pPr>
                      <a:r>
                        <a:rPr lang="en-US" sz="1600" dirty="0">
                          <a:effectLst/>
                        </a:rPr>
                        <a:t>MCC 102</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kern="1200" dirty="0">
                          <a:solidFill>
                            <a:srgbClr val="000000"/>
                          </a:solidFill>
                          <a:effectLst/>
                        </a:rPr>
                        <a:t>221.135</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850421783"/>
                  </a:ext>
                </a:extLst>
              </a:tr>
              <a:tr h="344571">
                <a:tc>
                  <a:txBody>
                    <a:bodyPr/>
                    <a:lstStyle/>
                    <a:p>
                      <a:pPr marL="0" marR="0">
                        <a:lnSpc>
                          <a:spcPct val="107000"/>
                        </a:lnSpc>
                        <a:spcBef>
                          <a:spcPts val="0"/>
                        </a:spcBef>
                        <a:spcAft>
                          <a:spcPts val="0"/>
                        </a:spcAft>
                      </a:pPr>
                      <a:r>
                        <a:rPr lang="en-US" sz="1600" dirty="0">
                          <a:effectLst/>
                        </a:rPr>
                        <a:t>Kollidon</a:t>
                      </a:r>
                      <a:r>
                        <a:rPr lang="en-US" sz="1600" baseline="30000" dirty="0">
                          <a:effectLst/>
                        </a:rPr>
                        <a:t>®</a:t>
                      </a:r>
                      <a:r>
                        <a:rPr lang="en-US" sz="1600" dirty="0">
                          <a:effectLst/>
                        </a:rPr>
                        <a:t> CL SF (crospovidon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kern="1200" dirty="0">
                          <a:solidFill>
                            <a:srgbClr val="000000"/>
                          </a:solidFill>
                          <a:effectLst/>
                        </a:rPr>
                        <a:t>11.175</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kern="1200" dirty="0">
                          <a:solidFill>
                            <a:srgbClr val="000000"/>
                          </a:solidFill>
                          <a:effectLst/>
                        </a:rPr>
                        <a:t>11.175</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kern="1200" dirty="0">
                          <a:solidFill>
                            <a:srgbClr val="000000"/>
                          </a:solidFill>
                          <a:effectLst/>
                        </a:rPr>
                        <a:t>11.175</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743332504"/>
                  </a:ext>
                </a:extLst>
              </a:tr>
              <a:tr h="354564">
                <a:tc>
                  <a:txBody>
                    <a:bodyPr/>
                    <a:lstStyle/>
                    <a:p>
                      <a:pPr marL="0" marR="0">
                        <a:lnSpc>
                          <a:spcPct val="107000"/>
                        </a:lnSpc>
                        <a:spcBef>
                          <a:spcPts val="0"/>
                        </a:spcBef>
                        <a:spcAft>
                          <a:spcPts val="0"/>
                        </a:spcAft>
                      </a:pPr>
                      <a:r>
                        <a:rPr lang="en-US" sz="1600" dirty="0">
                          <a:effectLst/>
                        </a:rPr>
                        <a:t>Fumed silica</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kern="1200" dirty="0">
                          <a:solidFill>
                            <a:srgbClr val="000000"/>
                          </a:solidFill>
                          <a:effectLst/>
                        </a:rPr>
                        <a:t>2.235</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kern="1200" dirty="0">
                          <a:solidFill>
                            <a:srgbClr val="000000"/>
                          </a:solidFill>
                          <a:effectLst/>
                        </a:rPr>
                        <a:t>2.235</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kern="1200" dirty="0">
                          <a:solidFill>
                            <a:srgbClr val="000000"/>
                          </a:solidFill>
                          <a:effectLst/>
                        </a:rPr>
                        <a:t>2.235</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068876453"/>
                  </a:ext>
                </a:extLst>
              </a:tr>
              <a:tr h="335902">
                <a:tc>
                  <a:txBody>
                    <a:bodyPr/>
                    <a:lstStyle/>
                    <a:p>
                      <a:pPr marL="0" marR="0">
                        <a:lnSpc>
                          <a:spcPct val="107000"/>
                        </a:lnSpc>
                        <a:spcBef>
                          <a:spcPts val="0"/>
                        </a:spcBef>
                        <a:spcAft>
                          <a:spcPts val="0"/>
                        </a:spcAft>
                      </a:pPr>
                      <a:r>
                        <a:rPr lang="en-US" sz="1600" dirty="0">
                          <a:effectLst/>
                        </a:rPr>
                        <a:t>Sodium stearyl fumarat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kern="1200" dirty="0">
                          <a:solidFill>
                            <a:srgbClr val="000000"/>
                          </a:solidFill>
                          <a:effectLst/>
                        </a:rPr>
                        <a:t>4.47</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kern="1200" dirty="0">
                          <a:solidFill>
                            <a:srgbClr val="000000"/>
                          </a:solidFill>
                          <a:effectLst/>
                        </a:rPr>
                        <a:t>4.47</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kern="1200" dirty="0">
                          <a:solidFill>
                            <a:srgbClr val="000000"/>
                          </a:solidFill>
                          <a:effectLst/>
                        </a:rPr>
                        <a:t>4.47</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93679010"/>
                  </a:ext>
                </a:extLst>
              </a:tr>
              <a:tr h="303634">
                <a:tc>
                  <a:txBody>
                    <a:bodyPr/>
                    <a:lstStyle/>
                    <a:p>
                      <a:pPr marL="0" marR="0">
                        <a:lnSpc>
                          <a:spcPct val="107000"/>
                        </a:lnSpc>
                        <a:spcBef>
                          <a:spcPts val="0"/>
                        </a:spcBef>
                        <a:spcAft>
                          <a:spcPts val="0"/>
                        </a:spcAft>
                      </a:pPr>
                      <a:r>
                        <a:rPr lang="en-US" sz="1600" dirty="0">
                          <a:effectLst/>
                        </a:rPr>
                        <a:t>Total</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b="1" kern="1200" dirty="0">
                          <a:solidFill>
                            <a:srgbClr val="000000"/>
                          </a:solidFill>
                          <a:effectLst/>
                        </a:rPr>
                        <a:t>465.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b="1" kern="1200" dirty="0">
                          <a:solidFill>
                            <a:srgbClr val="000000"/>
                          </a:solidFill>
                          <a:effectLst/>
                        </a:rPr>
                        <a:t>465.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b="1" kern="1200" dirty="0">
                          <a:solidFill>
                            <a:srgbClr val="000000"/>
                          </a:solidFill>
                          <a:effectLst/>
                        </a:rPr>
                        <a:t>465.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85289375"/>
                  </a:ext>
                </a:extLst>
              </a:tr>
            </a:tbl>
          </a:graphicData>
        </a:graphic>
      </p:graphicFrame>
      <p:sp>
        <p:nvSpPr>
          <p:cNvPr id="3" name="Footer Placeholder 11">
            <a:extLst>
              <a:ext uri="{FF2B5EF4-FFF2-40B4-BE49-F238E27FC236}">
                <a16:creationId xmlns:a16="http://schemas.microsoft.com/office/drawing/2014/main" id="{99AEDFEA-B49B-5F9B-01C4-A273EA0EE5E6}"/>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9" name="TextBox 8">
            <a:extLst>
              <a:ext uri="{FF2B5EF4-FFF2-40B4-BE49-F238E27FC236}">
                <a16:creationId xmlns:a16="http://schemas.microsoft.com/office/drawing/2014/main" id="{0FA72E84-3C7A-1044-36D2-14206EE5AA6B}"/>
              </a:ext>
            </a:extLst>
          </p:cNvPr>
          <p:cNvSpPr txBox="1"/>
          <p:nvPr/>
        </p:nvSpPr>
        <p:spPr>
          <a:xfrm>
            <a:off x="9489040" y="2377036"/>
            <a:ext cx="2418080" cy="1214179"/>
          </a:xfrm>
          <a:prstGeom prst="rect">
            <a:avLst/>
          </a:prstGeom>
          <a:noFill/>
        </p:spPr>
        <p:txBody>
          <a:bodyPr wrap="square">
            <a:spAutoFit/>
          </a:bodyPr>
          <a:lstStyle/>
          <a:p>
            <a:pPr marL="0" lvl="1" defTabSz="400050">
              <a:lnSpc>
                <a:spcPct val="90000"/>
              </a:lnSpc>
              <a:spcBef>
                <a:spcPct val="0"/>
              </a:spcBef>
              <a:spcAft>
                <a:spcPct val="15000"/>
              </a:spcAft>
              <a:buClr>
                <a:srgbClr val="004A96"/>
              </a:buClr>
            </a:pPr>
            <a:r>
              <a:rPr lang="en-US" sz="1800" b="1" dirty="0">
                <a:solidFill>
                  <a:schemeClr val="accent1"/>
                </a:solidFill>
                <a:latin typeface="+mn-lt"/>
                <a:cs typeface="+mn-cs"/>
              </a:rPr>
              <a:t>Ludipress</a:t>
            </a:r>
            <a:r>
              <a:rPr lang="en-US" sz="1800" b="1" baseline="30000" dirty="0">
                <a:solidFill>
                  <a:schemeClr val="accent1"/>
                </a:solidFill>
                <a:effectLst/>
              </a:rPr>
              <a:t>®</a:t>
            </a:r>
            <a:endParaRPr lang="en-US" sz="1800" b="1" dirty="0">
              <a:solidFill>
                <a:schemeClr val="accent1"/>
              </a:solidFill>
              <a:latin typeface="+mn-lt"/>
              <a:cs typeface="+mn-cs"/>
            </a:endParaRPr>
          </a:p>
          <a:p>
            <a:pPr marL="171450" lvl="1" indent="-171450" defTabSz="400050">
              <a:lnSpc>
                <a:spcPct val="90000"/>
              </a:lnSpc>
              <a:spcBef>
                <a:spcPct val="0"/>
              </a:spcBef>
              <a:spcAft>
                <a:spcPct val="15000"/>
              </a:spcAft>
              <a:buClr>
                <a:schemeClr val="accent1"/>
              </a:buClr>
              <a:buFont typeface="Wingdings" panose="05000000000000000000" pitchFamily="2" charset="2"/>
              <a:buChar char="ü"/>
            </a:pPr>
            <a:r>
              <a:rPr lang="en-US" sz="1800" dirty="0">
                <a:solidFill>
                  <a:srgbClr val="000000"/>
                </a:solidFill>
                <a:latin typeface="+mn-lt"/>
                <a:cs typeface="+mn-cs"/>
              </a:rPr>
              <a:t>α-lactose (1 x H</a:t>
            </a:r>
            <a:r>
              <a:rPr lang="en-US" sz="1800" baseline="-25000" dirty="0">
                <a:solidFill>
                  <a:srgbClr val="000000"/>
                </a:solidFill>
                <a:latin typeface="+mn-lt"/>
                <a:cs typeface="+mn-cs"/>
              </a:rPr>
              <a:t>2</a:t>
            </a:r>
            <a:r>
              <a:rPr lang="en-US" sz="1800" dirty="0">
                <a:solidFill>
                  <a:srgbClr val="000000"/>
                </a:solidFill>
                <a:latin typeface="+mn-lt"/>
                <a:cs typeface="+mn-cs"/>
              </a:rPr>
              <a:t>O)</a:t>
            </a:r>
          </a:p>
          <a:p>
            <a:pPr marL="171450" lvl="1" indent="-171450" defTabSz="400050">
              <a:lnSpc>
                <a:spcPct val="90000"/>
              </a:lnSpc>
              <a:spcBef>
                <a:spcPct val="0"/>
              </a:spcBef>
              <a:spcAft>
                <a:spcPct val="15000"/>
              </a:spcAft>
              <a:buClr>
                <a:schemeClr val="accent1"/>
              </a:buClr>
              <a:buFont typeface="Wingdings" panose="05000000000000000000" pitchFamily="2" charset="2"/>
              <a:buChar char="ü"/>
            </a:pPr>
            <a:r>
              <a:rPr lang="en-US" sz="1800" dirty="0">
                <a:solidFill>
                  <a:srgbClr val="000000"/>
                </a:solidFill>
                <a:latin typeface="+mn-lt"/>
                <a:cs typeface="+mn-cs"/>
              </a:rPr>
              <a:t>Kollidon</a:t>
            </a:r>
            <a:r>
              <a:rPr lang="en-US" sz="1800" baseline="30000" dirty="0">
                <a:solidFill>
                  <a:srgbClr val="000000"/>
                </a:solidFill>
                <a:latin typeface="+mn-lt"/>
                <a:cs typeface="+mn-cs"/>
              </a:rPr>
              <a:t>®</a:t>
            </a:r>
            <a:r>
              <a:rPr lang="en-US" sz="1800" dirty="0">
                <a:solidFill>
                  <a:srgbClr val="000000"/>
                </a:solidFill>
                <a:latin typeface="+mn-lt"/>
                <a:cs typeface="+mn-cs"/>
              </a:rPr>
              <a:t> 30</a:t>
            </a:r>
          </a:p>
          <a:p>
            <a:pPr marL="171450" lvl="1" indent="-171450" defTabSz="400050">
              <a:lnSpc>
                <a:spcPct val="90000"/>
              </a:lnSpc>
              <a:spcBef>
                <a:spcPct val="0"/>
              </a:spcBef>
              <a:spcAft>
                <a:spcPct val="15000"/>
              </a:spcAft>
              <a:buClr>
                <a:schemeClr val="accent1"/>
              </a:buClr>
              <a:buFont typeface="Wingdings" panose="05000000000000000000" pitchFamily="2" charset="2"/>
              <a:buChar char="ü"/>
            </a:pPr>
            <a:r>
              <a:rPr lang="en-US" sz="1800" dirty="0">
                <a:solidFill>
                  <a:srgbClr val="000000"/>
                </a:solidFill>
                <a:latin typeface="+mn-lt"/>
                <a:cs typeface="+mn-cs"/>
              </a:rPr>
              <a:t>Kollidon</a:t>
            </a:r>
            <a:r>
              <a:rPr lang="en-US" sz="1800" baseline="30000" dirty="0">
                <a:solidFill>
                  <a:srgbClr val="000000"/>
                </a:solidFill>
                <a:latin typeface="+mn-lt"/>
                <a:cs typeface="+mn-cs"/>
              </a:rPr>
              <a:t>®</a:t>
            </a:r>
            <a:r>
              <a:rPr lang="en-US" sz="1800" dirty="0">
                <a:solidFill>
                  <a:srgbClr val="000000"/>
                </a:solidFill>
                <a:latin typeface="+mn-lt"/>
                <a:cs typeface="+mn-cs"/>
              </a:rPr>
              <a:t> CL</a:t>
            </a:r>
          </a:p>
        </p:txBody>
      </p:sp>
      <p:sp>
        <p:nvSpPr>
          <p:cNvPr id="11" name="TextBox 10">
            <a:extLst>
              <a:ext uri="{FF2B5EF4-FFF2-40B4-BE49-F238E27FC236}">
                <a16:creationId xmlns:a16="http://schemas.microsoft.com/office/drawing/2014/main" id="{981C036E-BBBC-4496-5667-E3CF8CFB2494}"/>
              </a:ext>
            </a:extLst>
          </p:cNvPr>
          <p:cNvSpPr txBox="1"/>
          <p:nvPr/>
        </p:nvSpPr>
        <p:spPr>
          <a:xfrm>
            <a:off x="9529680" y="4183051"/>
            <a:ext cx="2377440" cy="1214179"/>
          </a:xfrm>
          <a:prstGeom prst="rect">
            <a:avLst/>
          </a:prstGeom>
          <a:noFill/>
        </p:spPr>
        <p:txBody>
          <a:bodyPr wrap="square">
            <a:spAutoFit/>
          </a:bodyPr>
          <a:lstStyle/>
          <a:p>
            <a:pPr marL="0" lvl="1" defTabSz="400050">
              <a:lnSpc>
                <a:spcPct val="90000"/>
              </a:lnSpc>
              <a:spcBef>
                <a:spcPct val="0"/>
              </a:spcBef>
              <a:spcAft>
                <a:spcPct val="15000"/>
              </a:spcAft>
              <a:buClr>
                <a:srgbClr val="004A96"/>
              </a:buClr>
            </a:pPr>
            <a:r>
              <a:rPr lang="en-US" sz="1800" b="1" dirty="0">
                <a:solidFill>
                  <a:schemeClr val="accent1"/>
                </a:solidFill>
                <a:latin typeface="+mn-lt"/>
                <a:cs typeface="+mn-cs"/>
              </a:rPr>
              <a:t>Ludiflash</a:t>
            </a:r>
            <a:r>
              <a:rPr lang="en-US" sz="1800" b="1" baseline="30000" dirty="0">
                <a:solidFill>
                  <a:schemeClr val="accent1"/>
                </a:solidFill>
                <a:effectLst/>
              </a:rPr>
              <a:t>®</a:t>
            </a:r>
            <a:endParaRPr lang="en-US" sz="1800" b="1" dirty="0">
              <a:solidFill>
                <a:schemeClr val="accent1"/>
              </a:solidFill>
              <a:latin typeface="+mn-lt"/>
              <a:cs typeface="+mn-cs"/>
            </a:endParaRPr>
          </a:p>
          <a:p>
            <a:pPr marL="171450" lvl="1" indent="-171450" defTabSz="400050">
              <a:lnSpc>
                <a:spcPct val="90000"/>
              </a:lnSpc>
              <a:spcBef>
                <a:spcPct val="0"/>
              </a:spcBef>
              <a:spcAft>
                <a:spcPct val="15000"/>
              </a:spcAft>
              <a:buClr>
                <a:schemeClr val="accent1"/>
              </a:buClr>
              <a:buFont typeface="Wingdings" panose="05000000000000000000" pitchFamily="2" charset="2"/>
              <a:buChar char="ü"/>
            </a:pPr>
            <a:r>
              <a:rPr lang="en-US" sz="1800" dirty="0">
                <a:solidFill>
                  <a:srgbClr val="000000"/>
                </a:solidFill>
                <a:latin typeface="+mn-lt"/>
                <a:cs typeface="+mn-cs"/>
              </a:rPr>
              <a:t>D-mannitol</a:t>
            </a:r>
          </a:p>
          <a:p>
            <a:pPr marL="171450" lvl="1" indent="-171450" defTabSz="400050">
              <a:lnSpc>
                <a:spcPct val="90000"/>
              </a:lnSpc>
              <a:spcBef>
                <a:spcPct val="0"/>
              </a:spcBef>
              <a:spcAft>
                <a:spcPct val="15000"/>
              </a:spcAft>
              <a:buClr>
                <a:schemeClr val="accent1"/>
              </a:buClr>
              <a:buFont typeface="Wingdings" panose="05000000000000000000" pitchFamily="2" charset="2"/>
              <a:buChar char="ü"/>
            </a:pPr>
            <a:r>
              <a:rPr lang="en-US" sz="1800" dirty="0">
                <a:solidFill>
                  <a:srgbClr val="000000"/>
                </a:solidFill>
                <a:latin typeface="+mn-lt"/>
                <a:cs typeface="+mn-cs"/>
              </a:rPr>
              <a:t>Kollicoat</a:t>
            </a:r>
            <a:r>
              <a:rPr lang="en-US" sz="1800" baseline="30000" dirty="0">
                <a:solidFill>
                  <a:srgbClr val="000000"/>
                </a:solidFill>
                <a:latin typeface="+mn-lt"/>
                <a:cs typeface="+mn-cs"/>
              </a:rPr>
              <a:t>®</a:t>
            </a:r>
            <a:r>
              <a:rPr lang="en-US" sz="1800" dirty="0">
                <a:solidFill>
                  <a:srgbClr val="000000"/>
                </a:solidFill>
                <a:latin typeface="+mn-lt"/>
                <a:cs typeface="+mn-cs"/>
              </a:rPr>
              <a:t> SR 30 D*</a:t>
            </a:r>
          </a:p>
          <a:p>
            <a:pPr marL="171450" lvl="1" indent="-171450" defTabSz="400050">
              <a:lnSpc>
                <a:spcPct val="90000"/>
              </a:lnSpc>
              <a:spcBef>
                <a:spcPct val="0"/>
              </a:spcBef>
              <a:spcAft>
                <a:spcPct val="15000"/>
              </a:spcAft>
              <a:buClr>
                <a:schemeClr val="accent1"/>
              </a:buClr>
              <a:buFont typeface="Wingdings" panose="05000000000000000000" pitchFamily="2" charset="2"/>
              <a:buChar char="ü"/>
            </a:pPr>
            <a:r>
              <a:rPr lang="en-US" sz="1800" dirty="0">
                <a:solidFill>
                  <a:srgbClr val="000000"/>
                </a:solidFill>
                <a:latin typeface="+mn-lt"/>
                <a:cs typeface="+mn-cs"/>
              </a:rPr>
              <a:t>Kollidon</a:t>
            </a:r>
            <a:r>
              <a:rPr lang="en-US" sz="1800" baseline="30000" dirty="0">
                <a:solidFill>
                  <a:srgbClr val="000000"/>
                </a:solidFill>
                <a:latin typeface="+mn-lt"/>
                <a:cs typeface="+mn-cs"/>
              </a:rPr>
              <a:t>®</a:t>
            </a:r>
            <a:r>
              <a:rPr lang="en-US" sz="1800" dirty="0">
                <a:solidFill>
                  <a:srgbClr val="000000"/>
                </a:solidFill>
                <a:latin typeface="+mn-lt"/>
                <a:cs typeface="+mn-cs"/>
              </a:rPr>
              <a:t> CL-SF </a:t>
            </a:r>
          </a:p>
        </p:txBody>
      </p:sp>
      <p:sp>
        <p:nvSpPr>
          <p:cNvPr id="12" name="TextBox 11">
            <a:extLst>
              <a:ext uri="{FF2B5EF4-FFF2-40B4-BE49-F238E27FC236}">
                <a16:creationId xmlns:a16="http://schemas.microsoft.com/office/drawing/2014/main" id="{CA77389E-1239-B170-5A9D-77463EFDDD06}"/>
              </a:ext>
            </a:extLst>
          </p:cNvPr>
          <p:cNvSpPr txBox="1"/>
          <p:nvPr/>
        </p:nvSpPr>
        <p:spPr>
          <a:xfrm>
            <a:off x="9331560" y="5613754"/>
            <a:ext cx="2773680" cy="249299"/>
          </a:xfrm>
          <a:prstGeom prst="rect">
            <a:avLst/>
          </a:prstGeom>
          <a:noFill/>
        </p:spPr>
        <p:txBody>
          <a:bodyPr wrap="square" lIns="0" tIns="0" rIns="0" bIns="0" rtlCol="0">
            <a:spAutoFit/>
          </a:bodyPr>
          <a:lstStyle/>
          <a:p>
            <a:pPr marL="0" lvl="1" defTabSz="400050">
              <a:lnSpc>
                <a:spcPct val="90000"/>
              </a:lnSpc>
              <a:spcBef>
                <a:spcPct val="0"/>
              </a:spcBef>
              <a:spcAft>
                <a:spcPct val="15000"/>
              </a:spcAft>
              <a:buClr>
                <a:srgbClr val="004A96"/>
              </a:buClr>
            </a:pPr>
            <a:r>
              <a:rPr lang="en-US" dirty="0"/>
              <a:t>*</a:t>
            </a:r>
            <a:r>
              <a:rPr lang="en-US" sz="1200" dirty="0">
                <a:solidFill>
                  <a:srgbClr val="000000"/>
                </a:solidFill>
                <a:latin typeface="+mn-lt"/>
                <a:cs typeface="+mn-cs"/>
              </a:rPr>
              <a:t>Polyvinyl acetate (PVAc) + Kollidon</a:t>
            </a:r>
            <a:r>
              <a:rPr lang="en-US" sz="1200" baseline="30000" dirty="0">
                <a:solidFill>
                  <a:srgbClr val="000000"/>
                </a:solidFill>
                <a:latin typeface="+mn-lt"/>
                <a:cs typeface="+mn-cs"/>
              </a:rPr>
              <a:t>®</a:t>
            </a:r>
            <a:r>
              <a:rPr lang="en-US" sz="1200" dirty="0">
                <a:solidFill>
                  <a:srgbClr val="000000"/>
                </a:solidFill>
                <a:latin typeface="+mn-lt"/>
                <a:cs typeface="+mn-cs"/>
              </a:rPr>
              <a:t> 30</a:t>
            </a:r>
            <a:endParaRPr lang="en-US" dirty="0"/>
          </a:p>
        </p:txBody>
      </p:sp>
    </p:spTree>
    <p:extLst>
      <p:ext uri="{BB962C8B-B14F-4D97-AF65-F5344CB8AC3E}">
        <p14:creationId xmlns:p14="http://schemas.microsoft.com/office/powerpoint/2010/main" val="138555130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77EBB38-4B6B-1B99-62E7-A2D9B35A526F}"/>
              </a:ext>
            </a:extLst>
          </p:cNvPr>
          <p:cNvGraphicFramePr>
            <a:graphicFrameLocks noChangeAspect="1"/>
          </p:cNvGraphicFramePr>
          <p:nvPr>
            <p:custDataLst>
              <p:tags r:id="rId1"/>
            </p:custDataLst>
            <p:extLst>
              <p:ext uri="{D42A27DB-BD31-4B8C-83A1-F6EECF244321}">
                <p14:modId xmlns:p14="http://schemas.microsoft.com/office/powerpoint/2010/main" val="513076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7" name="think-cell data - do not delete" hidden="1">
                        <a:extLst>
                          <a:ext uri="{FF2B5EF4-FFF2-40B4-BE49-F238E27FC236}">
                            <a16:creationId xmlns:a16="http://schemas.microsoft.com/office/drawing/2014/main" id="{B77EBB38-4B6B-1B99-62E7-A2D9B35A52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1EE3CB-88A6-9846-0273-B29487B6AAC0}"/>
              </a:ext>
            </a:extLst>
          </p:cNvPr>
          <p:cNvSpPr>
            <a:spLocks noGrp="1"/>
          </p:cNvSpPr>
          <p:nvPr>
            <p:ph type="title"/>
          </p:nvPr>
        </p:nvSpPr>
        <p:spPr>
          <a:xfrm>
            <a:off x="304162" y="277646"/>
            <a:ext cx="11736000" cy="853200"/>
          </a:xfrm>
        </p:spPr>
        <p:txBody>
          <a:bodyPr vert="horz"/>
          <a:lstStyle/>
          <a:p>
            <a:r>
              <a:rPr lang="en-US" dirty="0"/>
              <a:t>MUPS of vardenafil 10 mg- Tableting</a:t>
            </a:r>
            <a:endParaRPr lang="en-US" sz="2800" b="1" baseline="30000" dirty="0"/>
          </a:p>
        </p:txBody>
      </p:sp>
      <p:sp>
        <p:nvSpPr>
          <p:cNvPr id="4" name="Slide Number Placeholder 3">
            <a:extLst>
              <a:ext uri="{FF2B5EF4-FFF2-40B4-BE49-F238E27FC236}">
                <a16:creationId xmlns:a16="http://schemas.microsoft.com/office/drawing/2014/main" id="{02B46B7E-F0D8-B93D-ABC1-E18A4C1A13D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82EA1D04-CA53-4DE3-84A8-2B63E41036C9}" type="slidenum">
              <a:rPr kumimoji="0" lang="en-US" sz="8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6</a:t>
            </a:fld>
            <a:endParaRPr kumimoji="0" lang="en-US" sz="800" b="1" i="0" u="none" strike="noStrike" kern="1200" cap="none" spc="0" normalizeH="0" baseline="0" noProof="0" dirty="0">
              <a:ln>
                <a:noFill/>
              </a:ln>
              <a:solidFill>
                <a:srgbClr val="000000"/>
              </a:solidFill>
              <a:effectLst/>
              <a:uLnTx/>
              <a:uFillTx/>
              <a:latin typeface="Arial" panose="020B0604020202020204"/>
              <a:cs typeface="Arial"/>
            </a:endParaRPr>
          </a:p>
        </p:txBody>
      </p:sp>
      <p:graphicFrame>
        <p:nvGraphicFramePr>
          <p:cNvPr id="9" name="Table 8">
            <a:extLst>
              <a:ext uri="{FF2B5EF4-FFF2-40B4-BE49-F238E27FC236}">
                <a16:creationId xmlns:a16="http://schemas.microsoft.com/office/drawing/2014/main" id="{AAC827E3-943B-A577-7232-FF77B47E9278}"/>
              </a:ext>
            </a:extLst>
          </p:cNvPr>
          <p:cNvGraphicFramePr>
            <a:graphicFrameLocks noGrp="1"/>
          </p:cNvGraphicFramePr>
          <p:nvPr>
            <p:extLst>
              <p:ext uri="{D42A27DB-BD31-4B8C-83A1-F6EECF244321}">
                <p14:modId xmlns:p14="http://schemas.microsoft.com/office/powerpoint/2010/main" val="1596235005"/>
              </p:ext>
            </p:extLst>
          </p:nvPr>
        </p:nvGraphicFramePr>
        <p:xfrm>
          <a:off x="8073590" y="1590460"/>
          <a:ext cx="3815315" cy="1731519"/>
        </p:xfrm>
        <a:graphic>
          <a:graphicData uri="http://schemas.openxmlformats.org/drawingml/2006/table">
            <a:tbl>
              <a:tblPr firstRow="1" firstCol="1" bandRow="1">
                <a:tableStyleId>{3B4B98B0-60AC-42C2-AFA5-B58CD77FA1E5}</a:tableStyleId>
              </a:tblPr>
              <a:tblGrid>
                <a:gridCol w="1903093">
                  <a:extLst>
                    <a:ext uri="{9D8B030D-6E8A-4147-A177-3AD203B41FA5}">
                      <a16:colId xmlns:a16="http://schemas.microsoft.com/office/drawing/2014/main" val="72794721"/>
                    </a:ext>
                  </a:extLst>
                </a:gridCol>
                <a:gridCol w="1912222">
                  <a:extLst>
                    <a:ext uri="{9D8B030D-6E8A-4147-A177-3AD203B41FA5}">
                      <a16:colId xmlns:a16="http://schemas.microsoft.com/office/drawing/2014/main" val="2251122908"/>
                    </a:ext>
                  </a:extLst>
                </a:gridCol>
              </a:tblGrid>
              <a:tr h="149450">
                <a:tc>
                  <a:txBody>
                    <a:bodyPr/>
                    <a:lstStyle/>
                    <a:p>
                      <a:pPr marL="0" marR="0">
                        <a:lnSpc>
                          <a:spcPct val="107000"/>
                        </a:lnSpc>
                        <a:spcBef>
                          <a:spcPts val="0"/>
                        </a:spcBef>
                        <a:spcAft>
                          <a:spcPts val="0"/>
                        </a:spcAft>
                      </a:pPr>
                      <a:r>
                        <a:rPr lang="en-US" sz="1600" b="0" dirty="0">
                          <a:solidFill>
                            <a:srgbClr val="000000"/>
                          </a:solidFill>
                          <a:effectLst/>
                        </a:rPr>
                        <a:t>Parameters</a:t>
                      </a:r>
                      <a:endParaRPr lang="en-US" sz="1600" b="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600" b="0" dirty="0">
                          <a:effectLst/>
                        </a:rPr>
                        <a:t>Observed Values</a:t>
                      </a:r>
                      <a:endParaRPr lang="en-US" sz="1600" b="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948206908"/>
                  </a:ext>
                </a:extLst>
              </a:tr>
              <a:tr h="311480">
                <a:tc>
                  <a:txBody>
                    <a:bodyPr/>
                    <a:lstStyle/>
                    <a:p>
                      <a:pPr marL="0" marR="0" algn="l">
                        <a:lnSpc>
                          <a:spcPct val="107000"/>
                        </a:lnSpc>
                        <a:spcBef>
                          <a:spcPts val="0"/>
                        </a:spcBef>
                        <a:spcAft>
                          <a:spcPts val="0"/>
                        </a:spcAft>
                      </a:pPr>
                      <a:r>
                        <a:rPr lang="en-US" sz="1600" b="1" dirty="0">
                          <a:effectLst/>
                        </a:rPr>
                        <a:t>Punch Dimension</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b="0" dirty="0">
                          <a:effectLst/>
                        </a:rPr>
                        <a:t>10 mm round concave</a:t>
                      </a:r>
                      <a:endParaRPr lang="en-US" sz="1600" b="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14616858"/>
                  </a:ext>
                </a:extLst>
              </a:tr>
              <a:tr h="210313">
                <a:tc>
                  <a:txBody>
                    <a:bodyPr/>
                    <a:lstStyle/>
                    <a:p>
                      <a:pPr marL="0" marR="0" algn="l">
                        <a:lnSpc>
                          <a:spcPct val="107000"/>
                        </a:lnSpc>
                        <a:spcBef>
                          <a:spcPts val="0"/>
                        </a:spcBef>
                        <a:spcAft>
                          <a:spcPts val="0"/>
                        </a:spcAft>
                      </a:pPr>
                      <a:r>
                        <a:rPr lang="en-US" sz="1600" b="1" dirty="0">
                          <a:effectLst/>
                        </a:rPr>
                        <a:t>Machine</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b="0" dirty="0">
                          <a:effectLst/>
                        </a:rPr>
                        <a:t>Korsch XL 100</a:t>
                      </a:r>
                      <a:endParaRPr lang="en-US" sz="1600" b="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722199948"/>
                  </a:ext>
                </a:extLst>
              </a:tr>
              <a:tr h="306575">
                <a:tc>
                  <a:txBody>
                    <a:bodyPr/>
                    <a:lstStyle/>
                    <a:p>
                      <a:pPr marL="0" marR="0" algn="l">
                        <a:lnSpc>
                          <a:spcPct val="107000"/>
                        </a:lnSpc>
                        <a:spcBef>
                          <a:spcPts val="0"/>
                        </a:spcBef>
                        <a:spcAft>
                          <a:spcPts val="0"/>
                        </a:spcAft>
                      </a:pPr>
                      <a:r>
                        <a:rPr lang="en-US" sz="1600" b="1" dirty="0">
                          <a:effectLst/>
                        </a:rPr>
                        <a:t>Compression Pressure (kN)</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b="0" dirty="0">
                          <a:effectLst/>
                        </a:rPr>
                        <a:t>15 -18</a:t>
                      </a:r>
                      <a:endParaRPr lang="en-US" sz="1600" b="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37340"/>
                  </a:ext>
                </a:extLst>
              </a:tr>
              <a:tr h="218124">
                <a:tc>
                  <a:txBody>
                    <a:bodyPr/>
                    <a:lstStyle/>
                    <a:p>
                      <a:pPr marL="0" marR="0" algn="l">
                        <a:lnSpc>
                          <a:spcPct val="107000"/>
                        </a:lnSpc>
                        <a:spcBef>
                          <a:spcPts val="0"/>
                        </a:spcBef>
                        <a:spcAft>
                          <a:spcPts val="0"/>
                        </a:spcAft>
                      </a:pPr>
                      <a:r>
                        <a:rPr lang="en-US" sz="1600" b="1" dirty="0">
                          <a:effectLst/>
                        </a:rPr>
                        <a:t>Ejection Force (N)</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b="0" dirty="0">
                          <a:effectLst/>
                        </a:rPr>
                        <a:t>100 - 150</a:t>
                      </a:r>
                      <a:endParaRPr lang="en-US" sz="1600" b="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296552958"/>
                  </a:ext>
                </a:extLst>
              </a:tr>
            </a:tbl>
          </a:graphicData>
        </a:graphic>
      </p:graphicFrame>
      <p:graphicFrame>
        <p:nvGraphicFramePr>
          <p:cNvPr id="11" name="Table 10">
            <a:extLst>
              <a:ext uri="{FF2B5EF4-FFF2-40B4-BE49-F238E27FC236}">
                <a16:creationId xmlns:a16="http://schemas.microsoft.com/office/drawing/2014/main" id="{2471E16C-8593-B7E4-D175-E293867EE6BA}"/>
              </a:ext>
            </a:extLst>
          </p:cNvPr>
          <p:cNvGraphicFramePr>
            <a:graphicFrameLocks noGrp="1"/>
          </p:cNvGraphicFramePr>
          <p:nvPr>
            <p:extLst>
              <p:ext uri="{D42A27DB-BD31-4B8C-83A1-F6EECF244321}">
                <p14:modId xmlns:p14="http://schemas.microsoft.com/office/powerpoint/2010/main" val="3689901976"/>
              </p:ext>
            </p:extLst>
          </p:nvPr>
        </p:nvGraphicFramePr>
        <p:xfrm>
          <a:off x="372461" y="1595205"/>
          <a:ext cx="7412897" cy="1735498"/>
        </p:xfrm>
        <a:graphic>
          <a:graphicData uri="http://schemas.openxmlformats.org/drawingml/2006/table">
            <a:tbl>
              <a:tblPr firstRow="1" firstCol="1" bandRow="1">
                <a:tableStyleId>{3B4B98B0-60AC-42C2-AFA5-B58CD77FA1E5}</a:tableStyleId>
              </a:tblPr>
              <a:tblGrid>
                <a:gridCol w="2578138">
                  <a:extLst>
                    <a:ext uri="{9D8B030D-6E8A-4147-A177-3AD203B41FA5}">
                      <a16:colId xmlns:a16="http://schemas.microsoft.com/office/drawing/2014/main" val="72794721"/>
                    </a:ext>
                  </a:extLst>
                </a:gridCol>
                <a:gridCol w="1545021">
                  <a:extLst>
                    <a:ext uri="{9D8B030D-6E8A-4147-A177-3AD203B41FA5}">
                      <a16:colId xmlns:a16="http://schemas.microsoft.com/office/drawing/2014/main" val="2251122908"/>
                    </a:ext>
                  </a:extLst>
                </a:gridCol>
                <a:gridCol w="1650124">
                  <a:extLst>
                    <a:ext uri="{9D8B030D-6E8A-4147-A177-3AD203B41FA5}">
                      <a16:colId xmlns:a16="http://schemas.microsoft.com/office/drawing/2014/main" val="1895862320"/>
                    </a:ext>
                  </a:extLst>
                </a:gridCol>
                <a:gridCol w="1639614">
                  <a:extLst>
                    <a:ext uri="{9D8B030D-6E8A-4147-A177-3AD203B41FA5}">
                      <a16:colId xmlns:a16="http://schemas.microsoft.com/office/drawing/2014/main" val="568506231"/>
                    </a:ext>
                  </a:extLst>
                </a:gridCol>
              </a:tblGrid>
              <a:tr h="275324">
                <a:tc>
                  <a:txBody>
                    <a:bodyPr/>
                    <a:lstStyle/>
                    <a:p>
                      <a:pPr marL="0" marR="0">
                        <a:lnSpc>
                          <a:spcPct val="107000"/>
                        </a:lnSpc>
                        <a:spcBef>
                          <a:spcPts val="0"/>
                        </a:spcBef>
                        <a:spcAft>
                          <a:spcPts val="0"/>
                        </a:spcAft>
                      </a:pPr>
                      <a:r>
                        <a:rPr lang="en-US" sz="1600" b="1" dirty="0">
                          <a:solidFill>
                            <a:srgbClr val="000000"/>
                          </a:solidFill>
                          <a:effectLst/>
                        </a:rPr>
                        <a:t>Parameters</a:t>
                      </a:r>
                      <a:endParaRPr lang="en-US" sz="1600" b="1"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b="1" dirty="0">
                          <a:effectLst/>
                        </a:rPr>
                        <a:t>MUPS w/ Ludiflash</a:t>
                      </a:r>
                      <a:r>
                        <a:rPr lang="en-US" sz="1600" b="1" baseline="30000" dirty="0">
                          <a:effectLst/>
                        </a:rPr>
                        <a:t>®</a:t>
                      </a:r>
                      <a:endParaRPr lang="en-US" sz="1600" b="1"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b="1" dirty="0">
                          <a:effectLst/>
                        </a:rPr>
                        <a:t>MUPS w/ Ludipress</a:t>
                      </a:r>
                      <a:r>
                        <a:rPr lang="en-US" sz="1600" b="1" baseline="30000" dirty="0">
                          <a:effectLst/>
                        </a:rPr>
                        <a:t>®</a:t>
                      </a:r>
                      <a:endParaRPr lang="en-US" sz="1600" b="1"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b="1" dirty="0">
                          <a:effectLst/>
                        </a:rPr>
                        <a:t>MUPS w/</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b="1" dirty="0">
                          <a:effectLst/>
                        </a:rPr>
                        <a:t> MCC 102</a:t>
                      </a:r>
                      <a:endParaRPr lang="en-US" sz="1600" b="1" dirty="0">
                        <a:effectLst/>
                        <a:latin typeface="+mn-lt"/>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48206908"/>
                  </a:ext>
                </a:extLst>
              </a:tr>
              <a:tr h="87777">
                <a:tc>
                  <a:txBody>
                    <a:bodyPr/>
                    <a:lstStyle/>
                    <a:p>
                      <a:pPr marL="0" marR="0" algn="l">
                        <a:lnSpc>
                          <a:spcPct val="107000"/>
                        </a:lnSpc>
                        <a:spcBef>
                          <a:spcPts val="0"/>
                        </a:spcBef>
                        <a:spcAft>
                          <a:spcPts val="0"/>
                        </a:spcAft>
                      </a:pPr>
                      <a:r>
                        <a:rPr lang="en-US" sz="1600" b="1" dirty="0">
                          <a:effectLst/>
                        </a:rPr>
                        <a:t>Tablet Weight (mg)</a:t>
                      </a:r>
                      <a:endParaRPr lang="en-US" sz="1600" b="1"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b="0" dirty="0">
                          <a:effectLst/>
                        </a:rPr>
                        <a:t>469.4 – 474.7</a:t>
                      </a:r>
                      <a:endParaRPr lang="en-US" sz="1600" b="0"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466.4 – 468.6</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461.5 – 473.6</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14616858"/>
                  </a:ext>
                </a:extLst>
              </a:tr>
              <a:tr h="170173">
                <a:tc>
                  <a:txBody>
                    <a:bodyPr/>
                    <a:lstStyle/>
                    <a:p>
                      <a:pPr marL="0" marR="0" algn="l">
                        <a:lnSpc>
                          <a:spcPct val="107000"/>
                        </a:lnSpc>
                        <a:spcBef>
                          <a:spcPts val="0"/>
                        </a:spcBef>
                        <a:spcAft>
                          <a:spcPts val="0"/>
                        </a:spcAft>
                      </a:pPr>
                      <a:r>
                        <a:rPr lang="en-US" sz="1600" b="1" dirty="0">
                          <a:effectLst/>
                        </a:rPr>
                        <a:t>Hardness (N)</a:t>
                      </a:r>
                      <a:endParaRPr lang="en-US" sz="1600" b="1"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b="0" dirty="0">
                          <a:effectLst/>
                        </a:rPr>
                        <a:t>64 - 89</a:t>
                      </a:r>
                      <a:endParaRPr lang="en-US" sz="1600" b="0"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43 - 52</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80 - 101</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22199948"/>
                  </a:ext>
                </a:extLst>
              </a:tr>
              <a:tr h="170173">
                <a:tc>
                  <a:txBody>
                    <a:bodyPr/>
                    <a:lstStyle/>
                    <a:p>
                      <a:pPr marL="0" marR="0" algn="l">
                        <a:lnSpc>
                          <a:spcPct val="107000"/>
                        </a:lnSpc>
                        <a:spcBef>
                          <a:spcPts val="0"/>
                        </a:spcBef>
                        <a:spcAft>
                          <a:spcPts val="0"/>
                        </a:spcAft>
                      </a:pPr>
                      <a:r>
                        <a:rPr lang="en-US" sz="1600" b="1" dirty="0">
                          <a:effectLst/>
                        </a:rPr>
                        <a:t>Thickness (mm)</a:t>
                      </a:r>
                      <a:endParaRPr lang="en-US" sz="1600" b="1"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b="0" dirty="0">
                          <a:effectLst/>
                        </a:rPr>
                        <a:t>5.52- 5.58</a:t>
                      </a:r>
                      <a:endParaRPr lang="en-US" sz="1600" b="0"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5.54 - 5.58</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5.33 - 5.38</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437340"/>
                  </a:ext>
                </a:extLst>
              </a:tr>
              <a:tr h="264901">
                <a:tc>
                  <a:txBody>
                    <a:bodyPr/>
                    <a:lstStyle/>
                    <a:p>
                      <a:pPr marL="0" marR="0" algn="l">
                        <a:lnSpc>
                          <a:spcPct val="107000"/>
                        </a:lnSpc>
                        <a:spcBef>
                          <a:spcPts val="0"/>
                        </a:spcBef>
                        <a:spcAft>
                          <a:spcPts val="0"/>
                        </a:spcAft>
                      </a:pPr>
                      <a:r>
                        <a:rPr lang="en-US" sz="1600" b="1" dirty="0">
                          <a:effectLst/>
                        </a:rPr>
                        <a:t>Disintegration Time (sec)</a:t>
                      </a:r>
                      <a:endParaRPr lang="en-US" sz="1600" b="1"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b="0" dirty="0">
                          <a:effectLst/>
                        </a:rPr>
                        <a:t>20-24 </a:t>
                      </a:r>
                      <a:endParaRPr lang="en-US" sz="1600" b="0"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40 - 44 </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12 - 18 </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296552958"/>
                  </a:ext>
                </a:extLst>
              </a:tr>
              <a:tr h="170173">
                <a:tc>
                  <a:txBody>
                    <a:bodyPr/>
                    <a:lstStyle/>
                    <a:p>
                      <a:pPr marL="0" marR="0" algn="l">
                        <a:lnSpc>
                          <a:spcPct val="107000"/>
                        </a:lnSpc>
                        <a:spcBef>
                          <a:spcPts val="0"/>
                        </a:spcBef>
                        <a:spcAft>
                          <a:spcPts val="0"/>
                        </a:spcAft>
                      </a:pPr>
                      <a:r>
                        <a:rPr lang="en-US" sz="1600" b="1" dirty="0">
                          <a:effectLst/>
                        </a:rPr>
                        <a:t>Friability (%w/w)</a:t>
                      </a:r>
                      <a:endParaRPr lang="en-US" sz="1600" b="1"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b="0" dirty="0">
                          <a:effectLst/>
                        </a:rPr>
                        <a:t>0.80</a:t>
                      </a:r>
                      <a:endParaRPr lang="en-US" sz="1600" b="0"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0.63</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0.06</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141159823"/>
                  </a:ext>
                </a:extLst>
              </a:tr>
            </a:tbl>
          </a:graphicData>
        </a:graphic>
      </p:graphicFrame>
      <p:sp>
        <p:nvSpPr>
          <p:cNvPr id="10" name="TextBox 9">
            <a:extLst>
              <a:ext uri="{FF2B5EF4-FFF2-40B4-BE49-F238E27FC236}">
                <a16:creationId xmlns:a16="http://schemas.microsoft.com/office/drawing/2014/main" id="{1682764F-594F-C826-F94E-407817AC83BB}"/>
              </a:ext>
            </a:extLst>
          </p:cNvPr>
          <p:cNvSpPr txBox="1"/>
          <p:nvPr/>
        </p:nvSpPr>
        <p:spPr>
          <a:xfrm>
            <a:off x="311017" y="1120271"/>
            <a:ext cx="7704220" cy="369332"/>
          </a:xfrm>
          <a:prstGeom prst="rect">
            <a:avLst/>
          </a:prstGeom>
          <a:noFill/>
        </p:spPr>
        <p:txBody>
          <a:bodyPr wrap="square">
            <a:spAutoFit/>
          </a:bodyPr>
          <a:lstStyle/>
          <a:p>
            <a:pPr marL="0" indent="0">
              <a:spcBef>
                <a:spcPts val="1200"/>
              </a:spcBef>
              <a:buNone/>
            </a:pPr>
            <a:r>
              <a:rPr lang="en-US" sz="1800" b="1" dirty="0">
                <a:solidFill>
                  <a:schemeClr val="accent1"/>
                </a:solidFill>
              </a:rPr>
              <a:t>Compression Results – pellets without BHT</a:t>
            </a:r>
          </a:p>
        </p:txBody>
      </p:sp>
      <p:graphicFrame>
        <p:nvGraphicFramePr>
          <p:cNvPr id="14" name="Table 13">
            <a:extLst>
              <a:ext uri="{FF2B5EF4-FFF2-40B4-BE49-F238E27FC236}">
                <a16:creationId xmlns:a16="http://schemas.microsoft.com/office/drawing/2014/main" id="{B98D8222-4BCA-E162-30F6-61055D80F4FB}"/>
              </a:ext>
            </a:extLst>
          </p:cNvPr>
          <p:cNvGraphicFramePr>
            <a:graphicFrameLocks noGrp="1"/>
          </p:cNvGraphicFramePr>
          <p:nvPr>
            <p:extLst>
              <p:ext uri="{D42A27DB-BD31-4B8C-83A1-F6EECF244321}">
                <p14:modId xmlns:p14="http://schemas.microsoft.com/office/powerpoint/2010/main" val="1600114659"/>
              </p:ext>
            </p:extLst>
          </p:nvPr>
        </p:nvGraphicFramePr>
        <p:xfrm>
          <a:off x="303094" y="4236057"/>
          <a:ext cx="7412897" cy="1712532"/>
        </p:xfrm>
        <a:graphic>
          <a:graphicData uri="http://schemas.openxmlformats.org/drawingml/2006/table">
            <a:tbl>
              <a:tblPr firstRow="1" firstCol="1" bandRow="1">
                <a:tableStyleId>{3B4B98B0-60AC-42C2-AFA5-B58CD77FA1E5}</a:tableStyleId>
              </a:tblPr>
              <a:tblGrid>
                <a:gridCol w="2578138">
                  <a:extLst>
                    <a:ext uri="{9D8B030D-6E8A-4147-A177-3AD203B41FA5}">
                      <a16:colId xmlns:a16="http://schemas.microsoft.com/office/drawing/2014/main" val="72794721"/>
                    </a:ext>
                  </a:extLst>
                </a:gridCol>
                <a:gridCol w="1545021">
                  <a:extLst>
                    <a:ext uri="{9D8B030D-6E8A-4147-A177-3AD203B41FA5}">
                      <a16:colId xmlns:a16="http://schemas.microsoft.com/office/drawing/2014/main" val="2251122908"/>
                    </a:ext>
                  </a:extLst>
                </a:gridCol>
                <a:gridCol w="1650124">
                  <a:extLst>
                    <a:ext uri="{9D8B030D-6E8A-4147-A177-3AD203B41FA5}">
                      <a16:colId xmlns:a16="http://schemas.microsoft.com/office/drawing/2014/main" val="1895862320"/>
                    </a:ext>
                  </a:extLst>
                </a:gridCol>
                <a:gridCol w="1639614">
                  <a:extLst>
                    <a:ext uri="{9D8B030D-6E8A-4147-A177-3AD203B41FA5}">
                      <a16:colId xmlns:a16="http://schemas.microsoft.com/office/drawing/2014/main" val="568506231"/>
                    </a:ext>
                  </a:extLst>
                </a:gridCol>
              </a:tblGrid>
              <a:tr h="275324">
                <a:tc>
                  <a:txBody>
                    <a:bodyPr/>
                    <a:lstStyle/>
                    <a:p>
                      <a:pPr marL="0" marR="0">
                        <a:lnSpc>
                          <a:spcPct val="107000"/>
                        </a:lnSpc>
                        <a:spcBef>
                          <a:spcPts val="0"/>
                        </a:spcBef>
                        <a:spcAft>
                          <a:spcPts val="0"/>
                        </a:spcAft>
                      </a:pPr>
                      <a:r>
                        <a:rPr lang="en-US" sz="1600" b="0" dirty="0">
                          <a:solidFill>
                            <a:srgbClr val="000000"/>
                          </a:solidFill>
                          <a:effectLst/>
                        </a:rPr>
                        <a:t>Parameters</a:t>
                      </a:r>
                      <a:endParaRPr lang="en-US" sz="1600" b="0"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b="1" dirty="0">
                          <a:effectLst/>
                        </a:rPr>
                        <a:t>MUPS w/ Ludiflash</a:t>
                      </a:r>
                      <a:r>
                        <a:rPr lang="en-US" sz="1600" b="1" baseline="30000" dirty="0">
                          <a:effectLst/>
                        </a:rPr>
                        <a:t>®</a:t>
                      </a:r>
                      <a:endParaRPr lang="en-US" sz="1600" b="1"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b="1" dirty="0">
                          <a:effectLst/>
                        </a:rPr>
                        <a:t>MUPS w/ Ludipress</a:t>
                      </a:r>
                      <a:r>
                        <a:rPr lang="en-US" sz="1600" b="1" baseline="30000" dirty="0">
                          <a:effectLst/>
                        </a:rPr>
                        <a:t>®</a:t>
                      </a:r>
                      <a:endParaRPr lang="en-US" sz="1600" b="1"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b="1" dirty="0">
                          <a:effectLst/>
                        </a:rPr>
                        <a:t>MUPS w/</a:t>
                      </a:r>
                    </a:p>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b="1" dirty="0">
                          <a:effectLst/>
                        </a:rPr>
                        <a:t> MCC 102</a:t>
                      </a:r>
                      <a:endParaRPr lang="en-US" sz="1600" b="1" dirty="0">
                        <a:effectLst/>
                        <a:latin typeface="+mn-lt"/>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48206908"/>
                  </a:ext>
                </a:extLst>
              </a:tr>
              <a:tr h="87777">
                <a:tc>
                  <a:txBody>
                    <a:bodyPr/>
                    <a:lstStyle/>
                    <a:p>
                      <a:pPr marL="0" marR="0" algn="l">
                        <a:lnSpc>
                          <a:spcPct val="107000"/>
                        </a:lnSpc>
                        <a:spcBef>
                          <a:spcPts val="0"/>
                        </a:spcBef>
                        <a:spcAft>
                          <a:spcPts val="0"/>
                        </a:spcAft>
                      </a:pPr>
                      <a:r>
                        <a:rPr lang="en-US" sz="1600" b="1" dirty="0">
                          <a:effectLst/>
                        </a:rPr>
                        <a:t>Tablet Weight (mg)</a:t>
                      </a:r>
                      <a:endParaRPr lang="en-US" sz="1600" b="1"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462.1 – 467.8</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468.6 – 474.3</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461.2 – 472.6</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14616858"/>
                  </a:ext>
                </a:extLst>
              </a:tr>
              <a:tr h="170173">
                <a:tc>
                  <a:txBody>
                    <a:bodyPr/>
                    <a:lstStyle/>
                    <a:p>
                      <a:pPr marL="0" marR="0" algn="l">
                        <a:lnSpc>
                          <a:spcPct val="107000"/>
                        </a:lnSpc>
                        <a:spcBef>
                          <a:spcPts val="0"/>
                        </a:spcBef>
                        <a:spcAft>
                          <a:spcPts val="0"/>
                        </a:spcAft>
                      </a:pPr>
                      <a:r>
                        <a:rPr lang="en-US" sz="1600" b="1" dirty="0">
                          <a:effectLst/>
                        </a:rPr>
                        <a:t>Hardness (N)</a:t>
                      </a:r>
                      <a:endParaRPr lang="en-US" sz="1600" b="1"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75 - 87</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44 - 50</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86 - 109</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22199948"/>
                  </a:ext>
                </a:extLst>
              </a:tr>
              <a:tr h="170173">
                <a:tc>
                  <a:txBody>
                    <a:bodyPr/>
                    <a:lstStyle/>
                    <a:p>
                      <a:pPr marL="0" marR="0" algn="l">
                        <a:lnSpc>
                          <a:spcPct val="107000"/>
                        </a:lnSpc>
                        <a:spcBef>
                          <a:spcPts val="0"/>
                        </a:spcBef>
                        <a:spcAft>
                          <a:spcPts val="0"/>
                        </a:spcAft>
                      </a:pPr>
                      <a:r>
                        <a:rPr lang="en-US" sz="1600" b="1" dirty="0">
                          <a:effectLst/>
                        </a:rPr>
                        <a:t>Thickness (mm)</a:t>
                      </a:r>
                      <a:endParaRPr lang="en-US" sz="1600" b="1"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5.43- 5.47</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5.60 - 5.64</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5.32 - 5.37</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437340"/>
                  </a:ext>
                </a:extLst>
              </a:tr>
              <a:tr h="209616">
                <a:tc>
                  <a:txBody>
                    <a:bodyPr/>
                    <a:lstStyle/>
                    <a:p>
                      <a:pPr marL="0" marR="0" algn="l">
                        <a:lnSpc>
                          <a:spcPct val="107000"/>
                        </a:lnSpc>
                        <a:spcBef>
                          <a:spcPts val="0"/>
                        </a:spcBef>
                        <a:spcAft>
                          <a:spcPts val="0"/>
                        </a:spcAft>
                      </a:pPr>
                      <a:r>
                        <a:rPr lang="en-US" sz="1600" b="1" dirty="0">
                          <a:effectLst/>
                        </a:rPr>
                        <a:t>Disintegration Time (sec)</a:t>
                      </a:r>
                      <a:endParaRPr lang="en-US" sz="1600" b="1"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20-22 </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50 - 58</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16 - 22 </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296552958"/>
                  </a:ext>
                </a:extLst>
              </a:tr>
              <a:tr h="170173">
                <a:tc>
                  <a:txBody>
                    <a:bodyPr/>
                    <a:lstStyle/>
                    <a:p>
                      <a:pPr marL="0" marR="0" algn="l">
                        <a:lnSpc>
                          <a:spcPct val="107000"/>
                        </a:lnSpc>
                        <a:spcBef>
                          <a:spcPts val="0"/>
                        </a:spcBef>
                        <a:spcAft>
                          <a:spcPts val="0"/>
                        </a:spcAft>
                      </a:pPr>
                      <a:r>
                        <a:rPr lang="en-US" sz="1600" b="1" dirty="0">
                          <a:effectLst/>
                        </a:rPr>
                        <a:t>Friability (%w/w)</a:t>
                      </a:r>
                      <a:endParaRPr lang="en-US" sz="1600" b="1" dirty="0">
                        <a:effectLst/>
                        <a:latin typeface="+mn-lt"/>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0.79</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0.69</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0.06</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141159823"/>
                  </a:ext>
                </a:extLst>
              </a:tr>
            </a:tbl>
          </a:graphicData>
        </a:graphic>
      </p:graphicFrame>
      <p:sp>
        <p:nvSpPr>
          <p:cNvPr id="15" name="TextBox 14">
            <a:extLst>
              <a:ext uri="{FF2B5EF4-FFF2-40B4-BE49-F238E27FC236}">
                <a16:creationId xmlns:a16="http://schemas.microsoft.com/office/drawing/2014/main" id="{83679B31-37C0-F198-BF92-6700B4CB2995}"/>
              </a:ext>
            </a:extLst>
          </p:cNvPr>
          <p:cNvSpPr txBox="1"/>
          <p:nvPr/>
        </p:nvSpPr>
        <p:spPr>
          <a:xfrm>
            <a:off x="304162" y="3792030"/>
            <a:ext cx="7704220" cy="369332"/>
          </a:xfrm>
          <a:prstGeom prst="rect">
            <a:avLst/>
          </a:prstGeom>
          <a:noFill/>
        </p:spPr>
        <p:txBody>
          <a:bodyPr wrap="square">
            <a:spAutoFit/>
          </a:bodyPr>
          <a:lstStyle/>
          <a:p>
            <a:pPr marL="0" indent="0">
              <a:spcBef>
                <a:spcPts val="1200"/>
              </a:spcBef>
              <a:buNone/>
            </a:pPr>
            <a:r>
              <a:rPr lang="en-US" sz="1800" b="1" dirty="0">
                <a:solidFill>
                  <a:schemeClr val="accent1"/>
                </a:solidFill>
              </a:rPr>
              <a:t>Compression Results – pellets with BHT</a:t>
            </a:r>
          </a:p>
        </p:txBody>
      </p:sp>
      <p:graphicFrame>
        <p:nvGraphicFramePr>
          <p:cNvPr id="28" name="Table 27">
            <a:extLst>
              <a:ext uri="{FF2B5EF4-FFF2-40B4-BE49-F238E27FC236}">
                <a16:creationId xmlns:a16="http://schemas.microsoft.com/office/drawing/2014/main" id="{EADBFDBB-0873-48E9-F986-0D020D47991E}"/>
              </a:ext>
            </a:extLst>
          </p:cNvPr>
          <p:cNvGraphicFramePr>
            <a:graphicFrameLocks noGrp="1"/>
          </p:cNvGraphicFramePr>
          <p:nvPr>
            <p:extLst>
              <p:ext uri="{D42A27DB-BD31-4B8C-83A1-F6EECF244321}">
                <p14:modId xmlns:p14="http://schemas.microsoft.com/office/powerpoint/2010/main" val="38594895"/>
              </p:ext>
            </p:extLst>
          </p:nvPr>
        </p:nvGraphicFramePr>
        <p:xfrm>
          <a:off x="8073589" y="4236057"/>
          <a:ext cx="3815315" cy="1731519"/>
        </p:xfrm>
        <a:graphic>
          <a:graphicData uri="http://schemas.openxmlformats.org/drawingml/2006/table">
            <a:tbl>
              <a:tblPr firstRow="1" firstCol="1" bandRow="1">
                <a:tableStyleId>{3B4B98B0-60AC-42C2-AFA5-B58CD77FA1E5}</a:tableStyleId>
              </a:tblPr>
              <a:tblGrid>
                <a:gridCol w="1903093">
                  <a:extLst>
                    <a:ext uri="{9D8B030D-6E8A-4147-A177-3AD203B41FA5}">
                      <a16:colId xmlns:a16="http://schemas.microsoft.com/office/drawing/2014/main" val="72794721"/>
                    </a:ext>
                  </a:extLst>
                </a:gridCol>
                <a:gridCol w="1912222">
                  <a:extLst>
                    <a:ext uri="{9D8B030D-6E8A-4147-A177-3AD203B41FA5}">
                      <a16:colId xmlns:a16="http://schemas.microsoft.com/office/drawing/2014/main" val="2251122908"/>
                    </a:ext>
                  </a:extLst>
                </a:gridCol>
              </a:tblGrid>
              <a:tr h="149450">
                <a:tc>
                  <a:txBody>
                    <a:bodyPr/>
                    <a:lstStyle/>
                    <a:p>
                      <a:pPr marL="0" marR="0">
                        <a:lnSpc>
                          <a:spcPct val="107000"/>
                        </a:lnSpc>
                        <a:spcBef>
                          <a:spcPts val="0"/>
                        </a:spcBef>
                        <a:spcAft>
                          <a:spcPts val="0"/>
                        </a:spcAft>
                      </a:pPr>
                      <a:r>
                        <a:rPr lang="en-US" sz="1600" b="0" dirty="0">
                          <a:solidFill>
                            <a:srgbClr val="000000"/>
                          </a:solidFill>
                          <a:effectLst/>
                        </a:rPr>
                        <a:t>Parameters</a:t>
                      </a:r>
                      <a:endParaRPr lang="en-US" sz="1600" b="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600" b="0" dirty="0">
                          <a:effectLst/>
                        </a:rPr>
                        <a:t>Observed Values</a:t>
                      </a:r>
                      <a:endParaRPr lang="en-US" sz="1600" b="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948206908"/>
                  </a:ext>
                </a:extLst>
              </a:tr>
              <a:tr h="311480">
                <a:tc>
                  <a:txBody>
                    <a:bodyPr/>
                    <a:lstStyle/>
                    <a:p>
                      <a:pPr marL="0" marR="0" algn="l">
                        <a:lnSpc>
                          <a:spcPct val="107000"/>
                        </a:lnSpc>
                        <a:spcBef>
                          <a:spcPts val="0"/>
                        </a:spcBef>
                        <a:spcAft>
                          <a:spcPts val="0"/>
                        </a:spcAft>
                      </a:pPr>
                      <a:r>
                        <a:rPr lang="en-US" sz="1600" b="1" dirty="0">
                          <a:effectLst/>
                        </a:rPr>
                        <a:t>Punch Dimension</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b="0" dirty="0">
                          <a:effectLst/>
                        </a:rPr>
                        <a:t>10 mm round concave</a:t>
                      </a:r>
                      <a:endParaRPr lang="en-US" sz="1600" b="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14616858"/>
                  </a:ext>
                </a:extLst>
              </a:tr>
              <a:tr h="210313">
                <a:tc>
                  <a:txBody>
                    <a:bodyPr/>
                    <a:lstStyle/>
                    <a:p>
                      <a:pPr marL="0" marR="0" algn="l">
                        <a:lnSpc>
                          <a:spcPct val="107000"/>
                        </a:lnSpc>
                        <a:spcBef>
                          <a:spcPts val="0"/>
                        </a:spcBef>
                        <a:spcAft>
                          <a:spcPts val="0"/>
                        </a:spcAft>
                      </a:pPr>
                      <a:r>
                        <a:rPr lang="en-US" sz="1600" b="1" dirty="0">
                          <a:effectLst/>
                        </a:rPr>
                        <a:t>Machine</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b="0" dirty="0">
                          <a:effectLst/>
                        </a:rPr>
                        <a:t>Korsch XL 100</a:t>
                      </a:r>
                      <a:endParaRPr lang="en-US" sz="1600" b="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722199948"/>
                  </a:ext>
                </a:extLst>
              </a:tr>
              <a:tr h="306575">
                <a:tc>
                  <a:txBody>
                    <a:bodyPr/>
                    <a:lstStyle/>
                    <a:p>
                      <a:pPr marL="0" marR="0" algn="l">
                        <a:lnSpc>
                          <a:spcPct val="107000"/>
                        </a:lnSpc>
                        <a:spcBef>
                          <a:spcPts val="0"/>
                        </a:spcBef>
                        <a:spcAft>
                          <a:spcPts val="0"/>
                        </a:spcAft>
                      </a:pPr>
                      <a:r>
                        <a:rPr lang="en-US" sz="1600" b="1" dirty="0">
                          <a:effectLst/>
                        </a:rPr>
                        <a:t>Compression Pressure (kN)</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b="0" dirty="0">
                          <a:effectLst/>
                        </a:rPr>
                        <a:t>15 -18</a:t>
                      </a:r>
                      <a:endParaRPr lang="en-US" sz="1600" b="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37340"/>
                  </a:ext>
                </a:extLst>
              </a:tr>
              <a:tr h="218124">
                <a:tc>
                  <a:txBody>
                    <a:bodyPr/>
                    <a:lstStyle/>
                    <a:p>
                      <a:pPr marL="0" marR="0" algn="l">
                        <a:lnSpc>
                          <a:spcPct val="107000"/>
                        </a:lnSpc>
                        <a:spcBef>
                          <a:spcPts val="0"/>
                        </a:spcBef>
                        <a:spcAft>
                          <a:spcPts val="0"/>
                        </a:spcAft>
                      </a:pPr>
                      <a:r>
                        <a:rPr lang="en-US" sz="1600" b="1" dirty="0">
                          <a:effectLst/>
                        </a:rPr>
                        <a:t>Ejection Force (N)</a:t>
                      </a:r>
                      <a:endParaRPr lang="en-US" sz="1600" b="1"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b="0" dirty="0">
                          <a:effectLst/>
                        </a:rPr>
                        <a:t>90 - 155</a:t>
                      </a:r>
                      <a:endParaRPr lang="en-US" sz="1600" b="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296552958"/>
                  </a:ext>
                </a:extLst>
              </a:tr>
            </a:tbl>
          </a:graphicData>
        </a:graphic>
      </p:graphicFrame>
      <p:sp>
        <p:nvSpPr>
          <p:cNvPr id="3" name="Footer Placeholder 11">
            <a:extLst>
              <a:ext uri="{FF2B5EF4-FFF2-40B4-BE49-F238E27FC236}">
                <a16:creationId xmlns:a16="http://schemas.microsoft.com/office/drawing/2014/main" id="{C99F9DDB-6000-9391-D497-3452F21EC8A3}"/>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289865201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E7248845-50D4-A830-F75D-46D65EDD932C}"/>
              </a:ext>
            </a:extLst>
          </p:cNvPr>
          <p:cNvGraphicFramePr>
            <a:graphicFrameLocks noChangeAspect="1"/>
          </p:cNvGraphicFramePr>
          <p:nvPr>
            <p:custDataLst>
              <p:tags r:id="rId1"/>
            </p:custDataLst>
            <p:extLst>
              <p:ext uri="{D42A27DB-BD31-4B8C-83A1-F6EECF244321}">
                <p14:modId xmlns:p14="http://schemas.microsoft.com/office/powerpoint/2010/main" val="1047116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15" name="think-cell data - do not delete" hidden="1">
                        <a:extLst>
                          <a:ext uri="{FF2B5EF4-FFF2-40B4-BE49-F238E27FC236}">
                            <a16:creationId xmlns:a16="http://schemas.microsoft.com/office/drawing/2014/main" id="{E7248845-50D4-A830-F75D-46D65EDD93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1EE3CB-88A6-9846-0273-B29487B6AAC0}"/>
              </a:ext>
            </a:extLst>
          </p:cNvPr>
          <p:cNvSpPr>
            <a:spLocks noGrp="1"/>
          </p:cNvSpPr>
          <p:nvPr>
            <p:ph type="title"/>
          </p:nvPr>
        </p:nvSpPr>
        <p:spPr>
          <a:xfrm>
            <a:off x="406800" y="338273"/>
            <a:ext cx="11736000" cy="853200"/>
          </a:xfrm>
        </p:spPr>
        <p:txBody>
          <a:bodyPr vert="horz"/>
          <a:lstStyle/>
          <a:p>
            <a:r>
              <a:rPr lang="en-US" dirty="0"/>
              <a:t>Stressed condition study (50</a:t>
            </a:r>
            <a:r>
              <a:rPr lang="en-US" baseline="30000" dirty="0"/>
              <a:t>°</a:t>
            </a:r>
            <a:r>
              <a:rPr lang="en-US" dirty="0"/>
              <a:t>C and 90% RH): MUPS with Ludiflash</a:t>
            </a:r>
            <a:r>
              <a:rPr lang="en-US" sz="2800" baseline="30000" dirty="0">
                <a:effectLst/>
                <a:latin typeface="Arial" panose="020B0604020202020204" pitchFamily="34" charset="0"/>
                <a:ea typeface="Arial" panose="020B0604020202020204" pitchFamily="34" charset="0"/>
                <a:cs typeface="Times New Roman" panose="02020603050405020304" pitchFamily="18" charset="0"/>
              </a:rPr>
              <a:t>®</a:t>
            </a:r>
            <a:endParaRPr lang="en-US" sz="2800" b="1" dirty="0"/>
          </a:p>
        </p:txBody>
      </p:sp>
      <p:sp>
        <p:nvSpPr>
          <p:cNvPr id="6" name="Text Placeholder 5">
            <a:extLst>
              <a:ext uri="{FF2B5EF4-FFF2-40B4-BE49-F238E27FC236}">
                <a16:creationId xmlns:a16="http://schemas.microsoft.com/office/drawing/2014/main" id="{B66EA8C9-77CE-B963-7AC6-F60B658910B8}"/>
              </a:ext>
            </a:extLst>
          </p:cNvPr>
          <p:cNvSpPr>
            <a:spLocks noGrp="1"/>
          </p:cNvSpPr>
          <p:nvPr>
            <p:ph type="body" idx="1"/>
          </p:nvPr>
        </p:nvSpPr>
        <p:spPr>
          <a:xfrm>
            <a:off x="438023" y="4840128"/>
            <a:ext cx="11753977" cy="1200329"/>
          </a:xfrm>
        </p:spPr>
        <p:txBody>
          <a:bodyPr/>
          <a:lstStyle/>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p:txBody>
      </p:sp>
      <p:sp>
        <p:nvSpPr>
          <p:cNvPr id="4" name="Slide Number Placeholder 3">
            <a:extLst>
              <a:ext uri="{FF2B5EF4-FFF2-40B4-BE49-F238E27FC236}">
                <a16:creationId xmlns:a16="http://schemas.microsoft.com/office/drawing/2014/main" id="{02B46B7E-F0D8-B93D-ABC1-E18A4C1A13D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82EA1D04-CA53-4DE3-84A8-2B63E41036C9}" type="slidenum">
              <a:rPr kumimoji="0" lang="en-US" sz="8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7</a:t>
            </a:fld>
            <a:endParaRPr kumimoji="0" lang="en-US" sz="800" b="1"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5" name="E22CF493-F99C-4918-BC18-F58F458D847A" descr="IMG_0265.jpg">
            <a:extLst>
              <a:ext uri="{FF2B5EF4-FFF2-40B4-BE49-F238E27FC236}">
                <a16:creationId xmlns:a16="http://schemas.microsoft.com/office/drawing/2014/main" id="{576C6C64-BD1F-B798-E9E3-B1075E0EB301}"/>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rot="5400000">
            <a:off x="2475749" y="919111"/>
            <a:ext cx="3234464" cy="4050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2CF272C8-193C-41CD-81D9-7F99F6E59BAB" descr="IMG_0266.jpg">
            <a:extLst>
              <a:ext uri="{FF2B5EF4-FFF2-40B4-BE49-F238E27FC236}">
                <a16:creationId xmlns:a16="http://schemas.microsoft.com/office/drawing/2014/main" id="{DA61F38A-74E7-974A-2EB7-C1658249947A}"/>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rot="16200000">
            <a:off x="6567847" y="877019"/>
            <a:ext cx="3105863" cy="400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92841D3B-482D-DFD2-E103-5F9E87A3DB78}"/>
              </a:ext>
            </a:extLst>
          </p:cNvPr>
          <p:cNvSpPr/>
          <p:nvPr/>
        </p:nvSpPr>
        <p:spPr>
          <a:xfrm>
            <a:off x="2074296" y="3987982"/>
            <a:ext cx="4050004" cy="853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cs typeface="Arial"/>
              </a:rPr>
              <a:t>MUPS with Ludiflash</a:t>
            </a:r>
            <a:r>
              <a:rPr lang="en-US" sz="1400" baseline="30000" dirty="0">
                <a:latin typeface="Arial"/>
              </a:rPr>
              <a:t>®</a:t>
            </a:r>
            <a:r>
              <a:rPr kumimoji="0" lang="en-US" sz="1400" b="0" i="0" u="none" strike="noStrike" kern="1200" cap="none" spc="0" normalizeH="0" baseline="0" noProof="0" dirty="0">
                <a:ln>
                  <a:noFill/>
                </a:ln>
                <a:solidFill>
                  <a:srgbClr val="FFFFFF"/>
                </a:solidFill>
                <a:effectLst/>
                <a:uLnTx/>
                <a:uFillTx/>
                <a:latin typeface="Arial" panose="020B0604020202020204"/>
                <a:cs typeface="Arial"/>
              </a:rPr>
              <a:t> containing vardenafil pellets coated with Kollicoat</a:t>
            </a:r>
            <a:r>
              <a:rPr lang="en-US" sz="1400" baseline="30000" dirty="0">
                <a:latin typeface="Arial"/>
              </a:rPr>
              <a:t>®</a:t>
            </a:r>
            <a:r>
              <a:rPr kumimoji="0" lang="en-US" sz="1400" b="0" i="0" u="none" strike="noStrike" kern="1200" cap="none" spc="0" normalizeH="0" baseline="0" noProof="0" dirty="0">
                <a:ln>
                  <a:noFill/>
                </a:ln>
                <a:solidFill>
                  <a:srgbClr val="FFFFFF"/>
                </a:solidFill>
                <a:effectLst/>
                <a:uLnTx/>
                <a:uFillTx/>
                <a:latin typeface="Arial" panose="020B0604020202020204"/>
                <a:cs typeface="Arial"/>
              </a:rPr>
              <a:t> Smartseal 30 D without BHT (1 week under stressed condition)</a:t>
            </a:r>
          </a:p>
        </p:txBody>
      </p:sp>
      <p:sp>
        <p:nvSpPr>
          <p:cNvPr id="14" name="Rectangle 13">
            <a:extLst>
              <a:ext uri="{FF2B5EF4-FFF2-40B4-BE49-F238E27FC236}">
                <a16:creationId xmlns:a16="http://schemas.microsoft.com/office/drawing/2014/main" id="{6FAF5D49-9C89-0C6A-09E5-A236E75EF44C}"/>
              </a:ext>
            </a:extLst>
          </p:cNvPr>
          <p:cNvSpPr/>
          <p:nvPr/>
        </p:nvSpPr>
        <p:spPr>
          <a:xfrm>
            <a:off x="6121399" y="3987784"/>
            <a:ext cx="4005588" cy="852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cs typeface="Arial"/>
              </a:rPr>
              <a:t>MUPS with Ludiflash</a:t>
            </a:r>
            <a:r>
              <a:rPr lang="en-US" sz="1400" baseline="30000" dirty="0">
                <a:latin typeface="Arial"/>
              </a:rPr>
              <a:t>®</a:t>
            </a:r>
            <a:r>
              <a:rPr kumimoji="0" lang="en-US" sz="1400" b="0" i="0" u="none" strike="noStrike" kern="1200" cap="none" spc="0" normalizeH="0" baseline="0" noProof="0" dirty="0">
                <a:ln>
                  <a:noFill/>
                </a:ln>
                <a:solidFill>
                  <a:srgbClr val="FFFFFF"/>
                </a:solidFill>
                <a:effectLst/>
                <a:uLnTx/>
                <a:uFillTx/>
                <a:latin typeface="Arial" panose="020B0604020202020204"/>
                <a:cs typeface="Arial"/>
              </a:rPr>
              <a:t> containing vardenafil pellets coated with Kollicoat</a:t>
            </a:r>
            <a:r>
              <a:rPr lang="en-US" sz="1400" baseline="30000" dirty="0">
                <a:latin typeface="Arial"/>
              </a:rPr>
              <a:t>®</a:t>
            </a:r>
            <a:r>
              <a:rPr kumimoji="0" lang="en-US" sz="1400" b="0" i="0" u="none" strike="noStrike" kern="1200" cap="none" spc="0" normalizeH="0" baseline="0" noProof="0" dirty="0">
                <a:ln>
                  <a:noFill/>
                </a:ln>
                <a:solidFill>
                  <a:srgbClr val="FFFFFF"/>
                </a:solidFill>
                <a:effectLst/>
                <a:uLnTx/>
                <a:uFillTx/>
                <a:latin typeface="Arial" panose="020B0604020202020204"/>
                <a:cs typeface="Arial"/>
              </a:rPr>
              <a:t> Smartseal 30 D with BHT (1 week under stressed condition)</a:t>
            </a:r>
          </a:p>
        </p:txBody>
      </p:sp>
      <p:sp>
        <p:nvSpPr>
          <p:cNvPr id="16" name="TextBox 15">
            <a:extLst>
              <a:ext uri="{FF2B5EF4-FFF2-40B4-BE49-F238E27FC236}">
                <a16:creationId xmlns:a16="http://schemas.microsoft.com/office/drawing/2014/main" id="{E01CE77E-4695-46C6-55E2-6DF9B5746E1A}"/>
              </a:ext>
            </a:extLst>
          </p:cNvPr>
          <p:cNvSpPr txBox="1"/>
          <p:nvPr/>
        </p:nvSpPr>
        <p:spPr>
          <a:xfrm>
            <a:off x="438023" y="4892426"/>
            <a:ext cx="11736000" cy="1395254"/>
          </a:xfrm>
          <a:prstGeom prst="rect">
            <a:avLst/>
          </a:prstGeom>
          <a:noFill/>
        </p:spPr>
        <p:txBody>
          <a:bodyPr wrap="square">
            <a:spAutoFit/>
          </a:bodyPr>
          <a:lstStyle/>
          <a:p>
            <a:pPr marL="285750" indent="-285750">
              <a:lnSpc>
                <a:spcPts val="2600"/>
              </a:lnSpc>
              <a:buClr>
                <a:schemeClr val="accent1"/>
              </a:buClr>
              <a:buFont typeface="Arial" panose="020B0604020202020204" pitchFamily="34" charset="0"/>
              <a:buChar char="■"/>
            </a:pPr>
            <a:r>
              <a:rPr lang="en-US" sz="1800" dirty="0">
                <a:latin typeface="Arial   "/>
              </a:rPr>
              <a:t>MUPS with Ludiflash</a:t>
            </a:r>
            <a:r>
              <a:rPr lang="en-US" sz="1800" baseline="30000" dirty="0">
                <a:latin typeface="Arial   "/>
              </a:rPr>
              <a:t>®</a:t>
            </a:r>
            <a:r>
              <a:rPr lang="en-US" sz="1800" dirty="0">
                <a:latin typeface="Arial   "/>
              </a:rPr>
              <a:t> under the stressed condition after one week didn’t disintegrate during the dissolution study, regardless of the BHT addition, in both acid and basic media. </a:t>
            </a:r>
          </a:p>
          <a:p>
            <a:pPr marL="285750" indent="-285750">
              <a:lnSpc>
                <a:spcPts val="2600"/>
              </a:lnSpc>
              <a:buClr>
                <a:schemeClr val="accent1"/>
              </a:buClr>
              <a:buFont typeface="Arial" panose="020B0604020202020204" pitchFamily="34" charset="0"/>
              <a:buChar char="■"/>
            </a:pPr>
            <a:r>
              <a:rPr lang="en-US" dirty="0">
                <a:latin typeface="Arial   "/>
              </a:rPr>
              <a:t>It might be caused by the </a:t>
            </a:r>
            <a:r>
              <a:rPr lang="en-US" dirty="0" err="1">
                <a:latin typeface="Arial   "/>
              </a:rPr>
              <a:t>PVAc</a:t>
            </a:r>
            <a:r>
              <a:rPr lang="en-US" dirty="0">
                <a:latin typeface="Arial   "/>
              </a:rPr>
              <a:t> from Ludiflash</a:t>
            </a:r>
            <a:r>
              <a:rPr lang="en-US" baseline="30000" dirty="0">
                <a:latin typeface="Arial   "/>
              </a:rPr>
              <a:t>®</a:t>
            </a:r>
            <a:r>
              <a:rPr lang="en-US" dirty="0">
                <a:latin typeface="Arial   "/>
              </a:rPr>
              <a:t> when exposed to high humidity and temperature.</a:t>
            </a:r>
          </a:p>
          <a:p>
            <a:pPr marL="285750" indent="-285750">
              <a:lnSpc>
                <a:spcPts val="2600"/>
              </a:lnSpc>
              <a:buClr>
                <a:schemeClr val="accent1"/>
              </a:buClr>
              <a:buFont typeface="Arial" panose="020B0604020202020204" pitchFamily="34" charset="0"/>
              <a:buChar char="■"/>
            </a:pPr>
            <a:r>
              <a:rPr lang="en-US" sz="1800" dirty="0">
                <a:latin typeface="Arial   "/>
              </a:rPr>
              <a:t>This </a:t>
            </a:r>
            <a:r>
              <a:rPr lang="en-US" sz="1800" dirty="0">
                <a:effectLst/>
                <a:latin typeface="Arial   "/>
              </a:rPr>
              <a:t>formulation after the stressed condition is not included on the following charts.</a:t>
            </a:r>
            <a:endParaRPr lang="en-US" sz="1800" dirty="0">
              <a:latin typeface="Arial   "/>
            </a:endParaRPr>
          </a:p>
        </p:txBody>
      </p:sp>
      <p:sp>
        <p:nvSpPr>
          <p:cNvPr id="33" name="Footer Placeholder 11">
            <a:extLst>
              <a:ext uri="{FF2B5EF4-FFF2-40B4-BE49-F238E27FC236}">
                <a16:creationId xmlns:a16="http://schemas.microsoft.com/office/drawing/2014/main" id="{1778B79B-EE0D-C72C-BE24-827DD6AA4E3F}"/>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cxnSp>
        <p:nvCxnSpPr>
          <p:cNvPr id="3" name="Straight Arrow Connector 2">
            <a:extLst>
              <a:ext uri="{FF2B5EF4-FFF2-40B4-BE49-F238E27FC236}">
                <a16:creationId xmlns:a16="http://schemas.microsoft.com/office/drawing/2014/main" id="{C358DF11-8025-8A9F-A908-A21528124A83}"/>
              </a:ext>
            </a:extLst>
          </p:cNvPr>
          <p:cNvCxnSpPr>
            <a:cxnSpLocks/>
          </p:cNvCxnSpPr>
          <p:nvPr/>
        </p:nvCxnSpPr>
        <p:spPr>
          <a:xfrm>
            <a:off x="9231686" y="1122414"/>
            <a:ext cx="0" cy="152538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09550132-D845-82CF-E8E8-8FD9D3F0CFE0}"/>
              </a:ext>
            </a:extLst>
          </p:cNvPr>
          <p:cNvCxnSpPr>
            <a:cxnSpLocks/>
          </p:cNvCxnSpPr>
          <p:nvPr/>
        </p:nvCxnSpPr>
        <p:spPr>
          <a:xfrm>
            <a:off x="2955356" y="1181398"/>
            <a:ext cx="0" cy="141758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18E1BD3-9217-0185-8E6B-838314D3BE41}"/>
              </a:ext>
            </a:extLst>
          </p:cNvPr>
          <p:cNvSpPr txBox="1"/>
          <p:nvPr/>
        </p:nvSpPr>
        <p:spPr>
          <a:xfrm>
            <a:off x="2673350" y="1042899"/>
            <a:ext cx="6845300" cy="276999"/>
          </a:xfrm>
          <a:prstGeom prst="rect">
            <a:avLst/>
          </a:prstGeom>
          <a:solidFill>
            <a:schemeClr val="accent1"/>
          </a:solidFill>
        </p:spPr>
        <p:txBody>
          <a:bodyPr wrap="square" lIns="0" tIns="0" rIns="0" bIns="0" rtlCol="0">
            <a:spAutoFit/>
          </a:bodyPr>
          <a:lstStyle/>
          <a:p>
            <a:pPr algn="ctr"/>
            <a:r>
              <a:rPr lang="en-US" dirty="0">
                <a:solidFill>
                  <a:schemeClr val="bg1"/>
                </a:solidFill>
              </a:rPr>
              <a:t>Tablets remaining in the basket after dissolution </a:t>
            </a:r>
          </a:p>
        </p:txBody>
      </p:sp>
      <p:cxnSp>
        <p:nvCxnSpPr>
          <p:cNvPr id="13" name="Straight Arrow Connector 12">
            <a:extLst>
              <a:ext uri="{FF2B5EF4-FFF2-40B4-BE49-F238E27FC236}">
                <a16:creationId xmlns:a16="http://schemas.microsoft.com/office/drawing/2014/main" id="{8EE5A322-C585-2189-2748-F0FF3EBF90A9}"/>
              </a:ext>
            </a:extLst>
          </p:cNvPr>
          <p:cNvCxnSpPr>
            <a:cxnSpLocks/>
          </p:cNvCxnSpPr>
          <p:nvPr/>
        </p:nvCxnSpPr>
        <p:spPr>
          <a:xfrm>
            <a:off x="3851681" y="2141784"/>
            <a:ext cx="0" cy="45720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6D988589-6554-1707-0D3F-09783048B240}"/>
              </a:ext>
            </a:extLst>
          </p:cNvPr>
          <p:cNvCxnSpPr>
            <a:cxnSpLocks/>
          </p:cNvCxnSpPr>
          <p:nvPr/>
        </p:nvCxnSpPr>
        <p:spPr>
          <a:xfrm>
            <a:off x="5284924" y="1980898"/>
            <a:ext cx="0" cy="45720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CD01470-09D5-57DE-5B65-EA8378DE4A6A}"/>
              </a:ext>
            </a:extLst>
          </p:cNvPr>
          <p:cNvCxnSpPr>
            <a:cxnSpLocks/>
          </p:cNvCxnSpPr>
          <p:nvPr/>
        </p:nvCxnSpPr>
        <p:spPr>
          <a:xfrm>
            <a:off x="7273356" y="2190599"/>
            <a:ext cx="0" cy="45720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F34A3A2-7BC8-4C8E-89A5-9AAEC1C23AF5}"/>
              </a:ext>
            </a:extLst>
          </p:cNvPr>
          <p:cNvCxnSpPr>
            <a:cxnSpLocks/>
          </p:cNvCxnSpPr>
          <p:nvPr/>
        </p:nvCxnSpPr>
        <p:spPr>
          <a:xfrm>
            <a:off x="8119120" y="2190599"/>
            <a:ext cx="0" cy="45720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539157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FD610E7-3696-AB5C-C3F3-9003C505C5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8" name="think-cell data - do not delete" hidden="1">
                        <a:extLst>
                          <a:ext uri="{FF2B5EF4-FFF2-40B4-BE49-F238E27FC236}">
                            <a16:creationId xmlns:a16="http://schemas.microsoft.com/office/drawing/2014/main" id="{7FD610E7-3696-AB5C-C3F3-9003C505C5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1EE3CB-88A6-9846-0273-B29487B6AAC0}"/>
              </a:ext>
            </a:extLst>
          </p:cNvPr>
          <p:cNvSpPr>
            <a:spLocks noGrp="1"/>
          </p:cNvSpPr>
          <p:nvPr>
            <p:ph type="title"/>
          </p:nvPr>
        </p:nvSpPr>
        <p:spPr>
          <a:xfrm>
            <a:off x="228000" y="112911"/>
            <a:ext cx="11736000" cy="853200"/>
          </a:xfrm>
        </p:spPr>
        <p:txBody>
          <a:bodyPr vert="horz"/>
          <a:lstStyle/>
          <a:p>
            <a:r>
              <a:rPr lang="en-US" dirty="0"/>
              <a:t>Stressed condition study: pellets coated with Kollicoat</a:t>
            </a:r>
            <a:r>
              <a:rPr lang="en-US" sz="2800" baseline="30000" dirty="0">
                <a:effectLst/>
                <a:latin typeface="Arial" panose="020B0604020202020204" pitchFamily="34" charset="0"/>
                <a:ea typeface="Arial" panose="020B0604020202020204" pitchFamily="34" charset="0"/>
                <a:cs typeface="Times New Roman" panose="02020603050405020304" pitchFamily="18" charset="0"/>
              </a:rPr>
              <a:t>®</a:t>
            </a:r>
            <a:r>
              <a:rPr lang="en-US" dirty="0"/>
              <a:t> Smartseal 30 D </a:t>
            </a:r>
            <a:r>
              <a:rPr lang="en-US" u="sng" dirty="0"/>
              <a:t>with</a:t>
            </a:r>
            <a:r>
              <a:rPr lang="en-US" dirty="0"/>
              <a:t> BHT and vardenafil MUPS - 0.1 N HCl</a:t>
            </a:r>
            <a:endParaRPr lang="en-US" sz="2800" b="1" dirty="0"/>
          </a:p>
        </p:txBody>
      </p:sp>
      <p:sp>
        <p:nvSpPr>
          <p:cNvPr id="6" name="Text Placeholder 5">
            <a:extLst>
              <a:ext uri="{FF2B5EF4-FFF2-40B4-BE49-F238E27FC236}">
                <a16:creationId xmlns:a16="http://schemas.microsoft.com/office/drawing/2014/main" id="{B66EA8C9-77CE-B963-7AC6-F60B658910B8}"/>
              </a:ext>
            </a:extLst>
          </p:cNvPr>
          <p:cNvSpPr>
            <a:spLocks noGrp="1"/>
          </p:cNvSpPr>
          <p:nvPr>
            <p:ph type="body" idx="1"/>
          </p:nvPr>
        </p:nvSpPr>
        <p:spPr>
          <a:xfrm>
            <a:off x="438023" y="1203882"/>
            <a:ext cx="11753977" cy="4836575"/>
          </a:xfrm>
        </p:spPr>
        <p:txBody>
          <a:bodyPr/>
          <a:lstStyle/>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p:txBody>
      </p:sp>
      <p:sp>
        <p:nvSpPr>
          <p:cNvPr id="4" name="Slide Number Placeholder 3">
            <a:extLst>
              <a:ext uri="{FF2B5EF4-FFF2-40B4-BE49-F238E27FC236}">
                <a16:creationId xmlns:a16="http://schemas.microsoft.com/office/drawing/2014/main" id="{02B46B7E-F0D8-B93D-ABC1-E18A4C1A13D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82EA1D04-CA53-4DE3-84A8-2B63E41036C9}" type="slidenum">
              <a:rPr kumimoji="0" lang="en-US" sz="8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58</a:t>
            </a:fld>
            <a:endParaRPr kumimoji="0" lang="en-US" sz="8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15" name="Text Placeholder 2">
            <a:extLst>
              <a:ext uri="{FF2B5EF4-FFF2-40B4-BE49-F238E27FC236}">
                <a16:creationId xmlns:a16="http://schemas.microsoft.com/office/drawing/2014/main" id="{B96FDC7E-1F71-9747-58CE-F7845CFBE252}"/>
              </a:ext>
            </a:extLst>
          </p:cNvPr>
          <p:cNvSpPr txBox="1">
            <a:spLocks/>
          </p:cNvSpPr>
          <p:nvPr/>
        </p:nvSpPr>
        <p:spPr>
          <a:xfrm>
            <a:off x="140264" y="1965435"/>
            <a:ext cx="4164472" cy="3537483"/>
          </a:xfrm>
          <a:prstGeom prst="rect">
            <a:avLst/>
          </a:prstGeom>
        </p:spPr>
        <p:txBody>
          <a:bodyPr vert="horz" lIns="0" tIns="0" rIns="0" bIns="0" rtlCol="0">
            <a:noAutofit/>
          </a:bodyPr>
          <a:lst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lvl="0">
              <a:lnSpc>
                <a:spcPts val="2600"/>
              </a:lnSpc>
              <a:spcBef>
                <a:spcPts val="2400"/>
              </a:spcBef>
            </a:pPr>
            <a:r>
              <a:rPr lang="en-US" sz="1800" dirty="0"/>
              <a:t>Vardenafil was entirely released from the pellets and MUPS coated with Kollicoat</a:t>
            </a:r>
            <a:r>
              <a:rPr lang="en-US" sz="1800" baseline="30000" dirty="0"/>
              <a:t>®</a:t>
            </a:r>
            <a:r>
              <a:rPr lang="en-US" sz="1800" dirty="0"/>
              <a:t> Smartseal 30 D with BHT for the initial and stressed samples.</a:t>
            </a:r>
          </a:p>
          <a:p>
            <a:pPr lvl="0">
              <a:lnSpc>
                <a:spcPts val="2600"/>
              </a:lnSpc>
              <a:spcBef>
                <a:spcPts val="2400"/>
              </a:spcBef>
            </a:pPr>
            <a:endParaRPr lang="en-US" sz="1800" dirty="0"/>
          </a:p>
          <a:p>
            <a:pPr lvl="0">
              <a:lnSpc>
                <a:spcPts val="2600"/>
              </a:lnSpc>
              <a:spcBef>
                <a:spcPts val="2400"/>
              </a:spcBef>
            </a:pPr>
            <a:r>
              <a:rPr lang="en-US" sz="1800" dirty="0"/>
              <a:t>All fillers demonstrated similar dissolution profile after two weeks of exposure. </a:t>
            </a:r>
          </a:p>
        </p:txBody>
      </p:sp>
      <p:graphicFrame>
        <p:nvGraphicFramePr>
          <p:cNvPr id="5" name="Chart 4">
            <a:extLst>
              <a:ext uri="{FF2B5EF4-FFF2-40B4-BE49-F238E27FC236}">
                <a16:creationId xmlns:a16="http://schemas.microsoft.com/office/drawing/2014/main" id="{FA09122B-4564-430C-A247-4B2576229BA0}"/>
              </a:ext>
            </a:extLst>
          </p:cNvPr>
          <p:cNvGraphicFramePr>
            <a:graphicFrameLocks/>
          </p:cNvGraphicFramePr>
          <p:nvPr/>
        </p:nvGraphicFramePr>
        <p:xfrm>
          <a:off x="4445000" y="1114097"/>
          <a:ext cx="7606736" cy="4926360"/>
        </p:xfrm>
        <a:graphic>
          <a:graphicData uri="http://schemas.openxmlformats.org/drawingml/2006/chart">
            <c:chart xmlns:c="http://schemas.openxmlformats.org/drawingml/2006/chart" xmlns:r="http://schemas.openxmlformats.org/officeDocument/2006/relationships" r:id="rId6"/>
          </a:graphicData>
        </a:graphic>
      </p:graphicFrame>
      <p:cxnSp>
        <p:nvCxnSpPr>
          <p:cNvPr id="9" name="Straight Connector 8">
            <a:extLst>
              <a:ext uri="{FF2B5EF4-FFF2-40B4-BE49-F238E27FC236}">
                <a16:creationId xmlns:a16="http://schemas.microsoft.com/office/drawing/2014/main" id="{B810DCD6-84A7-BE98-6663-3AF59D9104B1}"/>
              </a:ext>
            </a:extLst>
          </p:cNvPr>
          <p:cNvCxnSpPr>
            <a:cxnSpLocks/>
          </p:cNvCxnSpPr>
          <p:nvPr/>
        </p:nvCxnSpPr>
        <p:spPr>
          <a:xfrm>
            <a:off x="5269624" y="2500512"/>
            <a:ext cx="1714563"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5D38826-81C7-E664-AE01-2597C4EA7C53}"/>
              </a:ext>
            </a:extLst>
          </p:cNvPr>
          <p:cNvCxnSpPr>
            <a:cxnSpLocks/>
          </p:cNvCxnSpPr>
          <p:nvPr/>
        </p:nvCxnSpPr>
        <p:spPr>
          <a:xfrm>
            <a:off x="6930847" y="2500512"/>
            <a:ext cx="0" cy="1817865"/>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sp>
        <p:nvSpPr>
          <p:cNvPr id="13" name="Footer Placeholder 11">
            <a:extLst>
              <a:ext uri="{FF2B5EF4-FFF2-40B4-BE49-F238E27FC236}">
                <a16:creationId xmlns:a16="http://schemas.microsoft.com/office/drawing/2014/main" id="{806A4221-0BAF-4F22-EB81-E13E289084E7}"/>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12950481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9DE6DF5-3000-8541-5649-4B59703621E9}"/>
              </a:ext>
            </a:extLst>
          </p:cNvPr>
          <p:cNvGraphicFramePr>
            <a:graphicFrameLocks noChangeAspect="1"/>
          </p:cNvGraphicFramePr>
          <p:nvPr>
            <p:custDataLst>
              <p:tags r:id="rId1"/>
            </p:custDataLst>
            <p:extLst>
              <p:ext uri="{D42A27DB-BD31-4B8C-83A1-F6EECF244321}">
                <p14:modId xmlns:p14="http://schemas.microsoft.com/office/powerpoint/2010/main" val="3353961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9" name="think-cell data - do not delete" hidden="1">
                        <a:extLst>
                          <a:ext uri="{FF2B5EF4-FFF2-40B4-BE49-F238E27FC236}">
                            <a16:creationId xmlns:a16="http://schemas.microsoft.com/office/drawing/2014/main" id="{29DE6DF5-3000-8541-5649-4B59703621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1EE3CB-88A6-9846-0273-B29487B6AAC0}"/>
              </a:ext>
            </a:extLst>
          </p:cNvPr>
          <p:cNvSpPr>
            <a:spLocks noGrp="1"/>
          </p:cNvSpPr>
          <p:nvPr>
            <p:ph type="title"/>
          </p:nvPr>
        </p:nvSpPr>
        <p:spPr>
          <a:xfrm>
            <a:off x="58960" y="107367"/>
            <a:ext cx="12193200" cy="853200"/>
          </a:xfrm>
        </p:spPr>
        <p:txBody>
          <a:bodyPr vert="horz"/>
          <a:lstStyle/>
          <a:p>
            <a:r>
              <a:rPr lang="en-US" dirty="0"/>
              <a:t>Stressed condition study: pellets coated with Kollicoat</a:t>
            </a:r>
            <a:r>
              <a:rPr lang="en-US" sz="2800" baseline="30000" dirty="0">
                <a:effectLst/>
                <a:latin typeface="Arial" panose="020B0604020202020204" pitchFamily="34" charset="0"/>
                <a:ea typeface="Arial" panose="020B0604020202020204" pitchFamily="34" charset="0"/>
                <a:cs typeface="Times New Roman" panose="02020603050405020304" pitchFamily="18" charset="0"/>
              </a:rPr>
              <a:t>®</a:t>
            </a:r>
            <a:r>
              <a:rPr lang="en-US" dirty="0"/>
              <a:t> Smartseal 30 D </a:t>
            </a:r>
            <a:r>
              <a:rPr lang="en-US" u="sng" dirty="0"/>
              <a:t>with</a:t>
            </a:r>
            <a:r>
              <a:rPr lang="en-US" dirty="0"/>
              <a:t> BHT and vardenafil MUPS-Phosphate Buffer pH 6.8 </a:t>
            </a:r>
            <a:endParaRPr lang="en-US" sz="2800" b="1" dirty="0"/>
          </a:p>
        </p:txBody>
      </p:sp>
      <p:sp>
        <p:nvSpPr>
          <p:cNvPr id="6" name="Text Placeholder 5">
            <a:extLst>
              <a:ext uri="{FF2B5EF4-FFF2-40B4-BE49-F238E27FC236}">
                <a16:creationId xmlns:a16="http://schemas.microsoft.com/office/drawing/2014/main" id="{B66EA8C9-77CE-B963-7AC6-F60B658910B8}"/>
              </a:ext>
            </a:extLst>
          </p:cNvPr>
          <p:cNvSpPr>
            <a:spLocks noGrp="1"/>
          </p:cNvSpPr>
          <p:nvPr>
            <p:ph type="body" idx="1"/>
          </p:nvPr>
        </p:nvSpPr>
        <p:spPr>
          <a:xfrm>
            <a:off x="438023" y="1158989"/>
            <a:ext cx="11753977" cy="4836575"/>
          </a:xfrm>
        </p:spPr>
        <p:txBody>
          <a:bodyPr/>
          <a:lstStyle/>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p:txBody>
      </p:sp>
      <p:sp>
        <p:nvSpPr>
          <p:cNvPr id="4" name="Slide Number Placeholder 3">
            <a:extLst>
              <a:ext uri="{FF2B5EF4-FFF2-40B4-BE49-F238E27FC236}">
                <a16:creationId xmlns:a16="http://schemas.microsoft.com/office/drawing/2014/main" id="{02B46B7E-F0D8-B93D-ABC1-E18A4C1A13DC}"/>
              </a:ext>
            </a:extLst>
          </p:cNvPr>
          <p:cNvSpPr>
            <a:spLocks noGrp="1"/>
          </p:cNvSpPr>
          <p:nvPr>
            <p:ph type="sldNum" sz="quarter" idx="12"/>
          </p:nvPr>
        </p:nvSpPr>
        <p:spPr/>
        <p:txBody>
          <a:bodyPr/>
          <a:lstStyle/>
          <a:p>
            <a:pPr marL="0" marR="0" lvl="0" indent="0" algn="l" defTabSz="914400" eaLnBrk="1" fontAlgn="auto" latinLnBrk="0" hangingPunct="1">
              <a:lnSpc>
                <a:spcPct val="100000"/>
              </a:lnSpc>
              <a:spcBef>
                <a:spcPts val="110"/>
              </a:spcBef>
              <a:spcAft>
                <a:spcPts val="110"/>
              </a:spcAft>
              <a:buClrTx/>
              <a:buSzTx/>
              <a:buFontTx/>
              <a:buNone/>
              <a:tabLst/>
              <a:defRPr/>
            </a:pPr>
            <a:fld id="{82EA1D04-CA53-4DE3-84A8-2B63E41036C9}" type="slidenum">
              <a:rPr kumimoji="0" lang="en-US" sz="8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eaLnBrk="1" fontAlgn="auto" latinLnBrk="0" hangingPunct="1">
                <a:lnSpc>
                  <a:spcPct val="100000"/>
                </a:lnSpc>
                <a:spcBef>
                  <a:spcPts val="110"/>
                </a:spcBef>
                <a:spcAft>
                  <a:spcPts val="110"/>
                </a:spcAft>
                <a:buClrTx/>
                <a:buSzTx/>
                <a:buFontTx/>
                <a:buNone/>
                <a:tabLst/>
                <a:defRPr/>
              </a:pPr>
              <a:t>59</a:t>
            </a:fld>
            <a:endParaRPr kumimoji="0" lang="en-US" sz="8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15" name="Text Placeholder 2">
            <a:extLst>
              <a:ext uri="{FF2B5EF4-FFF2-40B4-BE49-F238E27FC236}">
                <a16:creationId xmlns:a16="http://schemas.microsoft.com/office/drawing/2014/main" id="{B96FDC7E-1F71-9747-58CE-F7845CFBE252}"/>
              </a:ext>
            </a:extLst>
          </p:cNvPr>
          <p:cNvSpPr txBox="1">
            <a:spLocks/>
          </p:cNvSpPr>
          <p:nvPr/>
        </p:nvSpPr>
        <p:spPr>
          <a:xfrm>
            <a:off x="94825" y="1881352"/>
            <a:ext cx="4412520" cy="4260990"/>
          </a:xfrm>
          <a:prstGeom prst="rect">
            <a:avLst/>
          </a:prstGeom>
        </p:spPr>
        <p:txBody>
          <a:bodyPr vert="horz" lIns="0" tIns="0" rIns="0" bIns="0" rtlCol="0">
            <a:noAutofit/>
          </a:bodyPr>
          <a:lst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marL="342000" marR="0" lvl="0" indent="-342000" algn="l" defTabSz="914400" eaLnBrk="1" fontAlgn="auto" latinLnBrk="0" hangingPunct="1">
              <a:lnSpc>
                <a:spcPts val="2600"/>
              </a:lnSpc>
              <a:spcBef>
                <a:spcPts val="2400"/>
              </a:spcBef>
              <a:spcAft>
                <a:spcPts val="0"/>
              </a:spcAft>
              <a:buClr>
                <a:srgbClr val="C50022"/>
              </a:buClr>
              <a:buSzPct val="100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a:rPr>
              <a:t>Very minimal drug release (less than 20%) was observed for samples of pellets and MUPS after two weeks in the stressed condition</a:t>
            </a:r>
            <a:r>
              <a:rPr lang="en-US" sz="1800" dirty="0">
                <a:solidFill>
                  <a:srgbClr val="000000"/>
                </a:solidFill>
                <a:cs typeface="Arial"/>
              </a:rPr>
              <a:t> </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a:rPr>
              <a:t>and initial phase.</a:t>
            </a:r>
          </a:p>
          <a:p>
            <a:pPr marL="0" marR="0" lvl="0" indent="0" algn="l" defTabSz="914400" eaLnBrk="1" fontAlgn="auto" latinLnBrk="0" hangingPunct="1">
              <a:lnSpc>
                <a:spcPts val="2600"/>
              </a:lnSpc>
              <a:spcBef>
                <a:spcPts val="2400"/>
              </a:spcBef>
              <a:spcAft>
                <a:spcPts val="0"/>
              </a:spcAft>
              <a:buClr>
                <a:srgbClr val="C50022"/>
              </a:buClr>
              <a:buSzPct val="100000"/>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a:endParaRPr>
          </a:p>
          <a:p>
            <a:pPr marL="342000" marR="0" lvl="0" indent="-342000" algn="l" defTabSz="914400" eaLnBrk="1" fontAlgn="auto" latinLnBrk="0" hangingPunct="1">
              <a:lnSpc>
                <a:spcPts val="2600"/>
              </a:lnSpc>
              <a:spcBef>
                <a:spcPts val="2400"/>
              </a:spcBef>
              <a:spcAft>
                <a:spcPts val="0"/>
              </a:spcAft>
              <a:buClr>
                <a:srgbClr val="C50022"/>
              </a:buClr>
              <a:buSzPct val="100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a:rPr>
              <a:t>Stressed samples of pellets and MUPS showed further reduction in the release compared to the initial stage.</a:t>
            </a:r>
          </a:p>
        </p:txBody>
      </p:sp>
      <p:graphicFrame>
        <p:nvGraphicFramePr>
          <p:cNvPr id="7" name="Chart 6">
            <a:extLst>
              <a:ext uri="{FF2B5EF4-FFF2-40B4-BE49-F238E27FC236}">
                <a16:creationId xmlns:a16="http://schemas.microsoft.com/office/drawing/2014/main" id="{BE44FF92-950F-5D20-482E-B439531079B5}"/>
              </a:ext>
            </a:extLst>
          </p:cNvPr>
          <p:cNvGraphicFramePr>
            <a:graphicFrameLocks/>
          </p:cNvGraphicFramePr>
          <p:nvPr/>
        </p:nvGraphicFramePr>
        <p:xfrm>
          <a:off x="4586101" y="1114095"/>
          <a:ext cx="7363197" cy="4926359"/>
        </p:xfrm>
        <a:graphic>
          <a:graphicData uri="http://schemas.openxmlformats.org/drawingml/2006/chart">
            <c:chart xmlns:c="http://schemas.openxmlformats.org/drawingml/2006/chart" xmlns:r="http://schemas.openxmlformats.org/officeDocument/2006/relationships" r:id="rId6"/>
          </a:graphicData>
        </a:graphic>
      </p:graphicFrame>
      <p:cxnSp>
        <p:nvCxnSpPr>
          <p:cNvPr id="5" name="Straight Connector 4">
            <a:extLst>
              <a:ext uri="{FF2B5EF4-FFF2-40B4-BE49-F238E27FC236}">
                <a16:creationId xmlns:a16="http://schemas.microsoft.com/office/drawing/2014/main" id="{FDC0DF9C-BFEB-FEC4-CAD3-9910986EE3AC}"/>
              </a:ext>
            </a:extLst>
          </p:cNvPr>
          <p:cNvCxnSpPr>
            <a:cxnSpLocks/>
          </p:cNvCxnSpPr>
          <p:nvPr/>
        </p:nvCxnSpPr>
        <p:spPr>
          <a:xfrm>
            <a:off x="6022061" y="3719840"/>
            <a:ext cx="0" cy="42078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sp>
        <p:nvSpPr>
          <p:cNvPr id="11" name="Footer Placeholder 11">
            <a:extLst>
              <a:ext uri="{FF2B5EF4-FFF2-40B4-BE49-F238E27FC236}">
                <a16:creationId xmlns:a16="http://schemas.microsoft.com/office/drawing/2014/main" id="{00E7F5B4-C953-0952-0BFC-F8312CE458EB}"/>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42715091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D0A9E1-10AE-6082-DCE2-22EF60C2043D}"/>
              </a:ext>
            </a:extLst>
          </p:cNvPr>
          <p:cNvGraphicFramePr>
            <a:graphicFrameLocks noChangeAspect="1"/>
          </p:cNvGraphicFramePr>
          <p:nvPr>
            <p:custDataLst>
              <p:tags r:id="rId1"/>
            </p:custDataLst>
            <p:extLst>
              <p:ext uri="{D42A27DB-BD31-4B8C-83A1-F6EECF244321}">
                <p14:modId xmlns:p14="http://schemas.microsoft.com/office/powerpoint/2010/main" val="2044313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7" name="think-cell data - do not delete" hidden="1">
                        <a:extLst>
                          <a:ext uri="{FF2B5EF4-FFF2-40B4-BE49-F238E27FC236}">
                            <a16:creationId xmlns:a16="http://schemas.microsoft.com/office/drawing/2014/main" id="{05D0A9E1-10AE-6082-DCE2-22EF60C204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D931D8-E0DF-C1AD-C171-BC9856CF196F}"/>
              </a:ext>
            </a:extLst>
          </p:cNvPr>
          <p:cNvSpPr>
            <a:spLocks noGrp="1"/>
          </p:cNvSpPr>
          <p:nvPr>
            <p:ph type="title"/>
          </p:nvPr>
        </p:nvSpPr>
        <p:spPr/>
        <p:txBody>
          <a:bodyPr vert="horz"/>
          <a:lstStyle/>
          <a:p>
            <a:r>
              <a:rPr lang="en-US" dirty="0"/>
              <a:t>Introduction to taste-masking</a:t>
            </a:r>
          </a:p>
        </p:txBody>
      </p:sp>
      <p:sp>
        <p:nvSpPr>
          <p:cNvPr id="4" name="Slide Number Placeholder 3">
            <a:extLst>
              <a:ext uri="{FF2B5EF4-FFF2-40B4-BE49-F238E27FC236}">
                <a16:creationId xmlns:a16="http://schemas.microsoft.com/office/drawing/2014/main" id="{6193477C-B3F7-B5FC-07F4-741FF12CB75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6</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TextBox 5">
            <a:extLst>
              <a:ext uri="{FF2B5EF4-FFF2-40B4-BE49-F238E27FC236}">
                <a16:creationId xmlns:a16="http://schemas.microsoft.com/office/drawing/2014/main" id="{4808E4E8-1947-CFFA-9CEF-FB4F1DB55D4D}"/>
              </a:ext>
            </a:extLst>
          </p:cNvPr>
          <p:cNvSpPr txBox="1"/>
          <p:nvPr/>
        </p:nvSpPr>
        <p:spPr>
          <a:xfrm>
            <a:off x="406800" y="1825830"/>
            <a:ext cx="6097772" cy="3970318"/>
          </a:xfrm>
          <a:prstGeom prst="rect">
            <a:avLst/>
          </a:prstGeom>
          <a:noFill/>
        </p:spPr>
        <p:txBody>
          <a:bodyPr wrap="square">
            <a:spAutoFit/>
          </a:bodyPr>
          <a:lstStyle/>
          <a:p>
            <a:pPr marL="285750" marR="0" indent="-285750">
              <a:spcBef>
                <a:spcPts val="0"/>
              </a:spcBef>
              <a:spcAft>
                <a:spcPts val="0"/>
              </a:spcAft>
              <a:buClr>
                <a:schemeClr val="accent1"/>
              </a:buClr>
              <a:buFont typeface="Wingdings" panose="05000000000000000000" pitchFamily="2" charset="2"/>
              <a:buChar char="§"/>
            </a:pPr>
            <a:r>
              <a:rPr lang="en-US" sz="1800" dirty="0">
                <a:effectLst/>
                <a:latin typeface="Arial" panose="020B0604020202020204" pitchFamily="34" charset="0"/>
                <a:ea typeface="Calibri" panose="020F0502020204030204" pitchFamily="34" charset="0"/>
              </a:rPr>
              <a:t>Taste-masking is an efficient strategy to improve the unpleasant taste of APIs. </a:t>
            </a:r>
          </a:p>
          <a:p>
            <a:pPr marL="0" marR="0">
              <a:spcBef>
                <a:spcPts val="0"/>
              </a:spcBef>
              <a:spcAft>
                <a:spcPts val="0"/>
              </a:spcAft>
            </a:pPr>
            <a:endParaRPr lang="en-US" sz="1800" dirty="0">
              <a:effectLst/>
              <a:latin typeface="Arial" panose="020B0604020202020204" pitchFamily="34" charset="0"/>
              <a:ea typeface="Calibri" panose="020F0502020204030204" pitchFamily="34" charset="0"/>
            </a:endParaRPr>
          </a:p>
          <a:p>
            <a:pPr marL="285750" marR="0" indent="-285750">
              <a:spcBef>
                <a:spcPts val="0"/>
              </a:spcBef>
              <a:spcAft>
                <a:spcPts val="0"/>
              </a:spcAft>
              <a:buClr>
                <a:schemeClr val="accent1"/>
              </a:buClr>
              <a:buFont typeface="Wingdings" panose="05000000000000000000" pitchFamily="2" charset="2"/>
              <a:buChar char="§"/>
            </a:pPr>
            <a:r>
              <a:rPr lang="en-US" sz="1800" dirty="0">
                <a:effectLst/>
                <a:latin typeface="Arial" panose="020B0604020202020204" pitchFamily="34" charset="0"/>
                <a:ea typeface="Calibri" panose="020F0502020204030204" pitchFamily="34" charset="0"/>
              </a:rPr>
              <a:t>Many alternatives are available in the pharmaceutical industry to enhance drug taste</a:t>
            </a:r>
            <a:r>
              <a:rPr lang="en-US" dirty="0">
                <a:latin typeface="Arial" panose="020B0604020202020204" pitchFamily="34" charset="0"/>
                <a:ea typeface="Calibri" panose="020F0502020204030204" pitchFamily="34" charset="0"/>
              </a:rPr>
              <a:t>:</a:t>
            </a:r>
          </a:p>
          <a:p>
            <a:pPr marL="0" marR="0">
              <a:spcBef>
                <a:spcPts val="0"/>
              </a:spcBef>
              <a:spcAft>
                <a:spcPts val="0"/>
              </a:spcAft>
            </a:pPr>
            <a:endParaRPr lang="en-US" sz="1800" dirty="0">
              <a:effectLst/>
              <a:latin typeface="Arial" panose="020B0604020202020204" pitchFamily="34" charset="0"/>
              <a:ea typeface="Calibri" panose="020F0502020204030204" pitchFamily="34" charset="0"/>
            </a:endParaRPr>
          </a:p>
          <a:p>
            <a:pPr marL="571500" indent="-285750">
              <a:buClr>
                <a:schemeClr val="accent1"/>
              </a:buClr>
              <a:buFont typeface="Wingdings" panose="05000000000000000000" pitchFamily="2" charset="2"/>
              <a:buChar char="v"/>
            </a:pPr>
            <a:r>
              <a:rPr lang="en-US" sz="1800" dirty="0">
                <a:effectLst/>
                <a:latin typeface="Arial" panose="020B0604020202020204" pitchFamily="34" charset="0"/>
                <a:ea typeface="Calibri" panose="020F0502020204030204" pitchFamily="34" charset="0"/>
              </a:rPr>
              <a:t>Sweeteners</a:t>
            </a:r>
          </a:p>
          <a:p>
            <a:pPr marL="571500" indent="-285750">
              <a:buClr>
                <a:schemeClr val="accent1"/>
              </a:buClr>
              <a:buFont typeface="Wingdings" panose="05000000000000000000" pitchFamily="2" charset="2"/>
              <a:buChar char="v"/>
            </a:pPr>
            <a:r>
              <a:rPr lang="en-US" dirty="0">
                <a:latin typeface="Arial" panose="020B0604020202020204" pitchFamily="34" charset="0"/>
                <a:ea typeface="Calibri" panose="020F0502020204030204" pitchFamily="34" charset="0"/>
              </a:rPr>
              <a:t>Flavors and aromas</a:t>
            </a:r>
            <a:endParaRPr lang="en-US" sz="1800" dirty="0">
              <a:effectLst/>
              <a:latin typeface="Arial" panose="020B0604020202020204" pitchFamily="34" charset="0"/>
              <a:ea typeface="Calibri" panose="020F0502020204030204" pitchFamily="34" charset="0"/>
            </a:endParaRPr>
          </a:p>
          <a:p>
            <a:pPr marL="571500" marR="0" indent="-285750">
              <a:spcBef>
                <a:spcPts val="0"/>
              </a:spcBef>
              <a:spcAft>
                <a:spcPts val="0"/>
              </a:spcAft>
              <a:buClr>
                <a:schemeClr val="accent1"/>
              </a:buClr>
              <a:buFont typeface="Wingdings" panose="05000000000000000000" pitchFamily="2" charset="2"/>
              <a:buChar char="v"/>
            </a:pPr>
            <a:r>
              <a:rPr lang="en-US" dirty="0">
                <a:latin typeface="Arial" panose="020B0604020202020204" pitchFamily="34" charset="0"/>
                <a:ea typeface="Calibri" panose="020F0502020204030204" pitchFamily="34" charset="0"/>
              </a:rPr>
              <a:t>Drug complexation: cyclodextrin / resins</a:t>
            </a:r>
          </a:p>
          <a:p>
            <a:pPr marL="571500" marR="0" indent="-285750">
              <a:spcBef>
                <a:spcPts val="0"/>
              </a:spcBef>
              <a:spcAft>
                <a:spcPts val="0"/>
              </a:spcAft>
              <a:buClr>
                <a:schemeClr val="accent1"/>
              </a:buClr>
              <a:buFont typeface="Wingdings" panose="05000000000000000000" pitchFamily="2" charset="2"/>
              <a:buChar char="v"/>
            </a:pPr>
            <a:r>
              <a:rPr lang="en-US" dirty="0">
                <a:latin typeface="Arial" panose="020B0604020202020204" pitchFamily="34" charset="0"/>
                <a:ea typeface="Calibri" panose="020F0502020204030204" pitchFamily="34" charset="0"/>
              </a:rPr>
              <a:t>Change API salt</a:t>
            </a:r>
          </a:p>
          <a:p>
            <a:pPr marL="571500" marR="0" indent="-285750">
              <a:spcBef>
                <a:spcPts val="0"/>
              </a:spcBef>
              <a:spcAft>
                <a:spcPts val="0"/>
              </a:spcAft>
              <a:buClr>
                <a:schemeClr val="accent1"/>
              </a:buClr>
              <a:buFont typeface="Wingdings" panose="05000000000000000000" pitchFamily="2" charset="2"/>
              <a:buChar char="v"/>
            </a:pPr>
            <a:r>
              <a:rPr lang="en-US" dirty="0">
                <a:latin typeface="Arial" panose="020B0604020202020204" pitchFamily="34" charset="0"/>
                <a:ea typeface="Calibri" panose="020F0502020204030204" pitchFamily="34" charset="0"/>
              </a:rPr>
              <a:t>Signal interruption </a:t>
            </a:r>
          </a:p>
          <a:p>
            <a:pPr marL="571500" marR="0" indent="-285750">
              <a:spcBef>
                <a:spcPts val="0"/>
              </a:spcBef>
              <a:spcAft>
                <a:spcPts val="0"/>
              </a:spcAft>
              <a:buClr>
                <a:schemeClr val="accent1"/>
              </a:buClr>
              <a:buFont typeface="Wingdings" panose="05000000000000000000" pitchFamily="2" charset="2"/>
              <a:buChar char="v"/>
            </a:pPr>
            <a:r>
              <a:rPr lang="en-US" dirty="0">
                <a:latin typeface="Arial" panose="020B0604020202020204" pitchFamily="34" charset="0"/>
                <a:ea typeface="Calibri" panose="020F0502020204030204" pitchFamily="34" charset="0"/>
              </a:rPr>
              <a:t>Emulsion: encapsulating drug in the internal phase</a:t>
            </a:r>
          </a:p>
          <a:p>
            <a:pPr marL="571500" marR="0" indent="-285750">
              <a:spcBef>
                <a:spcPts val="0"/>
              </a:spcBef>
              <a:spcAft>
                <a:spcPts val="0"/>
              </a:spcAft>
              <a:buClr>
                <a:schemeClr val="accent1"/>
              </a:buClr>
              <a:buFont typeface="Wingdings" panose="05000000000000000000" pitchFamily="2" charset="2"/>
              <a:buChar char="v"/>
            </a:pPr>
            <a:r>
              <a:rPr lang="en-US" dirty="0">
                <a:latin typeface="Arial" panose="020B0604020202020204" pitchFamily="34" charset="0"/>
                <a:ea typeface="Calibri" panose="020F0502020204030204" pitchFamily="34" charset="0"/>
              </a:rPr>
              <a:t>Film-coating</a:t>
            </a:r>
          </a:p>
          <a:p>
            <a:pPr marL="0" marR="0">
              <a:spcBef>
                <a:spcPts val="0"/>
              </a:spcBef>
              <a:spcAft>
                <a:spcPts val="0"/>
              </a:spcAft>
            </a:pPr>
            <a:r>
              <a:rPr lang="en-US" sz="1800" dirty="0">
                <a:effectLst/>
                <a:latin typeface="Arial" panose="020B0604020202020204" pitchFamily="34" charset="0"/>
                <a:ea typeface="Calibri" panose="020F0502020204030204" pitchFamily="34" charset="0"/>
              </a:rPr>
              <a:t>  </a:t>
            </a:r>
            <a:endParaRPr lang="en-US" sz="1600" dirty="0">
              <a:effectLst/>
              <a:latin typeface="Calibri" panose="020F0502020204030204" pitchFamily="34" charset="0"/>
              <a:ea typeface="Calibri" panose="020F0502020204030204" pitchFamily="34" charset="0"/>
            </a:endParaRPr>
          </a:p>
        </p:txBody>
      </p:sp>
      <p:pic>
        <p:nvPicPr>
          <p:cNvPr id="8" name="Picture 7" descr="A person with a pill in their mouth&#10;&#10;Description automatically generated with low confidence">
            <a:extLst>
              <a:ext uri="{FF2B5EF4-FFF2-40B4-BE49-F238E27FC236}">
                <a16:creationId xmlns:a16="http://schemas.microsoft.com/office/drawing/2014/main" id="{D9596233-2AF1-FAE0-3A8F-F0BF045050E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976628" y="1825830"/>
            <a:ext cx="4808572" cy="3206340"/>
          </a:xfrm>
          <a:prstGeom prst="rect">
            <a:avLst/>
          </a:prstGeom>
        </p:spPr>
      </p:pic>
      <p:sp>
        <p:nvSpPr>
          <p:cNvPr id="5" name="Footer Placeholder 11">
            <a:extLst>
              <a:ext uri="{FF2B5EF4-FFF2-40B4-BE49-F238E27FC236}">
                <a16:creationId xmlns:a16="http://schemas.microsoft.com/office/drawing/2014/main" id="{FAB13F4B-BF9B-034D-FD2E-D471EEBD89F3}"/>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192366771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3B56008-CA54-D160-8428-FEF6BAFCB3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7" name="think-cell data - do not delete" hidden="1">
                        <a:extLst>
                          <a:ext uri="{FF2B5EF4-FFF2-40B4-BE49-F238E27FC236}">
                            <a16:creationId xmlns:a16="http://schemas.microsoft.com/office/drawing/2014/main" id="{93B56008-CA54-D160-8428-FEF6BAFCB3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1EE3CB-88A6-9846-0273-B29487B6AAC0}"/>
              </a:ext>
            </a:extLst>
          </p:cNvPr>
          <p:cNvSpPr>
            <a:spLocks noGrp="1"/>
          </p:cNvSpPr>
          <p:nvPr>
            <p:ph type="title"/>
          </p:nvPr>
        </p:nvSpPr>
        <p:spPr>
          <a:xfrm>
            <a:off x="150928" y="112911"/>
            <a:ext cx="11890143" cy="853200"/>
          </a:xfrm>
        </p:spPr>
        <p:txBody>
          <a:bodyPr vert="horz"/>
          <a:lstStyle/>
          <a:p>
            <a:r>
              <a:rPr lang="en-US" dirty="0"/>
              <a:t>Super-accelerated stability study: Pellets coated with Kollicoat</a:t>
            </a:r>
            <a:r>
              <a:rPr lang="en-US" sz="2800" baseline="30000" dirty="0">
                <a:effectLst/>
                <a:latin typeface="Arial" panose="020B0604020202020204" pitchFamily="34" charset="0"/>
                <a:ea typeface="Arial" panose="020B0604020202020204" pitchFamily="34" charset="0"/>
                <a:cs typeface="Times New Roman" panose="02020603050405020304" pitchFamily="18" charset="0"/>
              </a:rPr>
              <a:t>®</a:t>
            </a:r>
            <a:r>
              <a:rPr lang="en-US" dirty="0"/>
              <a:t> Smartseal 30 D </a:t>
            </a:r>
            <a:r>
              <a:rPr lang="en-US" u="sng" dirty="0"/>
              <a:t>without</a:t>
            </a:r>
            <a:r>
              <a:rPr lang="en-US" dirty="0"/>
              <a:t> BHT and vardenafil MUPS - 0.1 N HCl</a:t>
            </a:r>
            <a:endParaRPr lang="en-US" sz="2800" b="1" dirty="0"/>
          </a:p>
        </p:txBody>
      </p:sp>
      <p:sp>
        <p:nvSpPr>
          <p:cNvPr id="6" name="Text Placeholder 5">
            <a:extLst>
              <a:ext uri="{FF2B5EF4-FFF2-40B4-BE49-F238E27FC236}">
                <a16:creationId xmlns:a16="http://schemas.microsoft.com/office/drawing/2014/main" id="{B66EA8C9-77CE-B963-7AC6-F60B658910B8}"/>
              </a:ext>
            </a:extLst>
          </p:cNvPr>
          <p:cNvSpPr>
            <a:spLocks noGrp="1"/>
          </p:cNvSpPr>
          <p:nvPr>
            <p:ph type="body" idx="1"/>
          </p:nvPr>
        </p:nvSpPr>
        <p:spPr>
          <a:xfrm>
            <a:off x="438023" y="1203882"/>
            <a:ext cx="11753977" cy="4836575"/>
          </a:xfrm>
        </p:spPr>
        <p:txBody>
          <a:bodyPr/>
          <a:lstStyle/>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p:txBody>
      </p:sp>
      <p:sp>
        <p:nvSpPr>
          <p:cNvPr id="4" name="Slide Number Placeholder 3">
            <a:extLst>
              <a:ext uri="{FF2B5EF4-FFF2-40B4-BE49-F238E27FC236}">
                <a16:creationId xmlns:a16="http://schemas.microsoft.com/office/drawing/2014/main" id="{02B46B7E-F0D8-B93D-ABC1-E18A4C1A13D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82EA1D04-CA53-4DE3-84A8-2B63E41036C9}" type="slidenum">
              <a:rPr kumimoji="0" lang="en-US" sz="8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60</a:t>
            </a:fld>
            <a:endParaRPr kumimoji="0" lang="en-US" sz="800" b="1" i="0" u="none" strike="noStrike" kern="1200" cap="none" spc="0" normalizeH="0" baseline="0" noProof="0" dirty="0">
              <a:ln>
                <a:noFill/>
              </a:ln>
              <a:solidFill>
                <a:srgbClr val="000000"/>
              </a:solidFill>
              <a:effectLst/>
              <a:uLnTx/>
              <a:uFillTx/>
              <a:latin typeface="Arial" panose="020B0604020202020204"/>
              <a:cs typeface="Arial"/>
            </a:endParaRPr>
          </a:p>
        </p:txBody>
      </p:sp>
      <p:graphicFrame>
        <p:nvGraphicFramePr>
          <p:cNvPr id="9" name="Chart 8">
            <a:extLst>
              <a:ext uri="{FF2B5EF4-FFF2-40B4-BE49-F238E27FC236}">
                <a16:creationId xmlns:a16="http://schemas.microsoft.com/office/drawing/2014/main" id="{80C90EE2-21A7-408D-8272-CB51C114762D}"/>
              </a:ext>
            </a:extLst>
          </p:cNvPr>
          <p:cNvGraphicFramePr>
            <a:graphicFrameLocks/>
          </p:cNvGraphicFramePr>
          <p:nvPr/>
        </p:nvGraphicFramePr>
        <p:xfrm>
          <a:off x="4523740" y="1073844"/>
          <a:ext cx="7505502" cy="4966613"/>
        </p:xfrm>
        <a:graphic>
          <a:graphicData uri="http://schemas.openxmlformats.org/drawingml/2006/chart">
            <c:chart xmlns:c="http://schemas.openxmlformats.org/drawingml/2006/chart" xmlns:r="http://schemas.openxmlformats.org/officeDocument/2006/relationships" r:id="rId6"/>
          </a:graphicData>
        </a:graphic>
      </p:graphicFrame>
      <p:sp>
        <p:nvSpPr>
          <p:cNvPr id="15" name="Text Placeholder 2">
            <a:extLst>
              <a:ext uri="{FF2B5EF4-FFF2-40B4-BE49-F238E27FC236}">
                <a16:creationId xmlns:a16="http://schemas.microsoft.com/office/drawing/2014/main" id="{B96FDC7E-1F71-9747-58CE-F7845CFBE252}"/>
              </a:ext>
            </a:extLst>
          </p:cNvPr>
          <p:cNvSpPr txBox="1">
            <a:spLocks/>
          </p:cNvSpPr>
          <p:nvPr/>
        </p:nvSpPr>
        <p:spPr>
          <a:xfrm>
            <a:off x="150928" y="2081048"/>
            <a:ext cx="4311982" cy="3981713"/>
          </a:xfrm>
          <a:prstGeom prst="rect">
            <a:avLst/>
          </a:prstGeom>
        </p:spPr>
        <p:txBody>
          <a:bodyPr vert="horz" lIns="0" tIns="0" rIns="0" bIns="0" rtlCol="0">
            <a:noAutofit/>
          </a:bodyPr>
          <a:lst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lvl="0">
              <a:lnSpc>
                <a:spcPts val="2600"/>
              </a:lnSpc>
              <a:spcBef>
                <a:spcPts val="2400"/>
              </a:spcBef>
            </a:pPr>
            <a:r>
              <a:rPr lang="en-US" sz="1800" dirty="0"/>
              <a:t>Vardenafil was entirely released from the pellets and MUPS coated with Kollicoat</a:t>
            </a:r>
            <a:r>
              <a:rPr lang="en-US" sz="1800" baseline="30000" dirty="0"/>
              <a:t>®</a:t>
            </a:r>
            <a:r>
              <a:rPr lang="en-US" sz="1800" dirty="0"/>
              <a:t> Smartseal 30 D without BHT for the initial and stressed samples.</a:t>
            </a:r>
          </a:p>
          <a:p>
            <a:pPr marL="0" lvl="0" indent="0">
              <a:lnSpc>
                <a:spcPts val="2600"/>
              </a:lnSpc>
              <a:spcBef>
                <a:spcPts val="2400"/>
              </a:spcBef>
              <a:buNone/>
            </a:pPr>
            <a:endParaRPr lang="en-US" sz="1800" dirty="0"/>
          </a:p>
          <a:p>
            <a:pPr lvl="0">
              <a:lnSpc>
                <a:spcPts val="2600"/>
              </a:lnSpc>
              <a:spcBef>
                <a:spcPts val="2400"/>
              </a:spcBef>
            </a:pPr>
            <a:r>
              <a:rPr lang="en-US" sz="1800" dirty="0"/>
              <a:t>Ludipress</a:t>
            </a:r>
            <a:r>
              <a:rPr lang="en-US" sz="1800" baseline="30000" dirty="0"/>
              <a:t>®</a:t>
            </a:r>
            <a:r>
              <a:rPr lang="en-US" sz="1800" dirty="0"/>
              <a:t> MUPS, after the stressed condition, presented a faster drug release than in the initial stage.</a:t>
            </a:r>
          </a:p>
        </p:txBody>
      </p:sp>
      <p:cxnSp>
        <p:nvCxnSpPr>
          <p:cNvPr id="5" name="Straight Connector 4">
            <a:extLst>
              <a:ext uri="{FF2B5EF4-FFF2-40B4-BE49-F238E27FC236}">
                <a16:creationId xmlns:a16="http://schemas.microsoft.com/office/drawing/2014/main" id="{73FA0595-251F-36F1-F6E3-858C93E871EA}"/>
              </a:ext>
            </a:extLst>
          </p:cNvPr>
          <p:cNvCxnSpPr>
            <a:cxnSpLocks/>
          </p:cNvCxnSpPr>
          <p:nvPr/>
        </p:nvCxnSpPr>
        <p:spPr>
          <a:xfrm>
            <a:off x="5452116" y="2623759"/>
            <a:ext cx="1547990" cy="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C2D83DA-4FC0-0149-8566-C8E7FA723E31}"/>
              </a:ext>
            </a:extLst>
          </p:cNvPr>
          <p:cNvCxnSpPr>
            <a:cxnSpLocks/>
          </p:cNvCxnSpPr>
          <p:nvPr/>
        </p:nvCxnSpPr>
        <p:spPr>
          <a:xfrm>
            <a:off x="6959235" y="2702560"/>
            <a:ext cx="0" cy="1635372"/>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sp>
        <p:nvSpPr>
          <p:cNvPr id="35" name="Footer Placeholder 11">
            <a:extLst>
              <a:ext uri="{FF2B5EF4-FFF2-40B4-BE49-F238E27FC236}">
                <a16:creationId xmlns:a16="http://schemas.microsoft.com/office/drawing/2014/main" id="{388A93C6-8E9A-7487-FBFB-248CEC977A19}"/>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26482439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23B357E-8526-3FDF-0E5A-206E34EB2B9A}"/>
              </a:ext>
            </a:extLst>
          </p:cNvPr>
          <p:cNvGraphicFramePr>
            <a:graphicFrameLocks noChangeAspect="1"/>
          </p:cNvGraphicFramePr>
          <p:nvPr>
            <p:custDataLst>
              <p:tags r:id="rId1"/>
            </p:custDataLst>
            <p:extLst>
              <p:ext uri="{D42A27DB-BD31-4B8C-83A1-F6EECF244321}">
                <p14:modId xmlns:p14="http://schemas.microsoft.com/office/powerpoint/2010/main" val="4031314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8" name="think-cell data - do not delete" hidden="1">
                        <a:extLst>
                          <a:ext uri="{FF2B5EF4-FFF2-40B4-BE49-F238E27FC236}">
                            <a16:creationId xmlns:a16="http://schemas.microsoft.com/office/drawing/2014/main" id="{523B357E-8526-3FDF-0E5A-206E34EB2B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1EE3CB-88A6-9846-0273-B29487B6AAC0}"/>
              </a:ext>
            </a:extLst>
          </p:cNvPr>
          <p:cNvSpPr>
            <a:spLocks noGrp="1"/>
          </p:cNvSpPr>
          <p:nvPr>
            <p:ph type="title"/>
          </p:nvPr>
        </p:nvSpPr>
        <p:spPr>
          <a:xfrm>
            <a:off x="67347" y="124168"/>
            <a:ext cx="12057305" cy="853200"/>
          </a:xfrm>
        </p:spPr>
        <p:txBody>
          <a:bodyPr vert="horz"/>
          <a:lstStyle/>
          <a:p>
            <a:r>
              <a:rPr lang="en-US" dirty="0"/>
              <a:t>Stressed condition study: pellets coated with Kollicoat</a:t>
            </a:r>
            <a:r>
              <a:rPr lang="en-US" sz="2800" baseline="30000" dirty="0">
                <a:effectLst/>
                <a:latin typeface="Arial" panose="020B0604020202020204" pitchFamily="34" charset="0"/>
                <a:ea typeface="Arial" panose="020B0604020202020204" pitchFamily="34" charset="0"/>
                <a:cs typeface="Times New Roman" panose="02020603050405020304" pitchFamily="18" charset="0"/>
              </a:rPr>
              <a:t>®</a:t>
            </a:r>
            <a:r>
              <a:rPr lang="en-US" dirty="0"/>
              <a:t> Smartseal 30 D </a:t>
            </a:r>
            <a:r>
              <a:rPr lang="en-US" u="sng" dirty="0"/>
              <a:t>without</a:t>
            </a:r>
            <a:r>
              <a:rPr lang="en-US" dirty="0"/>
              <a:t> BHT and vardenafil MUPS-Phosphate Buffer pH 6.8 </a:t>
            </a:r>
            <a:endParaRPr lang="en-US" sz="2800" b="1" dirty="0"/>
          </a:p>
        </p:txBody>
      </p:sp>
      <p:sp>
        <p:nvSpPr>
          <p:cNvPr id="6" name="Text Placeholder 5">
            <a:extLst>
              <a:ext uri="{FF2B5EF4-FFF2-40B4-BE49-F238E27FC236}">
                <a16:creationId xmlns:a16="http://schemas.microsoft.com/office/drawing/2014/main" id="{B66EA8C9-77CE-B963-7AC6-F60B658910B8}"/>
              </a:ext>
            </a:extLst>
          </p:cNvPr>
          <p:cNvSpPr>
            <a:spLocks noGrp="1"/>
          </p:cNvSpPr>
          <p:nvPr>
            <p:ph type="body" idx="1"/>
          </p:nvPr>
        </p:nvSpPr>
        <p:spPr>
          <a:xfrm>
            <a:off x="438023" y="1203882"/>
            <a:ext cx="11753977" cy="4836575"/>
          </a:xfrm>
        </p:spPr>
        <p:txBody>
          <a:bodyPr/>
          <a:lstStyle/>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a:p>
            <a:pPr marL="0" indent="0">
              <a:buNone/>
            </a:pPr>
            <a:endParaRPr lang="en-US" sz="1800" b="1" dirty="0"/>
          </a:p>
        </p:txBody>
      </p:sp>
      <p:sp>
        <p:nvSpPr>
          <p:cNvPr id="4" name="Slide Number Placeholder 3">
            <a:extLst>
              <a:ext uri="{FF2B5EF4-FFF2-40B4-BE49-F238E27FC236}">
                <a16:creationId xmlns:a16="http://schemas.microsoft.com/office/drawing/2014/main" id="{02B46B7E-F0D8-B93D-ABC1-E18A4C1A13D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82EA1D04-CA53-4DE3-84A8-2B63E41036C9}" type="slidenum">
              <a:rPr kumimoji="0" lang="en-US" sz="8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61</a:t>
            </a:fld>
            <a:endParaRPr kumimoji="0" lang="en-US" sz="8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15" name="Text Placeholder 2">
            <a:extLst>
              <a:ext uri="{FF2B5EF4-FFF2-40B4-BE49-F238E27FC236}">
                <a16:creationId xmlns:a16="http://schemas.microsoft.com/office/drawing/2014/main" id="{B96FDC7E-1F71-9747-58CE-F7845CFBE252}"/>
              </a:ext>
            </a:extLst>
          </p:cNvPr>
          <p:cNvSpPr txBox="1">
            <a:spLocks/>
          </p:cNvSpPr>
          <p:nvPr/>
        </p:nvSpPr>
        <p:spPr>
          <a:xfrm>
            <a:off x="67347" y="1818290"/>
            <a:ext cx="4203864" cy="4369564"/>
          </a:xfrm>
          <a:prstGeom prst="rect">
            <a:avLst/>
          </a:prstGeom>
        </p:spPr>
        <p:txBody>
          <a:bodyPr vert="horz" lIns="0" tIns="0" rIns="0" bIns="0" rtlCol="0">
            <a:noAutofit/>
          </a:bodyPr>
          <a:lst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marL="342000" marR="0" lvl="0" indent="-342000" algn="l" defTabSz="914400" rtl="0" eaLnBrk="1" fontAlgn="auto" latinLnBrk="0" hangingPunct="1">
              <a:lnSpc>
                <a:spcPts val="2600"/>
              </a:lnSpc>
              <a:spcBef>
                <a:spcPts val="2400"/>
              </a:spcBef>
              <a:spcAft>
                <a:spcPts val="0"/>
              </a:spcAft>
              <a:buClr>
                <a:srgbClr val="C50022"/>
              </a:buClr>
              <a:buSzPct val="100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a:rPr>
              <a:t>Very minimal drug release (less than 20%) was observed for samples of pellets and MUPS after two weeks in the stressed condition and initial phase.</a:t>
            </a:r>
          </a:p>
          <a:p>
            <a:pPr marL="342000" marR="0" lvl="0" indent="-342000" algn="l" defTabSz="914400" rtl="0" eaLnBrk="1" fontAlgn="auto" latinLnBrk="0" hangingPunct="1">
              <a:lnSpc>
                <a:spcPts val="2600"/>
              </a:lnSpc>
              <a:spcBef>
                <a:spcPts val="2400"/>
              </a:spcBef>
              <a:spcAft>
                <a:spcPts val="0"/>
              </a:spcAft>
              <a:buClr>
                <a:srgbClr val="C50022"/>
              </a:buClr>
              <a:buSzPct val="100000"/>
              <a:buFont typeface="Wingdings" panose="05000000000000000000" pitchFamily="2" charset="2"/>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a:endParaRPr>
          </a:p>
          <a:p>
            <a:pPr marL="342000" marR="0" lvl="0" indent="-342000" algn="l" defTabSz="914400" rtl="0" eaLnBrk="1" fontAlgn="auto" latinLnBrk="0" hangingPunct="1">
              <a:lnSpc>
                <a:spcPts val="2600"/>
              </a:lnSpc>
              <a:spcBef>
                <a:spcPts val="2400"/>
              </a:spcBef>
              <a:spcAft>
                <a:spcPts val="0"/>
              </a:spcAft>
              <a:buClr>
                <a:srgbClr val="C50022"/>
              </a:buClr>
              <a:buSzPct val="100000"/>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a:rPr>
              <a:t>Stressed samples of pellets and MUPS showed further reduction in the release compared to the initial stage.</a:t>
            </a:r>
          </a:p>
        </p:txBody>
      </p:sp>
      <p:graphicFrame>
        <p:nvGraphicFramePr>
          <p:cNvPr id="5" name="Chart 4">
            <a:extLst>
              <a:ext uri="{FF2B5EF4-FFF2-40B4-BE49-F238E27FC236}">
                <a16:creationId xmlns:a16="http://schemas.microsoft.com/office/drawing/2014/main" id="{BE44FF92-950F-5D20-482E-B439531079B5}"/>
              </a:ext>
            </a:extLst>
          </p:cNvPr>
          <p:cNvGraphicFramePr>
            <a:graphicFrameLocks/>
          </p:cNvGraphicFramePr>
          <p:nvPr>
            <p:extLst>
              <p:ext uri="{D42A27DB-BD31-4B8C-83A1-F6EECF244321}">
                <p14:modId xmlns:p14="http://schemas.microsoft.com/office/powerpoint/2010/main" val="1804557454"/>
              </p:ext>
            </p:extLst>
          </p:nvPr>
        </p:nvGraphicFramePr>
        <p:xfrm>
          <a:off x="4546600" y="1351280"/>
          <a:ext cx="7532804" cy="4689178"/>
        </p:xfrm>
        <a:graphic>
          <a:graphicData uri="http://schemas.openxmlformats.org/drawingml/2006/chart">
            <c:chart xmlns:c="http://schemas.openxmlformats.org/drawingml/2006/chart" xmlns:r="http://schemas.openxmlformats.org/officeDocument/2006/relationships" r:id="rId6"/>
          </a:graphicData>
        </a:graphic>
      </p:graphicFrame>
      <p:cxnSp>
        <p:nvCxnSpPr>
          <p:cNvPr id="7" name="Straight Connector 6">
            <a:extLst>
              <a:ext uri="{FF2B5EF4-FFF2-40B4-BE49-F238E27FC236}">
                <a16:creationId xmlns:a16="http://schemas.microsoft.com/office/drawing/2014/main" id="{10CCF73E-C21B-DD05-204C-79E19BF51E70}"/>
              </a:ext>
            </a:extLst>
          </p:cNvPr>
          <p:cNvCxnSpPr>
            <a:cxnSpLocks/>
          </p:cNvCxnSpPr>
          <p:nvPr/>
        </p:nvCxnSpPr>
        <p:spPr>
          <a:xfrm>
            <a:off x="5853973" y="3523579"/>
            <a:ext cx="0" cy="420780"/>
          </a:xfrm>
          <a:prstGeom prst="line">
            <a:avLst/>
          </a:prstGeom>
          <a:ln w="28575">
            <a:solidFill>
              <a:srgbClr val="C00000"/>
            </a:solidFill>
            <a:prstDash val="sysDot"/>
          </a:ln>
        </p:spPr>
        <p:style>
          <a:lnRef idx="1">
            <a:schemeClr val="accent1"/>
          </a:lnRef>
          <a:fillRef idx="0">
            <a:schemeClr val="accent1"/>
          </a:fillRef>
          <a:effectRef idx="0">
            <a:schemeClr val="accent1"/>
          </a:effectRef>
          <a:fontRef idx="minor">
            <a:schemeClr val="tx1"/>
          </a:fontRef>
        </p:style>
      </p:cxnSp>
      <p:sp>
        <p:nvSpPr>
          <p:cNvPr id="19" name="Footer Placeholder 11">
            <a:extLst>
              <a:ext uri="{FF2B5EF4-FFF2-40B4-BE49-F238E27FC236}">
                <a16:creationId xmlns:a16="http://schemas.microsoft.com/office/drawing/2014/main" id="{35C9DDBA-D1AC-060F-17C9-EBA1073A3C91}"/>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pic>
        <p:nvPicPr>
          <p:cNvPr id="9" name="Picture 8">
            <a:extLst>
              <a:ext uri="{FF2B5EF4-FFF2-40B4-BE49-F238E27FC236}">
                <a16:creationId xmlns:a16="http://schemas.microsoft.com/office/drawing/2014/main" id="{5504FC21-C18A-4E79-B475-6251E043B234}"/>
              </a:ext>
            </a:extLst>
          </p:cNvPr>
          <p:cNvPicPr>
            <a:picLocks noChangeAspect="1"/>
          </p:cNvPicPr>
          <p:nvPr/>
        </p:nvPicPr>
        <p:blipFill>
          <a:blip r:embed="rId7"/>
          <a:stretch>
            <a:fillRect/>
          </a:stretch>
        </p:blipFill>
        <p:spPr>
          <a:xfrm>
            <a:off x="4649975" y="4726890"/>
            <a:ext cx="7374696" cy="1184812"/>
          </a:xfrm>
          <a:prstGeom prst="rect">
            <a:avLst/>
          </a:prstGeom>
        </p:spPr>
      </p:pic>
    </p:spTree>
    <p:extLst>
      <p:ext uri="{BB962C8B-B14F-4D97-AF65-F5344CB8AC3E}">
        <p14:creationId xmlns:p14="http://schemas.microsoft.com/office/powerpoint/2010/main" val="150974395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5FCB1CB-779D-841B-FC4A-6C24667E70E9}"/>
              </a:ext>
            </a:extLst>
          </p:cNvPr>
          <p:cNvGraphicFramePr>
            <a:graphicFrameLocks noChangeAspect="1"/>
          </p:cNvGraphicFramePr>
          <p:nvPr>
            <p:custDataLst>
              <p:tags r:id="rId1"/>
            </p:custDataLst>
            <p:extLst>
              <p:ext uri="{D42A27DB-BD31-4B8C-83A1-F6EECF244321}">
                <p14:modId xmlns:p14="http://schemas.microsoft.com/office/powerpoint/2010/main" val="29333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4" name="think-cell data - do not delete" hidden="1">
                        <a:extLst>
                          <a:ext uri="{FF2B5EF4-FFF2-40B4-BE49-F238E27FC236}">
                            <a16:creationId xmlns:a16="http://schemas.microsoft.com/office/drawing/2014/main" id="{45FCB1CB-779D-841B-FC4A-6C24667E70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9DF6AE-C90B-8800-9EAD-CC732CB40479}"/>
              </a:ext>
            </a:extLst>
          </p:cNvPr>
          <p:cNvSpPr>
            <a:spLocks noGrp="1"/>
          </p:cNvSpPr>
          <p:nvPr>
            <p:ph type="title"/>
          </p:nvPr>
        </p:nvSpPr>
        <p:spPr>
          <a:xfrm>
            <a:off x="113400" y="109161"/>
            <a:ext cx="11965200" cy="853200"/>
          </a:xfrm>
        </p:spPr>
        <p:txBody>
          <a:bodyPr vert="horz"/>
          <a:lstStyle/>
          <a:p>
            <a:r>
              <a:rPr lang="en-US" dirty="0"/>
              <a:t>Comparison of the drug release of pellets coated with &amp; without BHT at the stressed condition study Vs initial </a:t>
            </a:r>
          </a:p>
        </p:txBody>
      </p:sp>
      <p:sp>
        <p:nvSpPr>
          <p:cNvPr id="3" name="Text Placeholder 2">
            <a:extLst>
              <a:ext uri="{FF2B5EF4-FFF2-40B4-BE49-F238E27FC236}">
                <a16:creationId xmlns:a16="http://schemas.microsoft.com/office/drawing/2014/main" id="{4156C8A0-5FB7-1098-01CD-B22CD5820924}"/>
              </a:ext>
            </a:extLst>
          </p:cNvPr>
          <p:cNvSpPr>
            <a:spLocks noGrp="1"/>
          </p:cNvSpPr>
          <p:nvPr>
            <p:ph type="body" idx="1"/>
          </p:nvPr>
        </p:nvSpPr>
        <p:spPr>
          <a:xfrm>
            <a:off x="226800" y="5565276"/>
            <a:ext cx="11851800" cy="650727"/>
          </a:xfrm>
        </p:spPr>
        <p:txBody>
          <a:bodyPr/>
          <a:lstStyle/>
          <a:p>
            <a:r>
              <a:rPr lang="en-US" dirty="0"/>
              <a:t>No differences on the drug release with BHT. A negligible drop in the final drug release was observed for pellets without BHT.</a:t>
            </a:r>
          </a:p>
        </p:txBody>
      </p:sp>
      <p:sp>
        <p:nvSpPr>
          <p:cNvPr id="5" name="Slide Number Placeholder 4">
            <a:extLst>
              <a:ext uri="{FF2B5EF4-FFF2-40B4-BE49-F238E27FC236}">
                <a16:creationId xmlns:a16="http://schemas.microsoft.com/office/drawing/2014/main" id="{A84BF3F7-964C-B742-31E4-74E40E9B945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62</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graphicFrame>
        <p:nvGraphicFramePr>
          <p:cNvPr id="9" name="Chart 8">
            <a:extLst>
              <a:ext uri="{FF2B5EF4-FFF2-40B4-BE49-F238E27FC236}">
                <a16:creationId xmlns:a16="http://schemas.microsoft.com/office/drawing/2014/main" id="{E8C4F4B6-EF4C-4534-82D9-F934D77199B8}"/>
              </a:ext>
            </a:extLst>
          </p:cNvPr>
          <p:cNvGraphicFramePr>
            <a:graphicFrameLocks/>
          </p:cNvGraphicFramePr>
          <p:nvPr>
            <p:extLst>
              <p:ext uri="{D42A27DB-BD31-4B8C-83A1-F6EECF244321}">
                <p14:modId xmlns:p14="http://schemas.microsoft.com/office/powerpoint/2010/main" val="1619998944"/>
              </p:ext>
            </p:extLst>
          </p:nvPr>
        </p:nvGraphicFramePr>
        <p:xfrm>
          <a:off x="236400" y="1102210"/>
          <a:ext cx="5695705" cy="43232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Chart 10">
            <a:extLst>
              <a:ext uri="{FF2B5EF4-FFF2-40B4-BE49-F238E27FC236}">
                <a16:creationId xmlns:a16="http://schemas.microsoft.com/office/drawing/2014/main" id="{66692DE0-FF99-46AD-88E5-B57AE1177F25}"/>
              </a:ext>
            </a:extLst>
          </p:cNvPr>
          <p:cNvGraphicFramePr>
            <a:graphicFrameLocks/>
          </p:cNvGraphicFramePr>
          <p:nvPr>
            <p:extLst>
              <p:ext uri="{D42A27DB-BD31-4B8C-83A1-F6EECF244321}">
                <p14:modId xmlns:p14="http://schemas.microsoft.com/office/powerpoint/2010/main" val="226521026"/>
              </p:ext>
            </p:extLst>
          </p:nvPr>
        </p:nvGraphicFramePr>
        <p:xfrm>
          <a:off x="6202997" y="1102210"/>
          <a:ext cx="5695705" cy="4323218"/>
        </p:xfrm>
        <a:graphic>
          <a:graphicData uri="http://schemas.openxmlformats.org/drawingml/2006/chart">
            <c:chart xmlns:c="http://schemas.openxmlformats.org/drawingml/2006/chart" xmlns:r="http://schemas.openxmlformats.org/officeDocument/2006/relationships" r:id="rId7"/>
          </a:graphicData>
        </a:graphic>
      </p:graphicFrame>
      <p:sp>
        <p:nvSpPr>
          <p:cNvPr id="12" name="TextBox 11">
            <a:extLst>
              <a:ext uri="{FF2B5EF4-FFF2-40B4-BE49-F238E27FC236}">
                <a16:creationId xmlns:a16="http://schemas.microsoft.com/office/drawing/2014/main" id="{AF66393F-95E3-11B5-76FD-925DEF768501}"/>
              </a:ext>
            </a:extLst>
          </p:cNvPr>
          <p:cNvSpPr txBox="1"/>
          <p:nvPr/>
        </p:nvSpPr>
        <p:spPr>
          <a:xfrm>
            <a:off x="236400" y="1119942"/>
            <a:ext cx="5602326" cy="830997"/>
          </a:xfrm>
          <a:prstGeom prst="rect">
            <a:avLst/>
          </a:prstGeom>
          <a:noFill/>
        </p:spPr>
        <p:txBody>
          <a:bodyPr wrap="square" lIns="0" tIns="0" rIns="0" bIns="0" rtlCol="0">
            <a:spAutoFit/>
          </a:bodyPr>
          <a:lstStyle/>
          <a:p>
            <a:pPr algn="ctr" rtl="0">
              <a:defRPr sz="1800" b="1" i="0" u="none" strike="noStrike" kern="1200" spc="0" baseline="0">
                <a:solidFill>
                  <a:prstClr val="black"/>
                </a:solidFill>
                <a:latin typeface="+mn-lt"/>
                <a:ea typeface="+mn-ea"/>
                <a:cs typeface="+mn-cs"/>
              </a:defRPr>
            </a:pPr>
            <a:r>
              <a:rPr lang="en-US" sz="1800" b="1" i="0" baseline="0" dirty="0">
                <a:solidFill>
                  <a:schemeClr val="tx1"/>
                </a:solidFill>
                <a:effectLst/>
                <a:latin typeface="Arial" panose="020B0604020202020204" pitchFamily="34" charset="0"/>
                <a:cs typeface="Arial" panose="020B0604020202020204" pitchFamily="34" charset="0"/>
              </a:rPr>
              <a:t>Vardenafil pellets coated with Kollicoat</a:t>
            </a:r>
            <a:r>
              <a:rPr lang="en-US" sz="1800" b="1" baseline="30000" dirty="0">
                <a:solidFill>
                  <a:schemeClr val="tx1"/>
                </a:solidFill>
                <a:latin typeface="Arial" panose="020B0604020202020204" pitchFamily="34" charset="0"/>
                <a:cs typeface="Arial" panose="020B0604020202020204" pitchFamily="34" charset="0"/>
              </a:rPr>
              <a:t> ®</a:t>
            </a:r>
            <a:r>
              <a:rPr lang="en-US" sz="1800" b="1" i="0" baseline="0" dirty="0">
                <a:solidFill>
                  <a:schemeClr val="tx1"/>
                </a:solidFill>
                <a:effectLst/>
                <a:latin typeface="Arial" panose="020B0604020202020204" pitchFamily="34" charset="0"/>
                <a:cs typeface="Arial" panose="020B0604020202020204" pitchFamily="34" charset="0"/>
              </a:rPr>
              <a:t> Smartseal 30 D with BHT, stressed condition. Dissolution in 0.1N HCl, 900 ml , basket at 100 rpm</a:t>
            </a:r>
            <a:endParaRPr lang="en-US" sz="1800" b="1" dirty="0">
              <a:solidFill>
                <a:schemeClr val="tx1"/>
              </a:solidFill>
              <a:effectLst/>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A21EFBF9-30E2-2631-D1DE-7E8472D1B380}"/>
              </a:ext>
            </a:extLst>
          </p:cNvPr>
          <p:cNvSpPr txBox="1"/>
          <p:nvPr/>
        </p:nvSpPr>
        <p:spPr>
          <a:xfrm>
            <a:off x="6249686" y="1128096"/>
            <a:ext cx="5602326" cy="830997"/>
          </a:xfrm>
          <a:prstGeom prst="rect">
            <a:avLst/>
          </a:prstGeom>
          <a:noFill/>
        </p:spPr>
        <p:txBody>
          <a:bodyPr wrap="square" lIns="0" tIns="0" rIns="0" bIns="0" rtlCol="0">
            <a:spAutoFit/>
          </a:bodyPr>
          <a:lstStyle/>
          <a:p>
            <a:pPr algn="ctr" rtl="0">
              <a:defRPr sz="1800" b="1" i="0" u="none" strike="noStrike" kern="1200" spc="0" baseline="0">
                <a:solidFill>
                  <a:prstClr val="black"/>
                </a:solidFill>
                <a:latin typeface="+mn-lt"/>
                <a:ea typeface="+mn-ea"/>
                <a:cs typeface="+mn-cs"/>
              </a:defRPr>
            </a:pPr>
            <a:r>
              <a:rPr lang="en-US" sz="1800" b="1" i="0" baseline="0" dirty="0">
                <a:solidFill>
                  <a:schemeClr val="tx1"/>
                </a:solidFill>
                <a:effectLst/>
                <a:latin typeface="Arial" panose="020B0604020202020204" pitchFamily="34" charset="0"/>
                <a:cs typeface="Arial" panose="020B0604020202020204" pitchFamily="34" charset="0"/>
              </a:rPr>
              <a:t>Vardenafil pellets coated with Kollicoat</a:t>
            </a:r>
            <a:r>
              <a:rPr lang="en-US" sz="1800" b="1" baseline="30000" dirty="0">
                <a:solidFill>
                  <a:schemeClr val="tx1"/>
                </a:solidFill>
                <a:latin typeface="Arial" panose="020B0604020202020204" pitchFamily="34" charset="0"/>
                <a:cs typeface="Arial" panose="020B0604020202020204" pitchFamily="34" charset="0"/>
              </a:rPr>
              <a:t> ®</a:t>
            </a:r>
            <a:r>
              <a:rPr lang="en-US" sz="1800" b="1" i="0" baseline="0" dirty="0">
                <a:solidFill>
                  <a:schemeClr val="tx1"/>
                </a:solidFill>
                <a:effectLst/>
                <a:latin typeface="Arial" panose="020B0604020202020204" pitchFamily="34" charset="0"/>
                <a:cs typeface="Arial" panose="020B0604020202020204" pitchFamily="34" charset="0"/>
              </a:rPr>
              <a:t> Smartseal 30 D without BHT, stressed condition. Dissolution in 0.1N HCl, 900 ml , basket at 100 rpm</a:t>
            </a:r>
            <a:endParaRPr lang="en-US" sz="1800" b="1" dirty="0">
              <a:solidFill>
                <a:schemeClr val="tx1"/>
              </a:solidFill>
              <a:effectLst/>
              <a:latin typeface="Arial" panose="020B0604020202020204" pitchFamily="34" charset="0"/>
              <a:cs typeface="Arial" panose="020B0604020202020204" pitchFamily="34" charset="0"/>
            </a:endParaRPr>
          </a:p>
        </p:txBody>
      </p:sp>
      <p:sp>
        <p:nvSpPr>
          <p:cNvPr id="6" name="Footer Placeholder 11">
            <a:extLst>
              <a:ext uri="{FF2B5EF4-FFF2-40B4-BE49-F238E27FC236}">
                <a16:creationId xmlns:a16="http://schemas.microsoft.com/office/drawing/2014/main" id="{8C84DAE6-7129-3217-E0DA-AFA2C59A37FD}"/>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291693092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962216C-8C57-B73D-8F7D-E1FA176312F9}"/>
              </a:ext>
            </a:extLst>
          </p:cNvPr>
          <p:cNvGraphicFramePr>
            <a:graphicFrameLocks noChangeAspect="1"/>
          </p:cNvGraphicFramePr>
          <p:nvPr>
            <p:custDataLst>
              <p:tags r:id="rId1"/>
            </p:custDataLst>
            <p:extLst>
              <p:ext uri="{D42A27DB-BD31-4B8C-83A1-F6EECF244321}">
                <p14:modId xmlns:p14="http://schemas.microsoft.com/office/powerpoint/2010/main" val="296965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think-cell data - do not delete" hidden="1">
                        <a:extLst>
                          <a:ext uri="{FF2B5EF4-FFF2-40B4-BE49-F238E27FC236}">
                            <a16:creationId xmlns:a16="http://schemas.microsoft.com/office/drawing/2014/main" id="{0962216C-8C57-B73D-8F7D-E1FA176312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F2FB01-A477-6959-31F9-78C04D960649}"/>
              </a:ext>
            </a:extLst>
          </p:cNvPr>
          <p:cNvSpPr>
            <a:spLocks noGrp="1"/>
          </p:cNvSpPr>
          <p:nvPr>
            <p:ph type="title"/>
          </p:nvPr>
        </p:nvSpPr>
        <p:spPr>
          <a:xfrm>
            <a:off x="406800" y="292456"/>
            <a:ext cx="11736000" cy="853200"/>
          </a:xfrm>
        </p:spPr>
        <p:txBody>
          <a:bodyPr vert="horz"/>
          <a:lstStyle/>
          <a:p>
            <a:r>
              <a:rPr lang="en-US" dirty="0"/>
              <a:t>Comparison of the drug release of Ludiflash</a:t>
            </a:r>
            <a:r>
              <a:rPr lang="en-US" baseline="30000" dirty="0"/>
              <a:t>® </a:t>
            </a:r>
            <a:r>
              <a:rPr lang="en-US" dirty="0"/>
              <a:t>MUPS with pellets coated with &amp; without BHT at room temperature Vs initial </a:t>
            </a:r>
          </a:p>
        </p:txBody>
      </p:sp>
      <p:sp>
        <p:nvSpPr>
          <p:cNvPr id="3" name="Text Placeholder 2">
            <a:extLst>
              <a:ext uri="{FF2B5EF4-FFF2-40B4-BE49-F238E27FC236}">
                <a16:creationId xmlns:a16="http://schemas.microsoft.com/office/drawing/2014/main" id="{57D24757-74F0-12DD-73F4-3EB558D00B22}"/>
              </a:ext>
            </a:extLst>
          </p:cNvPr>
          <p:cNvSpPr>
            <a:spLocks noGrp="1"/>
          </p:cNvSpPr>
          <p:nvPr>
            <p:ph type="body" idx="1"/>
          </p:nvPr>
        </p:nvSpPr>
        <p:spPr>
          <a:xfrm>
            <a:off x="448955" y="5684114"/>
            <a:ext cx="11739522" cy="601580"/>
          </a:xfrm>
        </p:spPr>
        <p:txBody>
          <a:bodyPr/>
          <a:lstStyle/>
          <a:p>
            <a:r>
              <a:rPr lang="en-US" dirty="0"/>
              <a:t>No differences on the drug release with and without BHT for tablets with Ludiflash</a:t>
            </a:r>
            <a:r>
              <a:rPr lang="en-US" sz="2000" b="1" baseline="30000" dirty="0">
                <a:solidFill>
                  <a:schemeClr val="tx1"/>
                </a:solidFill>
                <a:latin typeface="Arial" panose="020B0604020202020204" pitchFamily="34" charset="0"/>
                <a:cs typeface="Arial" panose="020B0604020202020204" pitchFamily="34" charset="0"/>
              </a:rPr>
              <a:t>®</a:t>
            </a:r>
            <a:r>
              <a:rPr lang="en-US" dirty="0"/>
              <a:t> after 4 weeks of storage at room temperature. </a:t>
            </a:r>
          </a:p>
        </p:txBody>
      </p:sp>
      <p:sp>
        <p:nvSpPr>
          <p:cNvPr id="5" name="Slide Number Placeholder 4">
            <a:extLst>
              <a:ext uri="{FF2B5EF4-FFF2-40B4-BE49-F238E27FC236}">
                <a16:creationId xmlns:a16="http://schemas.microsoft.com/office/drawing/2014/main" id="{7DA0D1DA-A0E0-7407-1E81-B84D01596B4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63</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graphicFrame>
        <p:nvGraphicFramePr>
          <p:cNvPr id="7" name="Chart 6">
            <a:extLst>
              <a:ext uri="{FF2B5EF4-FFF2-40B4-BE49-F238E27FC236}">
                <a16:creationId xmlns:a16="http://schemas.microsoft.com/office/drawing/2014/main" id="{4E77F2F7-60BC-41C2-92A8-7B7296774A88}"/>
              </a:ext>
            </a:extLst>
          </p:cNvPr>
          <p:cNvGraphicFramePr>
            <a:graphicFrameLocks/>
          </p:cNvGraphicFramePr>
          <p:nvPr>
            <p:extLst>
              <p:ext uri="{D42A27DB-BD31-4B8C-83A1-F6EECF244321}">
                <p14:modId xmlns:p14="http://schemas.microsoft.com/office/powerpoint/2010/main" val="1675886496"/>
              </p:ext>
            </p:extLst>
          </p:nvPr>
        </p:nvGraphicFramePr>
        <p:xfrm>
          <a:off x="931118" y="1375962"/>
          <a:ext cx="10775197" cy="4106075"/>
        </p:xfrm>
        <a:graphic>
          <a:graphicData uri="http://schemas.openxmlformats.org/drawingml/2006/chart">
            <c:chart xmlns:c="http://schemas.openxmlformats.org/drawingml/2006/chart" xmlns:r="http://schemas.openxmlformats.org/officeDocument/2006/relationships" r:id="rId6"/>
          </a:graphicData>
        </a:graphic>
      </p:graphicFrame>
      <p:sp>
        <p:nvSpPr>
          <p:cNvPr id="8" name="Footer Placeholder 11">
            <a:extLst>
              <a:ext uri="{FF2B5EF4-FFF2-40B4-BE49-F238E27FC236}">
                <a16:creationId xmlns:a16="http://schemas.microsoft.com/office/drawing/2014/main" id="{E1C47933-FC38-1392-BC1F-62248A8B8EEB}"/>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39647072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A603F68-AC1F-B55A-7F78-22C4038C48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7" name="think-cell data - do not delete" hidden="1">
                        <a:extLst>
                          <a:ext uri="{FF2B5EF4-FFF2-40B4-BE49-F238E27FC236}">
                            <a16:creationId xmlns:a16="http://schemas.microsoft.com/office/drawing/2014/main" id="{EA603F68-AC1F-B55A-7F78-22C4038C48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CABE40-C3BD-20B8-0814-2DE86E30D3EC}"/>
              </a:ext>
            </a:extLst>
          </p:cNvPr>
          <p:cNvSpPr>
            <a:spLocks noGrp="1"/>
          </p:cNvSpPr>
          <p:nvPr>
            <p:ph type="title"/>
          </p:nvPr>
        </p:nvSpPr>
        <p:spPr>
          <a:xfrm>
            <a:off x="456000" y="285276"/>
            <a:ext cx="11736000" cy="853200"/>
          </a:xfrm>
        </p:spPr>
        <p:txBody>
          <a:bodyPr vert="horz"/>
          <a:lstStyle/>
          <a:p>
            <a:r>
              <a:rPr lang="en-US" dirty="0"/>
              <a:t>Conclusion</a:t>
            </a:r>
          </a:p>
        </p:txBody>
      </p:sp>
      <p:sp>
        <p:nvSpPr>
          <p:cNvPr id="3" name="Text Placeholder 2">
            <a:extLst>
              <a:ext uri="{FF2B5EF4-FFF2-40B4-BE49-F238E27FC236}">
                <a16:creationId xmlns:a16="http://schemas.microsoft.com/office/drawing/2014/main" id="{57FF7E34-0F98-1CC4-3249-46D8F765FCCD}"/>
              </a:ext>
            </a:extLst>
          </p:cNvPr>
          <p:cNvSpPr>
            <a:spLocks noGrp="1"/>
          </p:cNvSpPr>
          <p:nvPr>
            <p:ph type="body" idx="1"/>
          </p:nvPr>
        </p:nvSpPr>
        <p:spPr>
          <a:xfrm>
            <a:off x="321220" y="1013083"/>
            <a:ext cx="7385889" cy="1904565"/>
          </a:xfrm>
        </p:spPr>
        <p:txBody>
          <a:bodyPr/>
          <a:lstStyle/>
          <a:p>
            <a:pPr fontAlgn="auto">
              <a:lnSpc>
                <a:spcPct val="150000"/>
              </a:lnSpc>
              <a:spcBef>
                <a:spcPts val="0"/>
              </a:spcBef>
              <a:spcAft>
                <a:spcPts val="600"/>
              </a:spcAft>
              <a:buFont typeface="Wingdings"/>
              <a:buChar char="n"/>
              <a:defRPr/>
            </a:pPr>
            <a:r>
              <a:rPr lang="en-US" sz="1800" dirty="0"/>
              <a:t>Drug-layering with Kollicoat</a:t>
            </a:r>
            <a:r>
              <a:rPr lang="en-US" sz="1800" baseline="30000" dirty="0"/>
              <a:t>®</a:t>
            </a:r>
            <a:r>
              <a:rPr lang="en-US" sz="1800" dirty="0"/>
              <a:t> IR was a straightforward and fast process.</a:t>
            </a:r>
          </a:p>
          <a:p>
            <a:pPr>
              <a:lnSpc>
                <a:spcPct val="150000"/>
              </a:lnSpc>
              <a:spcBef>
                <a:spcPts val="0"/>
              </a:spcBef>
              <a:spcAft>
                <a:spcPts val="600"/>
              </a:spcAft>
              <a:buFont typeface="Wingdings"/>
              <a:buChar char="n"/>
              <a:defRPr/>
            </a:pPr>
            <a:r>
              <a:rPr lang="en-US" sz="1800" dirty="0"/>
              <a:t>Kollicoat</a:t>
            </a:r>
            <a:r>
              <a:rPr lang="en-US" sz="1800" baseline="30000" dirty="0"/>
              <a:t>®</a:t>
            </a:r>
            <a:r>
              <a:rPr lang="en-US" sz="1800" dirty="0"/>
              <a:t> Smartseal </a:t>
            </a:r>
            <a:r>
              <a:rPr lang="en-US" sz="1800" dirty="0">
                <a:solidFill>
                  <a:srgbClr val="000000"/>
                </a:solidFill>
                <a:cs typeface="Arial"/>
              </a:rPr>
              <a:t>provided pronounced taste-masking functionality over 25% weight gain </a:t>
            </a:r>
            <a:r>
              <a:rPr kumimoji="0" lang="en-US" sz="1800" i="0" u="none" strike="noStrike" kern="1200" cap="none" spc="0" normalizeH="0" baseline="0" noProof="0" dirty="0">
                <a:ln>
                  <a:noFill/>
                </a:ln>
                <a:solidFill>
                  <a:srgbClr val="000000"/>
                </a:solidFill>
                <a:effectLst/>
                <a:uLnTx/>
                <a:uFillTx/>
                <a:latin typeface="Arial"/>
                <a:cs typeface="Arial"/>
              </a:rPr>
              <a:t>for pellets of mean size 200-350 microns.</a:t>
            </a:r>
            <a:endParaRPr lang="en-US" sz="1800" dirty="0">
              <a:solidFill>
                <a:srgbClr val="000000"/>
              </a:solidFill>
              <a:cs typeface="Arial"/>
            </a:endParaRPr>
          </a:p>
          <a:p>
            <a:pPr>
              <a:lnSpc>
                <a:spcPct val="150000"/>
              </a:lnSpc>
              <a:spcBef>
                <a:spcPts val="0"/>
              </a:spcBef>
              <a:spcAft>
                <a:spcPts val="600"/>
              </a:spcAft>
              <a:buFont typeface="Wingdings"/>
              <a:buChar char="n"/>
              <a:defRPr/>
            </a:pPr>
            <a:r>
              <a:rPr lang="en-US" sz="1800" dirty="0">
                <a:solidFill>
                  <a:srgbClr val="000000"/>
                </a:solidFill>
              </a:rPr>
              <a:t>Curing is required for Kollicoat</a:t>
            </a:r>
            <a:r>
              <a:rPr kumimoji="0" lang="en-US" sz="1800" b="0" i="0" u="none" strike="noStrike" kern="1200" cap="none" spc="0" normalizeH="0" baseline="30000" noProof="0" dirty="0">
                <a:ln>
                  <a:noFill/>
                </a:ln>
                <a:effectLst/>
                <a:uLnTx/>
                <a:uFillTx/>
                <a:latin typeface="Arial" panose="020B0604020202020204" pitchFamily="34" charset="0"/>
                <a:cs typeface="Arial"/>
              </a:rPr>
              <a:t>®  </a:t>
            </a:r>
            <a:r>
              <a:rPr lang="en-US" sz="1800" dirty="0">
                <a:solidFill>
                  <a:srgbClr val="000000"/>
                </a:solidFill>
              </a:rPr>
              <a:t>Smartseal 30 D: 1 - 2 hours at 60 °C.</a:t>
            </a:r>
            <a:endParaRPr lang="en-US" sz="1800" dirty="0"/>
          </a:p>
        </p:txBody>
      </p:sp>
      <p:sp>
        <p:nvSpPr>
          <p:cNvPr id="5" name="Slide Number Placeholder 4">
            <a:extLst>
              <a:ext uri="{FF2B5EF4-FFF2-40B4-BE49-F238E27FC236}">
                <a16:creationId xmlns:a16="http://schemas.microsoft.com/office/drawing/2014/main" id="{5AB05E06-8365-AB62-4CAF-445F82AB832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64</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Footer Placeholder 11">
            <a:extLst>
              <a:ext uri="{FF2B5EF4-FFF2-40B4-BE49-F238E27FC236}">
                <a16:creationId xmlns:a16="http://schemas.microsoft.com/office/drawing/2014/main" id="{D2D018AE-40F4-3A10-3667-CD5A40DC5FBC}"/>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pic>
        <p:nvPicPr>
          <p:cNvPr id="4" name="Picture 3">
            <a:extLst>
              <a:ext uri="{FF2B5EF4-FFF2-40B4-BE49-F238E27FC236}">
                <a16:creationId xmlns:a16="http://schemas.microsoft.com/office/drawing/2014/main" id="{64AEDC61-117F-07A2-4957-B5A427AAE96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786719" y="1138476"/>
            <a:ext cx="4368800" cy="3260346"/>
          </a:xfrm>
          <a:prstGeom prst="rect">
            <a:avLst/>
          </a:prstGeom>
        </p:spPr>
      </p:pic>
      <p:sp>
        <p:nvSpPr>
          <p:cNvPr id="11" name="TextBox 10">
            <a:extLst>
              <a:ext uri="{FF2B5EF4-FFF2-40B4-BE49-F238E27FC236}">
                <a16:creationId xmlns:a16="http://schemas.microsoft.com/office/drawing/2014/main" id="{91B89685-78B5-9E1B-C253-AF6EEDA23CE1}"/>
              </a:ext>
            </a:extLst>
          </p:cNvPr>
          <p:cNvSpPr txBox="1"/>
          <p:nvPr/>
        </p:nvSpPr>
        <p:spPr>
          <a:xfrm>
            <a:off x="226800" y="3337508"/>
            <a:ext cx="11736000" cy="948978"/>
          </a:xfrm>
          <a:prstGeom prst="rect">
            <a:avLst/>
          </a:prstGeom>
          <a:noFill/>
        </p:spPr>
        <p:txBody>
          <a:bodyPr wrap="square">
            <a:spAutoFit/>
          </a:bodyPr>
          <a:lstStyle/>
          <a:p>
            <a:pPr marL="342000" marR="0" lvl="0" indent="-342000" algn="l" defTabSz="914400" rtl="0" eaLnBrk="1" fontAlgn="auto" latinLnBrk="0" hangingPunct="1">
              <a:lnSpc>
                <a:spcPct val="150000"/>
              </a:lnSpc>
              <a:spcBef>
                <a:spcPts val="0"/>
              </a:spcBef>
              <a:spcAft>
                <a:spcPts val="600"/>
              </a:spcAft>
              <a:buClr>
                <a:srgbClr val="C50022"/>
              </a:buClr>
              <a:buSzPct val="100000"/>
              <a:buFont typeface="Wingdings"/>
              <a:buChar char="n"/>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a:rPr>
              <a:t>BHT (antioxidant) is recommended to be used in general.</a:t>
            </a:r>
          </a:p>
          <a:p>
            <a:pPr marL="342000" marR="0" lvl="0" indent="-342000" algn="l" defTabSz="914400" rtl="0" eaLnBrk="1" fontAlgn="auto" latinLnBrk="0" hangingPunct="1">
              <a:lnSpc>
                <a:spcPct val="150000"/>
              </a:lnSpc>
              <a:spcBef>
                <a:spcPts val="0"/>
              </a:spcBef>
              <a:spcAft>
                <a:spcPts val="600"/>
              </a:spcAft>
              <a:buClr>
                <a:srgbClr val="C50022"/>
              </a:buClr>
              <a:buSzPct val="100000"/>
              <a:buFont typeface="Wingdings"/>
              <a:buChar char="n"/>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a:rPr>
              <a:t>BHT is required for lactose-based formulations.</a:t>
            </a:r>
          </a:p>
        </p:txBody>
      </p:sp>
      <p:sp>
        <p:nvSpPr>
          <p:cNvPr id="12" name="TextBox 11">
            <a:extLst>
              <a:ext uri="{FF2B5EF4-FFF2-40B4-BE49-F238E27FC236}">
                <a16:creationId xmlns:a16="http://schemas.microsoft.com/office/drawing/2014/main" id="{893BB7A5-AD25-5C56-D88B-AB0373F9B187}"/>
              </a:ext>
            </a:extLst>
          </p:cNvPr>
          <p:cNvSpPr txBox="1"/>
          <p:nvPr/>
        </p:nvSpPr>
        <p:spPr>
          <a:xfrm>
            <a:off x="226800" y="4416415"/>
            <a:ext cx="11736000" cy="872034"/>
          </a:xfrm>
          <a:prstGeom prst="rect">
            <a:avLst/>
          </a:prstGeom>
          <a:noFill/>
        </p:spPr>
        <p:txBody>
          <a:bodyPr wrap="square">
            <a:spAutoFit/>
          </a:bodyPr>
          <a:lstStyle/>
          <a:p>
            <a:pPr marL="342000" marR="0" lvl="0" indent="-342000" algn="l" defTabSz="914400" rtl="0" eaLnBrk="1" fontAlgn="auto" latinLnBrk="0" hangingPunct="1">
              <a:lnSpc>
                <a:spcPct val="150000"/>
              </a:lnSpc>
              <a:spcBef>
                <a:spcPts val="0"/>
              </a:spcBef>
              <a:spcAft>
                <a:spcPts val="600"/>
              </a:spcAft>
              <a:buClr>
                <a:srgbClr val="C50022"/>
              </a:buClr>
              <a:buSzPct val="100000"/>
              <a:buFont typeface="Wingdings"/>
              <a:buChar char="n"/>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cs typeface="Arial"/>
              </a:rPr>
              <a:t>Similar drug release at acid media for MUPS tablets and free pellets coated with BHT. Slightly lower release at pH 6.8 due to better film formation over time.</a:t>
            </a:r>
          </a:p>
        </p:txBody>
      </p:sp>
      <p:sp>
        <p:nvSpPr>
          <p:cNvPr id="16" name="TextBox 15">
            <a:extLst>
              <a:ext uri="{FF2B5EF4-FFF2-40B4-BE49-F238E27FC236}">
                <a16:creationId xmlns:a16="http://schemas.microsoft.com/office/drawing/2014/main" id="{DC20E534-29D9-27EF-FF8D-B5F0AD93BD04}"/>
              </a:ext>
            </a:extLst>
          </p:cNvPr>
          <p:cNvSpPr txBox="1"/>
          <p:nvPr/>
        </p:nvSpPr>
        <p:spPr>
          <a:xfrm>
            <a:off x="241609" y="5293171"/>
            <a:ext cx="11847674" cy="872034"/>
          </a:xfrm>
          <a:prstGeom prst="rect">
            <a:avLst/>
          </a:prstGeom>
          <a:noFill/>
        </p:spPr>
        <p:txBody>
          <a:bodyPr wrap="square">
            <a:spAutoFit/>
          </a:bodyPr>
          <a:lstStyle/>
          <a:p>
            <a:pPr marR="0" lvl="0" indent="342900" algn="l" defTabSz="914400" rtl="0" eaLnBrk="1" fontAlgn="auto" latinLnBrk="0" hangingPunct="1">
              <a:lnSpc>
                <a:spcPct val="150000"/>
              </a:lnSpc>
              <a:spcBef>
                <a:spcPts val="0"/>
              </a:spcBef>
              <a:spcAft>
                <a:spcPts val="600"/>
              </a:spcAft>
              <a:buClr>
                <a:schemeClr val="accent1"/>
              </a:buClr>
              <a:buSzTx/>
              <a:buFont typeface="Wingdings"/>
              <a:buChar char="n"/>
              <a:tabLst/>
              <a:defRPr/>
            </a:pPr>
            <a:r>
              <a:rPr kumimoji="0" lang="en-US" sz="1800" b="0" i="0" u="none" strike="noStrike" kern="1200" cap="none" spc="0" normalizeH="0" baseline="0" noProof="0" dirty="0">
                <a:ln>
                  <a:noFill/>
                </a:ln>
                <a:solidFill>
                  <a:srgbClr val="000000"/>
                </a:solidFill>
                <a:effectLst/>
                <a:uLnTx/>
                <a:uFillTx/>
                <a:latin typeface="Arial" panose="020B0604020202020204"/>
                <a:cs typeface="Arial"/>
              </a:rPr>
              <a:t>No differences for MUPS with Ludipress</a:t>
            </a:r>
            <a:r>
              <a:rPr kumimoji="0" lang="en-US" sz="1800" b="0" i="0" u="none" strike="noStrike" kern="1200" cap="none" spc="0" normalizeH="0" baseline="30000" noProof="0" dirty="0">
                <a:ln>
                  <a:noFill/>
                </a:ln>
                <a:solidFill>
                  <a:srgbClr val="000000"/>
                </a:solidFill>
                <a:effectLst/>
                <a:uLnTx/>
                <a:uFillTx/>
                <a:latin typeface="Arial" panose="020B0604020202020204"/>
                <a:cs typeface="Arial"/>
              </a:rPr>
              <a:t>®</a:t>
            </a:r>
            <a:r>
              <a:rPr kumimoji="0" lang="en-US" sz="1800" b="0" i="0" u="none" strike="noStrike" kern="1200" cap="none" spc="0" normalizeH="0" baseline="0" noProof="0" dirty="0">
                <a:ln>
                  <a:noFill/>
                </a:ln>
                <a:solidFill>
                  <a:srgbClr val="000000"/>
                </a:solidFill>
                <a:effectLst/>
                <a:uLnTx/>
                <a:uFillTx/>
                <a:latin typeface="Arial" panose="020B0604020202020204"/>
                <a:cs typeface="Arial"/>
              </a:rPr>
              <a:t> and MCC after two weeks of stressed condition with BHT. Without BHT, the lactose-based formulation showed different release profile in the acid media.</a:t>
            </a:r>
          </a:p>
        </p:txBody>
      </p:sp>
    </p:spTree>
    <p:extLst>
      <p:ext uri="{BB962C8B-B14F-4D97-AF65-F5344CB8AC3E}">
        <p14:creationId xmlns:p14="http://schemas.microsoft.com/office/powerpoint/2010/main" val="123534098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96C0E511-F38F-457D-A27F-C08777AE8356}"/>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553" imgH="553" progId="TCLayout.ActiveDocument.1">
                  <p:embed/>
                </p:oleObj>
              </mc:Choice>
              <mc:Fallback>
                <p:oleObj name="think-cell Slide" r:id="rId4" imgW="553" imgH="553" progId="TCLayout.ActiveDocument.1">
                  <p:embed/>
                  <p:pic>
                    <p:nvPicPr>
                      <p:cNvPr id="17" name="Objekt 16" hidden="1">
                        <a:extLst>
                          <a:ext uri="{FF2B5EF4-FFF2-40B4-BE49-F238E27FC236}">
                            <a16:creationId xmlns:a16="http://schemas.microsoft.com/office/drawing/2014/main" id="{96C0E511-F38F-457D-A27F-C08777AE8356}"/>
                          </a:ext>
                        </a:extLst>
                      </p:cNvPr>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DADBC550-C32C-44CF-98CF-86E220087C06}"/>
              </a:ext>
            </a:extLst>
          </p:cNvPr>
          <p:cNvSpPr>
            <a:spLocks noGrp="1"/>
          </p:cNvSpPr>
          <p:nvPr>
            <p:ph type="title"/>
          </p:nvPr>
        </p:nvSpPr>
        <p:spPr/>
        <p:txBody>
          <a:bodyPr vert="horz"/>
          <a:lstStyle/>
          <a:p>
            <a:r>
              <a:rPr lang="en-US" dirty="0"/>
              <a:t>Kollicoat</a:t>
            </a:r>
            <a:r>
              <a:rPr lang="en-US" baseline="30000" dirty="0"/>
              <a:t>®</a:t>
            </a:r>
            <a:r>
              <a:rPr lang="en-US" dirty="0"/>
              <a:t> Smartseal : Summary</a:t>
            </a:r>
          </a:p>
        </p:txBody>
      </p:sp>
      <p:sp>
        <p:nvSpPr>
          <p:cNvPr id="5" name="Foliennummernplatzhalter 4">
            <a:extLst>
              <a:ext uri="{FF2B5EF4-FFF2-40B4-BE49-F238E27FC236}">
                <a16:creationId xmlns:a16="http://schemas.microsoft.com/office/drawing/2014/main" id="{C47EB140-9C1F-4787-9F51-97269CA38C68}"/>
              </a:ext>
            </a:extLst>
          </p:cNvPr>
          <p:cNvSpPr>
            <a:spLocks noGrp="1"/>
          </p:cNvSpPr>
          <p:nvPr>
            <p:ph type="sldNum" sz="quarter" idx="4"/>
          </p:nvPr>
        </p:nvSpPr>
        <p:spPr>
          <a:xfrm>
            <a:off x="225167" y="6555283"/>
            <a:ext cx="288200" cy="151200"/>
          </a:xfrm>
          <a:prstGeom prst="rect">
            <a:avLst/>
          </a:prstGeom>
        </p:spPr>
        <p:txBody>
          <a:bodyPr lIns="0" tIns="0" rIns="0" bIns="0"/>
          <a:lstStyle>
            <a:defPPr>
              <a:defRPr lang="de-DE"/>
            </a:defPPr>
            <a:lvl1pPr marL="0" algn="l" defTabSz="914400" rtl="0" eaLnBrk="1" latinLnBrk="0" hangingPunct="1">
              <a:defRPr sz="675"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2EA1D04-CA53-4DE3-84A8-2B63E41036C9}" type="slidenum">
              <a:rPr lang="en-US" sz="800" smtClean="0"/>
              <a:pPr>
                <a:defRPr/>
              </a:pPr>
              <a:t>65</a:t>
            </a:fld>
            <a:endParaRPr lang="en-US" sz="800" b="1" dirty="0">
              <a:solidFill>
                <a:srgbClr val="000000"/>
              </a:solidFill>
              <a:latin typeface="Arial" panose="020B0604020202020204"/>
              <a:cs typeface="Arial"/>
            </a:endParaRPr>
          </a:p>
        </p:txBody>
      </p:sp>
      <p:sp>
        <p:nvSpPr>
          <p:cNvPr id="19" name="Textplatzhalter 2">
            <a:extLst>
              <a:ext uri="{FF2B5EF4-FFF2-40B4-BE49-F238E27FC236}">
                <a16:creationId xmlns:a16="http://schemas.microsoft.com/office/drawing/2014/main" id="{F08891BA-D3CA-4A41-A3F1-14A203048E52}"/>
              </a:ext>
            </a:extLst>
          </p:cNvPr>
          <p:cNvSpPr txBox="1">
            <a:spLocks/>
          </p:cNvSpPr>
          <p:nvPr/>
        </p:nvSpPr>
        <p:spPr>
          <a:xfrm>
            <a:off x="369267" y="1272137"/>
            <a:ext cx="5909310" cy="3241913"/>
          </a:xfrm>
          <a:prstGeom prst="rect">
            <a:avLst/>
          </a:prstGeom>
        </p:spPr>
        <p:txBody>
          <a:bodyPr vert="horz" wrap="square" lIns="0" tIns="0" rIns="0" bIns="0" rtlCol="0" anchor="t">
            <a:spAutoFit/>
          </a:bodyPr>
          <a:lstStyle>
            <a:lvl1pPr marL="357188" marR="0" indent="-357188" algn="l" defTabSz="685891" rtl="0" eaLnBrk="1" fontAlgn="base" latinLnBrk="0" hangingPunct="1">
              <a:lnSpc>
                <a:spcPct val="110000"/>
              </a:lnSpc>
              <a:spcBef>
                <a:spcPts val="1800"/>
              </a:spcBef>
              <a:spcAft>
                <a:spcPct val="0"/>
              </a:spcAft>
              <a:buClr>
                <a:schemeClr val="accent1"/>
              </a:buClr>
              <a:buSzTx/>
              <a:buFont typeface="Wingdings" panose="05000000000000000000" pitchFamily="2" charset="2"/>
              <a:buChar char="n"/>
              <a:tabLst/>
              <a:defRPr sz="2000" b="0" i="0" kern="1200" baseline="0">
                <a:solidFill>
                  <a:schemeClr val="tx1"/>
                </a:solidFill>
                <a:latin typeface="Arial" panose="020B0604020202020204" pitchFamily="34" charset="0"/>
                <a:ea typeface="+mn-ea"/>
                <a:cs typeface="+mn-cs"/>
              </a:defRPr>
            </a:lvl1pPr>
            <a:lvl2pPr marL="719138" marR="0" indent="-361950" algn="l" defTabSz="685891" rtl="0" eaLnBrk="1" fontAlgn="base" latinLnBrk="0" hangingPunct="1">
              <a:lnSpc>
                <a:spcPct val="110000"/>
              </a:lnSpc>
              <a:spcBef>
                <a:spcPts val="600"/>
              </a:spcBef>
              <a:spcAft>
                <a:spcPct val="0"/>
              </a:spcAft>
              <a:buClr>
                <a:srgbClr val="004A96"/>
              </a:buClr>
              <a:buSzPct val="90000"/>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6325" marR="0" indent="-357188" algn="l" defTabSz="685891" rtl="0" eaLnBrk="1" fontAlgn="base" latinLnBrk="0" hangingPunct="1">
              <a:lnSpc>
                <a:spcPct val="110000"/>
              </a:lnSpc>
              <a:spcBef>
                <a:spcPts val="300"/>
              </a:spcBef>
              <a:spcAft>
                <a:spcPct val="0"/>
              </a:spcAft>
              <a:buClr>
                <a:srgbClr val="004A96"/>
              </a:buClr>
              <a:buSzPct val="95000"/>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3513" marR="0" indent="-357188" algn="l" defTabSz="685891" rtl="0" eaLnBrk="1" fontAlgn="base" latinLnBrk="0" hangingPunct="1">
              <a:lnSpc>
                <a:spcPct val="110000"/>
              </a:lnSpc>
              <a:spcBef>
                <a:spcPct val="0"/>
              </a:spcBef>
              <a:spcAft>
                <a:spcPct val="0"/>
              </a:spcAft>
              <a:buClr>
                <a:srgbClr val="004A96"/>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2177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1560600" indent="-199800" algn="l" defTabSz="6858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1903500" indent="-199800" algn="l" defTabSz="6858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246400" indent="-199800" algn="l" defTabSz="6858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2589300" indent="-199800" algn="l" defTabSz="6858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fontAlgn="auto">
              <a:lnSpc>
                <a:spcPct val="150000"/>
              </a:lnSpc>
              <a:spcBef>
                <a:spcPts val="0"/>
              </a:spcBef>
              <a:spcAft>
                <a:spcPts val="600"/>
              </a:spcAft>
              <a:buFont typeface="Wingdings"/>
              <a:buChar char="n"/>
              <a:defRPr/>
            </a:pPr>
            <a:r>
              <a:rPr lang="en-US" sz="1800" dirty="0">
                <a:solidFill>
                  <a:srgbClr val="000000"/>
                </a:solidFill>
                <a:cs typeface="Arial"/>
              </a:rPr>
              <a:t>The first protective polymer dispersion / new excipient</a:t>
            </a:r>
          </a:p>
          <a:p>
            <a:pPr fontAlgn="auto">
              <a:lnSpc>
                <a:spcPct val="150000"/>
              </a:lnSpc>
              <a:spcBef>
                <a:spcPts val="0"/>
              </a:spcBef>
              <a:spcAft>
                <a:spcPts val="600"/>
              </a:spcAft>
              <a:buFont typeface="Wingdings"/>
              <a:buChar char="n"/>
              <a:defRPr/>
            </a:pPr>
            <a:r>
              <a:rPr lang="en-US" sz="1800" dirty="0">
                <a:solidFill>
                  <a:srgbClr val="000000"/>
                </a:solidFill>
                <a:cs typeface="Arial"/>
              </a:rPr>
              <a:t>Efficient taste-masking</a:t>
            </a:r>
          </a:p>
          <a:p>
            <a:pPr fontAlgn="auto">
              <a:lnSpc>
                <a:spcPct val="150000"/>
              </a:lnSpc>
              <a:spcBef>
                <a:spcPts val="0"/>
              </a:spcBef>
              <a:spcAft>
                <a:spcPts val="600"/>
              </a:spcAft>
              <a:buFont typeface="Wingdings"/>
              <a:buChar char="n"/>
              <a:defRPr/>
            </a:pPr>
            <a:r>
              <a:rPr lang="en-US" sz="1800" dirty="0">
                <a:solidFill>
                  <a:srgbClr val="000000"/>
                </a:solidFill>
                <a:cs typeface="Arial"/>
              </a:rPr>
              <a:t>Easy-processing</a:t>
            </a:r>
          </a:p>
          <a:p>
            <a:pPr fontAlgn="auto">
              <a:lnSpc>
                <a:spcPct val="150000"/>
              </a:lnSpc>
              <a:spcBef>
                <a:spcPts val="0"/>
              </a:spcBef>
              <a:spcAft>
                <a:spcPts val="600"/>
              </a:spcAft>
              <a:buFont typeface="Wingdings"/>
              <a:buChar char="n"/>
              <a:defRPr/>
            </a:pPr>
            <a:r>
              <a:rPr lang="en-US" sz="1800" dirty="0">
                <a:solidFill>
                  <a:srgbClr val="000000"/>
                </a:solidFill>
                <a:cs typeface="Arial"/>
              </a:rPr>
              <a:t>Highly suitable for coating of particles, pellets and (mini)-tablets</a:t>
            </a:r>
          </a:p>
          <a:p>
            <a:pPr fontAlgn="auto">
              <a:lnSpc>
                <a:spcPct val="150000"/>
              </a:lnSpc>
              <a:spcBef>
                <a:spcPts val="0"/>
              </a:spcBef>
              <a:spcAft>
                <a:spcPts val="600"/>
              </a:spcAft>
              <a:buFont typeface="Wingdings"/>
              <a:buChar char="n"/>
              <a:defRPr/>
            </a:pPr>
            <a:r>
              <a:rPr lang="en-US" sz="1800" dirty="0">
                <a:solidFill>
                  <a:srgbClr val="000000"/>
                </a:solidFill>
                <a:cs typeface="Arial"/>
              </a:rPr>
              <a:t>Great option for taste-masking of ODT‘s formulations</a:t>
            </a:r>
          </a:p>
          <a:p>
            <a:pPr fontAlgn="auto">
              <a:lnSpc>
                <a:spcPct val="150000"/>
              </a:lnSpc>
              <a:spcBef>
                <a:spcPts val="0"/>
              </a:spcBef>
              <a:spcAft>
                <a:spcPts val="600"/>
              </a:spcAft>
              <a:buFont typeface="Wingdings"/>
              <a:buChar char="n"/>
              <a:defRPr/>
            </a:pPr>
            <a:r>
              <a:rPr lang="en-US" sz="1800" dirty="0">
                <a:latin typeface="Arial   "/>
              </a:rPr>
              <a:t>C</a:t>
            </a:r>
            <a:r>
              <a:rPr lang="en-US" sz="1800" dirty="0">
                <a:effectLst/>
                <a:latin typeface="Arial   "/>
              </a:rPr>
              <a:t>omprehensive safety assessment available</a:t>
            </a:r>
            <a:endParaRPr lang="en-US" dirty="0">
              <a:solidFill>
                <a:srgbClr val="000000"/>
              </a:solidFill>
              <a:latin typeface="Arial   "/>
              <a:cs typeface="Arial"/>
            </a:endParaRPr>
          </a:p>
        </p:txBody>
      </p:sp>
      <p:grpSp>
        <p:nvGrpSpPr>
          <p:cNvPr id="55" name="Gruppieren 54">
            <a:extLst>
              <a:ext uri="{FF2B5EF4-FFF2-40B4-BE49-F238E27FC236}">
                <a16:creationId xmlns:a16="http://schemas.microsoft.com/office/drawing/2014/main" id="{137950D5-DD26-4007-862C-CE67FEEE7C6E}"/>
              </a:ext>
            </a:extLst>
          </p:cNvPr>
          <p:cNvGrpSpPr/>
          <p:nvPr/>
        </p:nvGrpSpPr>
        <p:grpSpPr>
          <a:xfrm>
            <a:off x="2009946" y="4663650"/>
            <a:ext cx="7777432" cy="1182534"/>
            <a:chOff x="323850" y="2349500"/>
            <a:chExt cx="8496300" cy="1189038"/>
          </a:xfrm>
        </p:grpSpPr>
        <p:pic>
          <p:nvPicPr>
            <p:cNvPr id="57" name="Picture 5" descr="1_1s">
              <a:extLst>
                <a:ext uri="{FF2B5EF4-FFF2-40B4-BE49-F238E27FC236}">
                  <a16:creationId xmlns:a16="http://schemas.microsoft.com/office/drawing/2014/main" id="{13D7C219-725A-4B69-866F-75EF29677635}"/>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23850" y="2349500"/>
              <a:ext cx="1584325" cy="118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6" descr="1_2_s">
              <a:extLst>
                <a:ext uri="{FF2B5EF4-FFF2-40B4-BE49-F238E27FC236}">
                  <a16:creationId xmlns:a16="http://schemas.microsoft.com/office/drawing/2014/main" id="{54C408A1-35D5-4011-A191-7F881992C9E0}"/>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051050" y="2349500"/>
              <a:ext cx="1584325"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7" descr="1_3_s">
              <a:extLst>
                <a:ext uri="{FF2B5EF4-FFF2-40B4-BE49-F238E27FC236}">
                  <a16:creationId xmlns:a16="http://schemas.microsoft.com/office/drawing/2014/main" id="{80A74A18-D35E-4F02-8440-FEC3D1E5FBE2}"/>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779838" y="2349500"/>
              <a:ext cx="1584325" cy="118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8" descr="1_4_s">
              <a:extLst>
                <a:ext uri="{FF2B5EF4-FFF2-40B4-BE49-F238E27FC236}">
                  <a16:creationId xmlns:a16="http://schemas.microsoft.com/office/drawing/2014/main" id="{98077BB2-E6BA-42C8-A8AB-75C6FA53D343}"/>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508625" y="2349500"/>
              <a:ext cx="1584325"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9" descr="1_5_s">
              <a:extLst>
                <a:ext uri="{FF2B5EF4-FFF2-40B4-BE49-F238E27FC236}">
                  <a16:creationId xmlns:a16="http://schemas.microsoft.com/office/drawing/2014/main" id="{59DE81BA-D0D4-4367-8057-D07427E96133}"/>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237413" y="2349500"/>
              <a:ext cx="1582737" cy="118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 name="Picture 6" descr="A picture containing person, finger, nail, indoor&#10;&#10;Description automatically generated">
            <a:extLst>
              <a:ext uri="{FF2B5EF4-FFF2-40B4-BE49-F238E27FC236}">
                <a16:creationId xmlns:a16="http://schemas.microsoft.com/office/drawing/2014/main" id="{5878B93F-982D-2D8E-BE4E-E2F361FF7819}"/>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695355" y="1011816"/>
            <a:ext cx="5108024" cy="3285864"/>
          </a:xfrm>
          <a:prstGeom prst="rect">
            <a:avLst/>
          </a:prstGeom>
        </p:spPr>
      </p:pic>
      <p:sp>
        <p:nvSpPr>
          <p:cNvPr id="2" name="Footer Placeholder 11">
            <a:extLst>
              <a:ext uri="{FF2B5EF4-FFF2-40B4-BE49-F238E27FC236}">
                <a16:creationId xmlns:a16="http://schemas.microsoft.com/office/drawing/2014/main" id="{1973A7FC-EF38-EBEC-A369-A635BF094BE0}"/>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13817309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141483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260AA04-3C16-A65F-5B75-5A82847252C1}"/>
              </a:ext>
            </a:extLst>
          </p:cNvPr>
          <p:cNvGraphicFramePr>
            <a:graphicFrameLocks noChangeAspect="1"/>
          </p:cNvGraphicFramePr>
          <p:nvPr>
            <p:custDataLst>
              <p:tags r:id="rId1"/>
            </p:custDataLst>
            <p:extLst>
              <p:ext uri="{D42A27DB-BD31-4B8C-83A1-F6EECF244321}">
                <p14:modId xmlns:p14="http://schemas.microsoft.com/office/powerpoint/2010/main" val="3641368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1" progId="TCLayout.ActiveDocument.1">
                  <p:embed/>
                </p:oleObj>
              </mc:Choice>
              <mc:Fallback>
                <p:oleObj name="think-cell Slide" r:id="rId4" imgW="231" imgH="231" progId="TCLayout.ActiveDocument.1">
                  <p:embed/>
                  <p:pic>
                    <p:nvPicPr>
                      <p:cNvPr id="6" name="think-cell data - do not delete" hidden="1">
                        <a:extLst>
                          <a:ext uri="{FF2B5EF4-FFF2-40B4-BE49-F238E27FC236}">
                            <a16:creationId xmlns:a16="http://schemas.microsoft.com/office/drawing/2014/main" id="{0260AA04-3C16-A65F-5B75-5A82847252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123969-787B-846D-0BA2-EFB3E65767DC}"/>
              </a:ext>
            </a:extLst>
          </p:cNvPr>
          <p:cNvSpPr>
            <a:spLocks noGrp="1"/>
          </p:cNvSpPr>
          <p:nvPr>
            <p:ph type="title"/>
          </p:nvPr>
        </p:nvSpPr>
        <p:spPr>
          <a:xfrm>
            <a:off x="406800" y="2819400"/>
            <a:ext cx="4191600" cy="853200"/>
          </a:xfrm>
        </p:spPr>
        <p:txBody>
          <a:bodyPr vert="horz"/>
          <a:lstStyle/>
          <a:p>
            <a:r>
              <a:rPr lang="en-US" dirty="0"/>
              <a:t>Regulatory and Safety </a:t>
            </a:r>
          </a:p>
        </p:txBody>
      </p:sp>
      <p:pic>
        <p:nvPicPr>
          <p:cNvPr id="10" name="Inhaltsplatzhalter 25">
            <a:extLst>
              <a:ext uri="{FF2B5EF4-FFF2-40B4-BE49-F238E27FC236}">
                <a16:creationId xmlns:a16="http://schemas.microsoft.com/office/drawing/2014/main" id="{8395F74F-C89D-4692-539F-CD862135237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43474" y="527543"/>
            <a:ext cx="7115175" cy="5341123"/>
          </a:xfrm>
          <a:prstGeom prst="rect">
            <a:avLst/>
          </a:prstGeom>
        </p:spPr>
      </p:pic>
      <p:sp>
        <p:nvSpPr>
          <p:cNvPr id="5" name="Slide Number Placeholder 4">
            <a:extLst>
              <a:ext uri="{FF2B5EF4-FFF2-40B4-BE49-F238E27FC236}">
                <a16:creationId xmlns:a16="http://schemas.microsoft.com/office/drawing/2014/main" id="{48317978-FF7C-7CD5-088E-FB294906178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67</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9623417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52B7A76-9DCF-424D-91EB-9599C90C1A26}"/>
              </a:ext>
            </a:extLst>
          </p:cNvPr>
          <p:cNvGraphicFramePr>
            <a:graphicFrameLocks noChangeAspect="1"/>
          </p:cNvGraphicFramePr>
          <p:nvPr>
            <p:custDataLst>
              <p:tags r:id="rId1"/>
            </p:custDataLst>
            <p:extLst>
              <p:ext uri="{D42A27DB-BD31-4B8C-83A1-F6EECF244321}">
                <p14:modId xmlns:p14="http://schemas.microsoft.com/office/powerpoint/2010/main" val="1167587436"/>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8" imgH="277" progId="TCLayout.ActiveDocument.1">
                  <p:embed/>
                </p:oleObj>
              </mc:Choice>
              <mc:Fallback>
                <p:oleObj name="think-cell Slide" r:id="rId5" imgW="278" imgH="277" progId="TCLayout.ActiveDocument.1">
                  <p:embed/>
                  <p:pic>
                    <p:nvPicPr>
                      <p:cNvPr id="5" name="Objekt 4" hidden="1">
                        <a:extLst>
                          <a:ext uri="{FF2B5EF4-FFF2-40B4-BE49-F238E27FC236}">
                            <a16:creationId xmlns:a16="http://schemas.microsoft.com/office/drawing/2014/main" id="{C52B7A76-9DCF-424D-91EB-9599C90C1A26}"/>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2512DF6-5475-4909-8C56-6C8627D8C46F}"/>
              </a:ext>
            </a:extLst>
          </p:cNvPr>
          <p:cNvSpPr/>
          <p:nvPr>
            <p:custDataLst>
              <p:tags r:id="rId2"/>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rial" panose="020B0604020202020204" pitchFamily="34" charset="0"/>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0B2AC4D7-D9CC-47C0-A863-A287E985BCF7}"/>
              </a:ext>
            </a:extLst>
          </p:cNvPr>
          <p:cNvSpPr>
            <a:spLocks noGrp="1"/>
          </p:cNvSpPr>
          <p:nvPr>
            <p:ph type="title"/>
          </p:nvPr>
        </p:nvSpPr>
        <p:spPr/>
        <p:txBody>
          <a:bodyPr vert="horz"/>
          <a:lstStyle/>
          <a:p>
            <a:r>
              <a:rPr lang="en-US" dirty="0"/>
              <a:t>Product details</a:t>
            </a:r>
          </a:p>
        </p:txBody>
      </p:sp>
      <p:sp>
        <p:nvSpPr>
          <p:cNvPr id="4" name="Foliennummernplatzhalter 3">
            <a:extLst>
              <a:ext uri="{FF2B5EF4-FFF2-40B4-BE49-F238E27FC236}">
                <a16:creationId xmlns:a16="http://schemas.microsoft.com/office/drawing/2014/main" id="{DE38F229-63B1-433E-BA01-8452C1EBABB1}"/>
              </a:ext>
            </a:extLst>
          </p:cNvPr>
          <p:cNvSpPr>
            <a:spLocks noGrp="1"/>
          </p:cNvSpPr>
          <p:nvPr>
            <p:ph type="sldNum" sz="quarter" idx="4"/>
          </p:nvPr>
        </p:nvSpPr>
        <p:spPr>
          <a:xfrm>
            <a:off x="225167" y="6555283"/>
            <a:ext cx="288200" cy="151200"/>
          </a:xfrm>
          <a:prstGeom prst="rect">
            <a:avLst/>
          </a:prstGeom>
        </p:spPr>
        <p:txBody>
          <a:bodyPr lIns="0" tIns="0" rIns="0" bIns="0"/>
          <a:lstStyle>
            <a:defPPr>
              <a:defRPr lang="de-DE"/>
            </a:defPPr>
            <a:lvl1pPr marL="0" algn="l" defTabSz="914400" rtl="0" eaLnBrk="1" latinLnBrk="0" hangingPunct="1">
              <a:defRPr sz="675"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2EA1D04-CA53-4DE3-84A8-2B63E41036C9}" type="slidenum">
              <a:rPr lang="en-US" smtClean="0"/>
              <a:pPr/>
              <a:t>68</a:t>
            </a:fld>
            <a:endParaRPr lang="en-US" dirty="0"/>
          </a:p>
        </p:txBody>
      </p:sp>
      <p:pic>
        <p:nvPicPr>
          <p:cNvPr id="6" name="Grafik 5">
            <a:extLst>
              <a:ext uri="{FF2B5EF4-FFF2-40B4-BE49-F238E27FC236}">
                <a16:creationId xmlns:a16="http://schemas.microsoft.com/office/drawing/2014/main" id="{2790E6F5-0E70-4D9A-B8B2-09B5B7D2CF69}"/>
              </a:ext>
            </a:extLst>
          </p:cNvPr>
          <p:cNvPicPr>
            <a:picLocks noChangeAspect="1"/>
          </p:cNvPicPr>
          <p:nvPr/>
        </p:nvPicPr>
        <p:blipFill>
          <a:blip r:embed="rId7"/>
          <a:stretch>
            <a:fillRect/>
          </a:stretch>
        </p:blipFill>
        <p:spPr>
          <a:xfrm>
            <a:off x="267230" y="1937552"/>
            <a:ext cx="11688370" cy="2574289"/>
          </a:xfrm>
          <a:prstGeom prst="rect">
            <a:avLst/>
          </a:prstGeom>
        </p:spPr>
      </p:pic>
      <p:sp>
        <p:nvSpPr>
          <p:cNvPr id="3" name="Footer Placeholder 11">
            <a:extLst>
              <a:ext uri="{FF2B5EF4-FFF2-40B4-BE49-F238E27FC236}">
                <a16:creationId xmlns:a16="http://schemas.microsoft.com/office/drawing/2014/main" id="{7F38FA73-EF4B-BDB4-BC39-23B73A125E1F}"/>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22751255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77082CA-9B45-43BF-B448-3B04401C183F}"/>
              </a:ext>
            </a:extLst>
          </p:cNvPr>
          <p:cNvGraphicFramePr>
            <a:graphicFrameLocks noChangeAspect="1"/>
          </p:cNvGraphicFramePr>
          <p:nvPr>
            <p:custDataLst>
              <p:tags r:id="rId1"/>
            </p:custDataLst>
            <p:extLst>
              <p:ext uri="{D42A27DB-BD31-4B8C-83A1-F6EECF244321}">
                <p14:modId xmlns:p14="http://schemas.microsoft.com/office/powerpoint/2010/main" val="1692580841"/>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0" imgH="531" progId="TCLayout.ActiveDocument.1">
                  <p:embed/>
                </p:oleObj>
              </mc:Choice>
              <mc:Fallback>
                <p:oleObj name="think-cell Slide" r:id="rId5" imgW="530" imgH="531" progId="TCLayout.ActiveDocument.1">
                  <p:embed/>
                  <p:pic>
                    <p:nvPicPr>
                      <p:cNvPr id="7" name="Objekt 6" hidden="1">
                        <a:extLst>
                          <a:ext uri="{FF2B5EF4-FFF2-40B4-BE49-F238E27FC236}">
                            <a16:creationId xmlns:a16="http://schemas.microsoft.com/office/drawing/2014/main" id="{B77082CA-9B45-43BF-B448-3B04401C183F}"/>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FC26DCAC-D49D-448D-9068-D6DD1D12D9D5}"/>
              </a:ext>
            </a:extLst>
          </p:cNvPr>
          <p:cNvSpPr/>
          <p:nvPr>
            <p:custDataLst>
              <p:tags r:id="rId2"/>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600" b="1" dirty="0">
              <a:latin typeface="Arial" panose="020B0604020202020204" pitchFamily="34" charset="0"/>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AC7CCB6B-A37A-403F-B8FD-F44FB773CFBF}"/>
              </a:ext>
            </a:extLst>
          </p:cNvPr>
          <p:cNvSpPr>
            <a:spLocks noGrp="1"/>
          </p:cNvSpPr>
          <p:nvPr>
            <p:ph type="title"/>
          </p:nvPr>
        </p:nvSpPr>
        <p:spPr>
          <a:xfrm>
            <a:off x="513367" y="725066"/>
            <a:ext cx="10415890" cy="853200"/>
          </a:xfrm>
        </p:spPr>
        <p:txBody>
          <a:bodyPr vert="horz"/>
          <a:lstStyle/>
          <a:p>
            <a:r>
              <a:rPr lang="en-US" dirty="0"/>
              <a:t>Regulatory information: Kollicoat</a:t>
            </a:r>
            <a:r>
              <a:rPr lang="en-US" baseline="30000" dirty="0"/>
              <a:t>®</a:t>
            </a:r>
            <a:r>
              <a:rPr lang="en-US" dirty="0"/>
              <a:t> Smartseal 30 D and 100 P</a:t>
            </a:r>
          </a:p>
        </p:txBody>
      </p:sp>
      <p:sp>
        <p:nvSpPr>
          <p:cNvPr id="4" name="Foliennummernplatzhalter 3">
            <a:extLst>
              <a:ext uri="{FF2B5EF4-FFF2-40B4-BE49-F238E27FC236}">
                <a16:creationId xmlns:a16="http://schemas.microsoft.com/office/drawing/2014/main" id="{1D298CAF-A33E-4618-84D1-644C2BA84710}"/>
              </a:ext>
            </a:extLst>
          </p:cNvPr>
          <p:cNvSpPr>
            <a:spLocks noGrp="1"/>
          </p:cNvSpPr>
          <p:nvPr>
            <p:ph type="sldNum" sz="quarter" idx="4"/>
          </p:nvPr>
        </p:nvSpPr>
        <p:spPr>
          <a:xfrm>
            <a:off x="225167" y="6555283"/>
            <a:ext cx="288200" cy="151200"/>
          </a:xfrm>
          <a:prstGeom prst="rect">
            <a:avLst/>
          </a:prstGeom>
        </p:spPr>
        <p:txBody>
          <a:bodyPr lIns="0" tIns="0" rIns="0" bIns="0"/>
          <a:lstStyle>
            <a:defPPr>
              <a:defRPr lang="de-DE"/>
            </a:defPPr>
            <a:lvl1pPr marL="0" algn="l" defTabSz="914400" rtl="0" eaLnBrk="1" latinLnBrk="0" hangingPunct="1">
              <a:defRPr sz="675"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2EA1D04-CA53-4DE3-84A8-2B63E41036C9}" type="slidenum">
              <a:rPr lang="en-US" smtClean="0"/>
              <a:pPr/>
              <a:t>69</a:t>
            </a:fld>
            <a:endParaRPr lang="en-US" dirty="0"/>
          </a:p>
        </p:txBody>
      </p:sp>
      <p:sp>
        <p:nvSpPr>
          <p:cNvPr id="12" name="TextBox 11">
            <a:extLst>
              <a:ext uri="{FF2B5EF4-FFF2-40B4-BE49-F238E27FC236}">
                <a16:creationId xmlns:a16="http://schemas.microsoft.com/office/drawing/2014/main" id="{DD609955-9933-42AF-1C8E-984391D428E0}"/>
              </a:ext>
            </a:extLst>
          </p:cNvPr>
          <p:cNvSpPr txBox="1"/>
          <p:nvPr/>
        </p:nvSpPr>
        <p:spPr>
          <a:xfrm>
            <a:off x="809714" y="1578266"/>
            <a:ext cx="9142843" cy="2949525"/>
          </a:xfrm>
          <a:prstGeom prst="rect">
            <a:avLst/>
          </a:prstGeom>
          <a:noFill/>
        </p:spPr>
        <p:txBody>
          <a:bodyPr wrap="square">
            <a:spAutoFit/>
          </a:bodyPr>
          <a:lstStyle/>
          <a:p>
            <a:pPr>
              <a:lnSpc>
                <a:spcPct val="150000"/>
              </a:lnSpc>
            </a:pPr>
            <a:r>
              <a:rPr lang="en-US" dirty="0">
                <a:latin typeface="Arial   "/>
              </a:rPr>
              <a:t> </a:t>
            </a:r>
            <a:r>
              <a:rPr lang="en-US" b="1" dirty="0">
                <a:solidFill>
                  <a:schemeClr val="accent1"/>
                </a:solidFill>
                <a:latin typeface="Arial   "/>
              </a:rPr>
              <a:t>Regulatory Documentation</a:t>
            </a:r>
          </a:p>
          <a:p>
            <a:pPr>
              <a:lnSpc>
                <a:spcPct val="150000"/>
              </a:lnSpc>
            </a:pPr>
            <a:endParaRPr lang="en-US" dirty="0">
              <a:latin typeface="Arial   "/>
            </a:endParaRPr>
          </a:p>
          <a:p>
            <a:pPr marL="285750" indent="-285750">
              <a:lnSpc>
                <a:spcPct val="150000"/>
              </a:lnSpc>
              <a:buClr>
                <a:schemeClr val="accent1"/>
              </a:buClr>
              <a:buFontTx/>
              <a:buChar char="■"/>
            </a:pPr>
            <a:r>
              <a:rPr lang="en-US" dirty="0">
                <a:latin typeface="Arial   "/>
              </a:rPr>
              <a:t>US-DMF #024460 (Type V): Kollicoat® Smartseal pre-clinical safety data</a:t>
            </a:r>
          </a:p>
          <a:p>
            <a:pPr marL="285750" indent="-285750">
              <a:lnSpc>
                <a:spcPct val="150000"/>
              </a:lnSpc>
              <a:buClr>
                <a:schemeClr val="accent1"/>
              </a:buClr>
              <a:buFontTx/>
              <a:buChar char="■"/>
            </a:pPr>
            <a:r>
              <a:rPr lang="en-US" dirty="0">
                <a:latin typeface="Arial   "/>
              </a:rPr>
              <a:t>US-DMF #029965 (Type IV): Kollicoat® Smartseal 100 P</a:t>
            </a:r>
          </a:p>
          <a:p>
            <a:pPr marL="285750" indent="-285750">
              <a:lnSpc>
                <a:spcPct val="150000"/>
              </a:lnSpc>
              <a:buClr>
                <a:schemeClr val="accent1"/>
              </a:buClr>
              <a:buFontTx/>
              <a:buChar char="■"/>
            </a:pPr>
            <a:r>
              <a:rPr lang="en-US" dirty="0">
                <a:latin typeface="Arial   "/>
              </a:rPr>
              <a:t>US-DMF #024389 (Type IV): Kollicoat® Smartseal 30 D</a:t>
            </a:r>
          </a:p>
          <a:p>
            <a:pPr marL="285750" indent="-285750">
              <a:lnSpc>
                <a:spcPct val="150000"/>
              </a:lnSpc>
              <a:buClr>
                <a:schemeClr val="accent1"/>
              </a:buClr>
              <a:buFontTx/>
              <a:buChar char="■"/>
            </a:pPr>
            <a:r>
              <a:rPr lang="en-US" dirty="0">
                <a:latin typeface="Arial   "/>
              </a:rPr>
              <a:t>Regulatory Information File (RIF) containing non-confidential CMC information</a:t>
            </a:r>
            <a:endParaRPr lang="en-US" dirty="0"/>
          </a:p>
          <a:p>
            <a:pPr marL="285750" indent="-285750">
              <a:lnSpc>
                <a:spcPct val="150000"/>
              </a:lnSpc>
              <a:buClr>
                <a:schemeClr val="accent1"/>
              </a:buClr>
              <a:buFontTx/>
              <a:buChar char="■"/>
            </a:pPr>
            <a:r>
              <a:rPr lang="en-US" dirty="0"/>
              <a:t>Kollicoat</a:t>
            </a:r>
            <a:r>
              <a:rPr lang="en-US" baseline="30000" dirty="0"/>
              <a:t>®</a:t>
            </a:r>
            <a:r>
              <a:rPr lang="en-US" dirty="0"/>
              <a:t> Smartseal is not yet monographed in any pharmacopoeia</a:t>
            </a:r>
          </a:p>
        </p:txBody>
      </p:sp>
      <p:sp>
        <p:nvSpPr>
          <p:cNvPr id="14" name="TextBox 13">
            <a:extLst>
              <a:ext uri="{FF2B5EF4-FFF2-40B4-BE49-F238E27FC236}">
                <a16:creationId xmlns:a16="http://schemas.microsoft.com/office/drawing/2014/main" id="{9443533A-E878-B9ED-5629-42E586A49493}"/>
              </a:ext>
            </a:extLst>
          </p:cNvPr>
          <p:cNvSpPr txBox="1"/>
          <p:nvPr/>
        </p:nvSpPr>
        <p:spPr>
          <a:xfrm>
            <a:off x="1282156" y="4919074"/>
            <a:ext cx="9856287" cy="872034"/>
          </a:xfrm>
          <a:prstGeom prst="rect">
            <a:avLst/>
          </a:prstGeom>
          <a:noFill/>
        </p:spPr>
        <p:txBody>
          <a:bodyPr wrap="square">
            <a:spAutoFit/>
          </a:bodyPr>
          <a:lstStyle/>
          <a:p>
            <a:pPr marL="285750" indent="-285750">
              <a:lnSpc>
                <a:spcPct val="150000"/>
              </a:lnSpc>
              <a:buClr>
                <a:schemeClr val="accent1"/>
              </a:buClr>
              <a:buFont typeface="Wingdings" panose="05000000000000000000" pitchFamily="2" charset="2"/>
              <a:buChar char="ü"/>
            </a:pPr>
            <a:r>
              <a:rPr lang="en-US" dirty="0"/>
              <a:t>For a Letter of Authorization or a copy of the RIF, please register on RegXcellence</a:t>
            </a:r>
            <a:r>
              <a:rPr lang="en-US" baseline="30000" dirty="0"/>
              <a:t>®</a:t>
            </a:r>
            <a:r>
              <a:rPr lang="en-US" dirty="0"/>
              <a:t> or contact the sales representative.</a:t>
            </a:r>
          </a:p>
        </p:txBody>
      </p:sp>
      <p:sp>
        <p:nvSpPr>
          <p:cNvPr id="5" name="Footer Placeholder 11">
            <a:extLst>
              <a:ext uri="{FF2B5EF4-FFF2-40B4-BE49-F238E27FC236}">
                <a16:creationId xmlns:a16="http://schemas.microsoft.com/office/drawing/2014/main" id="{5D579FDF-3C58-B91C-975B-B9AC4731EE56}"/>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21313177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62D445B-23AE-6852-305E-612DC94EA852}"/>
              </a:ext>
            </a:extLst>
          </p:cNvPr>
          <p:cNvGraphicFramePr>
            <a:graphicFrameLocks noChangeAspect="1"/>
          </p:cNvGraphicFramePr>
          <p:nvPr>
            <p:custDataLst>
              <p:tags r:id="rId1"/>
            </p:custDataLst>
            <p:extLst>
              <p:ext uri="{D42A27DB-BD31-4B8C-83A1-F6EECF244321}">
                <p14:modId xmlns:p14="http://schemas.microsoft.com/office/powerpoint/2010/main" val="2014458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6" name="think-cell data - do not delete" hidden="1">
                        <a:extLst>
                          <a:ext uri="{FF2B5EF4-FFF2-40B4-BE49-F238E27FC236}">
                            <a16:creationId xmlns:a16="http://schemas.microsoft.com/office/drawing/2014/main" id="{F62D445B-23AE-6852-305E-612DC94EA8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D4AE08-9D73-1CD8-A576-E32E9D18AFB3}"/>
              </a:ext>
            </a:extLst>
          </p:cNvPr>
          <p:cNvSpPr>
            <a:spLocks noGrp="1"/>
          </p:cNvSpPr>
          <p:nvPr>
            <p:ph type="title"/>
          </p:nvPr>
        </p:nvSpPr>
        <p:spPr>
          <a:xfrm>
            <a:off x="216310" y="378700"/>
            <a:ext cx="12192000" cy="853200"/>
          </a:xfrm>
        </p:spPr>
        <p:txBody>
          <a:bodyPr vert="horz"/>
          <a:lstStyle/>
          <a:p>
            <a:r>
              <a:rPr lang="en-US" sz="2800" dirty="0"/>
              <a:t>Taste-masking approaches</a:t>
            </a:r>
            <a:endParaRPr lang="en-US" dirty="0"/>
          </a:p>
        </p:txBody>
      </p:sp>
      <p:sp>
        <p:nvSpPr>
          <p:cNvPr id="4" name="Slide Number Placeholder 3">
            <a:extLst>
              <a:ext uri="{FF2B5EF4-FFF2-40B4-BE49-F238E27FC236}">
                <a16:creationId xmlns:a16="http://schemas.microsoft.com/office/drawing/2014/main" id="{ECE2F4A1-5D28-4C94-E6B2-45FB18F4C30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7</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15" name="TextBox 14">
            <a:extLst>
              <a:ext uri="{FF2B5EF4-FFF2-40B4-BE49-F238E27FC236}">
                <a16:creationId xmlns:a16="http://schemas.microsoft.com/office/drawing/2014/main" id="{BF335ACC-0F3A-5A1E-922A-D7805A1F1723}"/>
              </a:ext>
            </a:extLst>
          </p:cNvPr>
          <p:cNvSpPr txBox="1"/>
          <p:nvPr/>
        </p:nvSpPr>
        <p:spPr>
          <a:xfrm>
            <a:off x="3393167" y="5745228"/>
            <a:ext cx="6204096" cy="369332"/>
          </a:xfrm>
          <a:prstGeom prst="rect">
            <a:avLst/>
          </a:prstGeom>
          <a:noFill/>
        </p:spPr>
        <p:txBody>
          <a:bodyPr wrap="square">
            <a:spAutoFit/>
          </a:bodyPr>
          <a:lstStyle/>
          <a:p>
            <a:r>
              <a:rPr lang="en-US" sz="1800" b="1" dirty="0">
                <a:solidFill>
                  <a:schemeClr val="accent1"/>
                </a:solidFill>
                <a:effectLst/>
                <a:latin typeface="Arial" panose="020B0604020202020204" pitchFamily="34" charset="0"/>
                <a:ea typeface="Calibri" panose="020F0502020204030204" pitchFamily="34" charset="0"/>
              </a:rPr>
              <a:t>Film-coating is one of the most effective and robust. </a:t>
            </a:r>
            <a:endParaRPr lang="en-US" b="1" dirty="0">
              <a:solidFill>
                <a:schemeClr val="accent1"/>
              </a:solidFill>
            </a:endParaRPr>
          </a:p>
        </p:txBody>
      </p:sp>
      <p:graphicFrame>
        <p:nvGraphicFramePr>
          <p:cNvPr id="3" name="Table 4">
            <a:extLst>
              <a:ext uri="{FF2B5EF4-FFF2-40B4-BE49-F238E27FC236}">
                <a16:creationId xmlns:a16="http://schemas.microsoft.com/office/drawing/2014/main" id="{A746DBD1-5214-2166-7972-A07B8339017D}"/>
              </a:ext>
            </a:extLst>
          </p:cNvPr>
          <p:cNvGraphicFramePr>
            <a:graphicFrameLocks noGrp="1"/>
          </p:cNvGraphicFramePr>
          <p:nvPr>
            <p:extLst>
              <p:ext uri="{D42A27DB-BD31-4B8C-83A1-F6EECF244321}">
                <p14:modId xmlns:p14="http://schemas.microsoft.com/office/powerpoint/2010/main" val="615879697"/>
              </p:ext>
            </p:extLst>
          </p:nvPr>
        </p:nvGraphicFramePr>
        <p:xfrm>
          <a:off x="216310" y="995428"/>
          <a:ext cx="11748890" cy="4668520"/>
        </p:xfrm>
        <a:graphic>
          <a:graphicData uri="http://schemas.openxmlformats.org/drawingml/2006/table">
            <a:tbl>
              <a:tblPr firstRow="1" bandRow="1">
                <a:tableStyleId>{5C22544A-7EE6-4342-B048-85BDC9FD1C3A}</a:tableStyleId>
              </a:tblPr>
              <a:tblGrid>
                <a:gridCol w="2160442">
                  <a:extLst>
                    <a:ext uri="{9D8B030D-6E8A-4147-A177-3AD203B41FA5}">
                      <a16:colId xmlns:a16="http://schemas.microsoft.com/office/drawing/2014/main" val="1788112862"/>
                    </a:ext>
                  </a:extLst>
                </a:gridCol>
                <a:gridCol w="4347854">
                  <a:extLst>
                    <a:ext uri="{9D8B030D-6E8A-4147-A177-3AD203B41FA5}">
                      <a16:colId xmlns:a16="http://schemas.microsoft.com/office/drawing/2014/main" val="3178522925"/>
                    </a:ext>
                  </a:extLst>
                </a:gridCol>
                <a:gridCol w="5240594">
                  <a:extLst>
                    <a:ext uri="{9D8B030D-6E8A-4147-A177-3AD203B41FA5}">
                      <a16:colId xmlns:a16="http://schemas.microsoft.com/office/drawing/2014/main" val="310424350"/>
                    </a:ext>
                  </a:extLst>
                </a:gridCol>
              </a:tblGrid>
              <a:tr h="370840">
                <a:tc>
                  <a:txBody>
                    <a:bodyPr/>
                    <a:lstStyle/>
                    <a:p>
                      <a:pPr algn="ctr"/>
                      <a:r>
                        <a:rPr lang="en-US" dirty="0"/>
                        <a:t>Approach </a:t>
                      </a:r>
                    </a:p>
                  </a:txBody>
                  <a:tcPr/>
                </a:tc>
                <a:tc>
                  <a:txBody>
                    <a:bodyPr/>
                    <a:lstStyle/>
                    <a:p>
                      <a:pPr algn="ctr"/>
                      <a:r>
                        <a:rPr lang="en-US" dirty="0"/>
                        <a:t>Mechanism</a:t>
                      </a:r>
                    </a:p>
                  </a:txBody>
                  <a:tcPr/>
                </a:tc>
                <a:tc>
                  <a:txBody>
                    <a:bodyPr/>
                    <a:lstStyle/>
                    <a:p>
                      <a:pPr algn="ctr"/>
                      <a:r>
                        <a:rPr lang="en-US" dirty="0"/>
                        <a:t>Limitations </a:t>
                      </a:r>
                    </a:p>
                  </a:txBody>
                  <a:tcPr/>
                </a:tc>
                <a:extLst>
                  <a:ext uri="{0D108BD9-81ED-4DB2-BD59-A6C34878D82A}">
                    <a16:rowId xmlns:a16="http://schemas.microsoft.com/office/drawing/2014/main" val="3139385222"/>
                  </a:ext>
                </a:extLst>
              </a:tr>
              <a:tr h="370840">
                <a:tc>
                  <a:txBody>
                    <a:bodyPr/>
                    <a:lstStyle/>
                    <a:p>
                      <a:r>
                        <a:rPr lang="en-US" sz="1800" dirty="0">
                          <a:solidFill>
                            <a:schemeClr val="tx1"/>
                          </a:solidFill>
                        </a:rPr>
                        <a:t>Use of flavors </a:t>
                      </a:r>
                    </a:p>
                  </a:txBody>
                  <a:tcPr/>
                </a:tc>
                <a:tc>
                  <a:txBody>
                    <a:bodyPr/>
                    <a:lstStyle/>
                    <a:p>
                      <a:r>
                        <a:rPr lang="en-US" sz="1800" dirty="0">
                          <a:solidFill>
                            <a:schemeClr val="tx1"/>
                          </a:solidFill>
                        </a:rPr>
                        <a:t>Incorporation of a flavor (sweeteners and aromas) to reduce the bitterness. </a:t>
                      </a:r>
                    </a:p>
                  </a:txBody>
                  <a:tcPr/>
                </a:tc>
                <a:tc>
                  <a:txBody>
                    <a:bodyPr/>
                    <a:lstStyle/>
                    <a:p>
                      <a:r>
                        <a:rPr lang="en-US" sz="1800" dirty="0">
                          <a:solidFill>
                            <a:schemeClr val="tx1"/>
                          </a:solidFill>
                        </a:rPr>
                        <a:t>Not feasible for very bitter drugs.</a:t>
                      </a:r>
                    </a:p>
                    <a:p>
                      <a:r>
                        <a:rPr lang="en-US" sz="1800" dirty="0">
                          <a:solidFill>
                            <a:schemeClr val="tx1"/>
                          </a:solidFill>
                        </a:rPr>
                        <a:t>Safety concerns (pediatrics formulations)</a:t>
                      </a:r>
                    </a:p>
                  </a:txBody>
                  <a:tcPr/>
                </a:tc>
                <a:extLst>
                  <a:ext uri="{0D108BD9-81ED-4DB2-BD59-A6C34878D82A}">
                    <a16:rowId xmlns:a16="http://schemas.microsoft.com/office/drawing/2014/main" val="2286646635"/>
                  </a:ext>
                </a:extLst>
              </a:tr>
              <a:tr h="370840">
                <a:tc>
                  <a:txBody>
                    <a:bodyPr/>
                    <a:lstStyle/>
                    <a:p>
                      <a:r>
                        <a:rPr lang="en-US" sz="1800" dirty="0">
                          <a:solidFill>
                            <a:schemeClr val="tx1"/>
                          </a:solidFill>
                        </a:rPr>
                        <a:t>Change of API salt </a:t>
                      </a:r>
                    </a:p>
                  </a:txBody>
                  <a:tcPr/>
                </a:tc>
                <a:tc>
                  <a:txBody>
                    <a:bodyPr/>
                    <a:lstStyle/>
                    <a:p>
                      <a:r>
                        <a:rPr lang="en-US" sz="1800" dirty="0">
                          <a:solidFill>
                            <a:schemeClr val="tx1"/>
                          </a:solidFill>
                        </a:rPr>
                        <a:t>Modify the drug to one with lower taste masking challenge (prodrug, alternative salt, freebase). </a:t>
                      </a:r>
                    </a:p>
                  </a:txBody>
                  <a:tcPr/>
                </a:tc>
                <a:tc>
                  <a:txBody>
                    <a:bodyPr/>
                    <a:lstStyle/>
                    <a:p>
                      <a:r>
                        <a:rPr lang="en-US" sz="1800" dirty="0">
                          <a:solidFill>
                            <a:schemeClr val="tx1"/>
                          </a:solidFill>
                        </a:rPr>
                        <a:t>Increase R&amp;D timeline. Potential pharmacokinetic changes. May still require additional masking approaches. </a:t>
                      </a:r>
                    </a:p>
                  </a:txBody>
                  <a:tcPr/>
                </a:tc>
                <a:extLst>
                  <a:ext uri="{0D108BD9-81ED-4DB2-BD59-A6C34878D82A}">
                    <a16:rowId xmlns:a16="http://schemas.microsoft.com/office/drawing/2014/main" val="1061424952"/>
                  </a:ext>
                </a:extLst>
              </a:tr>
              <a:tr h="370840">
                <a:tc>
                  <a:txBody>
                    <a:bodyPr/>
                    <a:lstStyle/>
                    <a:p>
                      <a:r>
                        <a:rPr lang="en-US" sz="1800" dirty="0">
                          <a:solidFill>
                            <a:schemeClr val="tx1"/>
                          </a:solidFill>
                        </a:rPr>
                        <a:t>Complexation of API</a:t>
                      </a:r>
                    </a:p>
                  </a:txBody>
                  <a:tcPr/>
                </a:tc>
                <a:tc>
                  <a:txBody>
                    <a:bodyPr/>
                    <a:lstStyle/>
                    <a:p>
                      <a:r>
                        <a:rPr lang="en-US" sz="1800" dirty="0">
                          <a:solidFill>
                            <a:schemeClr val="tx1"/>
                          </a:solidFill>
                        </a:rPr>
                        <a:t>Drug entrapped by a chemical matrix (cyclodextrin and ion exchange resin).</a:t>
                      </a:r>
                    </a:p>
                  </a:txBody>
                  <a:tcPr/>
                </a:tc>
                <a:tc>
                  <a:txBody>
                    <a:bodyPr/>
                    <a:lstStyle/>
                    <a:p>
                      <a:r>
                        <a:rPr lang="en-US" sz="1800" dirty="0">
                          <a:solidFill>
                            <a:schemeClr val="tx1"/>
                          </a:solidFill>
                        </a:rPr>
                        <a:t>Might decrease drug loading. Potential pharmacokinetic changes. </a:t>
                      </a:r>
                      <a:r>
                        <a:rPr lang="en-US" sz="1800" kern="1200" dirty="0">
                          <a:solidFill>
                            <a:schemeClr val="dk1"/>
                          </a:solidFill>
                          <a:effectLst/>
                          <a:latin typeface="+mn-lt"/>
                          <a:ea typeface="+mn-ea"/>
                          <a:cs typeface="+mn-cs"/>
                        </a:rPr>
                        <a:t>It is typically an expensive alternative. </a:t>
                      </a:r>
                      <a:endParaRPr lang="en-US" sz="1800" dirty="0">
                        <a:solidFill>
                          <a:schemeClr val="tx1"/>
                        </a:solidFill>
                      </a:endParaRPr>
                    </a:p>
                  </a:txBody>
                  <a:tcPr/>
                </a:tc>
                <a:extLst>
                  <a:ext uri="{0D108BD9-81ED-4DB2-BD59-A6C34878D82A}">
                    <a16:rowId xmlns:a16="http://schemas.microsoft.com/office/drawing/2014/main" val="1121819729"/>
                  </a:ext>
                </a:extLst>
              </a:tr>
              <a:tr h="370840">
                <a:tc>
                  <a:txBody>
                    <a:bodyPr/>
                    <a:lstStyle/>
                    <a:p>
                      <a:r>
                        <a:rPr lang="en-US" sz="1800" dirty="0">
                          <a:solidFill>
                            <a:schemeClr val="tx1"/>
                          </a:solidFill>
                        </a:rPr>
                        <a:t>Signal Interruption</a:t>
                      </a:r>
                    </a:p>
                  </a:txBody>
                  <a:tcPr/>
                </a:tc>
                <a:tc>
                  <a:txBody>
                    <a:bodyPr/>
                    <a:lstStyle/>
                    <a:p>
                      <a:r>
                        <a:rPr lang="en-US" sz="1800" dirty="0">
                          <a:solidFill>
                            <a:schemeClr val="tx1"/>
                          </a:solidFill>
                        </a:rPr>
                        <a:t>Use an antagonist to inhibit taste: </a:t>
                      </a:r>
                      <a:r>
                        <a:rPr lang="en-US" sz="1800" b="0" i="0" kern="1200" dirty="0">
                          <a:solidFill>
                            <a:schemeClr val="dk1"/>
                          </a:solidFill>
                          <a:effectLst/>
                          <a:latin typeface="+mn-lt"/>
                          <a:ea typeface="+mn-ea"/>
                          <a:cs typeface="+mn-cs"/>
                        </a:rPr>
                        <a:t>G-protein-coupled receptors (GPCRs) </a:t>
                      </a:r>
                      <a:r>
                        <a:rPr lang="en-US" sz="1800" dirty="0">
                          <a:solidFill>
                            <a:schemeClr val="tx1"/>
                          </a:solidFill>
                        </a:rPr>
                        <a:t>signal cascade blockers.</a:t>
                      </a:r>
                    </a:p>
                  </a:txBody>
                  <a:tcPr/>
                </a:tc>
                <a:tc>
                  <a:txBody>
                    <a:bodyPr/>
                    <a:lstStyle/>
                    <a:p>
                      <a:r>
                        <a:rPr lang="en-US" sz="1800" dirty="0">
                          <a:solidFill>
                            <a:schemeClr val="tx1"/>
                          </a:solidFill>
                        </a:rPr>
                        <a:t>Must follow same receptor pathway as API. Functions best when administered before dose. New chemical entity.</a:t>
                      </a:r>
                    </a:p>
                  </a:txBody>
                  <a:tcPr/>
                </a:tc>
                <a:extLst>
                  <a:ext uri="{0D108BD9-81ED-4DB2-BD59-A6C34878D82A}">
                    <a16:rowId xmlns:a16="http://schemas.microsoft.com/office/drawing/2014/main" val="1449849756"/>
                  </a:ext>
                </a:extLst>
              </a:tr>
              <a:tr h="370840">
                <a:tc>
                  <a:txBody>
                    <a:bodyPr/>
                    <a:lstStyle/>
                    <a:p>
                      <a:r>
                        <a:rPr lang="en-US" sz="1800" dirty="0">
                          <a:solidFill>
                            <a:schemeClr val="tx1"/>
                          </a:solidFill>
                        </a:rPr>
                        <a:t>Film coating</a:t>
                      </a:r>
                    </a:p>
                  </a:txBody>
                  <a:tcPr/>
                </a:tc>
                <a:tc>
                  <a:txBody>
                    <a:bodyPr/>
                    <a:lstStyle/>
                    <a:p>
                      <a:r>
                        <a:rPr lang="en-US" sz="1800" dirty="0">
                          <a:solidFill>
                            <a:schemeClr val="tx1"/>
                          </a:solidFill>
                        </a:rPr>
                        <a:t>Application of a physical barrier (film coating or lipid) to cover the drug particle using a fluid bed or coacervation. </a:t>
                      </a:r>
                    </a:p>
                  </a:txBody>
                  <a:tcPr/>
                </a:tc>
                <a:tc>
                  <a:txBody>
                    <a:bodyPr/>
                    <a:lstStyle/>
                    <a:p>
                      <a:r>
                        <a:rPr lang="en-US" sz="1800" dirty="0">
                          <a:solidFill>
                            <a:schemeClr val="tx1"/>
                          </a:solidFill>
                        </a:rPr>
                        <a:t>Processing time. High weight gain. Pharmacokinetics might change (insoluble films) </a:t>
                      </a:r>
                    </a:p>
                  </a:txBody>
                  <a:tcPr/>
                </a:tc>
                <a:extLst>
                  <a:ext uri="{0D108BD9-81ED-4DB2-BD59-A6C34878D82A}">
                    <a16:rowId xmlns:a16="http://schemas.microsoft.com/office/drawing/2014/main" val="2690230203"/>
                  </a:ext>
                </a:extLst>
              </a:tr>
            </a:tbl>
          </a:graphicData>
        </a:graphic>
      </p:graphicFrame>
      <p:sp>
        <p:nvSpPr>
          <p:cNvPr id="5" name="Footer Placeholder 11">
            <a:extLst>
              <a:ext uri="{FF2B5EF4-FFF2-40B4-BE49-F238E27FC236}">
                <a16:creationId xmlns:a16="http://schemas.microsoft.com/office/drawing/2014/main" id="{1F9482DF-E068-F84B-BCB1-319198A7F810}"/>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34190121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52B7A76-9DCF-424D-91EB-9599C90C1A26}"/>
              </a:ext>
            </a:extLst>
          </p:cNvPr>
          <p:cNvGraphicFramePr>
            <a:graphicFrameLocks noChangeAspect="1"/>
          </p:cNvGraphicFramePr>
          <p:nvPr>
            <p:custDataLst>
              <p:tags r:id="rId1"/>
            </p:custDataLst>
            <p:extLst>
              <p:ext uri="{D42A27DB-BD31-4B8C-83A1-F6EECF244321}">
                <p14:modId xmlns:p14="http://schemas.microsoft.com/office/powerpoint/2010/main" val="3808154812"/>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8" imgH="277" progId="TCLayout.ActiveDocument.1">
                  <p:embed/>
                </p:oleObj>
              </mc:Choice>
              <mc:Fallback>
                <p:oleObj name="think-cell Slide" r:id="rId5" imgW="278" imgH="277" progId="TCLayout.ActiveDocument.1">
                  <p:embed/>
                  <p:pic>
                    <p:nvPicPr>
                      <p:cNvPr id="5" name="Objekt 4" hidden="1">
                        <a:extLst>
                          <a:ext uri="{FF2B5EF4-FFF2-40B4-BE49-F238E27FC236}">
                            <a16:creationId xmlns:a16="http://schemas.microsoft.com/office/drawing/2014/main" id="{C52B7A76-9DCF-424D-91EB-9599C90C1A26}"/>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2512DF6-5475-4909-8C56-6C8627D8C46F}"/>
              </a:ext>
            </a:extLst>
          </p:cNvPr>
          <p:cNvSpPr/>
          <p:nvPr>
            <p:custDataLst>
              <p:tags r:id="rId2"/>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rial" panose="020B0604020202020204" pitchFamily="34" charset="0"/>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0B2AC4D7-D9CC-47C0-A863-A287E985BCF7}"/>
              </a:ext>
            </a:extLst>
          </p:cNvPr>
          <p:cNvSpPr>
            <a:spLocks noGrp="1"/>
          </p:cNvSpPr>
          <p:nvPr>
            <p:ph type="title"/>
          </p:nvPr>
        </p:nvSpPr>
        <p:spPr>
          <a:xfrm>
            <a:off x="219600" y="183769"/>
            <a:ext cx="11736000" cy="853200"/>
          </a:xfrm>
        </p:spPr>
        <p:txBody>
          <a:bodyPr vert="horz"/>
          <a:lstStyle/>
          <a:p>
            <a:r>
              <a:rPr lang="en-US" dirty="0"/>
              <a:t>Safety Summary – available on RegXcellence</a:t>
            </a:r>
            <a:r>
              <a:rPr lang="en-US" baseline="30000" dirty="0"/>
              <a:t>®</a:t>
            </a:r>
            <a:endParaRPr lang="en-US" dirty="0"/>
          </a:p>
        </p:txBody>
      </p:sp>
      <p:sp>
        <p:nvSpPr>
          <p:cNvPr id="4" name="Foliennummernplatzhalter 3">
            <a:extLst>
              <a:ext uri="{FF2B5EF4-FFF2-40B4-BE49-F238E27FC236}">
                <a16:creationId xmlns:a16="http://schemas.microsoft.com/office/drawing/2014/main" id="{DE38F229-63B1-433E-BA01-8452C1EBABB1}"/>
              </a:ext>
            </a:extLst>
          </p:cNvPr>
          <p:cNvSpPr>
            <a:spLocks noGrp="1"/>
          </p:cNvSpPr>
          <p:nvPr>
            <p:ph type="sldNum" sz="quarter" idx="4"/>
          </p:nvPr>
        </p:nvSpPr>
        <p:spPr>
          <a:xfrm>
            <a:off x="225167" y="6555283"/>
            <a:ext cx="288200" cy="151200"/>
          </a:xfrm>
          <a:prstGeom prst="rect">
            <a:avLst/>
          </a:prstGeom>
        </p:spPr>
        <p:txBody>
          <a:bodyPr lIns="0" tIns="0" rIns="0" bIns="0"/>
          <a:lstStyle>
            <a:defPPr>
              <a:defRPr lang="de-DE"/>
            </a:defPPr>
            <a:lvl1pPr marL="0" algn="l" defTabSz="914400" rtl="0" eaLnBrk="1" latinLnBrk="0" hangingPunct="1">
              <a:defRPr sz="675"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2EA1D04-CA53-4DE3-84A8-2B63E41036C9}" type="slidenum">
              <a:rPr lang="en-US" smtClean="0"/>
              <a:pPr/>
              <a:t>70</a:t>
            </a:fld>
            <a:endParaRPr lang="en-US" dirty="0"/>
          </a:p>
        </p:txBody>
      </p:sp>
      <p:sp>
        <p:nvSpPr>
          <p:cNvPr id="3" name="Footer Placeholder 11">
            <a:extLst>
              <a:ext uri="{FF2B5EF4-FFF2-40B4-BE49-F238E27FC236}">
                <a16:creationId xmlns:a16="http://schemas.microsoft.com/office/drawing/2014/main" id="{7F38FA73-EF4B-BDB4-BC39-23B73A125E1F}"/>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pic>
        <p:nvPicPr>
          <p:cNvPr id="16" name="Picture 15">
            <a:extLst>
              <a:ext uri="{FF2B5EF4-FFF2-40B4-BE49-F238E27FC236}">
                <a16:creationId xmlns:a16="http://schemas.microsoft.com/office/drawing/2014/main" id="{351B2306-C1EF-C939-B6B5-BC1B71FB183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507193" y="610369"/>
            <a:ext cx="9177614" cy="5393389"/>
          </a:xfrm>
          <a:prstGeom prst="rect">
            <a:avLst/>
          </a:prstGeom>
        </p:spPr>
      </p:pic>
    </p:spTree>
    <p:extLst>
      <p:ext uri="{BB962C8B-B14F-4D97-AF65-F5344CB8AC3E}">
        <p14:creationId xmlns:p14="http://schemas.microsoft.com/office/powerpoint/2010/main" val="144969224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551759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260AA04-3C16-A65F-5B75-5A82847252C1}"/>
              </a:ext>
            </a:extLst>
          </p:cNvPr>
          <p:cNvGraphicFramePr>
            <a:graphicFrameLocks noChangeAspect="1"/>
          </p:cNvGraphicFramePr>
          <p:nvPr>
            <p:custDataLst>
              <p:tags r:id="rId1"/>
            </p:custDataLst>
            <p:extLst>
              <p:ext uri="{D42A27DB-BD31-4B8C-83A1-F6EECF244321}">
                <p14:modId xmlns:p14="http://schemas.microsoft.com/office/powerpoint/2010/main" val="3468288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1" progId="TCLayout.ActiveDocument.1">
                  <p:embed/>
                </p:oleObj>
              </mc:Choice>
              <mc:Fallback>
                <p:oleObj name="think-cell Slide" r:id="rId4" imgW="231" imgH="231" progId="TCLayout.ActiveDocument.1">
                  <p:embed/>
                  <p:pic>
                    <p:nvPicPr>
                      <p:cNvPr id="6" name="think-cell data - do not delete" hidden="1">
                        <a:extLst>
                          <a:ext uri="{FF2B5EF4-FFF2-40B4-BE49-F238E27FC236}">
                            <a16:creationId xmlns:a16="http://schemas.microsoft.com/office/drawing/2014/main" id="{0260AA04-3C16-A65F-5B75-5A82847252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123969-787B-846D-0BA2-EFB3E65767DC}"/>
              </a:ext>
            </a:extLst>
          </p:cNvPr>
          <p:cNvSpPr>
            <a:spLocks noGrp="1"/>
          </p:cNvSpPr>
          <p:nvPr>
            <p:ph type="title"/>
          </p:nvPr>
        </p:nvSpPr>
        <p:spPr>
          <a:xfrm>
            <a:off x="226800" y="2301555"/>
            <a:ext cx="4191600" cy="853200"/>
          </a:xfrm>
        </p:spPr>
        <p:txBody>
          <a:bodyPr vert="horz"/>
          <a:lstStyle/>
          <a:p>
            <a:r>
              <a:rPr lang="en-US" dirty="0"/>
              <a:t>Taste-masking </a:t>
            </a:r>
            <a:br>
              <a:rPr lang="en-US" dirty="0"/>
            </a:br>
            <a:r>
              <a:rPr lang="en-US" dirty="0"/>
              <a:t>Film-formers: evaluation of different products on the market</a:t>
            </a:r>
            <a:br>
              <a:rPr lang="en-US" dirty="0"/>
            </a:br>
            <a:endParaRPr lang="en-US" dirty="0"/>
          </a:p>
        </p:txBody>
      </p:sp>
      <p:sp>
        <p:nvSpPr>
          <p:cNvPr id="5" name="Slide Number Placeholder 4">
            <a:extLst>
              <a:ext uri="{FF2B5EF4-FFF2-40B4-BE49-F238E27FC236}">
                <a16:creationId xmlns:a16="http://schemas.microsoft.com/office/drawing/2014/main" id="{E8591A4B-DF60-F12A-788B-719FCC655F6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72</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10" name="Inhaltsplatzhalter 25">
            <a:extLst>
              <a:ext uri="{FF2B5EF4-FFF2-40B4-BE49-F238E27FC236}">
                <a16:creationId xmlns:a16="http://schemas.microsoft.com/office/drawing/2014/main" id="{8395F74F-C89D-4692-539F-CD862135237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99370" y="304801"/>
            <a:ext cx="7593130" cy="5699908"/>
          </a:xfrm>
          <a:prstGeom prst="rect">
            <a:avLst/>
          </a:prstGeom>
        </p:spPr>
      </p:pic>
    </p:spTree>
    <p:extLst>
      <p:ext uri="{BB962C8B-B14F-4D97-AF65-F5344CB8AC3E}">
        <p14:creationId xmlns:p14="http://schemas.microsoft.com/office/powerpoint/2010/main" val="307452316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8C47B66-A2CE-4771-B924-4C45A2443FD1}"/>
              </a:ext>
            </a:extLst>
          </p:cNvPr>
          <p:cNvGraphicFramePr>
            <a:graphicFrameLocks noChangeAspect="1"/>
          </p:cNvGraphicFramePr>
          <p:nvPr>
            <p:custDataLst>
              <p:tags r:id="rId1"/>
            </p:custDataLst>
            <p:extLst>
              <p:ext uri="{D42A27DB-BD31-4B8C-83A1-F6EECF244321}">
                <p14:modId xmlns:p14="http://schemas.microsoft.com/office/powerpoint/2010/main" val="2677170747"/>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Slide" r:id="rId5" imgW="552" imgH="553" progId="TCLayout.ActiveDocument.1">
                  <p:embed/>
                </p:oleObj>
              </mc:Choice>
              <mc:Fallback>
                <p:oleObj name="think-cell Slide" r:id="rId5" imgW="552" imgH="553" progId="TCLayout.ActiveDocument.1">
                  <p:embed/>
                  <p:pic>
                    <p:nvPicPr>
                      <p:cNvPr id="7" name="Objekt 6" hidden="1">
                        <a:extLst>
                          <a:ext uri="{FF2B5EF4-FFF2-40B4-BE49-F238E27FC236}">
                            <a16:creationId xmlns:a16="http://schemas.microsoft.com/office/drawing/2014/main" id="{E8C47B66-A2CE-4771-B924-4C45A2443FD1}"/>
                          </a:ext>
                        </a:extLst>
                      </p:cNvPr>
                      <p:cNvPicPr/>
                      <p:nvPr/>
                    </p:nvPicPr>
                    <p:blipFill>
                      <a:blip r:embed="rId6"/>
                      <a:stretch>
                        <a:fillRect/>
                      </a:stretch>
                    </p:blipFill>
                    <p:spPr>
                      <a:xfrm>
                        <a:off x="2382"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47A54A0C-C011-4ABD-977A-54C5CB994EA5}"/>
              </a:ext>
            </a:extLst>
          </p:cNvPr>
          <p:cNvSpPr/>
          <p:nvPr>
            <p:custDataLst>
              <p:tags r:id="rId2"/>
            </p:custDataLst>
          </p:nvPr>
        </p:nvSpPr>
        <p:spPr>
          <a:xfrm>
            <a:off x="794"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0F040EAD-8CCC-4A87-91CA-E550CFF41CA0}"/>
              </a:ext>
            </a:extLst>
          </p:cNvPr>
          <p:cNvSpPr>
            <a:spLocks noGrp="1"/>
          </p:cNvSpPr>
          <p:nvPr>
            <p:ph type="title"/>
          </p:nvPr>
        </p:nvSpPr>
        <p:spPr>
          <a:xfrm>
            <a:off x="227043" y="261520"/>
            <a:ext cx="11737914" cy="853200"/>
          </a:xfrm>
        </p:spPr>
        <p:txBody>
          <a:bodyPr vert="horz"/>
          <a:lstStyle/>
          <a:p>
            <a:r>
              <a:rPr lang="en-US" dirty="0"/>
              <a:t>Kollicoat</a:t>
            </a:r>
            <a:r>
              <a:rPr lang="en-US" baseline="30000" dirty="0"/>
              <a:t>®</a:t>
            </a:r>
            <a:r>
              <a:rPr lang="en-US" dirty="0"/>
              <a:t> Smartseal for taste-masking film coating</a:t>
            </a:r>
          </a:p>
        </p:txBody>
      </p:sp>
      <p:pic>
        <p:nvPicPr>
          <p:cNvPr id="26" name="Inhaltsplatzhalter 25">
            <a:extLst>
              <a:ext uri="{FF2B5EF4-FFF2-40B4-BE49-F238E27FC236}">
                <a16:creationId xmlns:a16="http://schemas.microsoft.com/office/drawing/2014/main" id="{546EC2AB-1D83-47FE-8045-AF6DE3B6D7B7}"/>
              </a:ext>
            </a:extLst>
          </p:cNvPr>
          <p:cNvPicPr>
            <a:picLocks noGrp="1" noChangeAspect="1"/>
          </p:cNvPicPr>
          <p:nvPr>
            <p:ph idx="1"/>
          </p:nvPr>
        </p:nvPicPr>
        <p:blipFill>
          <a:blip r:embed="rId7" cstate="email">
            <a:extLst>
              <a:ext uri="{28A0092B-C50C-407E-A947-70E740481C1C}">
                <a14:useLocalDpi xmlns:a14="http://schemas.microsoft.com/office/drawing/2010/main"/>
              </a:ext>
            </a:extLst>
          </a:blip>
          <a:stretch>
            <a:fillRect/>
          </a:stretch>
        </p:blipFill>
        <p:spPr>
          <a:xfrm>
            <a:off x="7094845" y="1739117"/>
            <a:ext cx="4502354" cy="3379766"/>
          </a:xfrm>
        </p:spPr>
      </p:pic>
      <p:sp>
        <p:nvSpPr>
          <p:cNvPr id="29" name="Inhaltsplatzhalter 2">
            <a:extLst>
              <a:ext uri="{FF2B5EF4-FFF2-40B4-BE49-F238E27FC236}">
                <a16:creationId xmlns:a16="http://schemas.microsoft.com/office/drawing/2014/main" id="{7ED9DCE2-E4D0-45EF-AEAC-A92950945EEE}"/>
              </a:ext>
            </a:extLst>
          </p:cNvPr>
          <p:cNvSpPr txBox="1">
            <a:spLocks/>
          </p:cNvSpPr>
          <p:nvPr/>
        </p:nvSpPr>
        <p:spPr>
          <a:xfrm>
            <a:off x="406800" y="1289541"/>
            <a:ext cx="5908442" cy="5088573"/>
          </a:xfrm>
          <a:prstGeom prst="rect">
            <a:avLst/>
          </a:prstGeom>
        </p:spPr>
        <p:txBody>
          <a:bodyPr vert="horz" wrap="square" lIns="0" tIns="0" rIns="0" bIns="0" rtlCol="0">
            <a:spAutoFit/>
          </a:bodyPr>
          <a:lstStyle>
            <a:lvl1pPr marL="342900" marR="0" indent="-342900" algn="l" defTabSz="914400" rtl="0" eaLnBrk="1" fontAlgn="auto" latinLnBrk="0" hangingPunct="1">
              <a:lnSpc>
                <a:spcPct val="110000"/>
              </a:lnSpc>
              <a:spcBef>
                <a:spcPts val="1800"/>
              </a:spcBef>
              <a:spcAft>
                <a:spcPts val="0"/>
              </a:spcAft>
              <a:buClr>
                <a:schemeClr val="accent1"/>
              </a:buClr>
              <a:buSzTx/>
              <a:buFont typeface="Wingdings"/>
              <a:buChar char="n"/>
              <a:tabLst/>
              <a:defRPr sz="1800" b="0" i="0" kern="1200" baseline="0">
                <a:solidFill>
                  <a:schemeClr val="tx1"/>
                </a:solidFill>
                <a:latin typeface="Arial" panose="020B0604020202020204" pitchFamily="34" charset="0"/>
                <a:ea typeface="+mn-ea"/>
                <a:cs typeface="+mn-cs"/>
              </a:defRPr>
            </a:lvl1pPr>
            <a:lvl2pPr marL="719138" marR="0" indent="-361950" algn="l" defTabSz="914400" rtl="0" eaLnBrk="1" fontAlgn="auto" latinLnBrk="0" hangingPunct="1">
              <a:lnSpc>
                <a:spcPct val="110000"/>
              </a:lnSpc>
              <a:spcBef>
                <a:spcPts val="600"/>
              </a:spcBef>
              <a:spcAft>
                <a:spcPts val="0"/>
              </a:spcAft>
              <a:buClr>
                <a:srgbClr val="C50022"/>
              </a:buClr>
              <a:buSzTx/>
              <a:buFont typeface="Wingdings" panose="05000000000000000000" pitchFamily="2" charset="2"/>
              <a:buChar char="n"/>
              <a:tabLst/>
              <a:defRPr sz="1600" b="0" i="0" kern="1200" baseline="0">
                <a:solidFill>
                  <a:schemeClr val="tx1"/>
                </a:solidFill>
                <a:latin typeface="Arial" panose="020B0604020202020204" pitchFamily="34" charset="0"/>
                <a:ea typeface="+mn-ea"/>
                <a:cs typeface="+mn-cs"/>
              </a:defRPr>
            </a:lvl2pPr>
            <a:lvl3pPr marL="1074738" marR="0" indent="-355600" algn="l" defTabSz="914400" rtl="0" eaLnBrk="1" fontAlgn="auto" latinLnBrk="0" hangingPunct="1">
              <a:lnSpc>
                <a:spcPct val="110000"/>
              </a:lnSpc>
              <a:spcBef>
                <a:spcPts val="300"/>
              </a:spcBef>
              <a:spcAft>
                <a:spcPts val="0"/>
              </a:spcAft>
              <a:buClr>
                <a:srgbClr val="C5002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3513" marR="0" indent="-358775" algn="l" defTabSz="914400" rtl="0" eaLnBrk="1" fontAlgn="auto" latinLnBrk="0" hangingPunct="1">
              <a:lnSpc>
                <a:spcPct val="110000"/>
              </a:lnSpc>
              <a:spcBef>
                <a:spcPts val="0"/>
              </a:spcBef>
              <a:spcAft>
                <a:spcPts val="0"/>
              </a:spcAft>
              <a:buClr>
                <a:srgbClr val="C5002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marL="269875" marR="0" lvl="0" indent="-269875" algn="l" defTabSz="914400" rtl="0" eaLnBrk="1" fontAlgn="auto" latinLnBrk="0" hangingPunct="1">
              <a:lnSpc>
                <a:spcPct val="110000"/>
              </a:lnSpc>
              <a:spcBef>
                <a:spcPts val="0"/>
              </a:spcBef>
              <a:spcAft>
                <a:spcPts val="600"/>
              </a:spcAft>
              <a:buClr>
                <a:srgbClr val="C50022"/>
              </a:buClr>
              <a:buSzTx/>
              <a:buFont typeface="Wingdings"/>
              <a:buChar char="n"/>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cs typeface="Arial"/>
              </a:rPr>
              <a:t>Taste masking is a key challenge in SODFs</a:t>
            </a:r>
          </a:p>
          <a:p>
            <a:pPr marL="269875" marR="0" lvl="0" indent="-269875" algn="l" defTabSz="914400" rtl="0" eaLnBrk="1" fontAlgn="auto" latinLnBrk="0" hangingPunct="1">
              <a:lnSpc>
                <a:spcPct val="110000"/>
              </a:lnSpc>
              <a:spcBef>
                <a:spcPts val="0"/>
              </a:spcBef>
              <a:spcAft>
                <a:spcPts val="600"/>
              </a:spcAft>
              <a:buClr>
                <a:srgbClr val="C50022"/>
              </a:buClr>
              <a:buSzTx/>
              <a:buFont typeface="Wingdings"/>
              <a:buChar char="n"/>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cs typeface="Arial"/>
            </a:endParaRPr>
          </a:p>
          <a:p>
            <a:pPr marL="269875" marR="0" lvl="0" indent="-269875" algn="l" defTabSz="914400" rtl="0" eaLnBrk="1" fontAlgn="auto" latinLnBrk="0" hangingPunct="1">
              <a:lnSpc>
                <a:spcPct val="110000"/>
              </a:lnSpc>
              <a:spcBef>
                <a:spcPts val="0"/>
              </a:spcBef>
              <a:spcAft>
                <a:spcPts val="600"/>
              </a:spcAft>
              <a:buClr>
                <a:srgbClr val="C50022"/>
              </a:buClr>
              <a:buSzTx/>
              <a:buFont typeface="Wingdings"/>
              <a:buChar char="n"/>
              <a:tabLst/>
              <a:defRPr/>
            </a:pPr>
            <a:r>
              <a:rPr lang="en-US" dirty="0">
                <a:solidFill>
                  <a:srgbClr val="000000"/>
                </a:solidFill>
                <a:cs typeface="Arial"/>
              </a:rPr>
              <a:t>Film-coating is a feasible approach to mask the bitter drug taste. Kollicoat</a:t>
            </a:r>
            <a:r>
              <a:rPr lang="en-US" baseline="30000" dirty="0">
                <a:solidFill>
                  <a:srgbClr val="000000"/>
                </a:solidFill>
                <a:cs typeface="Arial"/>
              </a:rPr>
              <a:t>®</a:t>
            </a:r>
            <a:r>
              <a:rPr lang="en-US" dirty="0">
                <a:solidFill>
                  <a:srgbClr val="000000"/>
                </a:solidFill>
                <a:cs typeface="Arial"/>
              </a:rPr>
              <a:t> Smartseal provides:</a:t>
            </a:r>
          </a:p>
          <a:p>
            <a:pPr marL="0" marR="0" lvl="0" indent="0" algn="l" defTabSz="914400" rtl="0" eaLnBrk="1" fontAlgn="auto" latinLnBrk="0" hangingPunct="1">
              <a:lnSpc>
                <a:spcPct val="110000"/>
              </a:lnSpc>
              <a:spcBef>
                <a:spcPts val="0"/>
              </a:spcBef>
              <a:spcAft>
                <a:spcPts val="600"/>
              </a:spcAft>
              <a:buClr>
                <a:srgbClr val="C50022"/>
              </a:buClr>
              <a:buSzTx/>
              <a:buNone/>
              <a:tabLst/>
              <a:defRPr/>
            </a:pPr>
            <a:endParaRPr lang="en-US" dirty="0">
              <a:solidFill>
                <a:srgbClr val="000000"/>
              </a:solidFill>
              <a:cs typeface="Arial"/>
            </a:endParaRPr>
          </a:p>
          <a:p>
            <a:pPr marL="646113" lvl="1" indent="-269875">
              <a:spcBef>
                <a:spcPts val="0"/>
              </a:spcBef>
              <a:spcAft>
                <a:spcPts val="600"/>
              </a:spcAft>
              <a:defRPr/>
            </a:pPr>
            <a:r>
              <a:rPr lang="en-US" sz="1800" dirty="0">
                <a:solidFill>
                  <a:srgbClr val="000000"/>
                </a:solidFill>
              </a:rPr>
              <a:t>Superior taste-masking performance</a:t>
            </a:r>
          </a:p>
          <a:p>
            <a:pPr marL="646113" lvl="1" indent="-269875">
              <a:spcBef>
                <a:spcPts val="0"/>
              </a:spcBef>
              <a:spcAft>
                <a:spcPts val="600"/>
              </a:spcAft>
              <a:defRPr/>
            </a:pPr>
            <a:r>
              <a:rPr lang="en-US" sz="1800" dirty="0">
                <a:solidFill>
                  <a:srgbClr val="000000"/>
                </a:solidFill>
              </a:rPr>
              <a:t>Easy film-coating process</a:t>
            </a:r>
          </a:p>
          <a:p>
            <a:pPr marL="646113" lvl="1" indent="-269875">
              <a:spcBef>
                <a:spcPts val="0"/>
              </a:spcBef>
              <a:spcAft>
                <a:spcPts val="600"/>
              </a:spcAft>
              <a:defRPr/>
            </a:pPr>
            <a:r>
              <a:rPr lang="en-US" sz="1800" dirty="0">
                <a:solidFill>
                  <a:srgbClr val="000000"/>
                </a:solidFill>
              </a:rPr>
              <a:t>Pleasant odor</a:t>
            </a:r>
          </a:p>
          <a:p>
            <a:pPr marL="0" marR="0" lvl="0" indent="0" algn="l" defTabSz="914400" rtl="0" eaLnBrk="1" fontAlgn="auto" latinLnBrk="0" hangingPunct="1">
              <a:lnSpc>
                <a:spcPct val="110000"/>
              </a:lnSpc>
              <a:spcBef>
                <a:spcPts val="0"/>
              </a:spcBef>
              <a:spcAft>
                <a:spcPts val="600"/>
              </a:spcAft>
              <a:buClr>
                <a:srgbClr val="C50022"/>
              </a:buClr>
              <a:buSz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cs typeface="Arial"/>
            </a:endParaRPr>
          </a:p>
          <a:p>
            <a:pPr marL="269875" marR="0" lvl="0" indent="-269875" algn="l" defTabSz="914400" rtl="0" eaLnBrk="1" fontAlgn="auto" latinLnBrk="0" hangingPunct="1">
              <a:lnSpc>
                <a:spcPct val="110000"/>
              </a:lnSpc>
              <a:spcBef>
                <a:spcPts val="0"/>
              </a:spcBef>
              <a:spcAft>
                <a:spcPts val="600"/>
              </a:spcAft>
              <a:buClr>
                <a:srgbClr val="C50022"/>
              </a:buClr>
              <a:buSzTx/>
              <a:buFont typeface="Wingdings"/>
              <a:buChar char="n"/>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cs typeface="Arial"/>
              </a:rPr>
              <a:t>Kollicoat</a:t>
            </a:r>
            <a:r>
              <a:rPr kumimoji="0" lang="en-US" b="0" i="0" u="none" strike="noStrike" kern="1200" cap="none" spc="0" normalizeH="0" baseline="30000" noProof="0" dirty="0">
                <a:ln>
                  <a:noFill/>
                </a:ln>
                <a:solidFill>
                  <a:srgbClr val="000000"/>
                </a:solidFill>
                <a:effectLst/>
                <a:uLnTx/>
                <a:uFillTx/>
                <a:latin typeface="Arial" panose="020B0604020202020204" pitchFamily="34" charset="0"/>
                <a:cs typeface="Arial"/>
              </a:rPr>
              <a:t>®</a:t>
            </a:r>
            <a:r>
              <a:rPr kumimoji="0" lang="en-US" b="0" i="0" u="none" strike="noStrike" kern="1200" cap="none" spc="0" normalizeH="0" baseline="0" noProof="0" dirty="0">
                <a:ln>
                  <a:noFill/>
                </a:ln>
                <a:solidFill>
                  <a:srgbClr val="000000"/>
                </a:solidFill>
                <a:effectLst/>
                <a:uLnTx/>
                <a:uFillTx/>
                <a:latin typeface="Arial" panose="020B0604020202020204" pitchFamily="34" charset="0"/>
                <a:cs typeface="Arial"/>
              </a:rPr>
              <a:t> Smartseal 30 D is the first polymer dispersion for taste masking applications</a:t>
            </a:r>
          </a:p>
          <a:p>
            <a:pPr marL="0" marR="0" lvl="0" indent="0" algn="l" defTabSz="914400" rtl="0" eaLnBrk="1" fontAlgn="auto" latinLnBrk="0" hangingPunct="1">
              <a:lnSpc>
                <a:spcPct val="110000"/>
              </a:lnSpc>
              <a:spcBef>
                <a:spcPts val="0"/>
              </a:spcBef>
              <a:spcAft>
                <a:spcPts val="600"/>
              </a:spcAft>
              <a:buClr>
                <a:srgbClr val="C50022"/>
              </a:buClr>
              <a:buSz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cs typeface="Arial"/>
            </a:endParaRPr>
          </a:p>
          <a:p>
            <a:pPr marL="269875" marR="0" lvl="0" indent="-269875" algn="l" defTabSz="914400" rtl="0" eaLnBrk="1" fontAlgn="auto" latinLnBrk="0" hangingPunct="1">
              <a:lnSpc>
                <a:spcPct val="110000"/>
              </a:lnSpc>
              <a:spcBef>
                <a:spcPts val="0"/>
              </a:spcBef>
              <a:spcAft>
                <a:spcPts val="600"/>
              </a:spcAft>
              <a:buClr>
                <a:srgbClr val="C50022"/>
              </a:buClr>
              <a:buSzTx/>
              <a:buFont typeface="Wingdings"/>
              <a:buChar char="n"/>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cs typeface="Arial"/>
              </a:rPr>
              <a:t>Kollicoat</a:t>
            </a:r>
            <a:r>
              <a:rPr kumimoji="0" lang="en-US" b="0" i="0" u="none" strike="noStrike" kern="1200" cap="none" spc="0" normalizeH="0" baseline="30000" noProof="0" dirty="0">
                <a:ln>
                  <a:noFill/>
                </a:ln>
                <a:solidFill>
                  <a:srgbClr val="000000"/>
                </a:solidFill>
                <a:effectLst/>
                <a:uLnTx/>
                <a:uFillTx/>
                <a:latin typeface="Arial" panose="020B0604020202020204" pitchFamily="34" charset="0"/>
                <a:cs typeface="Arial"/>
              </a:rPr>
              <a:t>®</a:t>
            </a:r>
            <a:r>
              <a:rPr kumimoji="0" lang="en-US" b="0" i="0" u="none" strike="noStrike" kern="1200" cap="none" spc="0" normalizeH="0" baseline="0" noProof="0" dirty="0">
                <a:ln>
                  <a:noFill/>
                </a:ln>
                <a:solidFill>
                  <a:srgbClr val="000000"/>
                </a:solidFill>
                <a:effectLst/>
                <a:uLnTx/>
                <a:uFillTx/>
                <a:latin typeface="Arial" panose="020B0604020202020204" pitchFamily="34" charset="0"/>
                <a:cs typeface="Arial"/>
              </a:rPr>
              <a:t> Smartseal 100 P is the spray-dried version</a:t>
            </a:r>
          </a:p>
          <a:p>
            <a:pPr marL="0" marR="0" lvl="0" indent="0" algn="l" defTabSz="914400" rtl="0" eaLnBrk="1" fontAlgn="auto" latinLnBrk="0" hangingPunct="1">
              <a:lnSpc>
                <a:spcPct val="110000"/>
              </a:lnSpc>
              <a:spcBef>
                <a:spcPts val="0"/>
              </a:spcBef>
              <a:spcAft>
                <a:spcPts val="600"/>
              </a:spcAft>
              <a:buClr>
                <a:srgbClr val="C50022"/>
              </a:buClr>
              <a:buSzTx/>
              <a:buNone/>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cs typeface="Arial"/>
            </a:endParaRPr>
          </a:p>
        </p:txBody>
      </p:sp>
      <p:sp>
        <p:nvSpPr>
          <p:cNvPr id="4" name="Footer Placeholder 3">
            <a:extLst>
              <a:ext uri="{FF2B5EF4-FFF2-40B4-BE49-F238E27FC236}">
                <a16:creationId xmlns:a16="http://schemas.microsoft.com/office/drawing/2014/main" id="{5157EB43-873F-045F-55C8-293F3560970F}"/>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9" name="Slide Number Placeholder 8">
            <a:extLst>
              <a:ext uri="{FF2B5EF4-FFF2-40B4-BE49-F238E27FC236}">
                <a16:creationId xmlns:a16="http://schemas.microsoft.com/office/drawing/2014/main" id="{17793A3C-2BD2-D0B9-1C1E-48B12D3ADE9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73</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65016680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96C0E511-F38F-457D-A27F-C08777AE8356}"/>
              </a:ext>
            </a:extLst>
          </p:cNvPr>
          <p:cNvGraphicFramePr>
            <a:graphicFrameLocks noChangeAspect="1"/>
          </p:cNvGraphicFramePr>
          <p:nvPr>
            <p:custDataLst>
              <p:tags r:id="rId1"/>
            </p:custDataLst>
            <p:extLst>
              <p:ext uri="{D42A27DB-BD31-4B8C-83A1-F6EECF244321}">
                <p14:modId xmlns:p14="http://schemas.microsoft.com/office/powerpoint/2010/main" val="942359420"/>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553" imgH="553" progId="TCLayout.ActiveDocument.1">
                  <p:embed/>
                </p:oleObj>
              </mc:Choice>
              <mc:Fallback>
                <p:oleObj name="think-cell Slide" r:id="rId5" imgW="553" imgH="553" progId="TCLayout.ActiveDocument.1">
                  <p:embed/>
                  <p:pic>
                    <p:nvPicPr>
                      <p:cNvPr id="17" name="Objekt 16" hidden="1">
                        <a:extLst>
                          <a:ext uri="{FF2B5EF4-FFF2-40B4-BE49-F238E27FC236}">
                            <a16:creationId xmlns:a16="http://schemas.microsoft.com/office/drawing/2014/main" id="{96C0E511-F38F-457D-A27F-C08777AE8356}"/>
                          </a:ext>
                        </a:extLst>
                      </p:cNvPr>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704C5668-4AAE-493E-AB4B-E26C6DEF2C85}"/>
              </a:ext>
            </a:extLst>
          </p:cNvPr>
          <p:cNvSpPr/>
          <p:nvPr>
            <p:custDataLst>
              <p:tags r:id="rId2"/>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rial" panose="020B0604020202020204" pitchFamily="34" charset="0"/>
              <a:cs typeface="Arial" panose="020B0604020202020204" pitchFamily="34" charset="0"/>
              <a:sym typeface="Arial" panose="020B0604020202020204" pitchFamily="34" charset="0"/>
            </a:endParaRPr>
          </a:p>
        </p:txBody>
      </p:sp>
      <p:sp>
        <p:nvSpPr>
          <p:cNvPr id="3" name="Titel 2">
            <a:extLst>
              <a:ext uri="{FF2B5EF4-FFF2-40B4-BE49-F238E27FC236}">
                <a16:creationId xmlns:a16="http://schemas.microsoft.com/office/drawing/2014/main" id="{DADBC550-C32C-44CF-98CF-86E220087C06}"/>
              </a:ext>
            </a:extLst>
          </p:cNvPr>
          <p:cNvSpPr>
            <a:spLocks noGrp="1"/>
          </p:cNvSpPr>
          <p:nvPr>
            <p:ph type="title"/>
          </p:nvPr>
        </p:nvSpPr>
        <p:spPr/>
        <p:txBody>
          <a:bodyPr vert="horz"/>
          <a:lstStyle/>
          <a:p>
            <a:r>
              <a:rPr lang="en-US" dirty="0"/>
              <a:t>Competitive analysis: effective taste-masking for quinine HCl</a:t>
            </a:r>
          </a:p>
        </p:txBody>
      </p:sp>
      <p:sp>
        <p:nvSpPr>
          <p:cNvPr id="5" name="Foliennummernplatzhalter 4">
            <a:extLst>
              <a:ext uri="{FF2B5EF4-FFF2-40B4-BE49-F238E27FC236}">
                <a16:creationId xmlns:a16="http://schemas.microsoft.com/office/drawing/2014/main" id="{C47EB140-9C1F-4787-9F51-97269CA38C68}"/>
              </a:ext>
            </a:extLst>
          </p:cNvPr>
          <p:cNvSpPr>
            <a:spLocks noGrp="1"/>
          </p:cNvSpPr>
          <p:nvPr>
            <p:ph type="sldNum" sz="quarter" idx="4"/>
          </p:nvPr>
        </p:nvSpPr>
        <p:spPr>
          <a:xfrm>
            <a:off x="225167" y="6555283"/>
            <a:ext cx="288200" cy="151200"/>
          </a:xfrm>
          <a:prstGeom prst="rect">
            <a:avLst/>
          </a:prstGeom>
        </p:spPr>
        <p:txBody>
          <a:bodyPr lIns="0" tIns="0" rIns="0" bIns="0"/>
          <a:lstStyle>
            <a:defPPr>
              <a:defRPr lang="de-DE"/>
            </a:defPPr>
            <a:lvl1pPr marL="0" algn="l" defTabSz="914400" rtl="0" eaLnBrk="1" latinLnBrk="0" hangingPunct="1">
              <a:defRPr sz="675"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2EA1D04-CA53-4DE3-84A8-2B63E41036C9}" type="slidenum">
              <a:rPr lang="en-US" smtClean="0"/>
              <a:pPr>
                <a:defRPr/>
              </a:pPr>
              <a:t>74</a:t>
            </a:fld>
            <a:endParaRPr lang="en-US" sz="675" b="1" dirty="0">
              <a:solidFill>
                <a:srgbClr val="000000"/>
              </a:solidFill>
              <a:latin typeface="Arial" panose="020B0604020202020204"/>
              <a:cs typeface="Arial"/>
            </a:endParaRPr>
          </a:p>
        </p:txBody>
      </p:sp>
      <p:sp>
        <p:nvSpPr>
          <p:cNvPr id="19" name="Textplatzhalter 2">
            <a:extLst>
              <a:ext uri="{FF2B5EF4-FFF2-40B4-BE49-F238E27FC236}">
                <a16:creationId xmlns:a16="http://schemas.microsoft.com/office/drawing/2014/main" id="{7C368BDB-5C24-4550-8975-AF4BC5D167EC}"/>
              </a:ext>
            </a:extLst>
          </p:cNvPr>
          <p:cNvSpPr txBox="1">
            <a:spLocks/>
          </p:cNvSpPr>
          <p:nvPr/>
        </p:nvSpPr>
        <p:spPr>
          <a:xfrm>
            <a:off x="1589440" y="1469220"/>
            <a:ext cx="5074050" cy="662746"/>
          </a:xfrm>
          <a:prstGeom prst="rect">
            <a:avLst/>
          </a:prstGeom>
        </p:spPr>
        <p:txBody>
          <a:bodyPr vert="horz" wrap="square" lIns="0" tIns="0" rIns="0" bIns="0" rtlCol="0" anchor="t">
            <a:spAutoFit/>
          </a:bodyPr>
          <a:lstStyle>
            <a:lvl1pPr marL="357188" marR="0" indent="-357188" algn="l" defTabSz="685891" rtl="0" eaLnBrk="1" fontAlgn="base" latinLnBrk="0" hangingPunct="1">
              <a:lnSpc>
                <a:spcPct val="110000"/>
              </a:lnSpc>
              <a:spcBef>
                <a:spcPts val="1800"/>
              </a:spcBef>
              <a:spcAft>
                <a:spcPct val="0"/>
              </a:spcAft>
              <a:buClr>
                <a:schemeClr val="accent1"/>
              </a:buClr>
              <a:buSzTx/>
              <a:buFont typeface="Wingdings" panose="05000000000000000000" pitchFamily="2" charset="2"/>
              <a:buChar char="n"/>
              <a:tabLst/>
              <a:defRPr sz="2000" b="0" i="0" kern="1200" baseline="0">
                <a:solidFill>
                  <a:schemeClr val="tx1"/>
                </a:solidFill>
                <a:latin typeface="Arial" panose="020B0604020202020204" pitchFamily="34" charset="0"/>
                <a:ea typeface="+mn-ea"/>
                <a:cs typeface="+mn-cs"/>
              </a:defRPr>
            </a:lvl1pPr>
            <a:lvl2pPr marL="719138" marR="0" indent="-361950" algn="l" defTabSz="685891" rtl="0" eaLnBrk="1" fontAlgn="base" latinLnBrk="0" hangingPunct="1">
              <a:lnSpc>
                <a:spcPct val="110000"/>
              </a:lnSpc>
              <a:spcBef>
                <a:spcPts val="600"/>
              </a:spcBef>
              <a:spcAft>
                <a:spcPct val="0"/>
              </a:spcAft>
              <a:buClr>
                <a:srgbClr val="004A96"/>
              </a:buClr>
              <a:buSzPct val="90000"/>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6325" marR="0" indent="-357188" algn="l" defTabSz="685891" rtl="0" eaLnBrk="1" fontAlgn="base" latinLnBrk="0" hangingPunct="1">
              <a:lnSpc>
                <a:spcPct val="110000"/>
              </a:lnSpc>
              <a:spcBef>
                <a:spcPts val="300"/>
              </a:spcBef>
              <a:spcAft>
                <a:spcPct val="0"/>
              </a:spcAft>
              <a:buClr>
                <a:srgbClr val="004A96"/>
              </a:buClr>
              <a:buSzPct val="95000"/>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3513" marR="0" indent="-357188" algn="l" defTabSz="685891" rtl="0" eaLnBrk="1" fontAlgn="base" latinLnBrk="0" hangingPunct="1">
              <a:lnSpc>
                <a:spcPct val="110000"/>
              </a:lnSpc>
              <a:spcBef>
                <a:spcPct val="0"/>
              </a:spcBef>
              <a:spcAft>
                <a:spcPct val="0"/>
              </a:spcAft>
              <a:buClr>
                <a:srgbClr val="004A96"/>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2177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1560600" indent="-199800" algn="l" defTabSz="6858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1903500" indent="-199800" algn="l" defTabSz="6858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246400" indent="-199800" algn="l" defTabSz="6858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2589300" indent="-199800" algn="l" defTabSz="6858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marL="0" indent="0" algn="ctr" fontAlgn="auto">
              <a:spcBef>
                <a:spcPts val="0"/>
              </a:spcBef>
              <a:spcAft>
                <a:spcPts val="600"/>
              </a:spcAft>
              <a:buClr>
                <a:srgbClr val="004A96"/>
              </a:buClr>
              <a:buNone/>
              <a:defRPr/>
            </a:pPr>
            <a:r>
              <a:rPr lang="en-US" sz="1800" b="1" dirty="0">
                <a:solidFill>
                  <a:srgbClr val="000000"/>
                </a:solidFill>
                <a:cs typeface="Arial" panose="020B0604020202020204" pitchFamily="34" charset="0"/>
              </a:rPr>
              <a:t>Dissolution of quinine HCl tablets at pH 6.8</a:t>
            </a:r>
          </a:p>
          <a:p>
            <a:pPr algn="ctr" fontAlgn="auto">
              <a:spcBef>
                <a:spcPts val="0"/>
              </a:spcBef>
              <a:spcAft>
                <a:spcPts val="600"/>
              </a:spcAft>
              <a:buClr>
                <a:srgbClr val="004A96"/>
              </a:buClr>
              <a:buFont typeface="Wingdings"/>
              <a:buChar char="n"/>
              <a:defRPr/>
            </a:pPr>
            <a:endParaRPr lang="en-US" sz="1800" b="1" dirty="0">
              <a:solidFill>
                <a:srgbClr val="000000"/>
              </a:solidFill>
              <a:cs typeface="Arial" panose="020B0604020202020204" pitchFamily="34" charset="0"/>
            </a:endParaRPr>
          </a:p>
        </p:txBody>
      </p:sp>
      <p:sp>
        <p:nvSpPr>
          <p:cNvPr id="38" name="Textfeld 37">
            <a:extLst>
              <a:ext uri="{FF2B5EF4-FFF2-40B4-BE49-F238E27FC236}">
                <a16:creationId xmlns:a16="http://schemas.microsoft.com/office/drawing/2014/main" id="{7A187D76-5283-4A03-89B5-3877B8673AB6}"/>
              </a:ext>
            </a:extLst>
          </p:cNvPr>
          <p:cNvSpPr txBox="1"/>
          <p:nvPr/>
        </p:nvSpPr>
        <p:spPr>
          <a:xfrm>
            <a:off x="9064740" y="4749488"/>
            <a:ext cx="2433743" cy="461665"/>
          </a:xfrm>
          <a:prstGeom prst="rect">
            <a:avLst/>
          </a:prstGeom>
          <a:noFill/>
        </p:spPr>
        <p:txBody>
          <a:bodyPr wrap="square" rtlCol="0">
            <a:spAutoFit/>
          </a:bodyPr>
          <a:lstStyle/>
          <a:p>
            <a:pPr algn="r">
              <a:defRPr/>
            </a:pPr>
            <a:r>
              <a:rPr lang="en-US" sz="1200" dirty="0">
                <a:solidFill>
                  <a:srgbClr val="000000"/>
                </a:solidFill>
                <a:latin typeface="Arial" panose="020B0604020202020204" pitchFamily="34" charset="0"/>
                <a:cs typeface="Arial" panose="020B0604020202020204" pitchFamily="34" charset="0"/>
              </a:rPr>
              <a:t>Tablet: 330 mg / 9 mm</a:t>
            </a:r>
          </a:p>
          <a:p>
            <a:pPr algn="r">
              <a:defRPr/>
            </a:pPr>
            <a:r>
              <a:rPr lang="en-US" sz="1200" dirty="0">
                <a:solidFill>
                  <a:srgbClr val="000000"/>
                </a:solidFill>
                <a:latin typeface="Arial" panose="020B0604020202020204" pitchFamily="34" charset="0"/>
                <a:cs typeface="Arial" panose="020B0604020202020204" pitchFamily="34" charset="0"/>
              </a:rPr>
              <a:t>Coating level: 4 mg/cm</a:t>
            </a:r>
            <a:r>
              <a:rPr lang="en-US" sz="1200" baseline="30000" dirty="0">
                <a:solidFill>
                  <a:srgbClr val="000000"/>
                </a:solidFill>
                <a:latin typeface="Arial" panose="020B0604020202020204" pitchFamily="34" charset="0"/>
                <a:cs typeface="Arial" panose="020B0604020202020204" pitchFamily="34" charset="0"/>
              </a:rPr>
              <a:t>2</a:t>
            </a:r>
            <a:endParaRPr lang="en-US" sz="1200" dirty="0">
              <a:solidFill>
                <a:srgbClr val="000000"/>
              </a:solidFill>
              <a:latin typeface="Arial" panose="020B0604020202020204" pitchFamily="34" charset="0"/>
              <a:cs typeface="Arial" panose="020B0604020202020204" pitchFamily="34" charset="0"/>
            </a:endParaRPr>
          </a:p>
        </p:txBody>
      </p:sp>
      <p:sp>
        <p:nvSpPr>
          <p:cNvPr id="39" name="Rechteck 38">
            <a:extLst>
              <a:ext uri="{FF2B5EF4-FFF2-40B4-BE49-F238E27FC236}">
                <a16:creationId xmlns:a16="http://schemas.microsoft.com/office/drawing/2014/main" id="{1BF04AA0-B670-4A6C-BD7E-F3ABA87C0D74}"/>
              </a:ext>
            </a:extLst>
          </p:cNvPr>
          <p:cNvSpPr/>
          <p:nvPr/>
        </p:nvSpPr>
        <p:spPr>
          <a:xfrm>
            <a:off x="7569215" y="5304387"/>
            <a:ext cx="2846162" cy="246221"/>
          </a:xfrm>
          <a:prstGeom prst="rect">
            <a:avLst/>
          </a:prstGeom>
        </p:spPr>
        <p:txBody>
          <a:bodyPr wrap="square">
            <a:spAutoFit/>
          </a:bodyPr>
          <a:lstStyle/>
          <a:p>
            <a:pPr>
              <a:defRPr sz="1000"/>
            </a:pPr>
            <a:endParaRPr lang="en-US" sz="1000" dirty="0">
              <a:solidFill>
                <a:srgbClr val="000000"/>
              </a:solidFill>
              <a:latin typeface="Arial" panose="020B0604020202020204" pitchFamily="34" charset="0"/>
              <a:cs typeface="Arial" panose="020B0604020202020204" pitchFamily="34" charset="0"/>
            </a:endParaRPr>
          </a:p>
        </p:txBody>
      </p:sp>
      <p:sp>
        <p:nvSpPr>
          <p:cNvPr id="2" name="Rechteck 1">
            <a:extLst>
              <a:ext uri="{FF2B5EF4-FFF2-40B4-BE49-F238E27FC236}">
                <a16:creationId xmlns:a16="http://schemas.microsoft.com/office/drawing/2014/main" id="{4CCEBFC7-42C3-42F8-9E24-6983B31F48BE}"/>
              </a:ext>
            </a:extLst>
          </p:cNvPr>
          <p:cNvSpPr/>
          <p:nvPr/>
        </p:nvSpPr>
        <p:spPr>
          <a:xfrm>
            <a:off x="701348" y="5606831"/>
            <a:ext cx="10772503" cy="373436"/>
          </a:xfrm>
          <a:prstGeom prst="rect">
            <a:avLst/>
          </a:prstGeom>
        </p:spPr>
        <p:txBody>
          <a:bodyPr wrap="square">
            <a:spAutoFit/>
          </a:bodyPr>
          <a:lstStyle/>
          <a:p>
            <a:pPr marL="285750" indent="-285750" algn="ctr">
              <a:lnSpc>
                <a:spcPct val="110000"/>
              </a:lnSpc>
              <a:spcAft>
                <a:spcPts val="600"/>
              </a:spcAft>
              <a:buClr>
                <a:schemeClr val="accent1"/>
              </a:buClr>
              <a:buFont typeface="Arial" panose="020B0604020202020204" pitchFamily="34" charset="0"/>
              <a:buChar char="■"/>
              <a:defRPr/>
            </a:pPr>
            <a:r>
              <a:rPr lang="en-US" dirty="0">
                <a:latin typeface="Arial" panose="020B0604020202020204" pitchFamily="34" charset="0"/>
                <a:cs typeface="Arial" panose="020B0604020202020204" pitchFamily="34" charset="0"/>
              </a:rPr>
              <a:t>Kollicoat</a:t>
            </a:r>
            <a:r>
              <a:rPr lang="en-US" baseline="30000" dirty="0">
                <a:latin typeface="Arial" panose="020B0604020202020204" pitchFamily="34" charset="0"/>
                <a:cs typeface="Arial" panose="020B0604020202020204" pitchFamily="34" charset="0"/>
              </a:rPr>
              <a:t>®</a:t>
            </a:r>
            <a:r>
              <a:rPr lang="en-US" dirty="0">
                <a:latin typeface="Arial" panose="020B0604020202020204" pitchFamily="34" charset="0"/>
                <a:cs typeface="Arial" panose="020B0604020202020204" pitchFamily="34" charset="0"/>
              </a:rPr>
              <a:t> Smartseal 30 D gives superior protection at pH 6.8 than other known protective polymers</a:t>
            </a:r>
          </a:p>
        </p:txBody>
      </p:sp>
      <p:sp>
        <p:nvSpPr>
          <p:cNvPr id="6" name="Rechteck 5">
            <a:extLst>
              <a:ext uri="{FF2B5EF4-FFF2-40B4-BE49-F238E27FC236}">
                <a16:creationId xmlns:a16="http://schemas.microsoft.com/office/drawing/2014/main" id="{2CF5BA2C-4AE6-4693-BCED-526DEEE0FC4A}"/>
              </a:ext>
            </a:extLst>
          </p:cNvPr>
          <p:cNvSpPr/>
          <p:nvPr/>
        </p:nvSpPr>
        <p:spPr>
          <a:xfrm>
            <a:off x="6397162" y="2089571"/>
            <a:ext cx="721672" cy="310919"/>
          </a:xfrm>
          <a:prstGeom prst="rect">
            <a:avLst/>
          </a:prstGeom>
        </p:spPr>
        <p:txBody>
          <a:bodyPr wrap="none">
            <a:spAutoFit/>
          </a:bodyPr>
          <a:lstStyle/>
          <a:p>
            <a:pPr defTabSz="685891">
              <a:lnSpc>
                <a:spcPct val="110000"/>
              </a:lnSpc>
              <a:spcAft>
                <a:spcPts val="600"/>
              </a:spcAft>
              <a:buClr>
                <a:srgbClr val="004A96"/>
              </a:buClr>
              <a:defRPr/>
            </a:pPr>
            <a:r>
              <a:rPr lang="en-US" sz="1400" b="1" dirty="0">
                <a:solidFill>
                  <a:srgbClr val="000000"/>
                </a:solidFill>
                <a:latin typeface="Arial" panose="020B0604020202020204" pitchFamily="34" charset="0"/>
                <a:cs typeface="Arial" panose="020B0604020202020204" pitchFamily="34" charset="0"/>
              </a:rPr>
              <a:t>pH 6.8</a:t>
            </a:r>
          </a:p>
        </p:txBody>
      </p:sp>
      <p:graphicFrame>
        <p:nvGraphicFramePr>
          <p:cNvPr id="16" name="Objekt 15">
            <a:extLst>
              <a:ext uri="{FF2B5EF4-FFF2-40B4-BE49-F238E27FC236}">
                <a16:creationId xmlns:a16="http://schemas.microsoft.com/office/drawing/2014/main" id="{1084FECB-A8FA-4879-BB05-F0D5A3DC05FC}"/>
              </a:ext>
            </a:extLst>
          </p:cNvPr>
          <p:cNvGraphicFramePr>
            <a:graphicFrameLocks noChangeAspect="1"/>
          </p:cNvGraphicFramePr>
          <p:nvPr>
            <p:extLst>
              <p:ext uri="{D42A27DB-BD31-4B8C-83A1-F6EECF244321}">
                <p14:modId xmlns:p14="http://schemas.microsoft.com/office/powerpoint/2010/main" val="1284220604"/>
              </p:ext>
            </p:extLst>
          </p:nvPr>
        </p:nvGraphicFramePr>
        <p:xfrm>
          <a:off x="979488" y="1781175"/>
          <a:ext cx="9390062" cy="3605213"/>
        </p:xfrm>
        <a:graphic>
          <a:graphicData uri="http://schemas.openxmlformats.org/presentationml/2006/ole">
            <mc:AlternateContent xmlns:mc="http://schemas.openxmlformats.org/markup-compatibility/2006">
              <mc:Choice xmlns:v="urn:schemas-microsoft-com:vml" Requires="v">
                <p:oleObj name="Worksheet" r:id="rId7" imgW="8315357" imgH="3181401" progId="Excel.Sheet.8">
                  <p:embed/>
                </p:oleObj>
              </mc:Choice>
              <mc:Fallback>
                <p:oleObj name="Worksheet" r:id="rId7" imgW="8315357" imgH="3181401" progId="Excel.Sheet.8">
                  <p:embed/>
                  <p:pic>
                    <p:nvPicPr>
                      <p:cNvPr id="16" name="Objekt 15">
                        <a:extLst>
                          <a:ext uri="{FF2B5EF4-FFF2-40B4-BE49-F238E27FC236}">
                            <a16:creationId xmlns:a16="http://schemas.microsoft.com/office/drawing/2014/main" id="{1084FECB-A8FA-4879-BB05-F0D5A3DC05FC}"/>
                          </a:ext>
                        </a:extLst>
                      </p:cNvPr>
                      <p:cNvPicPr>
                        <a:picLocks noChangeAspect="1" noChangeArrowheads="1"/>
                      </p:cNvPicPr>
                      <p:nvPr/>
                    </p:nvPicPr>
                    <p:blipFill>
                      <a:blip r:embed="rId8"/>
                      <a:srcRect/>
                      <a:stretch>
                        <a:fillRect/>
                      </a:stretch>
                    </p:blipFill>
                    <p:spPr bwMode="auto">
                      <a:xfrm>
                        <a:off x="979488" y="1781175"/>
                        <a:ext cx="9390062" cy="3605213"/>
                      </a:xfrm>
                      <a:prstGeom prst="rect">
                        <a:avLst/>
                      </a:prstGeom>
                      <a:noFill/>
                      <a:ln>
                        <a:noFill/>
                      </a:ln>
                    </p:spPr>
                  </p:pic>
                </p:oleObj>
              </mc:Fallback>
            </mc:AlternateContent>
          </a:graphicData>
        </a:graphic>
      </p:graphicFrame>
      <p:sp>
        <p:nvSpPr>
          <p:cNvPr id="8" name="TextBox 7">
            <a:extLst>
              <a:ext uri="{FF2B5EF4-FFF2-40B4-BE49-F238E27FC236}">
                <a16:creationId xmlns:a16="http://schemas.microsoft.com/office/drawing/2014/main" id="{E0A90649-3A8F-4489-8ABD-3AC523A72E90}"/>
              </a:ext>
            </a:extLst>
          </p:cNvPr>
          <p:cNvSpPr txBox="1"/>
          <p:nvPr/>
        </p:nvSpPr>
        <p:spPr>
          <a:xfrm>
            <a:off x="7093434" y="3596481"/>
            <a:ext cx="2050566" cy="281103"/>
          </a:xfrm>
          <a:prstGeom prst="rect">
            <a:avLst/>
          </a:prstGeom>
          <a:solidFill>
            <a:schemeClr val="bg1"/>
          </a:solidFill>
          <a:ln>
            <a:noFill/>
          </a:ln>
        </p:spPr>
        <p:txBody>
          <a:bodyPr vert="horz" wrap="square" lIns="0" tIns="0" rIns="0" bIns="0" numCol="1" rtlCol="0" anchor="t" anchorCtr="0" compatLnSpc="1">
            <a:prstTxWarp prst="textNoShape">
              <a:avLst/>
            </a:prstTxWarp>
            <a:spAutoFit/>
          </a:bodyPr>
          <a:lstStyle/>
          <a:p>
            <a:pPr>
              <a:lnSpc>
                <a:spcPct val="110000"/>
              </a:lnSpc>
              <a:buClr>
                <a:srgbClr val="9BD4EB"/>
              </a:buClr>
            </a:pPr>
            <a:r>
              <a:rPr lang="en-US" kern="0" dirty="0">
                <a:sym typeface="Arial"/>
              </a:rPr>
              <a:t>E PO competitor </a:t>
            </a:r>
          </a:p>
        </p:txBody>
      </p:sp>
      <p:sp>
        <p:nvSpPr>
          <p:cNvPr id="7" name="Footer Placeholder 11">
            <a:extLst>
              <a:ext uri="{FF2B5EF4-FFF2-40B4-BE49-F238E27FC236}">
                <a16:creationId xmlns:a16="http://schemas.microsoft.com/office/drawing/2014/main" id="{5F5912E8-FB4B-89B8-5641-BDDA7BB269B3}"/>
              </a:ext>
            </a:extLst>
          </p:cNvPr>
          <p:cNvSpPr txBox="1">
            <a:spLocks/>
          </p:cNvSpPr>
          <p:nvPr/>
        </p:nvSpPr>
        <p:spPr>
          <a:xfrm>
            <a:off x="1441361" y="661318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239106603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2A62BA02-8575-4CB7-AEBA-E97B80ED4A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8" name="Object 17" hidden="1">
                        <a:extLst>
                          <a:ext uri="{FF2B5EF4-FFF2-40B4-BE49-F238E27FC236}">
                            <a16:creationId xmlns:a16="http://schemas.microsoft.com/office/drawing/2014/main" id="{2A62BA02-8575-4CB7-AEBA-E97B80ED4A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5DC6CE-837D-4C76-B953-3136EDC989F3}"/>
              </a:ext>
            </a:extLst>
          </p:cNvPr>
          <p:cNvSpPr>
            <a:spLocks noGrp="1"/>
          </p:cNvSpPr>
          <p:nvPr>
            <p:ph type="title"/>
          </p:nvPr>
        </p:nvSpPr>
        <p:spPr>
          <a:xfrm>
            <a:off x="227043" y="276417"/>
            <a:ext cx="11737914" cy="853200"/>
          </a:xfrm>
        </p:spPr>
        <p:txBody>
          <a:bodyPr vert="horz"/>
          <a:lstStyle/>
          <a:p>
            <a:r>
              <a:rPr lang="en-US" dirty="0"/>
              <a:t>Chemical structures </a:t>
            </a:r>
          </a:p>
        </p:txBody>
      </p:sp>
      <p:pic>
        <p:nvPicPr>
          <p:cNvPr id="5" name="Picture 3">
            <a:extLst>
              <a:ext uri="{FF2B5EF4-FFF2-40B4-BE49-F238E27FC236}">
                <a16:creationId xmlns:a16="http://schemas.microsoft.com/office/drawing/2014/main" id="{C1A3010F-5233-47AA-8083-A13DBDFF1275}"/>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592466" y="1415311"/>
            <a:ext cx="4297981" cy="2202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4">
            <a:extLst>
              <a:ext uri="{FF2B5EF4-FFF2-40B4-BE49-F238E27FC236}">
                <a16:creationId xmlns:a16="http://schemas.microsoft.com/office/drawing/2014/main" id="{E8AEAF68-D707-4EE5-9142-72550378702F}"/>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591844" y="1415311"/>
            <a:ext cx="3788867" cy="28733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Box 5">
            <a:extLst>
              <a:ext uri="{FF2B5EF4-FFF2-40B4-BE49-F238E27FC236}">
                <a16:creationId xmlns:a16="http://schemas.microsoft.com/office/drawing/2014/main" id="{7B7768BA-3224-4EE9-A670-203C5322C5A6}"/>
              </a:ext>
            </a:extLst>
          </p:cNvPr>
          <p:cNvSpPr txBox="1">
            <a:spLocks noChangeArrowheads="1"/>
          </p:cNvSpPr>
          <p:nvPr/>
        </p:nvSpPr>
        <p:spPr bwMode="auto">
          <a:xfrm>
            <a:off x="1913992" y="1066964"/>
            <a:ext cx="299152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de-DE" b="1" i="0" u="none" strike="noStrike" kern="1200" cap="none" spc="0" normalizeH="0" baseline="0" noProof="0" dirty="0">
                <a:ln>
                  <a:noFill/>
                </a:ln>
                <a:solidFill>
                  <a:srgbClr val="000000"/>
                </a:solidFill>
                <a:effectLst/>
                <a:uLnTx/>
                <a:uFillTx/>
                <a:latin typeface="Arial" panose="020B0604020202020204"/>
                <a:cs typeface="Arial"/>
              </a:rPr>
              <a:t>Kollicoat</a:t>
            </a:r>
            <a:r>
              <a:rPr kumimoji="0" lang="en-US" altLang="de-DE" b="1" i="0" u="none" strike="noStrike" kern="1200" cap="none" spc="0" normalizeH="0" baseline="30000" noProof="0" dirty="0">
                <a:ln>
                  <a:noFill/>
                </a:ln>
                <a:solidFill>
                  <a:srgbClr val="000000"/>
                </a:solidFill>
                <a:effectLst/>
                <a:uLnTx/>
                <a:uFillTx/>
                <a:latin typeface="Arial" panose="020B0604020202020204"/>
                <a:cs typeface="Arial"/>
              </a:rPr>
              <a:t>®</a:t>
            </a:r>
            <a:r>
              <a:rPr kumimoji="0" lang="en-US" altLang="de-DE" b="1" i="0" u="none" strike="noStrike" kern="1200" cap="none" spc="0" normalizeH="0" baseline="0" noProof="0" dirty="0">
                <a:ln>
                  <a:noFill/>
                </a:ln>
                <a:solidFill>
                  <a:srgbClr val="000000"/>
                </a:solidFill>
                <a:effectLst/>
                <a:uLnTx/>
                <a:uFillTx/>
                <a:latin typeface="Arial" panose="020B0604020202020204"/>
                <a:cs typeface="Arial"/>
              </a:rPr>
              <a:t> Smartseal 30 D</a:t>
            </a:r>
          </a:p>
        </p:txBody>
      </p:sp>
      <p:sp>
        <p:nvSpPr>
          <p:cNvPr id="8" name="Text Box 6">
            <a:extLst>
              <a:ext uri="{FF2B5EF4-FFF2-40B4-BE49-F238E27FC236}">
                <a16:creationId xmlns:a16="http://schemas.microsoft.com/office/drawing/2014/main" id="{B816E12E-6AEA-4058-B8E9-4CA4CE39D5BC}"/>
              </a:ext>
            </a:extLst>
          </p:cNvPr>
          <p:cNvSpPr txBox="1">
            <a:spLocks noChangeArrowheads="1"/>
          </p:cNvSpPr>
          <p:nvPr/>
        </p:nvSpPr>
        <p:spPr bwMode="auto">
          <a:xfrm>
            <a:off x="8293523" y="1065490"/>
            <a:ext cx="196720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de-DE" b="1" i="0" u="none" strike="noStrike" kern="1200" cap="none" spc="0" normalizeH="0" baseline="0" noProof="0" dirty="0">
                <a:ln>
                  <a:noFill/>
                </a:ln>
                <a:solidFill>
                  <a:srgbClr val="000000"/>
                </a:solidFill>
                <a:effectLst/>
                <a:uLnTx/>
                <a:uFillTx/>
                <a:latin typeface="Arial" panose="020B0604020202020204"/>
                <a:cs typeface="Arial"/>
              </a:rPr>
              <a:t>Main competitor</a:t>
            </a:r>
          </a:p>
        </p:txBody>
      </p:sp>
      <p:sp>
        <p:nvSpPr>
          <p:cNvPr id="11" name="Oval 9">
            <a:extLst>
              <a:ext uri="{FF2B5EF4-FFF2-40B4-BE49-F238E27FC236}">
                <a16:creationId xmlns:a16="http://schemas.microsoft.com/office/drawing/2014/main" id="{922A9692-8F91-4DF2-8E7A-F566F0E1E4D8}"/>
              </a:ext>
            </a:extLst>
          </p:cNvPr>
          <p:cNvSpPr>
            <a:spLocks noChangeArrowheads="1"/>
          </p:cNvSpPr>
          <p:nvPr/>
        </p:nvSpPr>
        <p:spPr bwMode="auto">
          <a:xfrm>
            <a:off x="3226767" y="3569663"/>
            <a:ext cx="1440258" cy="743492"/>
          </a:xfrm>
          <a:prstGeom prst="ellipse">
            <a:avLst/>
          </a:prstGeom>
          <a:noFill/>
          <a:ln w="28575">
            <a:solidFill>
              <a:schemeClr val="accent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12" name="Oval 10">
            <a:extLst>
              <a:ext uri="{FF2B5EF4-FFF2-40B4-BE49-F238E27FC236}">
                <a16:creationId xmlns:a16="http://schemas.microsoft.com/office/drawing/2014/main" id="{0B2A223E-0675-497C-95DB-CF020E0FBBF2}"/>
              </a:ext>
            </a:extLst>
          </p:cNvPr>
          <p:cNvSpPr>
            <a:spLocks noChangeArrowheads="1"/>
          </p:cNvSpPr>
          <p:nvPr/>
        </p:nvSpPr>
        <p:spPr bwMode="auto">
          <a:xfrm>
            <a:off x="6811291" y="2344171"/>
            <a:ext cx="1200288" cy="1225492"/>
          </a:xfrm>
          <a:prstGeom prst="ellipse">
            <a:avLst/>
          </a:prstGeom>
          <a:noFill/>
          <a:ln w="28575">
            <a:solidFill>
              <a:schemeClr val="accent1"/>
            </a:solidFill>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grpSp>
        <p:nvGrpSpPr>
          <p:cNvPr id="16" name="Group 15">
            <a:extLst>
              <a:ext uri="{FF2B5EF4-FFF2-40B4-BE49-F238E27FC236}">
                <a16:creationId xmlns:a16="http://schemas.microsoft.com/office/drawing/2014/main" id="{E30400D7-B167-436A-B325-2886E2B77E4E}"/>
              </a:ext>
            </a:extLst>
          </p:cNvPr>
          <p:cNvGrpSpPr/>
          <p:nvPr/>
        </p:nvGrpSpPr>
        <p:grpSpPr>
          <a:xfrm>
            <a:off x="1944082" y="4594867"/>
            <a:ext cx="9734417" cy="876890"/>
            <a:chOff x="1362077" y="4543676"/>
            <a:chExt cx="7136420" cy="876890"/>
          </a:xfrm>
        </p:grpSpPr>
        <p:sp>
          <p:nvSpPr>
            <p:cNvPr id="9" name="Rectangle 7">
              <a:extLst>
                <a:ext uri="{FF2B5EF4-FFF2-40B4-BE49-F238E27FC236}">
                  <a16:creationId xmlns:a16="http://schemas.microsoft.com/office/drawing/2014/main" id="{572745BF-F682-4A71-8324-0CF5C6B38119}"/>
                </a:ext>
              </a:extLst>
            </p:cNvPr>
            <p:cNvSpPr>
              <a:spLocks noChangeArrowheads="1"/>
            </p:cNvSpPr>
            <p:nvPr/>
          </p:nvSpPr>
          <p:spPr bwMode="auto">
            <a:xfrm>
              <a:off x="1362077" y="4543676"/>
              <a:ext cx="2273377" cy="504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342900" indent="-342900">
                <a:lnSpc>
                  <a:spcPct val="110000"/>
                </a:lnSpc>
                <a:spcAft>
                  <a:spcPct val="50000"/>
                </a:spcAft>
                <a:buClr>
                  <a:schemeClr val="accent1"/>
                </a:buClr>
                <a:buFont typeface="Wingdings" panose="05000000000000000000" pitchFamily="2" charset="2"/>
                <a:buChar char="n"/>
                <a:defRPr>
                  <a:solidFill>
                    <a:schemeClr val="tx1"/>
                  </a:solidFill>
                  <a:latin typeface="Arial" panose="020B0604020202020204" pitchFamily="34" charset="0"/>
                  <a:cs typeface="Arial" panose="020B0604020202020204" pitchFamily="34" charset="0"/>
                </a:defRPr>
              </a:lvl1pPr>
              <a:lvl2pPr marL="736600" indent="-393700">
                <a:lnSpc>
                  <a:spcPct val="110000"/>
                </a:lnSpc>
                <a:spcAft>
                  <a:spcPct val="50000"/>
                </a:spcAft>
                <a:buClr>
                  <a:schemeClr val="accent1"/>
                </a:buClr>
                <a:buFont typeface="Wingdings" panose="05000000000000000000" pitchFamily="2" charset="2"/>
                <a:buChar char="n"/>
                <a:defRPr>
                  <a:solidFill>
                    <a:schemeClr val="tx1"/>
                  </a:solidFill>
                  <a:latin typeface="Arial" panose="020B0604020202020204" pitchFamily="34" charset="0"/>
                  <a:cs typeface="Arial" panose="020B0604020202020204" pitchFamily="34" charset="0"/>
                </a:defRPr>
              </a:lvl2pPr>
              <a:lvl3pPr marL="1130300" indent="-393700">
                <a:lnSpc>
                  <a:spcPct val="110000"/>
                </a:lnSpc>
                <a:spcAft>
                  <a:spcPct val="50000"/>
                </a:spcAft>
                <a:buClr>
                  <a:schemeClr val="tx1"/>
                </a:buClr>
                <a:buChar char="–"/>
                <a:defRPr>
                  <a:solidFill>
                    <a:schemeClr val="tx1"/>
                  </a:solidFill>
                  <a:latin typeface="Arial" panose="020B0604020202020204" pitchFamily="34" charset="0"/>
                  <a:cs typeface="Arial" panose="020B0604020202020204" pitchFamily="34" charset="0"/>
                </a:defRPr>
              </a:lvl3pPr>
              <a:lvl4pPr marL="1524000" indent="-393700">
                <a:lnSpc>
                  <a:spcPct val="110000"/>
                </a:lnSpc>
                <a:spcAft>
                  <a:spcPct val="50000"/>
                </a:spcAft>
                <a:buClr>
                  <a:schemeClr val="tx1"/>
                </a:buClr>
                <a:buChar char="–"/>
                <a:defRPr>
                  <a:solidFill>
                    <a:schemeClr val="tx1"/>
                  </a:solidFill>
                  <a:latin typeface="Arial" panose="020B0604020202020204" pitchFamily="34" charset="0"/>
                  <a:cs typeface="Arial" panose="020B0604020202020204" pitchFamily="34" charset="0"/>
                </a:defRPr>
              </a:lvl4pPr>
              <a:lvl5pPr marL="1917700" indent="-393700">
                <a:lnSpc>
                  <a:spcPct val="110000"/>
                </a:lnSpc>
                <a:spcAft>
                  <a:spcPct val="50000"/>
                </a:spcAft>
                <a:buClr>
                  <a:schemeClr val="tx1"/>
                </a:buClr>
                <a:buChar char="–"/>
                <a:defRPr>
                  <a:solidFill>
                    <a:schemeClr val="tx1"/>
                  </a:solidFill>
                  <a:latin typeface="Arial" panose="020B0604020202020204" pitchFamily="34" charset="0"/>
                  <a:cs typeface="Arial" panose="020B0604020202020204" pitchFamily="34" charset="0"/>
                </a:defRPr>
              </a:lvl5pPr>
              <a:lvl6pPr marL="2374900" indent="-393700" fontAlgn="base">
                <a:lnSpc>
                  <a:spcPct val="110000"/>
                </a:lnSpc>
                <a:spcBef>
                  <a:spcPct val="0"/>
                </a:spcBef>
                <a:spcAft>
                  <a:spcPct val="50000"/>
                </a:spcAft>
                <a:buClr>
                  <a:schemeClr val="tx1"/>
                </a:buClr>
                <a:buChar char="–"/>
                <a:defRPr>
                  <a:solidFill>
                    <a:schemeClr val="tx1"/>
                  </a:solidFill>
                  <a:latin typeface="Arial" panose="020B0604020202020204" pitchFamily="34" charset="0"/>
                  <a:cs typeface="Arial" panose="020B0604020202020204" pitchFamily="34" charset="0"/>
                </a:defRPr>
              </a:lvl6pPr>
              <a:lvl7pPr marL="2832100" indent="-393700" fontAlgn="base">
                <a:lnSpc>
                  <a:spcPct val="110000"/>
                </a:lnSpc>
                <a:spcBef>
                  <a:spcPct val="0"/>
                </a:spcBef>
                <a:spcAft>
                  <a:spcPct val="50000"/>
                </a:spcAft>
                <a:buClr>
                  <a:schemeClr val="tx1"/>
                </a:buClr>
                <a:buChar char="–"/>
                <a:defRPr>
                  <a:solidFill>
                    <a:schemeClr val="tx1"/>
                  </a:solidFill>
                  <a:latin typeface="Arial" panose="020B0604020202020204" pitchFamily="34" charset="0"/>
                  <a:cs typeface="Arial" panose="020B0604020202020204" pitchFamily="34" charset="0"/>
                </a:defRPr>
              </a:lvl7pPr>
              <a:lvl8pPr marL="3289300" indent="-393700" fontAlgn="base">
                <a:lnSpc>
                  <a:spcPct val="110000"/>
                </a:lnSpc>
                <a:spcBef>
                  <a:spcPct val="0"/>
                </a:spcBef>
                <a:spcAft>
                  <a:spcPct val="50000"/>
                </a:spcAft>
                <a:buClr>
                  <a:schemeClr val="tx1"/>
                </a:buClr>
                <a:buChar char="–"/>
                <a:defRPr>
                  <a:solidFill>
                    <a:schemeClr val="tx1"/>
                  </a:solidFill>
                  <a:latin typeface="Arial" panose="020B0604020202020204" pitchFamily="34" charset="0"/>
                  <a:cs typeface="Arial" panose="020B0604020202020204" pitchFamily="34" charset="0"/>
                </a:defRPr>
              </a:lvl8pPr>
              <a:lvl9pPr marL="3746500" indent="-393700" fontAlgn="base">
                <a:lnSpc>
                  <a:spcPct val="110000"/>
                </a:lnSpc>
                <a:spcBef>
                  <a:spcPct val="0"/>
                </a:spcBef>
                <a:spcAft>
                  <a:spcPct val="50000"/>
                </a:spcAft>
                <a:buClr>
                  <a:schemeClr val="tx1"/>
                </a:buClr>
                <a:buChar char="–"/>
                <a:defRPr>
                  <a:solidFill>
                    <a:schemeClr val="tx1"/>
                  </a:solidFill>
                  <a:latin typeface="Arial" panose="020B0604020202020204" pitchFamily="34" charset="0"/>
                  <a:cs typeface="Arial" panose="020B0604020202020204" pitchFamily="34" charset="0"/>
                </a:defRPr>
              </a:lvl9pPr>
            </a:lstStyle>
            <a:p>
              <a:pPr marL="342900" marR="0" lvl="0" indent="-342900" algn="l" defTabSz="914400" rtl="0" eaLnBrk="1" fontAlgn="auto" latinLnBrk="0" hangingPunct="1">
                <a:lnSpc>
                  <a:spcPct val="110000"/>
                </a:lnSpc>
                <a:spcBef>
                  <a:spcPts val="0"/>
                </a:spcBef>
                <a:spcAft>
                  <a:spcPct val="0"/>
                </a:spcAft>
                <a:buClr>
                  <a:srgbClr val="C50022"/>
                </a:buClr>
                <a:buSzTx/>
                <a:buFont typeface="Wingdings" panose="05000000000000000000" pitchFamily="2" charset="2"/>
                <a:buNone/>
                <a:tabLst/>
                <a:defRPr/>
              </a:pPr>
              <a:r>
                <a:rPr kumimoji="0" lang="en-US" altLang="de-DE"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opolymer of methyl- methacrylate &amp; </a:t>
              </a:r>
            </a:p>
            <a:p>
              <a:pPr marL="342900" marR="0" lvl="0" indent="-342900" algn="l" defTabSz="914400" rtl="0" eaLnBrk="1" fontAlgn="auto" latinLnBrk="0" hangingPunct="1">
                <a:lnSpc>
                  <a:spcPct val="110000"/>
                </a:lnSpc>
                <a:spcBef>
                  <a:spcPts val="0"/>
                </a:spcBef>
                <a:spcAft>
                  <a:spcPct val="0"/>
                </a:spcAft>
                <a:buClr>
                  <a:srgbClr val="C50022"/>
                </a:buClr>
                <a:buSzTx/>
                <a:buFont typeface="Wingdings" panose="05000000000000000000" pitchFamily="2" charset="2"/>
                <a:buNone/>
                <a:tabLst/>
                <a:defRPr/>
              </a:pPr>
              <a:r>
                <a:rPr kumimoji="0" lang="en-US" altLang="de-DE" sz="1400" b="1"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diethyl</a:t>
              </a:r>
              <a:r>
                <a:rPr kumimoji="0" lang="en-US" altLang="de-DE"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minoethyl methacrylate (7:3)</a:t>
              </a:r>
            </a:p>
            <a:p>
              <a:pPr marL="342900" marR="0" lvl="0" indent="-342900" algn="l" defTabSz="914400" rtl="0" eaLnBrk="1" fontAlgn="auto" latinLnBrk="0" hangingPunct="1">
                <a:lnSpc>
                  <a:spcPct val="110000"/>
                </a:lnSpc>
                <a:spcBef>
                  <a:spcPts val="0"/>
                </a:spcBef>
                <a:spcAft>
                  <a:spcPct val="50000"/>
                </a:spcAft>
                <a:buClr>
                  <a:srgbClr val="C50022"/>
                </a:buClr>
                <a:buSzTx/>
                <a:buFont typeface="Wingdings" panose="05000000000000000000" pitchFamily="2" charset="2"/>
                <a:buNone/>
                <a:tabLst/>
                <a:defRPr/>
              </a:pPr>
              <a:endParaRPr kumimoji="0" lang="en-US" altLang="de-DE"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0" name="Rectangle 8">
              <a:extLst>
                <a:ext uri="{FF2B5EF4-FFF2-40B4-BE49-F238E27FC236}">
                  <a16:creationId xmlns:a16="http://schemas.microsoft.com/office/drawing/2014/main" id="{4A2F5979-EC63-4F3C-9E22-B2075EEC298B}"/>
                </a:ext>
              </a:extLst>
            </p:cNvPr>
            <p:cNvSpPr>
              <a:spLocks noChangeArrowheads="1"/>
            </p:cNvSpPr>
            <p:nvPr/>
          </p:nvSpPr>
          <p:spPr bwMode="auto">
            <a:xfrm>
              <a:off x="4989718" y="4543676"/>
              <a:ext cx="3508779" cy="72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342900" indent="-342900">
                <a:lnSpc>
                  <a:spcPct val="110000"/>
                </a:lnSpc>
                <a:spcAft>
                  <a:spcPct val="50000"/>
                </a:spcAft>
                <a:buClr>
                  <a:schemeClr val="accent1"/>
                </a:buClr>
                <a:buFont typeface="Wingdings" panose="05000000000000000000" pitchFamily="2" charset="2"/>
                <a:buChar char="n"/>
                <a:defRPr>
                  <a:solidFill>
                    <a:schemeClr val="tx1"/>
                  </a:solidFill>
                  <a:latin typeface="Arial" panose="020B0604020202020204" pitchFamily="34" charset="0"/>
                  <a:cs typeface="Arial" panose="020B0604020202020204" pitchFamily="34" charset="0"/>
                </a:defRPr>
              </a:lvl1pPr>
              <a:lvl2pPr marL="736600" indent="-393700">
                <a:lnSpc>
                  <a:spcPct val="110000"/>
                </a:lnSpc>
                <a:spcAft>
                  <a:spcPct val="50000"/>
                </a:spcAft>
                <a:buClr>
                  <a:schemeClr val="accent1"/>
                </a:buClr>
                <a:buFont typeface="Wingdings" panose="05000000000000000000" pitchFamily="2" charset="2"/>
                <a:buChar char="n"/>
                <a:defRPr>
                  <a:solidFill>
                    <a:schemeClr val="tx1"/>
                  </a:solidFill>
                  <a:latin typeface="Arial" panose="020B0604020202020204" pitchFamily="34" charset="0"/>
                  <a:cs typeface="Arial" panose="020B0604020202020204" pitchFamily="34" charset="0"/>
                </a:defRPr>
              </a:lvl2pPr>
              <a:lvl3pPr marL="1130300" indent="-393700">
                <a:lnSpc>
                  <a:spcPct val="110000"/>
                </a:lnSpc>
                <a:spcAft>
                  <a:spcPct val="50000"/>
                </a:spcAft>
                <a:buClr>
                  <a:schemeClr val="tx1"/>
                </a:buClr>
                <a:buChar char="–"/>
                <a:defRPr>
                  <a:solidFill>
                    <a:schemeClr val="tx1"/>
                  </a:solidFill>
                  <a:latin typeface="Arial" panose="020B0604020202020204" pitchFamily="34" charset="0"/>
                  <a:cs typeface="Arial" panose="020B0604020202020204" pitchFamily="34" charset="0"/>
                </a:defRPr>
              </a:lvl3pPr>
              <a:lvl4pPr marL="1524000" indent="-393700">
                <a:lnSpc>
                  <a:spcPct val="110000"/>
                </a:lnSpc>
                <a:spcAft>
                  <a:spcPct val="50000"/>
                </a:spcAft>
                <a:buClr>
                  <a:schemeClr val="tx1"/>
                </a:buClr>
                <a:buChar char="–"/>
                <a:defRPr>
                  <a:solidFill>
                    <a:schemeClr val="tx1"/>
                  </a:solidFill>
                  <a:latin typeface="Arial" panose="020B0604020202020204" pitchFamily="34" charset="0"/>
                  <a:cs typeface="Arial" panose="020B0604020202020204" pitchFamily="34" charset="0"/>
                </a:defRPr>
              </a:lvl4pPr>
              <a:lvl5pPr marL="1917700" indent="-393700">
                <a:lnSpc>
                  <a:spcPct val="110000"/>
                </a:lnSpc>
                <a:spcAft>
                  <a:spcPct val="50000"/>
                </a:spcAft>
                <a:buClr>
                  <a:schemeClr val="tx1"/>
                </a:buClr>
                <a:buChar char="–"/>
                <a:defRPr>
                  <a:solidFill>
                    <a:schemeClr val="tx1"/>
                  </a:solidFill>
                  <a:latin typeface="Arial" panose="020B0604020202020204" pitchFamily="34" charset="0"/>
                  <a:cs typeface="Arial" panose="020B0604020202020204" pitchFamily="34" charset="0"/>
                </a:defRPr>
              </a:lvl5pPr>
              <a:lvl6pPr marL="2374900" indent="-393700" fontAlgn="base">
                <a:lnSpc>
                  <a:spcPct val="110000"/>
                </a:lnSpc>
                <a:spcBef>
                  <a:spcPct val="0"/>
                </a:spcBef>
                <a:spcAft>
                  <a:spcPct val="50000"/>
                </a:spcAft>
                <a:buClr>
                  <a:schemeClr val="tx1"/>
                </a:buClr>
                <a:buChar char="–"/>
                <a:defRPr>
                  <a:solidFill>
                    <a:schemeClr val="tx1"/>
                  </a:solidFill>
                  <a:latin typeface="Arial" panose="020B0604020202020204" pitchFamily="34" charset="0"/>
                  <a:cs typeface="Arial" panose="020B0604020202020204" pitchFamily="34" charset="0"/>
                </a:defRPr>
              </a:lvl6pPr>
              <a:lvl7pPr marL="2832100" indent="-393700" fontAlgn="base">
                <a:lnSpc>
                  <a:spcPct val="110000"/>
                </a:lnSpc>
                <a:spcBef>
                  <a:spcPct val="0"/>
                </a:spcBef>
                <a:spcAft>
                  <a:spcPct val="50000"/>
                </a:spcAft>
                <a:buClr>
                  <a:schemeClr val="tx1"/>
                </a:buClr>
                <a:buChar char="–"/>
                <a:defRPr>
                  <a:solidFill>
                    <a:schemeClr val="tx1"/>
                  </a:solidFill>
                  <a:latin typeface="Arial" panose="020B0604020202020204" pitchFamily="34" charset="0"/>
                  <a:cs typeface="Arial" panose="020B0604020202020204" pitchFamily="34" charset="0"/>
                </a:defRPr>
              </a:lvl7pPr>
              <a:lvl8pPr marL="3289300" indent="-393700" fontAlgn="base">
                <a:lnSpc>
                  <a:spcPct val="110000"/>
                </a:lnSpc>
                <a:spcBef>
                  <a:spcPct val="0"/>
                </a:spcBef>
                <a:spcAft>
                  <a:spcPct val="50000"/>
                </a:spcAft>
                <a:buClr>
                  <a:schemeClr val="tx1"/>
                </a:buClr>
                <a:buChar char="–"/>
                <a:defRPr>
                  <a:solidFill>
                    <a:schemeClr val="tx1"/>
                  </a:solidFill>
                  <a:latin typeface="Arial" panose="020B0604020202020204" pitchFamily="34" charset="0"/>
                  <a:cs typeface="Arial" panose="020B0604020202020204" pitchFamily="34" charset="0"/>
                </a:defRPr>
              </a:lvl8pPr>
              <a:lvl9pPr marL="3746500" indent="-393700" fontAlgn="base">
                <a:lnSpc>
                  <a:spcPct val="110000"/>
                </a:lnSpc>
                <a:spcBef>
                  <a:spcPct val="0"/>
                </a:spcBef>
                <a:spcAft>
                  <a:spcPct val="50000"/>
                </a:spcAft>
                <a:buClr>
                  <a:schemeClr val="tx1"/>
                </a:buClr>
                <a:buChar char="–"/>
                <a:defRPr>
                  <a:solidFill>
                    <a:schemeClr val="tx1"/>
                  </a:solidFill>
                  <a:latin typeface="Arial" panose="020B0604020202020204" pitchFamily="34" charset="0"/>
                  <a:cs typeface="Arial" panose="020B0604020202020204" pitchFamily="34" charset="0"/>
                </a:defRPr>
              </a:lvl9pPr>
            </a:lstStyle>
            <a:p>
              <a:pPr marL="342900" marR="0" lvl="0" indent="-342900" algn="l" defTabSz="914400" rtl="0" eaLnBrk="1" fontAlgn="auto" latinLnBrk="0" hangingPunct="1">
                <a:lnSpc>
                  <a:spcPct val="110000"/>
                </a:lnSpc>
                <a:spcBef>
                  <a:spcPts val="0"/>
                </a:spcBef>
                <a:spcAft>
                  <a:spcPct val="0"/>
                </a:spcAft>
                <a:buClr>
                  <a:srgbClr val="C50022"/>
                </a:buClr>
                <a:buSzTx/>
                <a:buFont typeface="Wingdings" panose="05000000000000000000" pitchFamily="2" charset="2"/>
                <a:buNone/>
                <a:tabLst/>
                <a:defRPr/>
              </a:pPr>
              <a:r>
                <a:rPr kumimoji="0" lang="en-US" altLang="de-DE"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opolymer of methyl- methacrylate, </a:t>
              </a:r>
              <a:r>
                <a:rPr kumimoji="0" lang="en-US" altLang="de-DE" sz="1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butyl methacrylate</a:t>
              </a:r>
              <a:r>
                <a:rPr kumimoji="0" lang="en-US" altLang="de-DE"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mp; </a:t>
              </a:r>
            </a:p>
            <a:p>
              <a:pPr marL="342900" marR="0" lvl="0" indent="-342900" algn="l" defTabSz="914400" rtl="0" eaLnBrk="1" fontAlgn="auto" latinLnBrk="0" hangingPunct="1">
                <a:lnSpc>
                  <a:spcPct val="110000"/>
                </a:lnSpc>
                <a:spcBef>
                  <a:spcPts val="0"/>
                </a:spcBef>
                <a:spcAft>
                  <a:spcPct val="0"/>
                </a:spcAft>
                <a:buClr>
                  <a:srgbClr val="C50022"/>
                </a:buClr>
                <a:buSzTx/>
                <a:buFont typeface="Wingdings" panose="05000000000000000000" pitchFamily="2" charset="2"/>
                <a:buNone/>
                <a:tabLst/>
                <a:defRPr/>
              </a:pPr>
              <a:r>
                <a:rPr kumimoji="0" lang="en-US" altLang="de-DE" sz="1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imethyl aminoethyl</a:t>
              </a:r>
              <a:r>
                <a:rPr kumimoji="0" lang="en-US" altLang="de-DE"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methacrylate </a:t>
              </a:r>
              <a:r>
                <a:rPr kumimoji="0" lang="en-US" altLang="de-DE" sz="1400" b="1" i="0" u="none" strike="noStrike" kern="1200" cap="none" spc="0" normalizeH="0" baseline="0" noProof="0" dirty="0">
                  <a:ln>
                    <a:noFill/>
                  </a:ln>
                  <a:effectLst/>
                  <a:uLnTx/>
                  <a:uFillTx/>
                  <a:latin typeface="Arial" panose="020B0604020202020204" pitchFamily="34" charset="0"/>
                  <a:cs typeface="Arial" panose="020B0604020202020204" pitchFamily="34" charset="0"/>
                </a:rPr>
                <a:t>(1:1:2)</a:t>
              </a:r>
            </a:p>
          </p:txBody>
        </p:sp>
        <p:sp>
          <p:nvSpPr>
            <p:cNvPr id="13" name="TextBox 12">
              <a:extLst>
                <a:ext uri="{FF2B5EF4-FFF2-40B4-BE49-F238E27FC236}">
                  <a16:creationId xmlns:a16="http://schemas.microsoft.com/office/drawing/2014/main" id="{D87192A1-C6A1-49D6-BF28-A94456ACD9A3}"/>
                </a:ext>
              </a:extLst>
            </p:cNvPr>
            <p:cNvSpPr txBox="1"/>
            <p:nvPr/>
          </p:nvSpPr>
          <p:spPr>
            <a:xfrm>
              <a:off x="1600751" y="5108236"/>
              <a:ext cx="1946100" cy="312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10000"/>
                </a:lnSpc>
                <a:spcBef>
                  <a:spcPts val="0"/>
                </a:spcBef>
                <a:spcAft>
                  <a:spcPts val="0"/>
                </a:spcAft>
                <a:buClr>
                  <a:srgbClr val="9BD4EB"/>
                </a:buClr>
                <a:buSzTx/>
                <a:buFontTx/>
                <a:buNone/>
                <a:tabLst/>
                <a:defRPr/>
              </a:pPr>
              <a:r>
                <a:rPr kumimoji="0" lang="en-US" sz="2000" b="1" i="0" u="none" strike="noStrike" kern="0" cap="none" spc="0" normalizeH="0" baseline="0" noProof="0" dirty="0">
                  <a:ln>
                    <a:noFill/>
                  </a:ln>
                  <a:solidFill>
                    <a:srgbClr val="C50022"/>
                  </a:solidFill>
                  <a:effectLst/>
                  <a:uLnTx/>
                  <a:uFillTx/>
                  <a:latin typeface="Arial" panose="020B0604020202020204"/>
                  <a:cs typeface="Arial"/>
                  <a:sym typeface="Arial"/>
                </a:rPr>
                <a:t>D</a:t>
              </a:r>
              <a:r>
                <a:rPr kumimoji="0" lang="en-US" sz="2000" b="1" i="0" u="sng" strike="noStrike" kern="0" cap="none" spc="0" normalizeH="0" baseline="0" noProof="0" dirty="0">
                  <a:ln>
                    <a:noFill/>
                  </a:ln>
                  <a:solidFill>
                    <a:srgbClr val="C50022"/>
                  </a:solidFill>
                  <a:effectLst/>
                  <a:uLnTx/>
                  <a:uFillTx/>
                  <a:latin typeface="Arial" panose="020B0604020202020204"/>
                  <a:cs typeface="Arial"/>
                  <a:sym typeface="Arial"/>
                </a:rPr>
                <a:t>E</a:t>
              </a:r>
              <a:r>
                <a:rPr kumimoji="0" lang="en-US" sz="2000" b="1" i="0" u="none" strike="noStrike" kern="0" cap="none" spc="0" normalizeH="0" baseline="0" noProof="0" dirty="0">
                  <a:ln>
                    <a:noFill/>
                  </a:ln>
                  <a:solidFill>
                    <a:srgbClr val="C50022"/>
                  </a:solidFill>
                  <a:effectLst/>
                  <a:uLnTx/>
                  <a:uFillTx/>
                  <a:latin typeface="Arial" panose="020B0604020202020204"/>
                  <a:cs typeface="Arial"/>
                  <a:sym typeface="Arial"/>
                </a:rPr>
                <a:t>AEMA </a:t>
              </a:r>
              <a:r>
                <a:rPr kumimoji="0" lang="en-US" sz="1400" b="1" i="1" u="none" strike="noStrike" kern="0" cap="none" spc="0" normalizeH="0" baseline="0" noProof="0" dirty="0">
                  <a:ln>
                    <a:noFill/>
                  </a:ln>
                  <a:solidFill>
                    <a:srgbClr val="C50022"/>
                  </a:solidFill>
                  <a:effectLst/>
                  <a:uLnTx/>
                  <a:uFillTx/>
                  <a:latin typeface="Arial" panose="020B0604020202020204"/>
                  <a:cs typeface="Arial"/>
                  <a:sym typeface="Arial"/>
                </a:rPr>
                <a:t>not water soluble</a:t>
              </a:r>
              <a:endParaRPr kumimoji="0" lang="en-US" sz="2000" b="1" i="1" u="none" strike="noStrike" kern="0" cap="none" spc="0" normalizeH="0" baseline="0" noProof="0" dirty="0">
                <a:ln>
                  <a:noFill/>
                </a:ln>
                <a:solidFill>
                  <a:srgbClr val="C50022"/>
                </a:solidFill>
                <a:effectLst/>
                <a:uLnTx/>
                <a:uFillTx/>
                <a:latin typeface="Arial" panose="020B0604020202020204"/>
                <a:cs typeface="Arial"/>
                <a:sym typeface="Arial"/>
              </a:endParaRPr>
            </a:p>
          </p:txBody>
        </p:sp>
        <p:sp>
          <p:nvSpPr>
            <p:cNvPr id="14" name="TextBox 13">
              <a:extLst>
                <a:ext uri="{FF2B5EF4-FFF2-40B4-BE49-F238E27FC236}">
                  <a16:creationId xmlns:a16="http://schemas.microsoft.com/office/drawing/2014/main" id="{50B9642C-91BD-4CC0-91A3-30DBD448BB5B}"/>
                </a:ext>
              </a:extLst>
            </p:cNvPr>
            <p:cNvSpPr txBox="1"/>
            <p:nvPr/>
          </p:nvSpPr>
          <p:spPr>
            <a:xfrm>
              <a:off x="5641230" y="5081165"/>
              <a:ext cx="1736917" cy="312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marL="0" marR="0" lvl="0" indent="0" algn="l" defTabSz="914400" rtl="0" eaLnBrk="1" fontAlgn="auto" latinLnBrk="0" hangingPunct="1">
                <a:lnSpc>
                  <a:spcPct val="110000"/>
                </a:lnSpc>
                <a:spcBef>
                  <a:spcPts val="0"/>
                </a:spcBef>
                <a:spcAft>
                  <a:spcPts val="0"/>
                </a:spcAft>
                <a:buClr>
                  <a:srgbClr val="9BD4EB"/>
                </a:buClr>
                <a:buSzTx/>
                <a:buFontTx/>
                <a:buNone/>
                <a:tabLst/>
                <a:defRPr/>
              </a:pPr>
              <a:r>
                <a:rPr kumimoji="0" lang="en-US" sz="2000" b="1" i="0" u="none" strike="noStrike" kern="0" cap="none" spc="0" normalizeH="0" baseline="0" noProof="0" dirty="0">
                  <a:ln>
                    <a:noFill/>
                  </a:ln>
                  <a:solidFill>
                    <a:srgbClr val="C50022"/>
                  </a:solidFill>
                  <a:effectLst/>
                  <a:uLnTx/>
                  <a:uFillTx/>
                  <a:latin typeface="Arial" panose="020B0604020202020204"/>
                  <a:cs typeface="Arial"/>
                  <a:sym typeface="Arial"/>
                </a:rPr>
                <a:t>D</a:t>
              </a:r>
              <a:r>
                <a:rPr kumimoji="0" lang="en-US" sz="2000" b="1" i="0" u="sng" strike="noStrike" kern="0" cap="none" spc="0" normalizeH="0" baseline="0" noProof="0" dirty="0">
                  <a:ln>
                    <a:noFill/>
                  </a:ln>
                  <a:solidFill>
                    <a:srgbClr val="C50022"/>
                  </a:solidFill>
                  <a:effectLst/>
                  <a:uLnTx/>
                  <a:uFillTx/>
                  <a:latin typeface="Arial" panose="020B0604020202020204"/>
                  <a:cs typeface="Arial"/>
                  <a:sym typeface="Arial"/>
                </a:rPr>
                <a:t>M</a:t>
              </a:r>
              <a:r>
                <a:rPr kumimoji="0" lang="en-US" sz="2000" b="1" i="0" u="none" strike="noStrike" kern="0" cap="none" spc="0" normalizeH="0" baseline="0" noProof="0" dirty="0">
                  <a:ln>
                    <a:noFill/>
                  </a:ln>
                  <a:solidFill>
                    <a:srgbClr val="C50022"/>
                  </a:solidFill>
                  <a:effectLst/>
                  <a:uLnTx/>
                  <a:uFillTx/>
                  <a:latin typeface="Arial" panose="020B0604020202020204"/>
                  <a:cs typeface="Arial"/>
                  <a:sym typeface="Arial"/>
                </a:rPr>
                <a:t>AEMA </a:t>
              </a:r>
              <a:r>
                <a:rPr kumimoji="0" lang="en-US" sz="1400" b="1" i="1" u="none" strike="noStrike" kern="0" cap="none" spc="0" normalizeH="0" baseline="0" noProof="0" dirty="0">
                  <a:ln>
                    <a:noFill/>
                  </a:ln>
                  <a:solidFill>
                    <a:srgbClr val="C50022"/>
                  </a:solidFill>
                  <a:effectLst/>
                  <a:uLnTx/>
                  <a:uFillTx/>
                  <a:latin typeface="Arial" panose="020B0604020202020204"/>
                  <a:cs typeface="Arial"/>
                  <a:sym typeface="Arial"/>
                </a:rPr>
                <a:t>water soluble</a:t>
              </a:r>
              <a:endParaRPr kumimoji="0" lang="en-US" sz="1400" b="1" i="0" u="none" strike="noStrike" kern="0" cap="none" spc="0" normalizeH="0" baseline="0" noProof="0" dirty="0">
                <a:ln>
                  <a:noFill/>
                </a:ln>
                <a:solidFill>
                  <a:srgbClr val="C50022"/>
                </a:solidFill>
                <a:effectLst/>
                <a:uLnTx/>
                <a:uFillTx/>
                <a:latin typeface="Arial" panose="020B0604020202020204"/>
                <a:cs typeface="Arial"/>
                <a:sym typeface="Arial"/>
              </a:endParaRPr>
            </a:p>
          </p:txBody>
        </p:sp>
      </p:grpSp>
      <p:sp>
        <p:nvSpPr>
          <p:cNvPr id="15" name="Rectangle 14">
            <a:extLst>
              <a:ext uri="{FF2B5EF4-FFF2-40B4-BE49-F238E27FC236}">
                <a16:creationId xmlns:a16="http://schemas.microsoft.com/office/drawing/2014/main" id="{7AFD4839-17AE-41C8-BF8D-F765EDE6C8E9}"/>
              </a:ext>
            </a:extLst>
          </p:cNvPr>
          <p:cNvSpPr/>
          <p:nvPr/>
        </p:nvSpPr>
        <p:spPr>
          <a:xfrm>
            <a:off x="313459" y="5721786"/>
            <a:ext cx="11565081" cy="369332"/>
          </a:xfrm>
          <a:prstGeom prst="rect">
            <a:avLst/>
          </a:prstGeom>
          <a:noFill/>
        </p:spPr>
        <p:txBody>
          <a:bodyPr wrap="square">
            <a:spAutoFit/>
          </a:bodyPr>
          <a:lstStyle/>
          <a:p>
            <a:pPr marL="285750" marR="0" lvl="0" indent="-285750" algn="ctr"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b="0" i="0" u="none" strike="noStrike" kern="1200" cap="none" spc="0" normalizeH="0" baseline="0" noProof="0" dirty="0">
                <a:ln>
                  <a:noFill/>
                </a:ln>
                <a:effectLst/>
                <a:uLnTx/>
                <a:uFillTx/>
                <a:latin typeface="Arial" panose="020B0604020202020204"/>
                <a:cs typeface="Arial"/>
              </a:rPr>
              <a:t>Kollicoat</a:t>
            </a:r>
            <a:r>
              <a:rPr kumimoji="0" lang="en-US" b="0" i="0" u="none" strike="noStrike" kern="1200" cap="none" spc="0" normalizeH="0" baseline="30000" noProof="0" dirty="0">
                <a:ln>
                  <a:noFill/>
                </a:ln>
                <a:effectLst/>
                <a:uLnTx/>
                <a:uFillTx/>
                <a:latin typeface="Arial" panose="020B0604020202020204"/>
                <a:cs typeface="Arial"/>
              </a:rPr>
              <a:t>®</a:t>
            </a:r>
            <a:r>
              <a:rPr kumimoji="0" lang="en-US" b="0" i="0" u="none" strike="noStrike" kern="1200" cap="none" spc="0" normalizeH="0" baseline="0" noProof="0" dirty="0">
                <a:ln>
                  <a:noFill/>
                </a:ln>
                <a:effectLst/>
                <a:uLnTx/>
                <a:uFillTx/>
                <a:latin typeface="Arial" panose="020B0604020202020204"/>
                <a:cs typeface="Arial"/>
              </a:rPr>
              <a:t> Smartseal offers the best performance for taste masking because of its lipophilic nature </a:t>
            </a:r>
          </a:p>
        </p:txBody>
      </p:sp>
      <p:sp>
        <p:nvSpPr>
          <p:cNvPr id="17" name="Footer Placeholder 11">
            <a:extLst>
              <a:ext uri="{FF2B5EF4-FFF2-40B4-BE49-F238E27FC236}">
                <a16:creationId xmlns:a16="http://schemas.microsoft.com/office/drawing/2014/main" id="{0E9B3765-DD8C-4ECD-0229-C7E2ADA4BA60}"/>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cxnSp>
        <p:nvCxnSpPr>
          <p:cNvPr id="21" name="Straight Arrow Connector 20">
            <a:extLst>
              <a:ext uri="{FF2B5EF4-FFF2-40B4-BE49-F238E27FC236}">
                <a16:creationId xmlns:a16="http://schemas.microsoft.com/office/drawing/2014/main" id="{BB13C70F-B1CE-B2CA-1065-D7D3E2E0DC84}"/>
              </a:ext>
            </a:extLst>
          </p:cNvPr>
          <p:cNvCxnSpPr/>
          <p:nvPr/>
        </p:nvCxnSpPr>
        <p:spPr>
          <a:xfrm flipH="1">
            <a:off x="2587336" y="3995057"/>
            <a:ext cx="639431"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FC8062F-33FD-6EEB-5993-360C1099021A}"/>
              </a:ext>
            </a:extLst>
          </p:cNvPr>
          <p:cNvSpPr txBox="1"/>
          <p:nvPr/>
        </p:nvSpPr>
        <p:spPr>
          <a:xfrm>
            <a:off x="574053" y="3651072"/>
            <a:ext cx="2013283" cy="646331"/>
          </a:xfrm>
          <a:prstGeom prst="rect">
            <a:avLst/>
          </a:prstGeom>
          <a:noFill/>
        </p:spPr>
        <p:txBody>
          <a:bodyPr wrap="square" lIns="0" tIns="0" rIns="0" bIns="0" rtlCol="0">
            <a:spAutoFit/>
          </a:bodyPr>
          <a:lstStyle/>
          <a:p>
            <a:r>
              <a:rPr lang="en-US" sz="1400" dirty="0"/>
              <a:t>Diethylamino group </a:t>
            </a:r>
          </a:p>
          <a:p>
            <a:r>
              <a:rPr lang="en-US" sz="1400" dirty="0"/>
              <a:t>(CH</a:t>
            </a:r>
            <a:r>
              <a:rPr lang="en-US" sz="1400" baseline="-25000" dirty="0"/>
              <a:t>3</a:t>
            </a:r>
            <a:r>
              <a:rPr lang="en-US" sz="1400" dirty="0"/>
              <a:t>-CH</a:t>
            </a:r>
            <a:r>
              <a:rPr lang="en-US" sz="1400" baseline="-25000" dirty="0"/>
              <a:t>2</a:t>
            </a:r>
            <a:r>
              <a:rPr lang="en-US" sz="1400" dirty="0"/>
              <a:t>-N-CH</a:t>
            </a:r>
            <a:r>
              <a:rPr lang="en-US" sz="1400" baseline="-25000" dirty="0"/>
              <a:t>2</a:t>
            </a:r>
            <a:r>
              <a:rPr lang="en-US" sz="1400" dirty="0"/>
              <a:t>-CH</a:t>
            </a:r>
            <a:r>
              <a:rPr lang="en-US" sz="1400" baseline="-25000" dirty="0"/>
              <a:t>3</a:t>
            </a:r>
            <a:r>
              <a:rPr lang="en-US" sz="1400" dirty="0"/>
              <a:t>) = </a:t>
            </a:r>
          </a:p>
          <a:p>
            <a:r>
              <a:rPr lang="en-US" sz="1400" dirty="0"/>
              <a:t>more hydrophobic </a:t>
            </a:r>
          </a:p>
        </p:txBody>
      </p:sp>
      <p:sp>
        <p:nvSpPr>
          <p:cNvPr id="23" name="TextBox 22">
            <a:extLst>
              <a:ext uri="{FF2B5EF4-FFF2-40B4-BE49-F238E27FC236}">
                <a16:creationId xmlns:a16="http://schemas.microsoft.com/office/drawing/2014/main" id="{671EE562-5F4D-3591-8E29-85B1922C0943}"/>
              </a:ext>
            </a:extLst>
          </p:cNvPr>
          <p:cNvSpPr txBox="1"/>
          <p:nvPr/>
        </p:nvSpPr>
        <p:spPr>
          <a:xfrm>
            <a:off x="8011579" y="3651073"/>
            <a:ext cx="1703449" cy="861774"/>
          </a:xfrm>
          <a:prstGeom prst="rect">
            <a:avLst/>
          </a:prstGeom>
          <a:noFill/>
        </p:spPr>
        <p:txBody>
          <a:bodyPr wrap="square" lIns="0" tIns="0" rIns="0" bIns="0" rtlCol="0">
            <a:spAutoFit/>
          </a:bodyPr>
          <a:lstStyle/>
          <a:p>
            <a:r>
              <a:rPr lang="en-US" sz="1400" dirty="0"/>
              <a:t>Dimethyl amino group </a:t>
            </a:r>
          </a:p>
          <a:p>
            <a:r>
              <a:rPr lang="en-US" sz="1400" dirty="0"/>
              <a:t>(CH</a:t>
            </a:r>
            <a:r>
              <a:rPr lang="en-US" sz="1400" baseline="-25000" dirty="0"/>
              <a:t>3</a:t>
            </a:r>
            <a:r>
              <a:rPr lang="en-US" sz="1400" dirty="0"/>
              <a:t>-N-CH</a:t>
            </a:r>
            <a:r>
              <a:rPr lang="en-US" sz="1400" baseline="-25000" dirty="0"/>
              <a:t>3</a:t>
            </a:r>
            <a:r>
              <a:rPr lang="en-US" sz="1400" dirty="0"/>
              <a:t>) =</a:t>
            </a:r>
          </a:p>
          <a:p>
            <a:r>
              <a:rPr lang="en-US" sz="1400" dirty="0"/>
              <a:t> more hydrophilic  </a:t>
            </a:r>
          </a:p>
        </p:txBody>
      </p:sp>
      <p:cxnSp>
        <p:nvCxnSpPr>
          <p:cNvPr id="25" name="Connector: Elbow 24">
            <a:extLst>
              <a:ext uri="{FF2B5EF4-FFF2-40B4-BE49-F238E27FC236}">
                <a16:creationId xmlns:a16="http://schemas.microsoft.com/office/drawing/2014/main" id="{8F2E19E9-3617-21FA-8004-0183405F520A}"/>
              </a:ext>
            </a:extLst>
          </p:cNvPr>
          <p:cNvCxnSpPr>
            <a:stCxn id="12" idx="4"/>
          </p:cNvCxnSpPr>
          <p:nvPr/>
        </p:nvCxnSpPr>
        <p:spPr>
          <a:xfrm rot="16200000" flipH="1">
            <a:off x="7460898" y="3520200"/>
            <a:ext cx="391720" cy="490646"/>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19">
            <a:extLst>
              <a:ext uri="{FF2B5EF4-FFF2-40B4-BE49-F238E27FC236}">
                <a16:creationId xmlns:a16="http://schemas.microsoft.com/office/drawing/2014/main" id="{55AB7C02-C183-8022-795B-67FEC670DFA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75</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3" name="TextBox 2">
            <a:extLst>
              <a:ext uri="{FF2B5EF4-FFF2-40B4-BE49-F238E27FC236}">
                <a16:creationId xmlns:a16="http://schemas.microsoft.com/office/drawing/2014/main" id="{9A6F00B8-2894-D27F-9C69-8CBBCEA3359D}"/>
              </a:ext>
            </a:extLst>
          </p:cNvPr>
          <p:cNvSpPr txBox="1"/>
          <p:nvPr/>
        </p:nvSpPr>
        <p:spPr>
          <a:xfrm>
            <a:off x="10433925" y="4862896"/>
            <a:ext cx="913043" cy="184666"/>
          </a:xfrm>
          <a:prstGeom prst="rect">
            <a:avLst/>
          </a:prstGeom>
          <a:noFill/>
          <a:ln w="19050">
            <a:solidFill>
              <a:schemeClr val="accent1"/>
            </a:solidFill>
          </a:ln>
        </p:spPr>
        <p:txBody>
          <a:bodyPr wrap="square" lIns="0" tIns="0" rIns="0" bIns="0" rtlCol="0">
            <a:spAutoFit/>
          </a:bodyPr>
          <a:lstStyle/>
          <a:p>
            <a:r>
              <a:rPr lang="en-US" sz="1200" dirty="0"/>
              <a:t> MW 150,000</a:t>
            </a:r>
          </a:p>
        </p:txBody>
      </p:sp>
      <p:sp>
        <p:nvSpPr>
          <p:cNvPr id="4" name="TextBox 3">
            <a:extLst>
              <a:ext uri="{FF2B5EF4-FFF2-40B4-BE49-F238E27FC236}">
                <a16:creationId xmlns:a16="http://schemas.microsoft.com/office/drawing/2014/main" id="{E9CA3668-EF3E-74B8-8233-7B215CDC1985}"/>
              </a:ext>
            </a:extLst>
          </p:cNvPr>
          <p:cNvSpPr txBox="1"/>
          <p:nvPr/>
        </p:nvSpPr>
        <p:spPr>
          <a:xfrm>
            <a:off x="5023398" y="4732596"/>
            <a:ext cx="940787" cy="184666"/>
          </a:xfrm>
          <a:prstGeom prst="rect">
            <a:avLst/>
          </a:prstGeom>
          <a:noFill/>
          <a:ln w="19050">
            <a:solidFill>
              <a:schemeClr val="accent1"/>
            </a:solidFill>
          </a:ln>
        </p:spPr>
        <p:txBody>
          <a:bodyPr wrap="square" lIns="0" tIns="0" rIns="0" bIns="0" rtlCol="0">
            <a:spAutoFit/>
          </a:bodyPr>
          <a:lstStyle/>
          <a:p>
            <a:r>
              <a:rPr lang="en-US" sz="1200" dirty="0"/>
              <a:t> MW 200,000 </a:t>
            </a:r>
          </a:p>
        </p:txBody>
      </p:sp>
      <p:sp>
        <p:nvSpPr>
          <p:cNvPr id="19" name="Oval 10">
            <a:extLst>
              <a:ext uri="{FF2B5EF4-FFF2-40B4-BE49-F238E27FC236}">
                <a16:creationId xmlns:a16="http://schemas.microsoft.com/office/drawing/2014/main" id="{AA2F343D-B9B2-BA19-F8CB-301E6EDE5546}"/>
              </a:ext>
            </a:extLst>
          </p:cNvPr>
          <p:cNvSpPr>
            <a:spLocks noChangeArrowheads="1"/>
          </p:cNvSpPr>
          <p:nvPr/>
        </p:nvSpPr>
        <p:spPr bwMode="auto">
          <a:xfrm>
            <a:off x="9150417" y="3026932"/>
            <a:ext cx="601192" cy="607480"/>
          </a:xfrm>
          <a:prstGeom prst="ellipse">
            <a:avLst/>
          </a:prstGeom>
          <a:noFill/>
          <a:ln w="28575">
            <a:solidFill>
              <a:schemeClr val="accent1"/>
            </a:solidFill>
            <a:round/>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72142030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7685700-2D34-FED5-ECFB-15B1C3C960B5}"/>
              </a:ext>
            </a:extLst>
          </p:cNvPr>
          <p:cNvGraphicFramePr>
            <a:graphicFrameLocks noChangeAspect="1"/>
          </p:cNvGraphicFramePr>
          <p:nvPr>
            <p:custDataLst>
              <p:tags r:id="rId1"/>
            </p:custDataLst>
            <p:extLst>
              <p:ext uri="{D42A27DB-BD31-4B8C-83A1-F6EECF244321}">
                <p14:modId xmlns:p14="http://schemas.microsoft.com/office/powerpoint/2010/main" val="2485495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9" name="think-cell data - do not delete" hidden="1">
                        <a:extLst>
                          <a:ext uri="{FF2B5EF4-FFF2-40B4-BE49-F238E27FC236}">
                            <a16:creationId xmlns:a16="http://schemas.microsoft.com/office/drawing/2014/main" id="{87685700-2D34-FED5-ECFB-15B1C3C960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A817B8-502D-4C8A-869D-581E9F905A1C}"/>
              </a:ext>
            </a:extLst>
          </p:cNvPr>
          <p:cNvSpPr>
            <a:spLocks noGrp="1"/>
          </p:cNvSpPr>
          <p:nvPr>
            <p:ph type="title"/>
          </p:nvPr>
        </p:nvSpPr>
        <p:spPr/>
        <p:txBody>
          <a:bodyPr vert="horz"/>
          <a:lstStyle/>
          <a:p>
            <a:r>
              <a:rPr lang="en-US" dirty="0"/>
              <a:t>Dissolution Analysis - Performance at pH 6.8 (coating level 3 mg/cm</a:t>
            </a:r>
            <a:r>
              <a:rPr lang="en-US" baseline="30000" dirty="0"/>
              <a:t>2</a:t>
            </a:r>
            <a:r>
              <a:rPr lang="en-US" dirty="0"/>
              <a:t>)</a:t>
            </a:r>
          </a:p>
        </p:txBody>
      </p:sp>
      <p:sp>
        <p:nvSpPr>
          <p:cNvPr id="4" name="Slide Number Placeholder 3">
            <a:extLst>
              <a:ext uri="{FF2B5EF4-FFF2-40B4-BE49-F238E27FC236}">
                <a16:creationId xmlns:a16="http://schemas.microsoft.com/office/drawing/2014/main" id="{6C22CD09-1B9C-4C22-863C-FDC3FA9CDDF7}"/>
              </a:ext>
            </a:extLst>
          </p:cNvPr>
          <p:cNvSpPr>
            <a:spLocks noGrp="1"/>
          </p:cNvSpPr>
          <p:nvPr>
            <p:ph type="sldNum" sz="quarter" idx="4"/>
          </p:nvPr>
        </p:nvSpPr>
        <p:spPr>
          <a:xfrm>
            <a:off x="225167" y="6555283"/>
            <a:ext cx="288200" cy="151200"/>
          </a:xfrm>
          <a:prstGeom prst="rect">
            <a:avLst/>
          </a:prstGeom>
        </p:spPr>
        <p:txBody>
          <a:bodyPr lIns="0" tIns="0" rIns="0" bIns="0"/>
          <a:lstStyle>
            <a:defPPr>
              <a:defRPr lang="de-DE"/>
            </a:defPPr>
            <a:lvl1pPr marL="0" algn="l" defTabSz="914400" rtl="0" eaLnBrk="1" latinLnBrk="0" hangingPunct="1">
              <a:defRPr sz="675"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2EA1D04-CA53-4DE3-84A8-2B63E41036C9}" type="slidenum">
              <a:rPr lang="en-US" smtClean="0"/>
              <a:pPr/>
              <a:t>76</a:t>
            </a:fld>
            <a:endParaRPr lang="en-US" dirty="0"/>
          </a:p>
        </p:txBody>
      </p:sp>
      <p:graphicFrame>
        <p:nvGraphicFramePr>
          <p:cNvPr id="5" name="Diagramm 18">
            <a:extLst>
              <a:ext uri="{FF2B5EF4-FFF2-40B4-BE49-F238E27FC236}">
                <a16:creationId xmlns:a16="http://schemas.microsoft.com/office/drawing/2014/main" id="{32BFA096-EBDF-4F35-BC67-768461DCD12F}"/>
              </a:ext>
            </a:extLst>
          </p:cNvPr>
          <p:cNvGraphicFramePr/>
          <p:nvPr>
            <p:extLst>
              <p:ext uri="{D42A27DB-BD31-4B8C-83A1-F6EECF244321}">
                <p14:modId xmlns:p14="http://schemas.microsoft.com/office/powerpoint/2010/main" val="2328510383"/>
              </p:ext>
            </p:extLst>
          </p:nvPr>
        </p:nvGraphicFramePr>
        <p:xfrm>
          <a:off x="782569" y="1480362"/>
          <a:ext cx="6924516" cy="3832860"/>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14B694AB-2032-472F-8E71-547D794F4191}"/>
              </a:ext>
            </a:extLst>
          </p:cNvPr>
          <p:cNvSpPr txBox="1"/>
          <p:nvPr/>
        </p:nvSpPr>
        <p:spPr>
          <a:xfrm>
            <a:off x="1420357" y="5508384"/>
            <a:ext cx="9351286" cy="585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285750" indent="-285750">
              <a:lnSpc>
                <a:spcPct val="110000"/>
              </a:lnSpc>
              <a:buClr>
                <a:schemeClr val="accent1"/>
              </a:buClr>
              <a:buFont typeface="Arial" panose="020B0604020202020204" pitchFamily="34" charset="0"/>
              <a:buChar char="■"/>
            </a:pPr>
            <a:r>
              <a:rPr lang="en-US" kern="0" dirty="0">
                <a:sym typeface="Arial"/>
              </a:rPr>
              <a:t>Kollicoat</a:t>
            </a:r>
            <a:r>
              <a:rPr lang="en-US" kern="0" baseline="30000" dirty="0">
                <a:sym typeface="Arial"/>
              </a:rPr>
              <a:t>®</a:t>
            </a:r>
            <a:r>
              <a:rPr lang="en-US" kern="0" dirty="0">
                <a:sym typeface="Arial"/>
              </a:rPr>
              <a:t> Smartseal offers the best performance in delaying dissolution at pH 6.8 for taste-masking applications</a:t>
            </a:r>
          </a:p>
        </p:txBody>
      </p:sp>
      <p:sp>
        <p:nvSpPr>
          <p:cNvPr id="8" name="TextBox 7">
            <a:extLst>
              <a:ext uri="{FF2B5EF4-FFF2-40B4-BE49-F238E27FC236}">
                <a16:creationId xmlns:a16="http://schemas.microsoft.com/office/drawing/2014/main" id="{EC19F88D-921E-4C34-B138-AFE7692F63E7}"/>
              </a:ext>
            </a:extLst>
          </p:cNvPr>
          <p:cNvSpPr txBox="1"/>
          <p:nvPr/>
        </p:nvSpPr>
        <p:spPr>
          <a:xfrm>
            <a:off x="8029814" y="3158731"/>
            <a:ext cx="3244478" cy="1327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p>
            <a:pPr>
              <a:lnSpc>
                <a:spcPct val="110000"/>
              </a:lnSpc>
              <a:buClr>
                <a:srgbClr val="9BD4EB"/>
              </a:buClr>
            </a:pPr>
            <a:r>
              <a:rPr lang="en-US" sz="2000" b="1" kern="0" dirty="0">
                <a:solidFill>
                  <a:schemeClr val="bg1">
                    <a:lumMod val="65000"/>
                  </a:schemeClr>
                </a:solidFill>
                <a:sym typeface="Arial"/>
              </a:rPr>
              <a:t>Uncoated</a:t>
            </a:r>
          </a:p>
          <a:p>
            <a:pPr>
              <a:lnSpc>
                <a:spcPct val="110000"/>
              </a:lnSpc>
              <a:buClr>
                <a:srgbClr val="9BD4EB"/>
              </a:buClr>
            </a:pPr>
            <a:r>
              <a:rPr lang="en-US" sz="2000" b="1" kern="0" dirty="0">
                <a:sym typeface="Arial"/>
              </a:rPr>
              <a:t>E PO 1 (EU)</a:t>
            </a:r>
          </a:p>
          <a:p>
            <a:pPr>
              <a:lnSpc>
                <a:spcPct val="110000"/>
              </a:lnSpc>
              <a:buClr>
                <a:srgbClr val="9BD4EB"/>
              </a:buClr>
            </a:pPr>
            <a:r>
              <a:rPr lang="en-US" sz="2000" b="1" kern="0" dirty="0">
                <a:solidFill>
                  <a:srgbClr val="FF0000"/>
                </a:solidFill>
                <a:sym typeface="Arial"/>
              </a:rPr>
              <a:t>E PO 2 (IN)</a:t>
            </a:r>
          </a:p>
          <a:p>
            <a:pPr>
              <a:lnSpc>
                <a:spcPct val="110000"/>
              </a:lnSpc>
              <a:buClr>
                <a:srgbClr val="9BD4EB"/>
              </a:buClr>
            </a:pPr>
            <a:r>
              <a:rPr lang="en-US" sz="2000" b="1" kern="0" dirty="0">
                <a:solidFill>
                  <a:srgbClr val="00B050"/>
                </a:solidFill>
                <a:sym typeface="Arial"/>
              </a:rPr>
              <a:t>Kollicoat</a:t>
            </a:r>
            <a:r>
              <a:rPr lang="en-US" sz="2000" b="1" kern="0" baseline="30000" dirty="0">
                <a:solidFill>
                  <a:srgbClr val="00B050"/>
                </a:solidFill>
                <a:sym typeface="Arial"/>
              </a:rPr>
              <a:t>®</a:t>
            </a:r>
            <a:r>
              <a:rPr lang="en-US" sz="2000" b="1" kern="0" dirty="0">
                <a:solidFill>
                  <a:srgbClr val="00B050"/>
                </a:solidFill>
                <a:sym typeface="Arial"/>
              </a:rPr>
              <a:t> Smartseal 100 P</a:t>
            </a:r>
          </a:p>
        </p:txBody>
      </p:sp>
      <p:sp>
        <p:nvSpPr>
          <p:cNvPr id="3" name="Footer Placeholder 11">
            <a:extLst>
              <a:ext uri="{FF2B5EF4-FFF2-40B4-BE49-F238E27FC236}">
                <a16:creationId xmlns:a16="http://schemas.microsoft.com/office/drawing/2014/main" id="{63619551-BE8A-ACA7-FF85-B6D9112F4BD0}"/>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246185885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96C0E511-F38F-457D-A27F-C08777AE8356}"/>
              </a:ext>
            </a:extLst>
          </p:cNvPr>
          <p:cNvGraphicFramePr>
            <a:graphicFrameLocks noChangeAspect="1"/>
          </p:cNvGraphicFramePr>
          <p:nvPr>
            <p:custDataLst>
              <p:tags r:id="rId1"/>
            </p:custDataLst>
            <p:extLst>
              <p:ext uri="{D42A27DB-BD31-4B8C-83A1-F6EECF244321}">
                <p14:modId xmlns:p14="http://schemas.microsoft.com/office/powerpoint/2010/main" val="75109028"/>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553" imgH="553" progId="TCLayout.ActiveDocument.1">
                  <p:embed/>
                </p:oleObj>
              </mc:Choice>
              <mc:Fallback>
                <p:oleObj name="think-cell Slide" r:id="rId5" imgW="553" imgH="553" progId="TCLayout.ActiveDocument.1">
                  <p:embed/>
                  <p:pic>
                    <p:nvPicPr>
                      <p:cNvPr id="17" name="Objekt 16" hidden="1">
                        <a:extLst>
                          <a:ext uri="{FF2B5EF4-FFF2-40B4-BE49-F238E27FC236}">
                            <a16:creationId xmlns:a16="http://schemas.microsoft.com/office/drawing/2014/main" id="{96C0E511-F38F-457D-A27F-C08777AE8356}"/>
                          </a:ext>
                        </a:extLst>
                      </p:cNvPr>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01CA7707-21D3-47FB-8CD4-AE1A805061BF}"/>
              </a:ext>
            </a:extLst>
          </p:cNvPr>
          <p:cNvSpPr/>
          <p:nvPr>
            <p:custDataLst>
              <p:tags r:id="rId2"/>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Arial" panose="020B0604020202020204" pitchFamily="34" charset="0"/>
              <a:cs typeface="Arial" panose="020B0604020202020204" pitchFamily="34" charset="0"/>
              <a:sym typeface="Arial" panose="020B0604020202020204" pitchFamily="34" charset="0"/>
            </a:endParaRPr>
          </a:p>
        </p:txBody>
      </p:sp>
      <p:sp>
        <p:nvSpPr>
          <p:cNvPr id="3" name="Titel 2">
            <a:extLst>
              <a:ext uri="{FF2B5EF4-FFF2-40B4-BE49-F238E27FC236}">
                <a16:creationId xmlns:a16="http://schemas.microsoft.com/office/drawing/2014/main" id="{DADBC550-C32C-44CF-98CF-86E220087C06}"/>
              </a:ext>
            </a:extLst>
          </p:cNvPr>
          <p:cNvSpPr>
            <a:spLocks noGrp="1"/>
          </p:cNvSpPr>
          <p:nvPr>
            <p:ph type="title"/>
          </p:nvPr>
        </p:nvSpPr>
        <p:spPr/>
        <p:txBody>
          <a:bodyPr vert="horz"/>
          <a:lstStyle/>
          <a:p>
            <a:r>
              <a:rPr lang="en-US" dirty="0"/>
              <a:t>Comparison with competitor products: Superior taste-masking performance</a:t>
            </a:r>
          </a:p>
        </p:txBody>
      </p:sp>
      <p:sp>
        <p:nvSpPr>
          <p:cNvPr id="5" name="Foliennummernplatzhalter 4">
            <a:extLst>
              <a:ext uri="{FF2B5EF4-FFF2-40B4-BE49-F238E27FC236}">
                <a16:creationId xmlns:a16="http://schemas.microsoft.com/office/drawing/2014/main" id="{C47EB140-9C1F-4787-9F51-97269CA38C68}"/>
              </a:ext>
            </a:extLst>
          </p:cNvPr>
          <p:cNvSpPr>
            <a:spLocks noGrp="1"/>
          </p:cNvSpPr>
          <p:nvPr>
            <p:ph type="sldNum" sz="quarter" idx="4"/>
          </p:nvPr>
        </p:nvSpPr>
        <p:spPr>
          <a:xfrm>
            <a:off x="225167" y="6555283"/>
            <a:ext cx="288200" cy="151200"/>
          </a:xfrm>
          <a:prstGeom prst="rect">
            <a:avLst/>
          </a:prstGeom>
        </p:spPr>
        <p:txBody>
          <a:bodyPr lIns="0" tIns="0" rIns="0" bIns="0"/>
          <a:lstStyle>
            <a:defPPr>
              <a:defRPr lang="de-DE"/>
            </a:defPPr>
            <a:lvl1pPr marL="0" algn="l" defTabSz="914400" rtl="0" eaLnBrk="1" latinLnBrk="0" hangingPunct="1">
              <a:defRPr sz="675"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2EA1D04-CA53-4DE3-84A8-2B63E41036C9}" type="slidenum">
              <a:rPr lang="en-US" smtClean="0"/>
              <a:pPr>
                <a:defRPr/>
              </a:pPr>
              <a:t>77</a:t>
            </a:fld>
            <a:endParaRPr lang="en-US" sz="675" b="1" dirty="0">
              <a:solidFill>
                <a:srgbClr val="000000"/>
              </a:solidFill>
              <a:latin typeface="Arial" panose="020B0604020202020204"/>
              <a:cs typeface="Arial"/>
            </a:endParaRPr>
          </a:p>
        </p:txBody>
      </p:sp>
      <p:sp>
        <p:nvSpPr>
          <p:cNvPr id="20" name="Rechteck 19">
            <a:extLst>
              <a:ext uri="{FF2B5EF4-FFF2-40B4-BE49-F238E27FC236}">
                <a16:creationId xmlns:a16="http://schemas.microsoft.com/office/drawing/2014/main" id="{6ED1B9BC-DDFD-43D1-869B-C4522489FDA6}"/>
              </a:ext>
            </a:extLst>
          </p:cNvPr>
          <p:cNvSpPr/>
          <p:nvPr/>
        </p:nvSpPr>
        <p:spPr>
          <a:xfrm>
            <a:off x="6629864" y="2342743"/>
            <a:ext cx="2914515" cy="18949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dirty="0">
              <a:solidFill>
                <a:srgbClr val="FFFFFF"/>
              </a:solidFill>
              <a:latin typeface="Arial" panose="020B0604020202020204" pitchFamily="34" charset="0"/>
              <a:cs typeface="Arial" panose="020B0604020202020204" pitchFamily="34" charset="0"/>
            </a:endParaRPr>
          </a:p>
        </p:txBody>
      </p:sp>
      <p:sp>
        <p:nvSpPr>
          <p:cNvPr id="21" name="Rectangle 4">
            <a:extLst>
              <a:ext uri="{FF2B5EF4-FFF2-40B4-BE49-F238E27FC236}">
                <a16:creationId xmlns:a16="http://schemas.microsoft.com/office/drawing/2014/main" id="{C84BB9CE-0330-455B-9A53-50BD2B7D85A6}"/>
              </a:ext>
            </a:extLst>
          </p:cNvPr>
          <p:cNvSpPr>
            <a:spLocks noChangeArrowheads="1"/>
          </p:cNvSpPr>
          <p:nvPr/>
        </p:nvSpPr>
        <p:spPr bwMode="auto">
          <a:xfrm>
            <a:off x="6821953" y="2728914"/>
            <a:ext cx="142875" cy="144463"/>
          </a:xfrm>
          <a:prstGeom prst="rect">
            <a:avLst/>
          </a:prstGeom>
          <a:solidFill>
            <a:schemeClr val="accent1"/>
          </a:solidFill>
          <a:ln>
            <a:noFill/>
          </a:ln>
          <a:effectLst/>
        </p:spPr>
        <p:txBody>
          <a:bodyPr wrap="none" anchor="ctr"/>
          <a:lstStyle/>
          <a:p>
            <a:pPr>
              <a:defRPr/>
            </a:pPr>
            <a:endParaRPr lang="en-US" sz="1600" dirty="0">
              <a:solidFill>
                <a:srgbClr val="000000"/>
              </a:solidFill>
              <a:latin typeface="Arial" panose="020B0604020202020204" pitchFamily="34" charset="0"/>
              <a:cs typeface="Arial" panose="020B0604020202020204" pitchFamily="34" charset="0"/>
            </a:endParaRPr>
          </a:p>
        </p:txBody>
      </p:sp>
      <p:sp>
        <p:nvSpPr>
          <p:cNvPr id="22" name="Text Box 5">
            <a:extLst>
              <a:ext uri="{FF2B5EF4-FFF2-40B4-BE49-F238E27FC236}">
                <a16:creationId xmlns:a16="http://schemas.microsoft.com/office/drawing/2014/main" id="{0685B14E-A23C-46A2-84E9-D3455EC48A43}"/>
              </a:ext>
            </a:extLst>
          </p:cNvPr>
          <p:cNvSpPr txBox="1">
            <a:spLocks noChangeArrowheads="1"/>
          </p:cNvSpPr>
          <p:nvPr/>
        </p:nvSpPr>
        <p:spPr bwMode="auto">
          <a:xfrm>
            <a:off x="6964827" y="2638426"/>
            <a:ext cx="2579552"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defRPr/>
            </a:pPr>
            <a:r>
              <a:rPr lang="en-US" sz="1600" dirty="0">
                <a:solidFill>
                  <a:srgbClr val="000000"/>
                </a:solidFill>
                <a:latin typeface="Arial" panose="020B0604020202020204" pitchFamily="34" charset="0"/>
                <a:cs typeface="Arial" panose="020B0604020202020204" pitchFamily="34" charset="0"/>
              </a:rPr>
              <a:t>Kollicoat</a:t>
            </a:r>
            <a:r>
              <a:rPr lang="en-US" sz="1600" baseline="30000" dirty="0">
                <a:solidFill>
                  <a:srgbClr val="000000"/>
                </a:solidFill>
                <a:latin typeface="Arial" panose="020B0604020202020204" pitchFamily="34" charset="0"/>
                <a:cs typeface="Arial" panose="020B0604020202020204" pitchFamily="34" charset="0"/>
              </a:rPr>
              <a:t>®</a:t>
            </a:r>
            <a:r>
              <a:rPr lang="en-US" sz="1600" dirty="0">
                <a:solidFill>
                  <a:srgbClr val="000000"/>
                </a:solidFill>
                <a:latin typeface="Arial" panose="020B0604020202020204" pitchFamily="34" charset="0"/>
                <a:cs typeface="Arial" panose="020B0604020202020204" pitchFamily="34" charset="0"/>
              </a:rPr>
              <a:t> Smartseal 30 D</a:t>
            </a:r>
          </a:p>
        </p:txBody>
      </p:sp>
      <p:sp>
        <p:nvSpPr>
          <p:cNvPr id="23" name="Rectangle 6">
            <a:extLst>
              <a:ext uri="{FF2B5EF4-FFF2-40B4-BE49-F238E27FC236}">
                <a16:creationId xmlns:a16="http://schemas.microsoft.com/office/drawing/2014/main" id="{63789E0E-83DE-467D-9651-97624E869989}"/>
              </a:ext>
            </a:extLst>
          </p:cNvPr>
          <p:cNvSpPr>
            <a:spLocks noChangeArrowheads="1"/>
          </p:cNvSpPr>
          <p:nvPr/>
        </p:nvSpPr>
        <p:spPr bwMode="auto">
          <a:xfrm>
            <a:off x="6821953" y="3172397"/>
            <a:ext cx="142875" cy="144463"/>
          </a:xfrm>
          <a:prstGeom prst="rect">
            <a:avLst/>
          </a:prstGeom>
          <a:solidFill>
            <a:srgbClr val="A6C0DA"/>
          </a:solidFill>
          <a:ln>
            <a:noFill/>
          </a:ln>
          <a:effectLst/>
        </p:spPr>
        <p:txBody>
          <a:bodyPr wrap="none" anchor="ctr"/>
          <a:lstStyle/>
          <a:p>
            <a:pPr>
              <a:defRPr/>
            </a:pPr>
            <a:endParaRPr lang="en-US" sz="1600" dirty="0">
              <a:solidFill>
                <a:srgbClr val="000000"/>
              </a:solidFill>
              <a:latin typeface="Arial" panose="020B0604020202020204" pitchFamily="34" charset="0"/>
              <a:cs typeface="Arial" panose="020B0604020202020204" pitchFamily="34" charset="0"/>
            </a:endParaRPr>
          </a:p>
        </p:txBody>
      </p:sp>
      <p:sp>
        <p:nvSpPr>
          <p:cNvPr id="24" name="Text Box 7">
            <a:extLst>
              <a:ext uri="{FF2B5EF4-FFF2-40B4-BE49-F238E27FC236}">
                <a16:creationId xmlns:a16="http://schemas.microsoft.com/office/drawing/2014/main" id="{212A7206-BF44-4111-B5BC-B46BC00EF659}"/>
              </a:ext>
            </a:extLst>
          </p:cNvPr>
          <p:cNvSpPr txBox="1">
            <a:spLocks noChangeArrowheads="1"/>
          </p:cNvSpPr>
          <p:nvPr/>
        </p:nvSpPr>
        <p:spPr bwMode="auto">
          <a:xfrm>
            <a:off x="6964828" y="3090738"/>
            <a:ext cx="2106613"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defRPr/>
            </a:pPr>
            <a:r>
              <a:rPr lang="en-US" sz="1600" dirty="0">
                <a:solidFill>
                  <a:srgbClr val="000000"/>
                </a:solidFill>
                <a:latin typeface="Arial" panose="020B0604020202020204" pitchFamily="34" charset="0"/>
                <a:cs typeface="Arial" panose="020B0604020202020204" pitchFamily="34" charset="0"/>
              </a:rPr>
              <a:t>E PO competitor</a:t>
            </a:r>
          </a:p>
        </p:txBody>
      </p:sp>
      <p:sp>
        <p:nvSpPr>
          <p:cNvPr id="25" name="Rectangle 8">
            <a:extLst>
              <a:ext uri="{FF2B5EF4-FFF2-40B4-BE49-F238E27FC236}">
                <a16:creationId xmlns:a16="http://schemas.microsoft.com/office/drawing/2014/main" id="{9B4EDA02-81A7-4C67-8501-0A365D33B255}"/>
              </a:ext>
            </a:extLst>
          </p:cNvPr>
          <p:cNvSpPr>
            <a:spLocks noChangeArrowheads="1"/>
          </p:cNvSpPr>
          <p:nvPr/>
        </p:nvSpPr>
        <p:spPr bwMode="auto">
          <a:xfrm>
            <a:off x="6829890" y="3669383"/>
            <a:ext cx="142875" cy="144462"/>
          </a:xfrm>
          <a:prstGeom prst="rect">
            <a:avLst/>
          </a:prstGeom>
          <a:solidFill>
            <a:schemeClr val="accent3"/>
          </a:solidFill>
          <a:ln>
            <a:noFill/>
          </a:ln>
          <a:effectLst/>
        </p:spPr>
        <p:txBody>
          <a:bodyPr wrap="none" anchor="ctr"/>
          <a:lstStyle/>
          <a:p>
            <a:pPr>
              <a:defRPr/>
            </a:pPr>
            <a:endParaRPr lang="en-US" sz="1600" dirty="0">
              <a:solidFill>
                <a:srgbClr val="000000"/>
              </a:solidFill>
              <a:latin typeface="Arial" panose="020B0604020202020204" pitchFamily="34" charset="0"/>
              <a:cs typeface="Arial" panose="020B0604020202020204" pitchFamily="34" charset="0"/>
            </a:endParaRPr>
          </a:p>
        </p:txBody>
      </p:sp>
      <p:sp>
        <p:nvSpPr>
          <p:cNvPr id="26" name="Text Box 9">
            <a:extLst>
              <a:ext uri="{FF2B5EF4-FFF2-40B4-BE49-F238E27FC236}">
                <a16:creationId xmlns:a16="http://schemas.microsoft.com/office/drawing/2014/main" id="{E25F7830-25D5-4C20-A813-9A105255AF83}"/>
              </a:ext>
            </a:extLst>
          </p:cNvPr>
          <p:cNvSpPr txBox="1">
            <a:spLocks noChangeArrowheads="1"/>
          </p:cNvSpPr>
          <p:nvPr/>
        </p:nvSpPr>
        <p:spPr bwMode="auto">
          <a:xfrm>
            <a:off x="6975939" y="3578895"/>
            <a:ext cx="247856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defRPr/>
            </a:pPr>
            <a:r>
              <a:rPr lang="en-US" sz="1600" dirty="0">
                <a:solidFill>
                  <a:srgbClr val="000000"/>
                </a:solidFill>
                <a:latin typeface="Arial" panose="020B0604020202020204" pitchFamily="34" charset="0"/>
                <a:cs typeface="Arial" panose="020B0604020202020204" pitchFamily="34" charset="0"/>
              </a:rPr>
              <a:t>HPMC for taste-masking</a:t>
            </a:r>
          </a:p>
        </p:txBody>
      </p:sp>
      <p:sp>
        <p:nvSpPr>
          <p:cNvPr id="38" name="Text Box 5">
            <a:extLst>
              <a:ext uri="{FF2B5EF4-FFF2-40B4-BE49-F238E27FC236}">
                <a16:creationId xmlns:a16="http://schemas.microsoft.com/office/drawing/2014/main" id="{F44F0AAD-72DB-46BE-A85E-D9E34D1E3572}"/>
              </a:ext>
            </a:extLst>
          </p:cNvPr>
          <p:cNvSpPr txBox="1">
            <a:spLocks noChangeArrowheads="1"/>
          </p:cNvSpPr>
          <p:nvPr/>
        </p:nvSpPr>
        <p:spPr bwMode="auto">
          <a:xfrm>
            <a:off x="6964827" y="1966038"/>
            <a:ext cx="208262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defRPr/>
            </a:pPr>
            <a:r>
              <a:rPr lang="en-US" b="1" dirty="0">
                <a:solidFill>
                  <a:schemeClr val="accent1"/>
                </a:solidFill>
                <a:latin typeface="Arial" panose="020B0604020202020204" pitchFamily="34" charset="0"/>
                <a:cs typeface="Arial" panose="020B0604020202020204" pitchFamily="34" charset="0"/>
              </a:rPr>
              <a:t>Coating Polymer:</a:t>
            </a:r>
          </a:p>
        </p:txBody>
      </p:sp>
      <p:sp>
        <p:nvSpPr>
          <p:cNvPr id="39" name="Text Box 3">
            <a:extLst>
              <a:ext uri="{FF2B5EF4-FFF2-40B4-BE49-F238E27FC236}">
                <a16:creationId xmlns:a16="http://schemas.microsoft.com/office/drawing/2014/main" id="{EEBD9E4E-8204-4395-8C0E-A1FDEEAC8486}"/>
              </a:ext>
            </a:extLst>
          </p:cNvPr>
          <p:cNvSpPr txBox="1">
            <a:spLocks noChangeArrowheads="1"/>
          </p:cNvSpPr>
          <p:nvPr/>
        </p:nvSpPr>
        <p:spPr bwMode="auto">
          <a:xfrm>
            <a:off x="508507" y="4919171"/>
            <a:ext cx="6096847"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defRPr/>
            </a:pPr>
            <a:r>
              <a:rPr lang="en-US" altLang="zh-CN" sz="1400" dirty="0">
                <a:solidFill>
                  <a:srgbClr val="000000"/>
                </a:solidFill>
                <a:latin typeface="Arial" panose="020B0604020202020204" pitchFamily="34" charset="0"/>
                <a:ea typeface="黑体" panose="02010609060101010101" pitchFamily="49" charset="-122"/>
                <a:cs typeface="Arial" panose="020B0604020202020204" pitchFamily="34" charset="0"/>
              </a:rPr>
              <a:t>*Number of individuals reporting bitter taste when putting coated quinine HCl (100 mg) tablets for 10 – 30 seconds into the cheek (7 test persons).</a:t>
            </a:r>
            <a:endParaRPr lang="en-US" sz="1400" dirty="0">
              <a:solidFill>
                <a:srgbClr val="000000"/>
              </a:solidFill>
              <a:latin typeface="Arial" panose="020B0604020202020204" pitchFamily="34" charset="0"/>
              <a:ea typeface="SimSun" pitchFamily="2" charset="-122"/>
              <a:cs typeface="Arial" panose="020B0604020202020204" pitchFamily="34" charset="0"/>
            </a:endParaRPr>
          </a:p>
        </p:txBody>
      </p:sp>
      <p:sp>
        <p:nvSpPr>
          <p:cNvPr id="40" name="Text Box 2">
            <a:extLst>
              <a:ext uri="{FF2B5EF4-FFF2-40B4-BE49-F238E27FC236}">
                <a16:creationId xmlns:a16="http://schemas.microsoft.com/office/drawing/2014/main" id="{492E0437-B47D-4827-84F8-2BDDDD987FA2}"/>
              </a:ext>
            </a:extLst>
          </p:cNvPr>
          <p:cNvSpPr txBox="1">
            <a:spLocks noChangeArrowheads="1"/>
          </p:cNvSpPr>
          <p:nvPr/>
        </p:nvSpPr>
        <p:spPr bwMode="auto">
          <a:xfrm rot="10800000">
            <a:off x="293064" y="1742289"/>
            <a:ext cx="430887" cy="2899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defRPr/>
            </a:pPr>
            <a:r>
              <a:rPr lang="en-US" sz="1600" b="1" dirty="0">
                <a:solidFill>
                  <a:srgbClr val="000000"/>
                </a:solidFill>
                <a:latin typeface="Arial" panose="020B0604020202020204" pitchFamily="34" charset="0"/>
                <a:cs typeface="Arial" panose="020B0604020202020204" pitchFamily="34" charset="0"/>
              </a:rPr>
              <a:t>Number of bitter sensations*</a:t>
            </a:r>
          </a:p>
        </p:txBody>
      </p:sp>
      <p:sp>
        <p:nvSpPr>
          <p:cNvPr id="42" name="Rechteck 41">
            <a:extLst>
              <a:ext uri="{FF2B5EF4-FFF2-40B4-BE49-F238E27FC236}">
                <a16:creationId xmlns:a16="http://schemas.microsoft.com/office/drawing/2014/main" id="{FCF38A3D-8ACC-482E-8FE2-B0BD2F585BF9}"/>
              </a:ext>
            </a:extLst>
          </p:cNvPr>
          <p:cNvSpPr/>
          <p:nvPr/>
        </p:nvSpPr>
        <p:spPr>
          <a:xfrm>
            <a:off x="219600" y="5644533"/>
            <a:ext cx="11145086" cy="373436"/>
          </a:xfrm>
          <a:prstGeom prst="rect">
            <a:avLst/>
          </a:prstGeom>
        </p:spPr>
        <p:txBody>
          <a:bodyPr wrap="square">
            <a:spAutoFit/>
          </a:bodyPr>
          <a:lstStyle/>
          <a:p>
            <a:pPr marL="285750" indent="-285750" algn="ctr">
              <a:lnSpc>
                <a:spcPct val="110000"/>
              </a:lnSpc>
              <a:spcAft>
                <a:spcPts val="600"/>
              </a:spcAft>
              <a:buClr>
                <a:schemeClr val="accent1"/>
              </a:buClr>
              <a:buFont typeface="Arial" panose="020B0604020202020204" pitchFamily="34" charset="0"/>
              <a:buChar char="■"/>
              <a:defRPr/>
            </a:pPr>
            <a:r>
              <a:rPr lang="en-US" dirty="0">
                <a:latin typeface="Arial" panose="020B0604020202020204" pitchFamily="34" charset="0"/>
                <a:cs typeface="Arial" panose="020B0604020202020204" pitchFamily="34" charset="0"/>
              </a:rPr>
              <a:t>In line with the dissolution profiles, a superior taste masking was reported by a trained panel. </a:t>
            </a:r>
          </a:p>
        </p:txBody>
      </p:sp>
      <p:graphicFrame>
        <p:nvGraphicFramePr>
          <p:cNvPr id="4" name="Objekt 18">
            <a:extLst>
              <a:ext uri="{FF2B5EF4-FFF2-40B4-BE49-F238E27FC236}">
                <a16:creationId xmlns:a16="http://schemas.microsoft.com/office/drawing/2014/main" id="{E04DA894-082A-A8FE-80C8-BF56C5DBCFB3}"/>
              </a:ext>
            </a:extLst>
          </p:cNvPr>
          <p:cNvGraphicFramePr>
            <a:graphicFrameLocks noChangeAspect="1"/>
          </p:cNvGraphicFramePr>
          <p:nvPr>
            <p:extLst>
              <p:ext uri="{D42A27DB-BD31-4B8C-83A1-F6EECF244321}">
                <p14:modId xmlns:p14="http://schemas.microsoft.com/office/powerpoint/2010/main" val="2455154861"/>
              </p:ext>
            </p:extLst>
          </p:nvPr>
        </p:nvGraphicFramePr>
        <p:xfrm>
          <a:off x="702241" y="1742289"/>
          <a:ext cx="6846531" cy="3052714"/>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feld 8">
            <a:extLst>
              <a:ext uri="{FF2B5EF4-FFF2-40B4-BE49-F238E27FC236}">
                <a16:creationId xmlns:a16="http://schemas.microsoft.com/office/drawing/2014/main" id="{E8A02CBD-CDFE-E2AF-12B6-267DB4784822}"/>
              </a:ext>
            </a:extLst>
          </p:cNvPr>
          <p:cNvSpPr txBox="1"/>
          <p:nvPr/>
        </p:nvSpPr>
        <p:spPr>
          <a:xfrm>
            <a:off x="9744405" y="2782364"/>
            <a:ext cx="2352675"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3946525" algn="r"/>
              </a:tabLst>
              <a:defRPr/>
            </a:pPr>
            <a:r>
              <a:rPr kumimoji="0" lang="en-US" sz="1000" b="1" i="0" u="none" strike="noStrike" kern="1200" cap="none" spc="0" normalizeH="0" baseline="0" noProof="0" dirty="0">
                <a:ln>
                  <a:noFill/>
                </a:ln>
                <a:solidFill>
                  <a:srgbClr val="000000"/>
                </a:solidFill>
                <a:effectLst/>
                <a:uLnTx/>
                <a:uFillTx/>
                <a:latin typeface="Arial" panose="020B0604020202020204"/>
                <a:cs typeface="Arial" pitchFamily="34" charset="0"/>
              </a:rPr>
              <a:t>Tablet: </a:t>
            </a:r>
            <a:r>
              <a:rPr kumimoji="0" lang="en-US" sz="1000" b="0" i="0" u="none" strike="noStrike" kern="1200" cap="none" spc="0" normalizeH="0" baseline="0" noProof="0" dirty="0">
                <a:ln>
                  <a:noFill/>
                </a:ln>
                <a:solidFill>
                  <a:srgbClr val="000000"/>
                </a:solidFill>
                <a:effectLst/>
                <a:uLnTx/>
                <a:uFillTx/>
                <a:latin typeface="Arial" panose="020B0604020202020204"/>
                <a:cs typeface="Arial" pitchFamily="34" charset="0"/>
              </a:rPr>
              <a:t>100 mg quinine HCl, 189 mg Ludipress</a:t>
            </a:r>
            <a:r>
              <a:rPr kumimoji="0" lang="en-US" sz="1000" b="0" i="0" u="none" strike="noStrike" kern="1200" cap="none" spc="0" normalizeH="0" baseline="30000" noProof="0" dirty="0">
                <a:ln>
                  <a:noFill/>
                </a:ln>
                <a:solidFill>
                  <a:srgbClr val="000000"/>
                </a:solidFill>
                <a:effectLst/>
                <a:uLnTx/>
                <a:uFillTx/>
                <a:latin typeface="Arial" panose="020B0604020202020204"/>
                <a:cs typeface="Arial" pitchFamily="34" charset="0"/>
              </a:rPr>
              <a:t>®</a:t>
            </a:r>
            <a:r>
              <a:rPr kumimoji="0" lang="en-US" sz="1000" b="0" i="0" u="none" strike="noStrike" kern="1200" cap="none" spc="0" normalizeH="0" baseline="0" noProof="0" dirty="0">
                <a:ln>
                  <a:noFill/>
                </a:ln>
                <a:solidFill>
                  <a:srgbClr val="000000"/>
                </a:solidFill>
                <a:effectLst/>
                <a:uLnTx/>
                <a:uFillTx/>
                <a:latin typeface="Arial" panose="020B0604020202020204"/>
                <a:cs typeface="Arial" pitchFamily="34" charset="0"/>
              </a:rPr>
              <a:t>, 37 mg Avicel® PH 101, 1 mg Mg-stearate, 0.3 mg Aerosil 200 Pharma; </a:t>
            </a:r>
            <a:r>
              <a:rPr kumimoji="0" lang="en-US" sz="1000" b="1" i="0" u="none" strike="noStrike" kern="1200" cap="none" spc="0" normalizeH="0" baseline="0" noProof="0" dirty="0">
                <a:ln>
                  <a:noFill/>
                </a:ln>
                <a:solidFill>
                  <a:srgbClr val="000000"/>
                </a:solidFill>
                <a:effectLst/>
                <a:uLnTx/>
                <a:uFillTx/>
                <a:latin typeface="Arial" pitchFamily="34" charset="0"/>
                <a:cs typeface="Arial" pitchFamily="34" charset="0"/>
              </a:rPr>
              <a:t>Coating: </a:t>
            </a:r>
            <a:r>
              <a:rPr kumimoji="0" lang="en-US" sz="1000" b="0" i="0" u="none" strike="noStrike" kern="1200" cap="none" spc="0" normalizeH="0" baseline="0" noProof="0" dirty="0">
                <a:ln>
                  <a:noFill/>
                </a:ln>
                <a:solidFill>
                  <a:srgbClr val="000000"/>
                </a:solidFill>
                <a:effectLst/>
                <a:uLnTx/>
                <a:uFillTx/>
                <a:latin typeface="Arial" pitchFamily="34" charset="0"/>
                <a:cs typeface="Arial" pitchFamily="34" charset="0"/>
              </a:rPr>
              <a:t>90.9% Kollicoat</a:t>
            </a:r>
            <a:r>
              <a:rPr kumimoji="0" lang="en-US" sz="1000" b="0" i="0" u="none" strike="noStrike" kern="1200" cap="none" spc="0" normalizeH="0" baseline="30000" noProof="0" dirty="0">
                <a:ln>
                  <a:noFill/>
                </a:ln>
                <a:solidFill>
                  <a:srgbClr val="000000"/>
                </a:solidFill>
                <a:effectLst/>
                <a:uLnTx/>
                <a:uFillTx/>
                <a:latin typeface="Arial" pitchFamily="34" charset="0"/>
                <a:cs typeface="Arial" pitchFamily="34" charset="0"/>
              </a:rPr>
              <a:t>®</a:t>
            </a:r>
            <a:r>
              <a:rPr kumimoji="0" lang="en-US" sz="1000" b="0" i="0" u="none" strike="noStrike" kern="1200" cap="none" spc="0" normalizeH="0" baseline="0" noProof="0" dirty="0">
                <a:ln>
                  <a:noFill/>
                </a:ln>
                <a:solidFill>
                  <a:srgbClr val="000000"/>
                </a:solidFill>
                <a:effectLst/>
                <a:uLnTx/>
                <a:uFillTx/>
                <a:latin typeface="Arial" pitchFamily="34" charset="0"/>
                <a:cs typeface="Arial" pitchFamily="34" charset="0"/>
              </a:rPr>
              <a:t> Smartseal 30 DP with 13% TEC; 2.5% BHT, 40% talc, 2% iron oxide. </a:t>
            </a:r>
            <a:r>
              <a:rPr kumimoji="0" lang="en-US" sz="1000" b="0" i="0" u="none" strike="noStrike" kern="1200" cap="none" spc="0" normalizeH="0" baseline="0" noProof="0" dirty="0">
                <a:ln>
                  <a:noFill/>
                </a:ln>
                <a:solidFill>
                  <a:srgbClr val="000000"/>
                </a:solidFill>
                <a:effectLst/>
                <a:uLnTx/>
                <a:uFillTx/>
                <a:latin typeface="Arial" panose="020B0604020202020204"/>
                <a:cs typeface="Arial" pitchFamily="34" charset="0"/>
              </a:rPr>
              <a:t>	</a:t>
            </a:r>
          </a:p>
        </p:txBody>
      </p:sp>
      <p:sp>
        <p:nvSpPr>
          <p:cNvPr id="11" name="Rechteck 15">
            <a:extLst>
              <a:ext uri="{FF2B5EF4-FFF2-40B4-BE49-F238E27FC236}">
                <a16:creationId xmlns:a16="http://schemas.microsoft.com/office/drawing/2014/main" id="{F52F484F-8339-046C-FB38-1E4E4AD751B3}"/>
              </a:ext>
            </a:extLst>
          </p:cNvPr>
          <p:cNvSpPr/>
          <p:nvPr/>
        </p:nvSpPr>
        <p:spPr>
          <a:xfrm>
            <a:off x="6453838" y="4262819"/>
            <a:ext cx="3522765" cy="21544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u="none" strike="noStrike" kern="1200" cap="none" spc="0" normalizeH="0" baseline="0" noProof="0" dirty="0">
                <a:ln>
                  <a:noFill/>
                </a:ln>
                <a:solidFill>
                  <a:srgbClr val="000000"/>
                </a:solidFill>
                <a:effectLst/>
                <a:uLnTx/>
                <a:uFillTx/>
                <a:latin typeface="Arial" panose="020B0604020202020204"/>
                <a:cs typeface="Arial"/>
              </a:rPr>
              <a:t>F. Guth, K. Kolter; Launch Presentation “Kollicoat® Smartseal 30 D” 2010</a:t>
            </a:r>
          </a:p>
        </p:txBody>
      </p:sp>
      <p:sp>
        <p:nvSpPr>
          <p:cNvPr id="6" name="Footer Placeholder 11">
            <a:extLst>
              <a:ext uri="{FF2B5EF4-FFF2-40B4-BE49-F238E27FC236}">
                <a16:creationId xmlns:a16="http://schemas.microsoft.com/office/drawing/2014/main" id="{0C653994-D21C-D7E6-FD26-EFB5F98E2E4D}"/>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73517835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D34F69E-A3FA-4C57-B17C-01CA7B25A6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8" name="Object 7" hidden="1">
                        <a:extLst>
                          <a:ext uri="{FF2B5EF4-FFF2-40B4-BE49-F238E27FC236}">
                            <a16:creationId xmlns:a16="http://schemas.microsoft.com/office/drawing/2014/main" id="{FD34F69E-A3FA-4C57-B17C-01CA7B25A6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50" name="Table 49">
            <a:extLst>
              <a:ext uri="{FF2B5EF4-FFF2-40B4-BE49-F238E27FC236}">
                <a16:creationId xmlns:a16="http://schemas.microsoft.com/office/drawing/2014/main" id="{D04BA9E7-0349-4985-9AA6-9755ABB455C2}"/>
              </a:ext>
            </a:extLst>
          </p:cNvPr>
          <p:cNvGraphicFramePr>
            <a:graphicFrameLocks noGrp="1"/>
          </p:cNvGraphicFramePr>
          <p:nvPr>
            <p:extLst>
              <p:ext uri="{D42A27DB-BD31-4B8C-83A1-F6EECF244321}">
                <p14:modId xmlns:p14="http://schemas.microsoft.com/office/powerpoint/2010/main" val="3545618838"/>
              </p:ext>
            </p:extLst>
          </p:nvPr>
        </p:nvGraphicFramePr>
        <p:xfrm>
          <a:off x="923109" y="779055"/>
          <a:ext cx="10155898" cy="5254782"/>
        </p:xfrm>
        <a:graphic>
          <a:graphicData uri="http://schemas.openxmlformats.org/drawingml/2006/table">
            <a:tbl>
              <a:tblPr firstRow="1" bandRow="1">
                <a:tableStyleId>{5C22544A-7EE6-4342-B048-85BDC9FD1C3A}</a:tableStyleId>
              </a:tblPr>
              <a:tblGrid>
                <a:gridCol w="5077949">
                  <a:extLst>
                    <a:ext uri="{9D8B030D-6E8A-4147-A177-3AD203B41FA5}">
                      <a16:colId xmlns:a16="http://schemas.microsoft.com/office/drawing/2014/main" val="2943054488"/>
                    </a:ext>
                  </a:extLst>
                </a:gridCol>
                <a:gridCol w="5077949">
                  <a:extLst>
                    <a:ext uri="{9D8B030D-6E8A-4147-A177-3AD203B41FA5}">
                      <a16:colId xmlns:a16="http://schemas.microsoft.com/office/drawing/2014/main" val="577097687"/>
                    </a:ext>
                  </a:extLst>
                </a:gridCol>
              </a:tblGrid>
              <a:tr h="2627391">
                <a:tc>
                  <a:txBody>
                    <a:bodyPr/>
                    <a:lstStyle/>
                    <a:p>
                      <a:pPr rtl="0"/>
                      <a:endParaRPr lang="en-US" dirty="0"/>
                    </a:p>
                  </a:txBody>
                  <a:tcPr>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noFill/>
                  </a:tcPr>
                </a:tc>
                <a:tc>
                  <a:txBody>
                    <a:bodyPr/>
                    <a:lstStyle/>
                    <a:p>
                      <a:pPr rtl="0"/>
                      <a:endParaRPr lang="en-US" dirty="0"/>
                    </a:p>
                  </a:txBody>
                  <a:tcPr>
                    <a:lnL w="12700" cap="flat" cmpd="sng" algn="ctr">
                      <a:solidFill>
                        <a:schemeClr val="accent1"/>
                      </a:solidFill>
                      <a:prstDash val="solid"/>
                      <a:round/>
                      <a:headEnd type="none" w="med" len="med"/>
                      <a:tailEnd type="none" w="med" len="med"/>
                    </a:lnL>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910188195"/>
                  </a:ext>
                </a:extLst>
              </a:tr>
              <a:tr h="2627391">
                <a:tc>
                  <a:txBody>
                    <a:bodyPr/>
                    <a:lstStyle/>
                    <a:p>
                      <a:pPr rtl="0"/>
                      <a:endParaRPr lang="en-US" dirty="0"/>
                    </a:p>
                  </a:txBody>
                  <a:tcP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noFill/>
                  </a:tcPr>
                </a:tc>
                <a:tc>
                  <a:txBody>
                    <a:bodyPr/>
                    <a:lstStyle/>
                    <a:p>
                      <a:pPr rtl="0"/>
                      <a:endParaRPr lang="en-US" dirty="0"/>
                    </a:p>
                  </a:txBody>
                  <a:tcP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1201976587"/>
                  </a:ext>
                </a:extLst>
              </a:tr>
            </a:tbl>
          </a:graphicData>
        </a:graphic>
      </p:graphicFrame>
      <p:sp>
        <p:nvSpPr>
          <p:cNvPr id="2" name="Title 1">
            <a:extLst>
              <a:ext uri="{FF2B5EF4-FFF2-40B4-BE49-F238E27FC236}">
                <a16:creationId xmlns:a16="http://schemas.microsoft.com/office/drawing/2014/main" id="{055416DD-D4A2-4D5E-9EAB-68F19D70C6AE}"/>
              </a:ext>
            </a:extLst>
          </p:cNvPr>
          <p:cNvSpPr>
            <a:spLocks noGrp="1"/>
          </p:cNvSpPr>
          <p:nvPr>
            <p:ph type="title"/>
          </p:nvPr>
        </p:nvSpPr>
        <p:spPr>
          <a:xfrm>
            <a:off x="391886" y="233036"/>
            <a:ext cx="10020598" cy="853200"/>
          </a:xfrm>
        </p:spPr>
        <p:txBody>
          <a:bodyPr vert="horz"/>
          <a:lstStyle/>
          <a:p>
            <a:r>
              <a:rPr lang="en-US" dirty="0"/>
              <a:t>Smell analysis: Pure polymer and coated caffeine granules</a:t>
            </a:r>
          </a:p>
        </p:txBody>
      </p:sp>
      <p:pic>
        <p:nvPicPr>
          <p:cNvPr id="12" name="Picture 11">
            <a:extLst>
              <a:ext uri="{FF2B5EF4-FFF2-40B4-BE49-F238E27FC236}">
                <a16:creationId xmlns:a16="http://schemas.microsoft.com/office/drawing/2014/main" id="{51B72B36-5E6F-4106-8336-2F95FC128051}"/>
              </a:ext>
            </a:extLst>
          </p:cNvPr>
          <p:cNvPicPr>
            <a:picLocks noChangeAspect="1"/>
          </p:cNvPicPr>
          <p:nvPr/>
        </p:nvPicPr>
        <p:blipFill>
          <a:blip r:embed="rId7" cstate="email">
            <a:extLst>
              <a:ext uri="{BEBA8EAE-BF5A-486C-A8C5-ECC9F3942E4B}">
                <a14:imgProps xmlns:a14="http://schemas.microsoft.com/office/drawing/2010/main">
                  <a14:imgLayer r:embed="rId8">
                    <a14:imgEffect>
                      <a14:backgroundRemoval t="6286" b="91143" l="4000" r="95429">
                        <a14:foregroundMark x1="10000" y1="45286" x2="12000" y2="53857"/>
                        <a14:foregroundMark x1="8143" y1="46429" x2="9429" y2="52857"/>
                        <a14:foregroundMark x1="5857" y1="49714" x2="4000" y2="50000"/>
                        <a14:foregroundMark x1="6143" y1="48143" x2="6571" y2="51571"/>
                        <a14:foregroundMark x1="33286" y1="27714" x2="33286" y2="27714"/>
                        <a14:foregroundMark x1="35286" y1="24143" x2="34714" y2="25714"/>
                        <a14:foregroundMark x1="71143" y1="47714" x2="71143" y2="49000"/>
                        <a14:foregroundMark x1="69143" y1="48143" x2="69714" y2="49429"/>
                        <a14:foregroundMark x1="44571" y1="89286" x2="56000" y2="89000"/>
                        <a14:foregroundMark x1="56000" y1="89000" x2="56714" y2="88429"/>
                        <a14:foregroundMark x1="45429" y1="91143" x2="57143" y2="89000"/>
                        <a14:foregroundMark x1="57143" y1="89000" x2="59571" y2="85714"/>
                        <a14:foregroundMark x1="88000" y1="44286" x2="88286" y2="55429"/>
                        <a14:foregroundMark x1="89000" y1="45286" x2="86429" y2="55143"/>
                        <a14:foregroundMark x1="91143" y1="49000" x2="91143" y2="49000"/>
                        <a14:foregroundMark x1="95429" y1="49286" x2="95429" y2="49286"/>
                        <a14:foregroundMark x1="51000" y1="6286" x2="51000" y2="6286"/>
                      </a14:backgroundRemoval>
                    </a14:imgEffect>
                  </a14:imgLayer>
                </a14:imgProps>
              </a:ext>
              <a:ext uri="{28A0092B-C50C-407E-A947-70E740481C1C}">
                <a14:useLocalDpi xmlns:a14="http://schemas.microsoft.com/office/drawing/2010/main"/>
              </a:ext>
            </a:extLst>
          </a:blip>
          <a:stretch>
            <a:fillRect/>
          </a:stretch>
        </p:blipFill>
        <p:spPr>
          <a:xfrm>
            <a:off x="6521554" y="1070914"/>
            <a:ext cx="1122682" cy="1122682"/>
          </a:xfrm>
          <a:prstGeom prst="rect">
            <a:avLst/>
          </a:prstGeom>
        </p:spPr>
      </p:pic>
      <p:pic>
        <p:nvPicPr>
          <p:cNvPr id="6" name="Picture 5">
            <a:extLst>
              <a:ext uri="{FF2B5EF4-FFF2-40B4-BE49-F238E27FC236}">
                <a16:creationId xmlns:a16="http://schemas.microsoft.com/office/drawing/2014/main" id="{71AF5C2C-D150-4A42-9C1E-24438E8025F1}"/>
              </a:ext>
            </a:extLst>
          </p:cNvPr>
          <p:cNvPicPr>
            <a:picLocks noChangeAspect="1"/>
          </p:cNvPicPr>
          <p:nvPr/>
        </p:nvPicPr>
        <p:blipFill>
          <a:blip r:embed="rId9" cstate="email">
            <a:extLst>
              <a:ext uri="{BEBA8EAE-BF5A-486C-A8C5-ECC9F3942E4B}">
                <a14:imgProps xmlns:a14="http://schemas.microsoft.com/office/drawing/2010/main">
                  <a14:imgLayer r:embed="rId10">
                    <a14:imgEffect>
                      <a14:backgroundRemoval t="4898" b="94796" l="3616" r="95763">
                        <a14:foregroundMark x1="11412" y1="36480" x2="11412" y2="36480"/>
                        <a14:foregroundMark x1="6949" y1="21786" x2="17938" y2="24337"/>
                        <a14:foregroundMark x1="17938" y1="24337" x2="21469" y2="31939"/>
                        <a14:foregroundMark x1="21469" y1="31939" x2="21554" y2="41531"/>
                        <a14:foregroundMark x1="21554" y1="41531" x2="19096" y2="50561"/>
                        <a14:foregroundMark x1="19096" y1="50561" x2="13814" y2="55153"/>
                        <a14:foregroundMark x1="13814" y1="55153" x2="8333" y2="51888"/>
                        <a14:foregroundMark x1="8333" y1="51888" x2="4011" y2="45918"/>
                        <a14:foregroundMark x1="4011" y1="45918" x2="3672" y2="34592"/>
                        <a14:foregroundMark x1="3672" y1="34592" x2="7401" y2="21786"/>
                        <a14:foregroundMark x1="34124" y1="5459" x2="43362" y2="10000"/>
                        <a14:foregroundMark x1="64774" y1="4898" x2="64774" y2="4898"/>
                        <a14:foregroundMark x1="46525" y1="89082" x2="51582" y2="92857"/>
                        <a14:foregroundMark x1="51582" y1="92857" x2="62062" y2="88724"/>
                        <a14:foregroundMark x1="89350" y1="38622" x2="94463" y2="42704"/>
                        <a14:foregroundMark x1="94463" y1="42704" x2="97203" y2="61786"/>
                        <a14:foregroundMark x1="97203" y1="61786" x2="92571" y2="67755"/>
                        <a14:foregroundMark x1="92571" y1="67755" x2="90424" y2="68673"/>
                        <a14:foregroundMark x1="95537" y1="45714" x2="95763" y2="65918"/>
                        <a14:foregroundMark x1="95763" y1="65918" x2="95424" y2="66327"/>
                        <a14:foregroundMark x1="73362" y1="93214" x2="73362" y2="93214"/>
                        <a14:foregroundMark x1="48475" y1="94796" x2="48475" y2="94796"/>
                      </a14:backgroundRemoval>
                    </a14:imgEffect>
                  </a14:imgLayer>
                </a14:imgProps>
              </a:ext>
              <a:ext uri="{28A0092B-C50C-407E-A947-70E740481C1C}">
                <a14:useLocalDpi xmlns:a14="http://schemas.microsoft.com/office/drawing/2010/main"/>
              </a:ext>
            </a:extLst>
          </a:blip>
          <a:stretch>
            <a:fillRect/>
          </a:stretch>
        </p:blipFill>
        <p:spPr>
          <a:xfrm>
            <a:off x="4544704" y="5469155"/>
            <a:ext cx="1380838" cy="848363"/>
          </a:xfrm>
          <a:prstGeom prst="rect">
            <a:avLst/>
          </a:prstGeom>
        </p:spPr>
      </p:pic>
      <p:grpSp>
        <p:nvGrpSpPr>
          <p:cNvPr id="21" name="Group 20">
            <a:extLst>
              <a:ext uri="{FF2B5EF4-FFF2-40B4-BE49-F238E27FC236}">
                <a16:creationId xmlns:a16="http://schemas.microsoft.com/office/drawing/2014/main" id="{5F4EF5FE-C9EB-423D-A99D-717B6A8A776B}"/>
              </a:ext>
            </a:extLst>
          </p:cNvPr>
          <p:cNvGrpSpPr/>
          <p:nvPr/>
        </p:nvGrpSpPr>
        <p:grpSpPr>
          <a:xfrm>
            <a:off x="2263807" y="1087276"/>
            <a:ext cx="3573797" cy="2501588"/>
            <a:chOff x="977557" y="3382523"/>
            <a:chExt cx="3370268" cy="2501588"/>
          </a:xfrm>
        </p:grpSpPr>
        <p:sp>
          <p:nvSpPr>
            <p:cNvPr id="9" name="TextBox 8">
              <a:extLst>
                <a:ext uri="{FF2B5EF4-FFF2-40B4-BE49-F238E27FC236}">
                  <a16:creationId xmlns:a16="http://schemas.microsoft.com/office/drawing/2014/main" id="{C8CF9EC6-5372-4BDD-9E38-978BD4CA803A}"/>
                </a:ext>
              </a:extLst>
            </p:cNvPr>
            <p:cNvSpPr txBox="1"/>
            <p:nvPr/>
          </p:nvSpPr>
          <p:spPr>
            <a:xfrm>
              <a:off x="977557" y="3382523"/>
              <a:ext cx="3123281" cy="312330"/>
            </a:xfrm>
            <a:prstGeom prst="rect">
              <a:avLst/>
            </a:prstGeom>
            <a:solidFill>
              <a:srgbClr val="FFFFFF"/>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10000"/>
                </a:lnSpc>
                <a:spcBef>
                  <a:spcPts val="0"/>
                </a:spcBef>
                <a:spcAft>
                  <a:spcPts val="0"/>
                </a:spcAft>
                <a:buClr>
                  <a:srgbClr val="9BD4EB"/>
                </a:buClr>
                <a:buSzTx/>
                <a:buFontTx/>
                <a:buNone/>
                <a:tabLst/>
                <a:defRPr/>
              </a:pPr>
              <a:r>
                <a:rPr kumimoji="0" lang="en-US" sz="2000" b="1" i="0" u="none" strike="noStrike" kern="0" cap="none" spc="0" normalizeH="0" baseline="0" noProof="0" dirty="0">
                  <a:ln>
                    <a:noFill/>
                  </a:ln>
                  <a:solidFill>
                    <a:srgbClr val="000000"/>
                  </a:solidFill>
                  <a:effectLst/>
                  <a:uLnTx/>
                  <a:uFillTx/>
                  <a:latin typeface="Arial" panose="020B0604020202020204"/>
                  <a:cs typeface="Arial"/>
                  <a:sym typeface="Arial"/>
                </a:rPr>
                <a:t>Kollicoat</a:t>
              </a:r>
              <a:r>
                <a:rPr kumimoji="0" lang="en-US" sz="2000" b="1" i="0" u="none" strike="noStrike" kern="0" cap="none" spc="0" normalizeH="0" baseline="30000" noProof="0" dirty="0">
                  <a:ln>
                    <a:noFill/>
                  </a:ln>
                  <a:solidFill>
                    <a:srgbClr val="000000"/>
                  </a:solidFill>
                  <a:effectLst/>
                  <a:uLnTx/>
                  <a:uFillTx/>
                  <a:latin typeface="Arial" panose="020B0604020202020204"/>
                  <a:cs typeface="Arial"/>
                  <a:sym typeface="Arial"/>
                </a:rPr>
                <a:t>®</a:t>
              </a:r>
              <a:r>
                <a:rPr kumimoji="0" lang="en-US" sz="2000" b="1" i="0" u="none" strike="noStrike" kern="0" cap="none" spc="0" normalizeH="0" baseline="0" noProof="0" dirty="0">
                  <a:ln>
                    <a:noFill/>
                  </a:ln>
                  <a:solidFill>
                    <a:srgbClr val="000000"/>
                  </a:solidFill>
                  <a:effectLst/>
                  <a:uLnTx/>
                  <a:uFillTx/>
                  <a:latin typeface="Arial" panose="020B0604020202020204"/>
                  <a:cs typeface="Arial"/>
                  <a:sym typeface="Arial"/>
                </a:rPr>
                <a:t> Smartseal 30D</a:t>
              </a:r>
            </a:p>
          </p:txBody>
        </p:sp>
        <p:pic>
          <p:nvPicPr>
            <p:cNvPr id="13" name="Picture 12">
              <a:extLst>
                <a:ext uri="{FF2B5EF4-FFF2-40B4-BE49-F238E27FC236}">
                  <a16:creationId xmlns:a16="http://schemas.microsoft.com/office/drawing/2014/main" id="{75A30906-3C6C-4E3A-A49E-9BC51EBDEBFE}"/>
                </a:ext>
              </a:extLst>
            </p:cNvPr>
            <p:cNvPicPr>
              <a:picLocks noChangeAspect="1"/>
            </p:cNvPicPr>
            <p:nvPr/>
          </p:nvPicPr>
          <p:blipFill>
            <a:blip r:embed="rId11" cstate="email">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1819183" y="3693048"/>
              <a:ext cx="2528642" cy="1423264"/>
            </a:xfrm>
            <a:prstGeom prst="rect">
              <a:avLst/>
            </a:prstGeom>
          </p:spPr>
        </p:pic>
        <p:sp>
          <p:nvSpPr>
            <p:cNvPr id="15" name="TextBox 14">
              <a:extLst>
                <a:ext uri="{FF2B5EF4-FFF2-40B4-BE49-F238E27FC236}">
                  <a16:creationId xmlns:a16="http://schemas.microsoft.com/office/drawing/2014/main" id="{B972DA9E-04C1-4659-8C1B-6B1B8FB447FA}"/>
                </a:ext>
              </a:extLst>
            </p:cNvPr>
            <p:cNvSpPr txBox="1"/>
            <p:nvPr/>
          </p:nvSpPr>
          <p:spPr>
            <a:xfrm>
              <a:off x="1120291" y="4324898"/>
              <a:ext cx="1105042" cy="520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10000"/>
                </a:lnSpc>
                <a:spcBef>
                  <a:spcPts val="0"/>
                </a:spcBef>
                <a:spcAft>
                  <a:spcPts val="0"/>
                </a:spcAft>
                <a:buClr>
                  <a:srgbClr val="9BD4EB"/>
                </a:buClr>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a:cs typeface="Arial"/>
                  <a:sym typeface="Arial"/>
                </a:rPr>
                <a:t>After </a:t>
              </a:r>
            </a:p>
            <a:p>
              <a:pPr marL="0" marR="0" lvl="0" indent="0" algn="l" defTabSz="914400" rtl="0" eaLnBrk="1" fontAlgn="auto" latinLnBrk="0" hangingPunct="1">
                <a:lnSpc>
                  <a:spcPct val="110000"/>
                </a:lnSpc>
                <a:spcBef>
                  <a:spcPts val="0"/>
                </a:spcBef>
                <a:spcAft>
                  <a:spcPts val="0"/>
                </a:spcAft>
                <a:buClr>
                  <a:srgbClr val="9BD4EB"/>
                </a:buClr>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a:cs typeface="Arial"/>
                  <a:sym typeface="Arial"/>
                </a:rPr>
                <a:t>1 week…</a:t>
              </a:r>
            </a:p>
          </p:txBody>
        </p:sp>
        <p:pic>
          <p:nvPicPr>
            <p:cNvPr id="19" name="Picture 18">
              <a:extLst>
                <a:ext uri="{FF2B5EF4-FFF2-40B4-BE49-F238E27FC236}">
                  <a16:creationId xmlns:a16="http://schemas.microsoft.com/office/drawing/2014/main" id="{830F20C9-5EEE-434E-8D5F-906E032C588F}"/>
                </a:ext>
              </a:extLst>
            </p:cNvPr>
            <p:cNvPicPr>
              <a:picLocks noChangeAspect="1"/>
            </p:cNvPicPr>
            <p:nvPr/>
          </p:nvPicPr>
          <p:blipFill>
            <a:blip r:embed="rId13" cstate="email">
              <a:extLst>
                <a:ext uri="{BEBA8EAE-BF5A-486C-A8C5-ECC9F3942E4B}">
                  <a14:imgProps xmlns:a14="http://schemas.microsoft.com/office/drawing/2010/main">
                    <a14:imgLayer r:embed="rId14">
                      <a14:imgEffect>
                        <a14:backgroundRemoval t="10000" b="90000" l="8600" r="92500">
                          <a14:foregroundMark x1="8600" y1="55250" x2="8600" y2="55250"/>
                          <a14:foregroundMark x1="91100" y1="31625" x2="91100" y2="31625"/>
                          <a14:foregroundMark x1="92500" y1="67250" x2="92500" y2="67250"/>
                        </a14:backgroundRemoval>
                      </a14:imgEffect>
                    </a14:imgLayer>
                  </a14:imgProps>
                </a:ext>
                <a:ext uri="{28A0092B-C50C-407E-A947-70E740481C1C}">
                  <a14:useLocalDpi xmlns:a14="http://schemas.microsoft.com/office/drawing/2010/main"/>
                </a:ext>
              </a:extLst>
            </a:blip>
            <a:stretch>
              <a:fillRect/>
            </a:stretch>
          </p:blipFill>
          <p:spPr>
            <a:xfrm>
              <a:off x="1659014" y="4810568"/>
              <a:ext cx="1341928" cy="1073543"/>
            </a:xfrm>
            <a:prstGeom prst="rect">
              <a:avLst/>
            </a:prstGeom>
          </p:spPr>
        </p:pic>
      </p:grpSp>
      <p:sp>
        <p:nvSpPr>
          <p:cNvPr id="25" name="TextBox 24">
            <a:extLst>
              <a:ext uri="{FF2B5EF4-FFF2-40B4-BE49-F238E27FC236}">
                <a16:creationId xmlns:a16="http://schemas.microsoft.com/office/drawing/2014/main" id="{1786F977-86BC-40D0-82E1-666B8084CE61}"/>
              </a:ext>
            </a:extLst>
          </p:cNvPr>
          <p:cNvSpPr txBox="1"/>
          <p:nvPr/>
        </p:nvSpPr>
        <p:spPr>
          <a:xfrm>
            <a:off x="2263807" y="3736433"/>
            <a:ext cx="3694490" cy="5259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10000"/>
              </a:lnSpc>
              <a:spcBef>
                <a:spcPts val="0"/>
              </a:spcBef>
              <a:spcAft>
                <a:spcPts val="0"/>
              </a:spcAft>
              <a:buClr>
                <a:srgbClr val="9BD4EB"/>
              </a:buClr>
              <a:buSzTx/>
              <a:buFontTx/>
              <a:buNone/>
              <a:tabLst/>
              <a:defRPr/>
            </a:pPr>
            <a:r>
              <a:rPr kumimoji="0" lang="en-US" sz="2000" b="1" i="0" u="none" strike="noStrike" kern="0" cap="none" spc="0" normalizeH="0" baseline="0" noProof="0" dirty="0">
                <a:ln>
                  <a:noFill/>
                </a:ln>
                <a:solidFill>
                  <a:srgbClr val="000000"/>
                </a:solidFill>
                <a:effectLst/>
                <a:uLnTx/>
                <a:uFillTx/>
                <a:latin typeface="Arial" panose="020B0604020202020204"/>
                <a:cs typeface="Arial"/>
                <a:sym typeface="Arial"/>
              </a:rPr>
              <a:t>Kollicoat</a:t>
            </a:r>
            <a:r>
              <a:rPr kumimoji="0" lang="en-US" sz="2000" b="1" i="0" u="none" strike="noStrike" kern="0" cap="none" spc="0" normalizeH="0" baseline="30000" noProof="0" dirty="0">
                <a:ln>
                  <a:noFill/>
                </a:ln>
                <a:solidFill>
                  <a:srgbClr val="000000"/>
                </a:solidFill>
                <a:effectLst/>
                <a:uLnTx/>
                <a:uFillTx/>
                <a:latin typeface="Arial" panose="020B0604020202020204"/>
                <a:cs typeface="Arial"/>
                <a:sym typeface="Arial"/>
              </a:rPr>
              <a:t>®</a:t>
            </a:r>
            <a:r>
              <a:rPr kumimoji="0" lang="en-US" sz="2000" b="1" i="0" u="none" strike="noStrike" kern="0" cap="none" spc="0" normalizeH="0" baseline="0" noProof="0" dirty="0">
                <a:ln>
                  <a:noFill/>
                </a:ln>
                <a:solidFill>
                  <a:srgbClr val="000000"/>
                </a:solidFill>
                <a:effectLst/>
                <a:uLnTx/>
                <a:uFillTx/>
                <a:latin typeface="Arial" panose="020B0604020202020204"/>
                <a:cs typeface="Arial"/>
                <a:sym typeface="Arial"/>
              </a:rPr>
              <a:t> Smartseal 100 P </a:t>
            </a:r>
            <a:endParaRPr lang="en-US" sz="1200" b="1" kern="0" dirty="0">
              <a:solidFill>
                <a:srgbClr val="000000"/>
              </a:solidFill>
              <a:latin typeface="Arial" panose="020B0604020202020204"/>
              <a:cs typeface="Arial"/>
              <a:sym typeface="Arial"/>
            </a:endParaRPr>
          </a:p>
          <a:p>
            <a:pPr marL="0" marR="0" lvl="0" indent="0" algn="ctr" defTabSz="914400" rtl="0" eaLnBrk="1" fontAlgn="auto" latinLnBrk="0" hangingPunct="1">
              <a:lnSpc>
                <a:spcPct val="110000"/>
              </a:lnSpc>
              <a:spcBef>
                <a:spcPts val="0"/>
              </a:spcBef>
              <a:spcAft>
                <a:spcPts val="0"/>
              </a:spcAft>
              <a:buClr>
                <a:srgbClr val="9BD4EB"/>
              </a:buClr>
              <a:buSzTx/>
              <a:buFontTx/>
              <a:buNone/>
              <a:tabLst/>
              <a:defRPr/>
            </a:pPr>
            <a:r>
              <a:rPr kumimoji="0" lang="en-US" sz="1200" b="1" i="0" u="none" strike="noStrike" kern="0" cap="none" spc="0" normalizeH="0" baseline="0" noProof="0" dirty="0">
                <a:ln>
                  <a:noFill/>
                </a:ln>
                <a:solidFill>
                  <a:srgbClr val="000000"/>
                </a:solidFill>
                <a:effectLst/>
                <a:uLnTx/>
                <a:uFillTx/>
                <a:latin typeface="Arial" panose="020B0604020202020204"/>
                <a:cs typeface="Arial"/>
                <a:sym typeface="Arial"/>
              </a:rPr>
              <a:t> organic coated granules</a:t>
            </a:r>
          </a:p>
        </p:txBody>
      </p:sp>
      <p:sp>
        <p:nvSpPr>
          <p:cNvPr id="29" name="TextBox 28">
            <a:extLst>
              <a:ext uri="{FF2B5EF4-FFF2-40B4-BE49-F238E27FC236}">
                <a16:creationId xmlns:a16="http://schemas.microsoft.com/office/drawing/2014/main" id="{95465E25-6A1C-46D8-9D21-014357FF15D0}"/>
              </a:ext>
            </a:extLst>
          </p:cNvPr>
          <p:cNvSpPr txBox="1"/>
          <p:nvPr/>
        </p:nvSpPr>
        <p:spPr>
          <a:xfrm>
            <a:off x="2752683" y="5157892"/>
            <a:ext cx="1105042" cy="520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10000"/>
              </a:lnSpc>
              <a:spcBef>
                <a:spcPts val="0"/>
              </a:spcBef>
              <a:spcAft>
                <a:spcPts val="0"/>
              </a:spcAft>
              <a:buClr>
                <a:srgbClr val="9BD4EB"/>
              </a:buClr>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a:cs typeface="Arial"/>
                <a:sym typeface="Arial"/>
              </a:rPr>
              <a:t>After </a:t>
            </a:r>
          </a:p>
          <a:p>
            <a:pPr marL="0" marR="0" lvl="0" indent="0" algn="l" defTabSz="914400" rtl="0" eaLnBrk="1" fontAlgn="auto" latinLnBrk="0" hangingPunct="1">
              <a:lnSpc>
                <a:spcPct val="110000"/>
              </a:lnSpc>
              <a:spcBef>
                <a:spcPts val="0"/>
              </a:spcBef>
              <a:spcAft>
                <a:spcPts val="0"/>
              </a:spcAft>
              <a:buClr>
                <a:srgbClr val="9BD4EB"/>
              </a:buClr>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a:cs typeface="Arial"/>
                <a:sym typeface="Arial"/>
              </a:rPr>
              <a:t>1 week…</a:t>
            </a:r>
          </a:p>
        </p:txBody>
      </p:sp>
      <p:pic>
        <p:nvPicPr>
          <p:cNvPr id="30" name="Picture 29">
            <a:extLst>
              <a:ext uri="{FF2B5EF4-FFF2-40B4-BE49-F238E27FC236}">
                <a16:creationId xmlns:a16="http://schemas.microsoft.com/office/drawing/2014/main" id="{5B230F42-34EE-4491-97CA-CAC410983B86}"/>
              </a:ext>
            </a:extLst>
          </p:cNvPr>
          <p:cNvPicPr>
            <a:picLocks noChangeAspect="1"/>
          </p:cNvPicPr>
          <p:nvPr/>
        </p:nvPicPr>
        <p:blipFill>
          <a:blip r:embed="rId15" cstate="email">
            <a:extLst>
              <a:ext uri="{BEBA8EAE-BF5A-486C-A8C5-ECC9F3942E4B}">
                <a14:imgProps xmlns:a14="http://schemas.microsoft.com/office/drawing/2010/main">
                  <a14:imgLayer r:embed="rId16">
                    <a14:imgEffect>
                      <a14:backgroundRemoval t="9115" b="90820" l="9961" r="89974">
                        <a14:foregroundMark x1="40299" y1="7943" x2="50651" y2="9115"/>
                        <a14:foregroundMark x1="50651" y1="9115" x2="58464" y2="15820"/>
                        <a14:foregroundMark x1="67318" y1="13737" x2="67318" y2="13737"/>
                        <a14:foregroundMark x1="26823" y1="34896" x2="47982" y2="26042"/>
                        <a14:foregroundMark x1="68490" y1="25130" x2="79492" y2="24870"/>
                        <a14:foregroundMark x1="79492" y1="24870" x2="69336" y2="29362"/>
                        <a14:foregroundMark x1="69336" y1="29362" x2="67773" y2="29102"/>
                        <a14:foregroundMark x1="80534" y1="26042" x2="80534" y2="26042"/>
                        <a14:foregroundMark x1="65690" y1="12370" x2="63346" y2="14193"/>
                        <a14:foregroundMark x1="65885" y1="14193" x2="65885" y2="14193"/>
                        <a14:foregroundMark x1="67513" y1="14193" x2="67513" y2="14193"/>
                        <a14:foregroundMark x1="55664" y1="89518" x2="65755" y2="90820"/>
                        <a14:foregroundMark x1="65755" y1="90820" x2="79622" y2="87435"/>
                        <a14:foregroundMark x1="11979" y1="69987" x2="15234" y2="74219"/>
                      </a14:backgroundRemoval>
                    </a14:imgEffect>
                  </a14:imgLayer>
                </a14:imgProps>
              </a:ext>
              <a:ext uri="{28A0092B-C50C-407E-A947-70E740481C1C}">
                <a14:useLocalDpi xmlns:a14="http://schemas.microsoft.com/office/drawing/2010/main"/>
              </a:ext>
            </a:extLst>
          </a:blip>
          <a:stretch>
            <a:fillRect/>
          </a:stretch>
        </p:blipFill>
        <p:spPr>
          <a:xfrm>
            <a:off x="3456801" y="4317922"/>
            <a:ext cx="1380838" cy="1380838"/>
          </a:xfrm>
          <a:prstGeom prst="rect">
            <a:avLst/>
          </a:prstGeom>
        </p:spPr>
      </p:pic>
      <p:sp>
        <p:nvSpPr>
          <p:cNvPr id="32" name="TextBox 31">
            <a:extLst>
              <a:ext uri="{FF2B5EF4-FFF2-40B4-BE49-F238E27FC236}">
                <a16:creationId xmlns:a16="http://schemas.microsoft.com/office/drawing/2014/main" id="{E22FE8E0-1DEC-4DC9-8F0D-206EA0979BA4}"/>
              </a:ext>
            </a:extLst>
          </p:cNvPr>
          <p:cNvSpPr txBox="1"/>
          <p:nvPr/>
        </p:nvSpPr>
        <p:spPr>
          <a:xfrm>
            <a:off x="6717155" y="1040009"/>
            <a:ext cx="3949146" cy="5259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10000"/>
              </a:lnSpc>
              <a:spcBef>
                <a:spcPts val="0"/>
              </a:spcBef>
              <a:spcAft>
                <a:spcPts val="0"/>
              </a:spcAft>
              <a:buClr>
                <a:srgbClr val="9BD4EB"/>
              </a:buClr>
              <a:buSzTx/>
              <a:buFontTx/>
              <a:buNone/>
              <a:tabLst/>
              <a:defRPr/>
            </a:pPr>
            <a:r>
              <a:rPr kumimoji="0" lang="en-US" sz="2000" b="1" i="0" u="none" strike="noStrike" kern="0" cap="none" spc="0" normalizeH="0" baseline="0" noProof="0" dirty="0">
                <a:ln>
                  <a:noFill/>
                </a:ln>
                <a:solidFill>
                  <a:srgbClr val="000000"/>
                </a:solidFill>
                <a:effectLst/>
                <a:uLnTx/>
                <a:uFillTx/>
                <a:latin typeface="Arial" panose="020B0604020202020204"/>
                <a:cs typeface="Arial"/>
                <a:sym typeface="Arial"/>
              </a:rPr>
              <a:t>Main competitor </a:t>
            </a:r>
            <a:endParaRPr lang="en-US" sz="1200" b="1" kern="0" dirty="0">
              <a:solidFill>
                <a:srgbClr val="000000"/>
              </a:solidFill>
              <a:latin typeface="Arial" panose="020B0604020202020204"/>
              <a:cs typeface="Arial"/>
              <a:sym typeface="Arial"/>
            </a:endParaRPr>
          </a:p>
          <a:p>
            <a:pPr marL="0" marR="0" lvl="0" indent="0" algn="ctr" defTabSz="914400" rtl="0" eaLnBrk="1" fontAlgn="auto" latinLnBrk="0" hangingPunct="1">
              <a:lnSpc>
                <a:spcPct val="110000"/>
              </a:lnSpc>
              <a:spcBef>
                <a:spcPts val="0"/>
              </a:spcBef>
              <a:spcAft>
                <a:spcPts val="0"/>
              </a:spcAft>
              <a:buClr>
                <a:srgbClr val="9BD4EB"/>
              </a:buClr>
              <a:buSzTx/>
              <a:buFontTx/>
              <a:buNone/>
              <a:tabLst/>
              <a:defRPr/>
            </a:pPr>
            <a:r>
              <a:rPr kumimoji="0" lang="en-US" sz="1200" b="1" i="0" u="none" strike="noStrike" kern="0" cap="none" spc="0" normalizeH="0" baseline="0" noProof="0" dirty="0">
                <a:ln>
                  <a:noFill/>
                </a:ln>
                <a:solidFill>
                  <a:srgbClr val="000000"/>
                </a:solidFill>
                <a:effectLst/>
                <a:uLnTx/>
                <a:uFillTx/>
                <a:latin typeface="Arial" panose="020B0604020202020204"/>
                <a:cs typeface="Arial"/>
                <a:sym typeface="Arial"/>
              </a:rPr>
              <a:t> organic coated granules</a:t>
            </a:r>
          </a:p>
        </p:txBody>
      </p:sp>
      <p:sp>
        <p:nvSpPr>
          <p:cNvPr id="33" name="TextBox 32">
            <a:extLst>
              <a:ext uri="{FF2B5EF4-FFF2-40B4-BE49-F238E27FC236}">
                <a16:creationId xmlns:a16="http://schemas.microsoft.com/office/drawing/2014/main" id="{73F49BBD-B7C1-42DB-8536-4A3D426F26C9}"/>
              </a:ext>
            </a:extLst>
          </p:cNvPr>
          <p:cNvSpPr txBox="1"/>
          <p:nvPr/>
        </p:nvSpPr>
        <p:spPr>
          <a:xfrm>
            <a:off x="6468606" y="3665889"/>
            <a:ext cx="3949145" cy="312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10000"/>
              </a:lnSpc>
              <a:spcBef>
                <a:spcPts val="0"/>
              </a:spcBef>
              <a:spcAft>
                <a:spcPts val="0"/>
              </a:spcAft>
              <a:buClr>
                <a:srgbClr val="9BD4EB"/>
              </a:buClr>
              <a:buSzTx/>
              <a:buFontTx/>
              <a:buNone/>
              <a:tabLst/>
              <a:defRPr/>
            </a:pPr>
            <a:r>
              <a:rPr kumimoji="0" lang="en-US" sz="2000" b="1" i="0" u="none" strike="noStrike" kern="0" cap="none" spc="0" normalizeH="0" baseline="0" noProof="0" dirty="0">
                <a:ln>
                  <a:noFill/>
                </a:ln>
                <a:solidFill>
                  <a:srgbClr val="000000"/>
                </a:solidFill>
                <a:effectLst/>
                <a:uLnTx/>
                <a:uFillTx/>
                <a:latin typeface="Arial" panose="020B0604020202020204"/>
                <a:cs typeface="Arial"/>
                <a:sym typeface="Arial"/>
              </a:rPr>
              <a:t>Indian competitor polymer</a:t>
            </a:r>
          </a:p>
        </p:txBody>
      </p:sp>
      <p:sp>
        <p:nvSpPr>
          <p:cNvPr id="37" name="TextBox 36">
            <a:extLst>
              <a:ext uri="{FF2B5EF4-FFF2-40B4-BE49-F238E27FC236}">
                <a16:creationId xmlns:a16="http://schemas.microsoft.com/office/drawing/2014/main" id="{DF5C419C-EFFB-4D74-9D12-21C9F78F53BE}"/>
              </a:ext>
            </a:extLst>
          </p:cNvPr>
          <p:cNvSpPr txBox="1"/>
          <p:nvPr/>
        </p:nvSpPr>
        <p:spPr>
          <a:xfrm>
            <a:off x="6191153" y="5753120"/>
            <a:ext cx="2906167" cy="24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10000"/>
              </a:lnSpc>
              <a:spcBef>
                <a:spcPts val="0"/>
              </a:spcBef>
              <a:spcAft>
                <a:spcPts val="0"/>
              </a:spcAft>
              <a:buClr>
                <a:srgbClr val="9BD4EB"/>
              </a:buClr>
              <a:buSzTx/>
              <a:buFontTx/>
              <a:buNone/>
              <a:tabLst/>
              <a:defRPr/>
            </a:pPr>
            <a:r>
              <a:rPr kumimoji="0" lang="en-US" sz="1600" b="1" i="0" u="none" strike="noStrike" kern="0" cap="none" spc="0" normalizeH="0" baseline="0" noProof="0" dirty="0">
                <a:ln>
                  <a:noFill/>
                </a:ln>
                <a:solidFill>
                  <a:srgbClr val="C50022"/>
                </a:solidFill>
                <a:effectLst/>
                <a:uLnTx/>
                <a:uFillTx/>
                <a:latin typeface="Arial" panose="020B0604020202020204"/>
                <a:cs typeface="Arial"/>
                <a:sym typeface="Arial"/>
              </a:rPr>
              <a:t>Granule smell burned nose!</a:t>
            </a:r>
          </a:p>
        </p:txBody>
      </p:sp>
      <p:pic>
        <p:nvPicPr>
          <p:cNvPr id="39" name="Picture 38">
            <a:extLst>
              <a:ext uri="{FF2B5EF4-FFF2-40B4-BE49-F238E27FC236}">
                <a16:creationId xmlns:a16="http://schemas.microsoft.com/office/drawing/2014/main" id="{BE0CFA16-4968-48C3-8CC5-2790F9FE0C1D}"/>
              </a:ext>
            </a:extLst>
          </p:cNvPr>
          <p:cNvPicPr>
            <a:picLocks noChangeAspect="1"/>
          </p:cNvPicPr>
          <p:nvPr/>
        </p:nvPicPr>
        <p:blipFill>
          <a:blip r:embed="rId17" cstate="email">
            <a:extLst>
              <a:ext uri="{BEBA8EAE-BF5A-486C-A8C5-ECC9F3942E4B}">
                <a14:imgProps xmlns:a14="http://schemas.microsoft.com/office/drawing/2010/main">
                  <a14:imgLayer r:embed="rId18">
                    <a14:imgEffect>
                      <a14:backgroundRemoval t="4137" b="91727" l="3376" r="96203">
                        <a14:foregroundMark x1="67932" y1="7014" x2="45359" y2="9532"/>
                        <a14:foregroundMark x1="45359" y1="9532" x2="37342" y2="13489"/>
                        <a14:foregroundMark x1="37342" y1="13489" x2="27848" y2="14388"/>
                        <a14:foregroundMark x1="27848" y1="14388" x2="13291" y2="28417"/>
                        <a14:foregroundMark x1="13291" y1="28417" x2="6962" y2="44604"/>
                        <a14:foregroundMark x1="6962" y1="44604" x2="6540" y2="53417"/>
                        <a14:foregroundMark x1="6540" y1="53417" x2="10127" y2="60432"/>
                        <a14:foregroundMark x1="4008" y1="54317" x2="4852" y2="46043"/>
                        <a14:foregroundMark x1="4852" y1="46043" x2="9283" y2="32914"/>
                        <a14:foregroundMark x1="11392" y1="27878" x2="11392" y2="27878"/>
                        <a14:foregroundMark x1="10970" y1="30576" x2="22574" y2="16367"/>
                        <a14:foregroundMark x1="22574" y1="16367" x2="28270" y2="11691"/>
                        <a14:foregroundMark x1="9494" y1="31475" x2="20253" y2="17266"/>
                        <a14:foregroundMark x1="20253" y1="17266" x2="35232" y2="11331"/>
                        <a14:foregroundMark x1="5485" y1="42086" x2="3586" y2="56475"/>
                        <a14:foregroundMark x1="26793" y1="89568" x2="36076" y2="92986"/>
                        <a14:foregroundMark x1="36076" y1="92986" x2="45992" y2="92086"/>
                        <a14:foregroundMark x1="45992" y1="92086" x2="60970" y2="86691"/>
                        <a14:foregroundMark x1="87764" y1="12950" x2="94304" y2="20324"/>
                        <a14:foregroundMark x1="94304" y1="20324" x2="96203" y2="38489"/>
                        <a14:foregroundMark x1="96203" y1="38489" x2="87975" y2="54856"/>
                        <a14:foregroundMark x1="34177" y1="9532" x2="53586" y2="4137"/>
                        <a14:foregroundMark x1="53586" y1="4137" x2="65612" y2="5755"/>
                      </a14:backgroundRemoval>
                    </a14:imgEffect>
                  </a14:imgLayer>
                </a14:imgProps>
              </a:ext>
              <a:ext uri="{28A0092B-C50C-407E-A947-70E740481C1C}">
                <a14:useLocalDpi xmlns:a14="http://schemas.microsoft.com/office/drawing/2010/main"/>
              </a:ext>
            </a:extLst>
          </a:blip>
          <a:stretch>
            <a:fillRect/>
          </a:stretch>
        </p:blipFill>
        <p:spPr>
          <a:xfrm rot="20972064">
            <a:off x="9548282" y="3978689"/>
            <a:ext cx="1065300" cy="1249592"/>
          </a:xfrm>
          <a:prstGeom prst="rect">
            <a:avLst/>
          </a:prstGeom>
        </p:spPr>
      </p:pic>
      <p:pic>
        <p:nvPicPr>
          <p:cNvPr id="10" name="Picture 9">
            <a:extLst>
              <a:ext uri="{FF2B5EF4-FFF2-40B4-BE49-F238E27FC236}">
                <a16:creationId xmlns:a16="http://schemas.microsoft.com/office/drawing/2014/main" id="{B1CB735E-CFEB-4955-BC54-32A73118AEA8}"/>
              </a:ext>
            </a:extLst>
          </p:cNvPr>
          <p:cNvPicPr>
            <a:picLocks noChangeAspect="1"/>
          </p:cNvPicPr>
          <p:nvPr/>
        </p:nvPicPr>
        <p:blipFill>
          <a:blip r:embed="rId19" cstate="email">
            <a:extLst>
              <a:ext uri="{BEBA8EAE-BF5A-486C-A8C5-ECC9F3942E4B}">
                <a14:imgProps xmlns:a14="http://schemas.microsoft.com/office/drawing/2010/main">
                  <a14:imgLayer r:embed="rId20">
                    <a14:imgEffect>
                      <a14:backgroundRemoval t="8075" b="95859" l="7044" r="89641">
                        <a14:foregroundMark x1="13536" y1="9317" x2="20166" y2="8075"/>
                        <a14:foregroundMark x1="20166" y1="8075" x2="25967" y2="11180"/>
                        <a14:foregroundMark x1="25967" y1="11180" x2="30110" y2="29400"/>
                        <a14:foregroundMark x1="30110" y1="29400" x2="30387" y2="56729"/>
                        <a14:foregroundMark x1="9530" y1="15942" x2="9254" y2="16770"/>
                        <a14:foregroundMark x1="9530" y1="30849" x2="6077" y2="48240"/>
                        <a14:foregroundMark x1="6077" y1="48240" x2="7182" y2="66667"/>
                        <a14:foregroundMark x1="7182" y1="66667" x2="9254" y2="73913"/>
                        <a14:foregroundMark x1="27072" y1="9524" x2="27072" y2="9524"/>
                        <a14:foregroundMark x1="31630" y1="30642" x2="31630" y2="30642"/>
                        <a14:foregroundMark x1="36602" y1="49896" x2="41713" y2="48654"/>
                        <a14:foregroundMark x1="34530" y1="50104" x2="37845" y2="48654"/>
                        <a14:foregroundMark x1="34807" y1="49275" x2="38812" y2="47619"/>
                        <a14:foregroundMark x1="73619" y1="51346" x2="73619" y2="51346"/>
                        <a14:foregroundMark x1="31215" y1="89648" x2="34807" y2="97101"/>
                        <a14:foregroundMark x1="34807" y1="97101" x2="48204" y2="92133"/>
                        <a14:foregroundMark x1="48204" y1="92133" x2="60635" y2="95652"/>
                        <a14:foregroundMark x1="60635" y1="95652" x2="60635" y2="95859"/>
                        <a14:foregroundMark x1="25829" y1="55487" x2="29144" y2="53623"/>
                        <a14:foregroundMark x1="27072" y1="8489" x2="27072" y2="8489"/>
                      </a14:backgroundRemoval>
                    </a14:imgEffect>
                  </a14:imgLayer>
                </a14:imgProps>
              </a:ext>
              <a:ext uri="{28A0092B-C50C-407E-A947-70E740481C1C}">
                <a14:useLocalDpi xmlns:a14="http://schemas.microsoft.com/office/drawing/2010/main"/>
              </a:ext>
            </a:extLst>
          </a:blip>
          <a:stretch>
            <a:fillRect/>
          </a:stretch>
        </p:blipFill>
        <p:spPr>
          <a:xfrm>
            <a:off x="6067013" y="1586354"/>
            <a:ext cx="2610654" cy="1741637"/>
          </a:xfrm>
          <a:prstGeom prst="rect">
            <a:avLst/>
          </a:prstGeom>
        </p:spPr>
      </p:pic>
      <p:sp>
        <p:nvSpPr>
          <p:cNvPr id="44" name="TextBox 43">
            <a:extLst>
              <a:ext uri="{FF2B5EF4-FFF2-40B4-BE49-F238E27FC236}">
                <a16:creationId xmlns:a16="http://schemas.microsoft.com/office/drawing/2014/main" id="{2185237A-F7A8-425F-AC67-A75B954DDA1B}"/>
              </a:ext>
            </a:extLst>
          </p:cNvPr>
          <p:cNvSpPr txBox="1"/>
          <p:nvPr/>
        </p:nvSpPr>
        <p:spPr>
          <a:xfrm>
            <a:off x="9094183" y="2047432"/>
            <a:ext cx="1105042" cy="520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10000"/>
              </a:lnSpc>
              <a:spcBef>
                <a:spcPts val="0"/>
              </a:spcBef>
              <a:spcAft>
                <a:spcPts val="0"/>
              </a:spcAft>
              <a:buClr>
                <a:srgbClr val="9BD4EB"/>
              </a:buClr>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a:cs typeface="Arial"/>
                <a:sym typeface="Arial"/>
              </a:rPr>
              <a:t>After </a:t>
            </a:r>
          </a:p>
          <a:p>
            <a:pPr marL="0" marR="0" lvl="0" indent="0" algn="l" defTabSz="914400" rtl="0" eaLnBrk="1" fontAlgn="auto" latinLnBrk="0" hangingPunct="1">
              <a:lnSpc>
                <a:spcPct val="110000"/>
              </a:lnSpc>
              <a:spcBef>
                <a:spcPts val="0"/>
              </a:spcBef>
              <a:spcAft>
                <a:spcPts val="0"/>
              </a:spcAft>
              <a:buClr>
                <a:srgbClr val="9BD4EB"/>
              </a:buClr>
              <a:buSzTx/>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a:cs typeface="Arial"/>
                <a:sym typeface="Arial"/>
              </a:rPr>
              <a:t>1 week…</a:t>
            </a:r>
          </a:p>
        </p:txBody>
      </p:sp>
      <p:pic>
        <p:nvPicPr>
          <p:cNvPr id="58" name="Picture 57">
            <a:extLst>
              <a:ext uri="{FF2B5EF4-FFF2-40B4-BE49-F238E27FC236}">
                <a16:creationId xmlns:a16="http://schemas.microsoft.com/office/drawing/2014/main" id="{CDE52288-D330-47F5-84F8-30BB8E91A039}"/>
              </a:ext>
            </a:extLst>
          </p:cNvPr>
          <p:cNvPicPr>
            <a:picLocks noChangeAspect="1"/>
          </p:cNvPicPr>
          <p:nvPr/>
        </p:nvPicPr>
        <p:blipFill rotWithShape="1">
          <a:blip r:embed="rId21" cstate="email">
            <a:extLst>
              <a:ext uri="{28A0092B-C50C-407E-A947-70E740481C1C}">
                <a14:useLocalDpi xmlns:a14="http://schemas.microsoft.com/office/drawing/2010/main"/>
              </a:ext>
            </a:extLst>
          </a:blip>
          <a:srcRect/>
          <a:stretch/>
        </p:blipFill>
        <p:spPr>
          <a:xfrm>
            <a:off x="6259569" y="4224686"/>
            <a:ext cx="2053861" cy="1244469"/>
          </a:xfrm>
          <a:prstGeom prst="rect">
            <a:avLst/>
          </a:prstGeom>
        </p:spPr>
      </p:pic>
      <p:pic>
        <p:nvPicPr>
          <p:cNvPr id="61" name="Picture 60">
            <a:extLst>
              <a:ext uri="{FF2B5EF4-FFF2-40B4-BE49-F238E27FC236}">
                <a16:creationId xmlns:a16="http://schemas.microsoft.com/office/drawing/2014/main" id="{DFF98040-7BAF-4A11-84DB-DA078C2BDE7E}"/>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rot="993755">
            <a:off x="9379284" y="4938865"/>
            <a:ext cx="1030377" cy="1277667"/>
          </a:xfrm>
          <a:prstGeom prst="rect">
            <a:avLst/>
          </a:prstGeom>
        </p:spPr>
      </p:pic>
      <p:grpSp>
        <p:nvGrpSpPr>
          <p:cNvPr id="23" name="Group 22">
            <a:extLst>
              <a:ext uri="{FF2B5EF4-FFF2-40B4-BE49-F238E27FC236}">
                <a16:creationId xmlns:a16="http://schemas.microsoft.com/office/drawing/2014/main" id="{EBCF4708-E571-8D41-54FF-FF08394E9A81}"/>
              </a:ext>
            </a:extLst>
          </p:cNvPr>
          <p:cNvGrpSpPr>
            <a:grpSpLocks noChangeAspect="1"/>
          </p:cNvGrpSpPr>
          <p:nvPr>
            <p:custDataLst>
              <p:tags r:id="rId2"/>
            </p:custDataLst>
          </p:nvPr>
        </p:nvGrpSpPr>
        <p:grpSpPr>
          <a:xfrm>
            <a:off x="1207878" y="4395661"/>
            <a:ext cx="1255310" cy="1255310"/>
            <a:chOff x="8207771" y="3640013"/>
            <a:chExt cx="813816" cy="813816"/>
          </a:xfrm>
        </p:grpSpPr>
        <p:sp>
          <p:nvSpPr>
            <p:cNvPr id="24" name="Oval 23">
              <a:extLst>
                <a:ext uri="{FF2B5EF4-FFF2-40B4-BE49-F238E27FC236}">
                  <a16:creationId xmlns:a16="http://schemas.microsoft.com/office/drawing/2014/main" id="{6FEDFFE6-45B7-0411-D3DD-6D16E185D8DC}"/>
                </a:ext>
              </a:extLst>
            </p:cNvPr>
            <p:cNvSpPr/>
            <p:nvPr/>
          </p:nvSpPr>
          <p:spPr>
            <a:xfrm>
              <a:off x="8207771" y="3640013"/>
              <a:ext cx="813816" cy="813816"/>
            </a:xfrm>
            <a:prstGeom prst="ellipse">
              <a:avLst/>
            </a:prstGeom>
            <a:solidFill>
              <a:srgbClr val="C500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6" name="Picture 25">
              <a:extLst>
                <a:ext uri="{FF2B5EF4-FFF2-40B4-BE49-F238E27FC236}">
                  <a16:creationId xmlns:a16="http://schemas.microsoft.com/office/drawing/2014/main" id="{06116D3F-B7E6-D1FD-7D8F-3AFF4A1BD150}"/>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8467911" y="3740597"/>
              <a:ext cx="293537" cy="612648"/>
            </a:xfrm>
            <a:prstGeom prst="rect">
              <a:avLst/>
            </a:prstGeom>
          </p:spPr>
        </p:pic>
      </p:grpSp>
      <p:sp>
        <p:nvSpPr>
          <p:cNvPr id="34" name="TextBox 33">
            <a:extLst>
              <a:ext uri="{FF2B5EF4-FFF2-40B4-BE49-F238E27FC236}">
                <a16:creationId xmlns:a16="http://schemas.microsoft.com/office/drawing/2014/main" id="{AA690D84-0989-71E5-D529-EE0FCC6D6A8B}"/>
              </a:ext>
            </a:extLst>
          </p:cNvPr>
          <p:cNvSpPr txBox="1"/>
          <p:nvPr/>
        </p:nvSpPr>
        <p:spPr>
          <a:xfrm rot="18259523">
            <a:off x="1565427" y="5149823"/>
            <a:ext cx="540212" cy="123111"/>
          </a:xfrm>
          <a:prstGeom prst="rect">
            <a:avLst/>
          </a:prstGeom>
          <a:noFill/>
        </p:spPr>
        <p:txBody>
          <a:bodyPr wrap="square" lIns="0" tIns="0" rIns="0" bIns="0" rtlCol="0">
            <a:spAutoFit/>
          </a:bodyPr>
          <a:lstStyle/>
          <a:p>
            <a:r>
              <a:rPr lang="en-US" sz="800" dirty="0"/>
              <a:t>Isopropanol</a:t>
            </a:r>
          </a:p>
        </p:txBody>
      </p:sp>
      <p:pic>
        <p:nvPicPr>
          <p:cNvPr id="38" name="Picture 37">
            <a:extLst>
              <a:ext uri="{FF2B5EF4-FFF2-40B4-BE49-F238E27FC236}">
                <a16:creationId xmlns:a16="http://schemas.microsoft.com/office/drawing/2014/main" id="{030A3E05-A1D4-9865-66DD-7BC81CDEA6D1}"/>
              </a:ext>
            </a:extLst>
          </p:cNvPr>
          <p:cNvPicPr>
            <a:picLocks noChangeAspect="1"/>
          </p:cNvPicPr>
          <p:nvPr/>
        </p:nvPicPr>
        <p:blipFill>
          <a:blip r:embed="rId24"/>
          <a:stretch>
            <a:fillRect/>
          </a:stretch>
        </p:blipFill>
        <p:spPr>
          <a:xfrm>
            <a:off x="8396903" y="1823657"/>
            <a:ext cx="467871" cy="98138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49" name="Group 48">
            <a:extLst>
              <a:ext uri="{FF2B5EF4-FFF2-40B4-BE49-F238E27FC236}">
                <a16:creationId xmlns:a16="http://schemas.microsoft.com/office/drawing/2014/main" id="{68AB3102-ACF8-3F82-F0AA-64B254BE9607}"/>
              </a:ext>
            </a:extLst>
          </p:cNvPr>
          <p:cNvGrpSpPr/>
          <p:nvPr/>
        </p:nvGrpSpPr>
        <p:grpSpPr>
          <a:xfrm>
            <a:off x="9871116" y="1437376"/>
            <a:ext cx="1207891" cy="1884836"/>
            <a:chOff x="9542861" y="1230842"/>
            <a:chExt cx="1243684" cy="1920581"/>
          </a:xfrm>
        </p:grpSpPr>
        <p:pic>
          <p:nvPicPr>
            <p:cNvPr id="47" name="Picture 46" descr="A white jug with a red cap&#10;&#10;Description automatically generated with medium confidence">
              <a:extLst>
                <a:ext uri="{FF2B5EF4-FFF2-40B4-BE49-F238E27FC236}">
                  <a16:creationId xmlns:a16="http://schemas.microsoft.com/office/drawing/2014/main" id="{4901029B-9B6B-BF45-E802-0EE527EA5E29}"/>
                </a:ext>
              </a:extLst>
            </p:cNvPr>
            <p:cNvPicPr>
              <a:picLocks noChangeAspect="1"/>
            </p:cNvPicPr>
            <p:nvPr/>
          </p:nvPicPr>
          <p:blipFill rotWithShape="1">
            <a:blip r:embed="rId25" cstate="email">
              <a:extLst>
                <a:ext uri="{28A0092B-C50C-407E-A947-70E740481C1C}">
                  <a14:useLocalDpi xmlns:a14="http://schemas.microsoft.com/office/drawing/2010/main"/>
                </a:ext>
              </a:extLst>
            </a:blip>
            <a:srcRect/>
            <a:stretch/>
          </p:blipFill>
          <p:spPr>
            <a:xfrm>
              <a:off x="9542861" y="1230842"/>
              <a:ext cx="1243684" cy="1920581"/>
            </a:xfrm>
            <a:prstGeom prst="rect">
              <a:avLst/>
            </a:prstGeom>
          </p:spPr>
        </p:pic>
        <p:pic>
          <p:nvPicPr>
            <p:cNvPr id="43" name="Picture 42" descr="A picture containing text, bottle, sign&#10;&#10;Description automatically generated">
              <a:extLst>
                <a:ext uri="{FF2B5EF4-FFF2-40B4-BE49-F238E27FC236}">
                  <a16:creationId xmlns:a16="http://schemas.microsoft.com/office/drawing/2014/main" id="{755A3DBB-E24D-374D-B30E-3DE93D048D09}"/>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9604957" y="1870700"/>
              <a:ext cx="834120" cy="1079768"/>
            </a:xfrm>
            <a:prstGeom prst="rect">
              <a:avLst/>
            </a:prstGeom>
            <a:ln>
              <a:noFill/>
            </a:ln>
            <a:effectLst>
              <a:softEdge rad="127000"/>
            </a:effectLst>
          </p:spPr>
        </p:pic>
      </p:grpSp>
      <p:grpSp>
        <p:nvGrpSpPr>
          <p:cNvPr id="51" name="Group 50">
            <a:extLst>
              <a:ext uri="{FF2B5EF4-FFF2-40B4-BE49-F238E27FC236}">
                <a16:creationId xmlns:a16="http://schemas.microsoft.com/office/drawing/2014/main" id="{F36B8371-A212-D34C-C30C-C9EF70093334}"/>
              </a:ext>
            </a:extLst>
          </p:cNvPr>
          <p:cNvGrpSpPr/>
          <p:nvPr/>
        </p:nvGrpSpPr>
        <p:grpSpPr>
          <a:xfrm>
            <a:off x="8474139" y="4192434"/>
            <a:ext cx="948653" cy="1485053"/>
            <a:chOff x="9542861" y="1230842"/>
            <a:chExt cx="1243684" cy="1920581"/>
          </a:xfrm>
        </p:grpSpPr>
        <p:pic>
          <p:nvPicPr>
            <p:cNvPr id="52" name="Picture 51" descr="A white jug with a red cap&#10;&#10;Description automatically generated with medium confidence">
              <a:extLst>
                <a:ext uri="{FF2B5EF4-FFF2-40B4-BE49-F238E27FC236}">
                  <a16:creationId xmlns:a16="http://schemas.microsoft.com/office/drawing/2014/main" id="{0432A5A6-8655-1AB8-1AE7-EA911FA67F3E}"/>
                </a:ext>
              </a:extLst>
            </p:cNvPr>
            <p:cNvPicPr>
              <a:picLocks noChangeAspect="1"/>
            </p:cNvPicPr>
            <p:nvPr/>
          </p:nvPicPr>
          <p:blipFill rotWithShape="1">
            <a:blip r:embed="rId27" cstate="email">
              <a:extLst>
                <a:ext uri="{28A0092B-C50C-407E-A947-70E740481C1C}">
                  <a14:useLocalDpi xmlns:a14="http://schemas.microsoft.com/office/drawing/2010/main"/>
                </a:ext>
              </a:extLst>
            </a:blip>
            <a:srcRect/>
            <a:stretch/>
          </p:blipFill>
          <p:spPr>
            <a:xfrm>
              <a:off x="9542861" y="1230842"/>
              <a:ext cx="1243684" cy="1920581"/>
            </a:xfrm>
            <a:prstGeom prst="rect">
              <a:avLst/>
            </a:prstGeom>
          </p:spPr>
        </p:pic>
        <p:pic>
          <p:nvPicPr>
            <p:cNvPr id="53" name="Picture 52" descr="A picture containing text, bottle, sign&#10;&#10;Description automatically generated">
              <a:extLst>
                <a:ext uri="{FF2B5EF4-FFF2-40B4-BE49-F238E27FC236}">
                  <a16:creationId xmlns:a16="http://schemas.microsoft.com/office/drawing/2014/main" id="{2554745F-5483-AB31-E05F-1C92F5189A19}"/>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9604957" y="1870700"/>
              <a:ext cx="834120" cy="1079768"/>
            </a:xfrm>
            <a:prstGeom prst="rect">
              <a:avLst/>
            </a:prstGeom>
            <a:ln>
              <a:noFill/>
            </a:ln>
            <a:effectLst>
              <a:softEdge rad="127000"/>
            </a:effectLst>
          </p:spPr>
        </p:pic>
      </p:grpSp>
      <p:pic>
        <p:nvPicPr>
          <p:cNvPr id="57" name="Picture 56" descr="A picture containing indoor, vessel, bottle&#10;&#10;Description automatically generated">
            <a:extLst>
              <a:ext uri="{FF2B5EF4-FFF2-40B4-BE49-F238E27FC236}">
                <a16:creationId xmlns:a16="http://schemas.microsoft.com/office/drawing/2014/main" id="{A7D70725-746F-4E72-C722-E69D1A936789}"/>
              </a:ext>
            </a:extLst>
          </p:cNvPr>
          <p:cNvPicPr>
            <a:picLocks noChangeAspect="1"/>
          </p:cNvPicPr>
          <p:nvPr/>
        </p:nvPicPr>
        <p:blipFill rotWithShape="1">
          <a:blip r:embed="rId29" cstate="email">
            <a:extLst>
              <a:ext uri="{28A0092B-C50C-407E-A947-70E740481C1C}">
                <a14:useLocalDpi xmlns:a14="http://schemas.microsoft.com/office/drawing/2010/main"/>
              </a:ext>
            </a:extLst>
          </a:blip>
          <a:srcRect/>
          <a:stretch/>
        </p:blipFill>
        <p:spPr>
          <a:xfrm>
            <a:off x="1165906" y="1389172"/>
            <a:ext cx="1097902" cy="1494795"/>
          </a:xfrm>
          <a:prstGeom prst="rect">
            <a:avLst/>
          </a:prstGeom>
          <a:effectLst>
            <a:softEdge rad="31750"/>
          </a:effectLst>
        </p:spPr>
      </p:pic>
      <p:sp>
        <p:nvSpPr>
          <p:cNvPr id="7" name="Footer Placeholder 3">
            <a:extLst>
              <a:ext uri="{FF2B5EF4-FFF2-40B4-BE49-F238E27FC236}">
                <a16:creationId xmlns:a16="http://schemas.microsoft.com/office/drawing/2014/main" id="{25673273-38D0-C26E-3BEB-9B324545615E}"/>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11" name="Slide Number Placeholder 10">
            <a:extLst>
              <a:ext uri="{FF2B5EF4-FFF2-40B4-BE49-F238E27FC236}">
                <a16:creationId xmlns:a16="http://schemas.microsoft.com/office/drawing/2014/main" id="{EE067A75-8FDA-C085-2C15-40B70DA4632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78</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84626492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48077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AC24214-6412-4B83-BC84-EBEEAD27AE2C}"/>
              </a:ext>
            </a:extLst>
          </p:cNvPr>
          <p:cNvGraphicFramePr>
            <a:graphicFrameLocks noChangeAspect="1"/>
          </p:cNvGraphicFramePr>
          <p:nvPr>
            <p:custDataLst>
              <p:tags r:id="rId1"/>
            </p:custDataLst>
            <p:extLst>
              <p:ext uri="{D42A27DB-BD31-4B8C-83A1-F6EECF244321}">
                <p14:modId xmlns:p14="http://schemas.microsoft.com/office/powerpoint/2010/main" val="1906996888"/>
              </p:ext>
            </p:extLst>
          </p:nvPr>
        </p:nvGraphicFramePr>
        <p:xfrm>
          <a:off x="2382"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DAC24214-6412-4B83-BC84-EBEEAD27AE2C}"/>
                          </a:ext>
                        </a:extLst>
                      </p:cNvPr>
                      <p:cNvPicPr/>
                      <p:nvPr/>
                    </p:nvPicPr>
                    <p:blipFill>
                      <a:blip r:embed="rId5"/>
                      <a:stretch>
                        <a:fillRect/>
                      </a:stretch>
                    </p:blipFill>
                    <p:spPr>
                      <a:xfrm>
                        <a:off x="2382"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97E8AD-A0C6-44FA-B538-101F145BE96C}"/>
              </a:ext>
            </a:extLst>
          </p:cNvPr>
          <p:cNvSpPr>
            <a:spLocks noGrp="1"/>
          </p:cNvSpPr>
          <p:nvPr>
            <p:ph type="title"/>
          </p:nvPr>
        </p:nvSpPr>
        <p:spPr/>
        <p:txBody>
          <a:bodyPr vert="horz"/>
          <a:lstStyle/>
          <a:p>
            <a:r>
              <a:rPr lang="en-US" sz="2800" dirty="0"/>
              <a:t>Introduction to Taste-Masking Film-Coating</a:t>
            </a:r>
          </a:p>
        </p:txBody>
      </p:sp>
      <p:sp>
        <p:nvSpPr>
          <p:cNvPr id="3" name="Content Placeholder 2">
            <a:extLst>
              <a:ext uri="{FF2B5EF4-FFF2-40B4-BE49-F238E27FC236}">
                <a16:creationId xmlns:a16="http://schemas.microsoft.com/office/drawing/2014/main" id="{6AD0BBD9-9F7E-4F72-BBA2-7BF817BE98B7}"/>
              </a:ext>
            </a:extLst>
          </p:cNvPr>
          <p:cNvSpPr>
            <a:spLocks noGrp="1"/>
          </p:cNvSpPr>
          <p:nvPr>
            <p:ph idx="4294967295"/>
          </p:nvPr>
        </p:nvSpPr>
        <p:spPr>
          <a:xfrm>
            <a:off x="414524" y="1528699"/>
            <a:ext cx="6776851" cy="4157726"/>
          </a:xfrm>
        </p:spPr>
        <p:txBody>
          <a:bodyPr/>
          <a:lstStyle/>
          <a:p>
            <a:pPr>
              <a:buFontTx/>
              <a:buChar char="■"/>
            </a:pPr>
            <a:r>
              <a:rPr lang="en-US" sz="1800" b="0" i="0" dirty="0">
                <a:effectLst/>
                <a:latin typeface="Arial   "/>
              </a:rPr>
              <a:t>A </a:t>
            </a:r>
            <a:r>
              <a:rPr lang="en-US" sz="1800" b="1" i="0" dirty="0">
                <a:effectLst/>
                <a:latin typeface="Arial   "/>
              </a:rPr>
              <a:t>film-coating</a:t>
            </a:r>
            <a:r>
              <a:rPr lang="en-US" sz="1800" b="0" i="0" dirty="0">
                <a:effectLst/>
                <a:latin typeface="Arial   "/>
              </a:rPr>
              <a:t> is a thin polymer-based coat that is typically sprayed on to a solid pharmaceutical dosage form, such as a tablet, capsule, pellet or granule.</a:t>
            </a:r>
          </a:p>
          <a:p>
            <a:pPr>
              <a:buFontTx/>
              <a:buChar char="■"/>
            </a:pPr>
            <a:endParaRPr lang="en-US" sz="1800" dirty="0">
              <a:latin typeface="Arial   "/>
            </a:endParaRPr>
          </a:p>
          <a:p>
            <a:pPr>
              <a:buFontTx/>
              <a:buChar char="■"/>
            </a:pPr>
            <a:r>
              <a:rPr lang="en-US" sz="1800" b="0" i="0" dirty="0">
                <a:effectLst/>
                <a:latin typeface="Arial   "/>
              </a:rPr>
              <a:t>Taste-masking film-coating technology is an approach used to surround the drug particles (powder, granules, pellets or mini-tablets) with a polymer.</a:t>
            </a:r>
          </a:p>
          <a:p>
            <a:pPr>
              <a:buFontTx/>
              <a:buChar char="■"/>
            </a:pPr>
            <a:endParaRPr lang="en-US" sz="1800" b="0" i="0" dirty="0">
              <a:effectLst/>
              <a:latin typeface="Arial   "/>
            </a:endParaRPr>
          </a:p>
          <a:p>
            <a:pPr>
              <a:buFontTx/>
              <a:buChar char="■"/>
            </a:pPr>
            <a:r>
              <a:rPr lang="en-US" sz="1800" dirty="0">
                <a:latin typeface="Arial   "/>
              </a:rPr>
              <a:t>The main objective is to reduce the contact of the drug and the taste buds by releasing the drug only after it has passed through the mouth. </a:t>
            </a:r>
            <a:endParaRPr lang="en-US" sz="1800" b="0" i="0" dirty="0">
              <a:effectLst/>
              <a:latin typeface="Arial   "/>
            </a:endParaRPr>
          </a:p>
        </p:txBody>
      </p:sp>
      <p:sp>
        <p:nvSpPr>
          <p:cNvPr id="15" name="Footer Placeholder 11">
            <a:extLst>
              <a:ext uri="{FF2B5EF4-FFF2-40B4-BE49-F238E27FC236}">
                <a16:creationId xmlns:a16="http://schemas.microsoft.com/office/drawing/2014/main" id="{A9CAAE7F-2B90-1E8F-3277-6C23A0BE764D}"/>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pic>
        <p:nvPicPr>
          <p:cNvPr id="22" name="Picture 21" descr="A picture containing indoor&#10;&#10;Description automatically generated">
            <a:extLst>
              <a:ext uri="{FF2B5EF4-FFF2-40B4-BE49-F238E27FC236}">
                <a16:creationId xmlns:a16="http://schemas.microsoft.com/office/drawing/2014/main" id="{503323D2-DD3E-BCCB-3BEA-63ADBA610D2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800975" y="1419349"/>
            <a:ext cx="3876551" cy="3876551"/>
          </a:xfrm>
          <a:prstGeom prst="rect">
            <a:avLst/>
          </a:prstGeom>
        </p:spPr>
      </p:pic>
      <p:sp>
        <p:nvSpPr>
          <p:cNvPr id="7" name="Slide Number Placeholder 6">
            <a:extLst>
              <a:ext uri="{FF2B5EF4-FFF2-40B4-BE49-F238E27FC236}">
                <a16:creationId xmlns:a16="http://schemas.microsoft.com/office/drawing/2014/main" id="{703FD43B-1648-F1FC-2B9E-C35BA2BE755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8</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9118802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448F8AE-4446-483E-B67F-7CEC714480A5}"/>
              </a:ext>
            </a:extLst>
          </p:cNvPr>
          <p:cNvSpPr txBox="1">
            <a:spLocks/>
          </p:cNvSpPr>
          <p:nvPr/>
        </p:nvSpPr>
        <p:spPr>
          <a:xfrm>
            <a:off x="3952876" y="1497450"/>
            <a:ext cx="5705474" cy="853200"/>
          </a:xfrm>
          <a:prstGeom prst="rect">
            <a:avLst/>
          </a:prstGeom>
        </p:spPr>
        <p:txBody>
          <a:bodyPr vert="horz" lIns="0" tIns="0" rIns="0" bIns="0" rtlCol="0" anchor="t">
            <a:noAutofit/>
          </a:bodyPr>
          <a:lstStyle>
            <a:lvl1pPr algn="l" defTabSz="914400"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2800" b="1" i="0" u="none" strike="noStrike" kern="1200" cap="none" spc="0" normalizeH="0" baseline="0" noProof="0" dirty="0">
                <a:ln>
                  <a:noFill/>
                </a:ln>
                <a:solidFill>
                  <a:srgbClr val="C50022"/>
                </a:solidFill>
                <a:effectLst/>
                <a:uLnTx/>
                <a:uFillTx/>
                <a:latin typeface="Arial" panose="020B0604020202020204" pitchFamily="34" charset="0"/>
                <a:cs typeface="Arial"/>
              </a:rPr>
              <a:t>Backup slides</a:t>
            </a:r>
          </a:p>
          <a:p>
            <a:pPr marL="0" marR="0" lvl="0" indent="0" algn="l" defTabSz="914400" rtl="0" eaLnBrk="1" fontAlgn="auto" latinLnBrk="0" hangingPunct="1">
              <a:lnSpc>
                <a:spcPct val="100000"/>
              </a:lnSpc>
              <a:spcBef>
                <a:spcPts val="110"/>
              </a:spcBef>
              <a:spcAft>
                <a:spcPts val="110"/>
              </a:spcAft>
              <a:buClrTx/>
              <a:buSzTx/>
              <a:buFontTx/>
              <a:buNone/>
              <a:tabLst/>
              <a:defRPr/>
            </a:pPr>
            <a:endParaRPr kumimoji="0" lang="en-US" sz="2800" b="1" i="0" u="none" strike="noStrike" kern="1200" cap="none" spc="0" normalizeH="0" baseline="0" noProof="0" dirty="0">
              <a:ln>
                <a:noFill/>
              </a:ln>
              <a:solidFill>
                <a:srgbClr val="C50022"/>
              </a:solidFill>
              <a:effectLst/>
              <a:uLnTx/>
              <a:uFillTx/>
              <a:latin typeface="Arial" panose="020B0604020202020204" pitchFamily="34" charset="0"/>
              <a:cs typeface="Arial"/>
            </a:endParaRPr>
          </a:p>
          <a:p>
            <a:pPr marL="0" marR="0" lvl="0" indent="0" algn="l" defTabSz="914400" rtl="0" eaLnBrk="1" fontAlgn="auto" latinLnBrk="0" hangingPunct="1">
              <a:lnSpc>
                <a:spcPct val="100000"/>
              </a:lnSpc>
              <a:spcBef>
                <a:spcPts val="110"/>
              </a:spcBef>
              <a:spcAft>
                <a:spcPts val="110"/>
              </a:spcAft>
              <a:buClrTx/>
              <a:buSzTx/>
              <a:buFontTx/>
              <a:buNone/>
              <a:tabLst/>
              <a:defRPr/>
            </a:pPr>
            <a:endParaRPr lang="en-US" dirty="0">
              <a:solidFill>
                <a:srgbClr val="C50022"/>
              </a:solidFill>
              <a:cs typeface="Arial"/>
            </a:endParaRPr>
          </a:p>
          <a:p>
            <a:pPr marL="0" marR="0" lvl="0" indent="0" algn="l" defTabSz="914400" rtl="0" eaLnBrk="1" fontAlgn="auto" latinLnBrk="0" hangingPunct="1">
              <a:lnSpc>
                <a:spcPct val="100000"/>
              </a:lnSpc>
              <a:spcBef>
                <a:spcPts val="110"/>
              </a:spcBef>
              <a:spcAft>
                <a:spcPts val="110"/>
              </a:spcAft>
              <a:buClrTx/>
              <a:buSzTx/>
              <a:buFontTx/>
              <a:buNone/>
              <a:tabLst/>
              <a:defRPr/>
            </a:pPr>
            <a:r>
              <a:rPr kumimoji="0" lang="en-US" sz="2800" b="1" i="0" u="none" strike="noStrike" kern="1200" cap="none" spc="0" normalizeH="0" baseline="0" noProof="0" dirty="0">
                <a:ln>
                  <a:noFill/>
                </a:ln>
                <a:solidFill>
                  <a:srgbClr val="C50022"/>
                </a:solidFill>
                <a:effectLst/>
                <a:uLnTx/>
                <a:uFillTx/>
                <a:latin typeface="Arial" panose="020B0604020202020204" pitchFamily="34" charset="0"/>
                <a:cs typeface="Arial"/>
              </a:rPr>
              <a:t>Separated by topics:</a:t>
            </a:r>
          </a:p>
          <a:p>
            <a:pPr marR="0" lvl="0" indent="1371600" algn="l" defTabSz="914400" rtl="0" eaLnBrk="1" fontAlgn="auto" latinLnBrk="0" hangingPunct="1">
              <a:lnSpc>
                <a:spcPct val="100000"/>
              </a:lnSpc>
              <a:spcBef>
                <a:spcPts val="110"/>
              </a:spcBef>
              <a:spcAft>
                <a:spcPts val="110"/>
              </a:spcAft>
              <a:buClrTx/>
              <a:buSzTx/>
              <a:buFontTx/>
              <a:buNone/>
              <a:tabLst/>
              <a:defRPr/>
            </a:pPr>
            <a:r>
              <a:rPr lang="en-US" sz="2000" dirty="0">
                <a:solidFill>
                  <a:srgbClr val="C50022"/>
                </a:solidFill>
                <a:cs typeface="Arial"/>
              </a:rPr>
              <a:t>Dispersions</a:t>
            </a:r>
          </a:p>
          <a:p>
            <a:pPr marR="0" lvl="0" indent="1371600" algn="l" defTabSz="914400" rtl="0" eaLnBrk="1" fontAlgn="auto" latinLnBrk="0" hangingPunct="1">
              <a:lnSpc>
                <a:spcPct val="100000"/>
              </a:lnSpc>
              <a:spcBef>
                <a:spcPts val="110"/>
              </a:spcBef>
              <a:spcAft>
                <a:spcPts val="110"/>
              </a:spcAft>
              <a:buClrTx/>
              <a:buSzTx/>
              <a:buFontTx/>
              <a:buNone/>
              <a:tabLst/>
              <a:defRPr/>
            </a:pPr>
            <a:r>
              <a:rPr lang="en-US" sz="2000" dirty="0">
                <a:solidFill>
                  <a:srgbClr val="C50022"/>
                </a:solidFill>
                <a:cs typeface="Arial"/>
              </a:rPr>
              <a:t>Plasticizer</a:t>
            </a:r>
          </a:p>
          <a:p>
            <a:pPr marR="0" lvl="0" indent="1371600" algn="l" defTabSz="914400" rtl="0" eaLnBrk="1" fontAlgn="auto" latinLnBrk="0" hangingPunct="1">
              <a:lnSpc>
                <a:spcPct val="100000"/>
              </a:lnSpc>
              <a:spcBef>
                <a:spcPts val="110"/>
              </a:spcBef>
              <a:spcAft>
                <a:spcPts val="110"/>
              </a:spcAft>
              <a:buClrTx/>
              <a:buSzTx/>
              <a:buFontTx/>
              <a:buNone/>
              <a:tabLst/>
              <a:defRPr/>
            </a:pPr>
            <a:r>
              <a:rPr lang="en-US" sz="2000" dirty="0">
                <a:solidFill>
                  <a:srgbClr val="C50022"/>
                </a:solidFill>
                <a:cs typeface="Arial"/>
              </a:rPr>
              <a:t>Formulary</a:t>
            </a:r>
          </a:p>
          <a:p>
            <a:pPr marR="0" lvl="0" indent="1371600" algn="l" defTabSz="914400" rtl="0" eaLnBrk="1" fontAlgn="auto" latinLnBrk="0" hangingPunct="1">
              <a:lnSpc>
                <a:spcPct val="100000"/>
              </a:lnSpc>
              <a:spcBef>
                <a:spcPts val="110"/>
              </a:spcBef>
              <a:spcAft>
                <a:spcPts val="110"/>
              </a:spcAft>
              <a:buClrTx/>
              <a:buSzTx/>
              <a:buFontTx/>
              <a:buNone/>
              <a:tabLst/>
              <a:defRPr/>
            </a:pPr>
            <a:r>
              <a:rPr lang="en-US" sz="2000" dirty="0">
                <a:solidFill>
                  <a:srgbClr val="C50022"/>
                </a:solidFill>
                <a:cs typeface="Arial"/>
              </a:rPr>
              <a:t>Competitor </a:t>
            </a:r>
          </a:p>
          <a:p>
            <a:pPr marR="0" lvl="0" indent="1371600" algn="l" defTabSz="914400" rtl="0" eaLnBrk="1" fontAlgn="auto" latinLnBrk="0" hangingPunct="1">
              <a:lnSpc>
                <a:spcPct val="100000"/>
              </a:lnSpc>
              <a:spcBef>
                <a:spcPts val="110"/>
              </a:spcBef>
              <a:spcAft>
                <a:spcPts val="110"/>
              </a:spcAft>
              <a:buClrTx/>
              <a:buSzTx/>
              <a:buFontTx/>
              <a:buNone/>
              <a:tabLst/>
              <a:defRPr/>
            </a:pPr>
            <a:r>
              <a:rPr lang="en-US" sz="2000" dirty="0">
                <a:solidFill>
                  <a:srgbClr val="C50022"/>
                </a:solidFill>
                <a:cs typeface="Arial"/>
              </a:rPr>
              <a:t>Calculation </a:t>
            </a:r>
          </a:p>
          <a:p>
            <a:pPr marL="0" marR="0" lvl="0" indent="0" algn="l" defTabSz="914400" rtl="0" eaLnBrk="1" fontAlgn="auto" latinLnBrk="0" hangingPunct="1">
              <a:lnSpc>
                <a:spcPct val="100000"/>
              </a:lnSpc>
              <a:spcBef>
                <a:spcPts val="110"/>
              </a:spcBef>
              <a:spcAft>
                <a:spcPts val="110"/>
              </a:spcAft>
              <a:buClrTx/>
              <a:buSzTx/>
              <a:buFontTx/>
              <a:buNone/>
              <a:tabLst/>
              <a:defRPr/>
            </a:pPr>
            <a:endParaRPr kumimoji="0" lang="en-US" sz="2800" b="1" i="0" u="none" strike="noStrike" kern="1200" cap="none" spc="0" normalizeH="0" baseline="0" noProof="0" dirty="0">
              <a:ln>
                <a:noFill/>
              </a:ln>
              <a:solidFill>
                <a:srgbClr val="C50022"/>
              </a:solidFill>
              <a:effectLst/>
              <a:uLnTx/>
              <a:uFillTx/>
              <a:latin typeface="Arial" panose="020B0604020202020204" pitchFamily="34" charset="0"/>
              <a:cs typeface="Arial"/>
            </a:endParaRPr>
          </a:p>
        </p:txBody>
      </p:sp>
      <p:sp>
        <p:nvSpPr>
          <p:cNvPr id="2" name="Slide Number Placeholder 1">
            <a:extLst>
              <a:ext uri="{FF2B5EF4-FFF2-40B4-BE49-F238E27FC236}">
                <a16:creationId xmlns:a16="http://schemas.microsoft.com/office/drawing/2014/main" id="{BECDDECA-5C94-E2DB-00ED-E6C7B89B4231}"/>
              </a:ext>
            </a:extLst>
          </p:cNvPr>
          <p:cNvSpPr>
            <a:spLocks noGrp="1"/>
          </p:cNvSpPr>
          <p:nvPr>
            <p:ph type="sldNum" sz="quarter" idx="12"/>
          </p:nvPr>
        </p:nvSpPr>
        <p:spPr/>
        <p:txBody>
          <a:bodyPr/>
          <a:lstStyle/>
          <a:p>
            <a:fld id="{82EA1D04-CA53-4DE3-84A8-2B63E41036C9}" type="slidenum">
              <a:rPr lang="en-US" smtClean="0"/>
              <a:pPr/>
              <a:t>80</a:t>
            </a:fld>
            <a:endParaRPr lang="en-US" dirty="0"/>
          </a:p>
        </p:txBody>
      </p:sp>
    </p:spTree>
    <p:extLst>
      <p:ext uri="{BB962C8B-B14F-4D97-AF65-F5344CB8AC3E}">
        <p14:creationId xmlns:p14="http://schemas.microsoft.com/office/powerpoint/2010/main" val="59921062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23DACD9-4132-D86A-A875-8AA84933437A}"/>
              </a:ext>
            </a:extLst>
          </p:cNvPr>
          <p:cNvSpPr txBox="1">
            <a:spLocks/>
          </p:cNvSpPr>
          <p:nvPr/>
        </p:nvSpPr>
        <p:spPr>
          <a:xfrm>
            <a:off x="2124075" y="2792850"/>
            <a:ext cx="8848725" cy="853200"/>
          </a:xfrm>
          <a:prstGeom prst="rect">
            <a:avLst/>
          </a:prstGeom>
        </p:spPr>
        <p:txBody>
          <a:bodyPr vert="horz" lIns="0" tIns="0" rIns="0" bIns="0" rtlCol="0" anchor="t">
            <a:noAutofit/>
          </a:bodyPr>
          <a:lstStyle>
            <a:lvl1pPr algn="l" defTabSz="914400" rtl="0" eaLnBrk="1" latinLnBrk="0" hangingPunct="1">
              <a:lnSpc>
                <a:spcPct val="100000"/>
              </a:lnSpc>
              <a:spcBef>
                <a:spcPts val="110"/>
              </a:spcBef>
              <a:spcAft>
                <a:spcPts val="110"/>
              </a:spcAft>
              <a:buNone/>
              <a:defRPr sz="2800" b="1" i="0" kern="1200">
                <a:solidFill>
                  <a:schemeClr val="accent1"/>
                </a:solidFill>
                <a:latin typeface="Arial" panose="020B0604020202020204" pitchFamily="34" charset="0"/>
                <a:ea typeface="+mj-ea"/>
                <a:cs typeface="+mj-cs"/>
              </a:defRPr>
            </a:lvl1pPr>
          </a:lstStyle>
          <a:p>
            <a:pPr marL="0" marR="0" lvl="0" indent="0" algn="l" defTabSz="914400" rtl="0" eaLnBrk="1" fontAlgn="auto" latinLnBrk="0" hangingPunct="1">
              <a:lnSpc>
                <a:spcPct val="100000"/>
              </a:lnSpc>
              <a:spcBef>
                <a:spcPts val="110"/>
              </a:spcBef>
              <a:spcAft>
                <a:spcPts val="110"/>
              </a:spcAft>
              <a:buClrTx/>
              <a:buSzTx/>
              <a:buFontTx/>
              <a:buNone/>
              <a:tabLst/>
              <a:defRPr/>
            </a:pPr>
            <a:r>
              <a:rPr lang="en-US" dirty="0">
                <a:solidFill>
                  <a:srgbClr val="C50022"/>
                </a:solidFill>
                <a:cs typeface="Arial"/>
              </a:rPr>
              <a:t>Film coating – Introduction to  the Dispersions</a:t>
            </a:r>
            <a:endParaRPr kumimoji="0" lang="en-US" sz="2800" b="1" i="0" u="none" strike="noStrike" kern="1200" cap="none" spc="0" normalizeH="0" baseline="0" noProof="0" dirty="0">
              <a:ln>
                <a:noFill/>
              </a:ln>
              <a:solidFill>
                <a:srgbClr val="C50022"/>
              </a:solidFill>
              <a:effectLst/>
              <a:uLnTx/>
              <a:uFillTx/>
              <a:latin typeface="Arial" panose="020B0604020202020204" pitchFamily="34" charset="0"/>
              <a:cs typeface="Arial"/>
            </a:endParaRPr>
          </a:p>
        </p:txBody>
      </p:sp>
      <p:sp>
        <p:nvSpPr>
          <p:cNvPr id="2" name="Slide Number Placeholder 1">
            <a:extLst>
              <a:ext uri="{FF2B5EF4-FFF2-40B4-BE49-F238E27FC236}">
                <a16:creationId xmlns:a16="http://schemas.microsoft.com/office/drawing/2014/main" id="{B604129E-EED0-2100-2F29-35BA91F8EE69}"/>
              </a:ext>
            </a:extLst>
          </p:cNvPr>
          <p:cNvSpPr>
            <a:spLocks noGrp="1"/>
          </p:cNvSpPr>
          <p:nvPr>
            <p:ph type="sldNum" sz="quarter" idx="12"/>
          </p:nvPr>
        </p:nvSpPr>
        <p:spPr/>
        <p:txBody>
          <a:bodyPr/>
          <a:lstStyle/>
          <a:p>
            <a:fld id="{82EA1D04-CA53-4DE3-84A8-2B63E41036C9}" type="slidenum">
              <a:rPr lang="en-US" smtClean="0"/>
              <a:pPr/>
              <a:t>81</a:t>
            </a:fld>
            <a:endParaRPr lang="en-US" dirty="0"/>
          </a:p>
        </p:txBody>
      </p:sp>
    </p:spTree>
    <p:extLst>
      <p:ext uri="{BB962C8B-B14F-4D97-AF65-F5344CB8AC3E}">
        <p14:creationId xmlns:p14="http://schemas.microsoft.com/office/powerpoint/2010/main" val="98949319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a:extLst>
              <a:ext uri="{FF2B5EF4-FFF2-40B4-BE49-F238E27FC236}">
                <a16:creationId xmlns:a16="http://schemas.microsoft.com/office/drawing/2014/main" id="{7EC02336-AC6B-46E4-8AEE-A8F97305C7A2}"/>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553" imgH="553" progId="TCLayout.ActiveDocument.1">
                  <p:embed/>
                </p:oleObj>
              </mc:Choice>
              <mc:Fallback>
                <p:oleObj name="think-cell Slide" r:id="rId5" imgW="553" imgH="553" progId="TCLayout.ActiveDocument.1">
                  <p:embed/>
                  <p:pic>
                    <p:nvPicPr>
                      <p:cNvPr id="58" name="Objekt 57" hidden="1">
                        <a:extLst>
                          <a:ext uri="{FF2B5EF4-FFF2-40B4-BE49-F238E27FC236}">
                            <a16:creationId xmlns:a16="http://schemas.microsoft.com/office/drawing/2014/main" id="{7EC02336-AC6B-46E4-8AEE-A8F97305C7A2}"/>
                          </a:ext>
                        </a:extLst>
                      </p:cNvPr>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EE9C8251-16B4-466D-8EE5-9F9E6F14E3FD}"/>
              </a:ext>
            </a:extLst>
          </p:cNvPr>
          <p:cNvSpPr>
            <a:spLocks noGrp="1"/>
          </p:cNvSpPr>
          <p:nvPr>
            <p:ph type="title"/>
          </p:nvPr>
        </p:nvSpPr>
        <p:spPr>
          <a:xfrm>
            <a:off x="300225" y="201898"/>
            <a:ext cx="11603911" cy="853200"/>
          </a:xfrm>
        </p:spPr>
        <p:txBody>
          <a:bodyPr vert="horz"/>
          <a:lstStyle/>
          <a:p>
            <a:r>
              <a:rPr lang="en-US" sz="2800" dirty="0"/>
              <a:t>Functional Polymers: Understanding Dispersions</a:t>
            </a:r>
            <a:br>
              <a:rPr lang="en-US" sz="2800" dirty="0"/>
            </a:br>
            <a:endParaRPr lang="en-US" sz="2800" dirty="0"/>
          </a:p>
        </p:txBody>
      </p:sp>
      <p:sp>
        <p:nvSpPr>
          <p:cNvPr id="7" name="Inhaltsplatzhalter 6">
            <a:extLst>
              <a:ext uri="{FF2B5EF4-FFF2-40B4-BE49-F238E27FC236}">
                <a16:creationId xmlns:a16="http://schemas.microsoft.com/office/drawing/2014/main" id="{0F8C0466-327A-49DB-9157-25B8CE7E7CEC}"/>
              </a:ext>
            </a:extLst>
          </p:cNvPr>
          <p:cNvSpPr>
            <a:spLocks noGrp="1"/>
          </p:cNvSpPr>
          <p:nvPr>
            <p:ph idx="1"/>
          </p:nvPr>
        </p:nvSpPr>
        <p:spPr>
          <a:xfrm>
            <a:off x="4572952" y="906626"/>
            <a:ext cx="7437861" cy="5161210"/>
          </a:xfrm>
        </p:spPr>
        <p:txBody>
          <a:bodyPr/>
          <a:lstStyle/>
          <a:p>
            <a:pPr marL="1998663" indent="404813">
              <a:spcBef>
                <a:spcPts val="600"/>
              </a:spcBef>
            </a:pPr>
            <a:r>
              <a:rPr lang="en-US" sz="1800" dirty="0"/>
              <a:t>Polymer solubilized in a solvent = solution</a:t>
            </a:r>
          </a:p>
          <a:p>
            <a:pPr marL="1998663" indent="404813">
              <a:spcBef>
                <a:spcPts val="600"/>
              </a:spcBef>
            </a:pPr>
            <a:r>
              <a:rPr lang="en-US" sz="1800" dirty="0"/>
              <a:t>Polymer suspended in a solvent = suspensions</a:t>
            </a:r>
          </a:p>
          <a:p>
            <a:pPr marL="1998663" indent="404813">
              <a:spcBef>
                <a:spcPts val="600"/>
              </a:spcBef>
            </a:pPr>
            <a:r>
              <a:rPr lang="en-US" sz="1800" b="1" dirty="0"/>
              <a:t>Polymer disperse in a solvent = dispersions</a:t>
            </a:r>
          </a:p>
          <a:p>
            <a:pPr marL="0" indent="0">
              <a:spcBef>
                <a:spcPts val="600"/>
              </a:spcBef>
              <a:buNone/>
            </a:pPr>
            <a:endParaRPr lang="en-US" sz="1800" dirty="0"/>
          </a:p>
          <a:p>
            <a:pPr>
              <a:spcBef>
                <a:spcPts val="600"/>
              </a:spcBef>
            </a:pPr>
            <a:r>
              <a:rPr lang="en-US" sz="1800" dirty="0"/>
              <a:t>In a dispersion, the polymer particles are stabilized in an aqueous environment by ionic or nonionic emulsifiers. </a:t>
            </a:r>
            <a:r>
              <a:rPr lang="en-US" sz="1800" b="1" dirty="0"/>
              <a:t>Emulsifiers are responsible for maintaining the polymers dispersed</a:t>
            </a:r>
            <a:r>
              <a:rPr lang="en-US" sz="1800" dirty="0"/>
              <a:t>; </a:t>
            </a:r>
          </a:p>
          <a:p>
            <a:pPr>
              <a:spcBef>
                <a:spcPts val="600"/>
              </a:spcBef>
            </a:pPr>
            <a:endParaRPr lang="en-US" sz="1800" dirty="0"/>
          </a:p>
          <a:p>
            <a:pPr>
              <a:spcBef>
                <a:spcPts val="600"/>
              </a:spcBef>
            </a:pPr>
            <a:r>
              <a:rPr lang="en-US" sz="1800" dirty="0"/>
              <a:t>However, a </a:t>
            </a:r>
            <a:r>
              <a:rPr lang="en-US" sz="1800" b="1" dirty="0"/>
              <a:t>dispersion is a meta-stable system </a:t>
            </a:r>
            <a:r>
              <a:rPr lang="en-US" sz="1800" dirty="0"/>
              <a:t>(zeta potential / isoelectronic point of a dispersion). If this meta system is </a:t>
            </a:r>
            <a:r>
              <a:rPr lang="en-US" sz="1800" b="1" dirty="0"/>
              <a:t>destabilized, occurs polymer coagulation;</a:t>
            </a:r>
          </a:p>
          <a:p>
            <a:pPr>
              <a:spcBef>
                <a:spcPts val="600"/>
              </a:spcBef>
            </a:pPr>
            <a:endParaRPr lang="en-US" sz="1800" dirty="0"/>
          </a:p>
          <a:p>
            <a:pPr>
              <a:spcBef>
                <a:spcPts val="600"/>
              </a:spcBef>
            </a:pPr>
            <a:r>
              <a:rPr lang="en-US" sz="1800" dirty="0"/>
              <a:t>So, dispersions </a:t>
            </a:r>
            <a:r>
              <a:rPr lang="en-US" sz="1800" b="1" dirty="0"/>
              <a:t>CAN NOT </a:t>
            </a:r>
            <a:r>
              <a:rPr lang="en-US" sz="1800" dirty="0"/>
              <a:t>be: </a:t>
            </a:r>
          </a:p>
          <a:p>
            <a:pPr lvl="1"/>
            <a:r>
              <a:rPr lang="en-US" sz="1800" b="1" dirty="0"/>
              <a:t>Frozen</a:t>
            </a:r>
            <a:r>
              <a:rPr lang="en-US" sz="1800" dirty="0"/>
              <a:t> </a:t>
            </a:r>
          </a:p>
          <a:p>
            <a:pPr lvl="1"/>
            <a:r>
              <a:rPr lang="en-US" sz="1800" dirty="0"/>
              <a:t>Treated with </a:t>
            </a:r>
            <a:r>
              <a:rPr lang="en-US" sz="1800" b="1" dirty="0"/>
              <a:t>high mechanical stress</a:t>
            </a:r>
          </a:p>
          <a:p>
            <a:pPr lvl="1"/>
            <a:r>
              <a:rPr lang="en-US" sz="1800" dirty="0"/>
              <a:t>Freely </a:t>
            </a:r>
            <a:r>
              <a:rPr lang="en-US" sz="1800" b="1" dirty="0"/>
              <a:t>mixed with other materials</a:t>
            </a:r>
            <a:r>
              <a:rPr lang="en-US" sz="1800" dirty="0"/>
              <a:t>, as organic solvents.</a:t>
            </a:r>
          </a:p>
        </p:txBody>
      </p:sp>
      <p:pic>
        <p:nvPicPr>
          <p:cNvPr id="25" name="Picture 8">
            <a:extLst>
              <a:ext uri="{FF2B5EF4-FFF2-40B4-BE49-F238E27FC236}">
                <a16:creationId xmlns:a16="http://schemas.microsoft.com/office/drawing/2014/main" id="{518DB7B9-F4A2-4298-ACC1-00A3FD521AB7}"/>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285066" y="906625"/>
            <a:ext cx="3882452" cy="5044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uppieren 10">
            <a:extLst>
              <a:ext uri="{FF2B5EF4-FFF2-40B4-BE49-F238E27FC236}">
                <a16:creationId xmlns:a16="http://schemas.microsoft.com/office/drawing/2014/main" id="{6E7FEFE8-02B7-4E0A-893E-58C2AD1058C7}"/>
              </a:ext>
            </a:extLst>
          </p:cNvPr>
          <p:cNvGrpSpPr/>
          <p:nvPr/>
        </p:nvGrpSpPr>
        <p:grpSpPr>
          <a:xfrm>
            <a:off x="1060659" y="3855044"/>
            <a:ext cx="944184" cy="909905"/>
            <a:chOff x="4199049" y="3531299"/>
            <a:chExt cx="1047723" cy="1102794"/>
          </a:xfrm>
        </p:grpSpPr>
        <p:sp>
          <p:nvSpPr>
            <p:cNvPr id="41" name="Ellipse 40">
              <a:extLst>
                <a:ext uri="{FF2B5EF4-FFF2-40B4-BE49-F238E27FC236}">
                  <a16:creationId xmlns:a16="http://schemas.microsoft.com/office/drawing/2014/main" id="{EC1214EB-4F08-438E-9790-221F543BEDFC}"/>
                </a:ext>
              </a:extLst>
            </p:cNvPr>
            <p:cNvSpPr/>
            <p:nvPr/>
          </p:nvSpPr>
          <p:spPr>
            <a:xfrm>
              <a:off x="4430034" y="3794098"/>
              <a:ext cx="467535" cy="409671"/>
            </a:xfrm>
            <a:prstGeom prst="ellipse">
              <a:avLst/>
            </a:prstGeom>
            <a:solidFill>
              <a:srgbClr val="FDF0DB"/>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 name="Gruppieren 1">
              <a:extLst>
                <a:ext uri="{FF2B5EF4-FFF2-40B4-BE49-F238E27FC236}">
                  <a16:creationId xmlns:a16="http://schemas.microsoft.com/office/drawing/2014/main" id="{243FDA2A-A641-4E8C-9ED1-3452AFEB62B6}"/>
                </a:ext>
              </a:extLst>
            </p:cNvPr>
            <p:cNvGrpSpPr/>
            <p:nvPr/>
          </p:nvGrpSpPr>
          <p:grpSpPr>
            <a:xfrm rot="16818564">
              <a:off x="4893097" y="3597205"/>
              <a:ext cx="258186" cy="449164"/>
              <a:chOff x="7546050" y="5181666"/>
              <a:chExt cx="258186" cy="449164"/>
            </a:xfrm>
          </p:grpSpPr>
          <p:sp>
            <p:nvSpPr>
              <p:cNvPr id="59" name="Oval 27">
                <a:extLst>
                  <a:ext uri="{FF2B5EF4-FFF2-40B4-BE49-F238E27FC236}">
                    <a16:creationId xmlns:a16="http://schemas.microsoft.com/office/drawing/2014/main" id="{622E5164-8B04-4753-BC49-663F623DF908}"/>
                  </a:ext>
                </a:extLst>
              </p:cNvPr>
              <p:cNvSpPr>
                <a:spLocks noChangeAspect="1" noChangeArrowheads="1"/>
              </p:cNvSpPr>
              <p:nvPr/>
            </p:nvSpPr>
            <p:spPr bwMode="auto">
              <a:xfrm rot="3024539">
                <a:off x="7547847" y="5179869"/>
                <a:ext cx="117587" cy="121182"/>
              </a:xfrm>
              <a:prstGeom prst="ellipse">
                <a:avLst/>
              </a:prstGeom>
              <a:solidFill>
                <a:srgbClr val="4472C4">
                  <a:lumMod val="75000"/>
                </a:srgbClr>
              </a:solidFill>
              <a:ln w="19050">
                <a:solidFill>
                  <a:srgbClr val="4472C4">
                    <a:lumMod val="75000"/>
                  </a:srgbClr>
                </a:solidFill>
                <a:round/>
                <a:headEnd/>
                <a:tailEnd/>
              </a:ln>
            </p:spPr>
            <p:txBody>
              <a:bodyPr wrap="none" lIns="0" tIns="0" rIns="0" bIns="0" anchor="ctr"/>
              <a:lstStyle/>
              <a:p>
                <a:pPr defTabSz="1219170">
                  <a:defRPr/>
                </a:pPr>
                <a:endParaRPr lang="en-US" sz="1351" kern="0" dirty="0">
                  <a:solidFill>
                    <a:srgbClr val="000000"/>
                  </a:solidFill>
                </a:endParaRPr>
              </a:p>
            </p:txBody>
          </p:sp>
          <p:sp>
            <p:nvSpPr>
              <p:cNvPr id="60" name="Freihandform 185">
                <a:extLst>
                  <a:ext uri="{FF2B5EF4-FFF2-40B4-BE49-F238E27FC236}">
                    <a16:creationId xmlns:a16="http://schemas.microsoft.com/office/drawing/2014/main" id="{28DDE884-5333-44A7-88CC-94F0CA577D9A}"/>
                  </a:ext>
                </a:extLst>
              </p:cNvPr>
              <p:cNvSpPr/>
              <p:nvPr/>
            </p:nvSpPr>
            <p:spPr>
              <a:xfrm rot="3024539">
                <a:off x="7575416" y="5402010"/>
                <a:ext cx="387601" cy="70039"/>
              </a:xfrm>
              <a:custGeom>
                <a:avLst/>
                <a:gdLst>
                  <a:gd name="connsiteX0" fmla="*/ 0 w 216040"/>
                  <a:gd name="connsiteY0" fmla="*/ 40217 h 70563"/>
                  <a:gd name="connsiteX1" fmla="*/ 45218 w 216040"/>
                  <a:gd name="connsiteY1" fmla="*/ 24 h 70563"/>
                  <a:gd name="connsiteX2" fmla="*/ 85411 w 216040"/>
                  <a:gd name="connsiteY2" fmla="*/ 45241 h 70563"/>
                  <a:gd name="connsiteX3" fmla="*/ 135653 w 216040"/>
                  <a:gd name="connsiteY3" fmla="*/ 15096 h 70563"/>
                  <a:gd name="connsiteX4" fmla="*/ 190919 w 216040"/>
                  <a:gd name="connsiteY4" fmla="*/ 70362 h 70563"/>
                  <a:gd name="connsiteX5" fmla="*/ 216040 w 216040"/>
                  <a:gd name="connsiteY5" fmla="*/ 30169 h 7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40" h="70563">
                    <a:moveTo>
                      <a:pt x="0" y="40217"/>
                    </a:moveTo>
                    <a:cubicBezTo>
                      <a:pt x="15491" y="19702"/>
                      <a:pt x="30983" y="-813"/>
                      <a:pt x="45218" y="24"/>
                    </a:cubicBezTo>
                    <a:cubicBezTo>
                      <a:pt x="59453" y="861"/>
                      <a:pt x="70339" y="42729"/>
                      <a:pt x="85411" y="45241"/>
                    </a:cubicBezTo>
                    <a:cubicBezTo>
                      <a:pt x="100484" y="47753"/>
                      <a:pt x="118068" y="10909"/>
                      <a:pt x="135653" y="15096"/>
                    </a:cubicBezTo>
                    <a:cubicBezTo>
                      <a:pt x="153238" y="19283"/>
                      <a:pt x="177521" y="67850"/>
                      <a:pt x="190919" y="70362"/>
                    </a:cubicBezTo>
                    <a:cubicBezTo>
                      <a:pt x="204317" y="72874"/>
                      <a:pt x="210178" y="51521"/>
                      <a:pt x="216040" y="30169"/>
                    </a:cubicBezTo>
                  </a:path>
                </a:pathLst>
              </a:custGeom>
              <a:noFill/>
              <a:ln w="28575" cap="flat" cmpd="sng" algn="ctr">
                <a:solidFill>
                  <a:srgbClr val="4472C4">
                    <a:lumMod val="75000"/>
                  </a:srgbClr>
                </a:solidFill>
                <a:prstDash val="solid"/>
                <a:miter lim="800000"/>
              </a:ln>
              <a:effectLst/>
            </p:spPr>
            <p:txBody>
              <a:bodyPr rtlCol="0" anchor="ctr"/>
              <a:lstStyle/>
              <a:p>
                <a:pPr algn="ctr" defTabSz="1219170">
                  <a:defRPr/>
                </a:pPr>
                <a:endParaRPr lang="en-US" sz="2400" kern="0" dirty="0">
                  <a:solidFill>
                    <a:srgbClr val="FFFFFF"/>
                  </a:solidFill>
                  <a:latin typeface="Arial" panose="020F0502020204030204"/>
                  <a:cs typeface="Arial"/>
                </a:endParaRPr>
              </a:p>
            </p:txBody>
          </p:sp>
        </p:grpSp>
        <p:grpSp>
          <p:nvGrpSpPr>
            <p:cNvPr id="85" name="Gruppieren 84">
              <a:extLst>
                <a:ext uri="{FF2B5EF4-FFF2-40B4-BE49-F238E27FC236}">
                  <a16:creationId xmlns:a16="http://schemas.microsoft.com/office/drawing/2014/main" id="{2B33CB95-0124-45D1-8714-5EBAE4957EA5}"/>
                </a:ext>
              </a:extLst>
            </p:cNvPr>
            <p:cNvGrpSpPr/>
            <p:nvPr/>
          </p:nvGrpSpPr>
          <p:grpSpPr>
            <a:xfrm rot="1917489">
              <a:off x="4556096" y="4184929"/>
              <a:ext cx="258186" cy="449164"/>
              <a:chOff x="7546050" y="5181666"/>
              <a:chExt cx="258186" cy="449164"/>
            </a:xfrm>
          </p:grpSpPr>
          <p:sp>
            <p:nvSpPr>
              <p:cNvPr id="86" name="Oval 27">
                <a:extLst>
                  <a:ext uri="{FF2B5EF4-FFF2-40B4-BE49-F238E27FC236}">
                    <a16:creationId xmlns:a16="http://schemas.microsoft.com/office/drawing/2014/main" id="{88DADE68-2915-475D-94C6-01749051E4D7}"/>
                  </a:ext>
                </a:extLst>
              </p:cNvPr>
              <p:cNvSpPr>
                <a:spLocks noChangeAspect="1" noChangeArrowheads="1"/>
              </p:cNvSpPr>
              <p:nvPr/>
            </p:nvSpPr>
            <p:spPr bwMode="auto">
              <a:xfrm rot="3024539">
                <a:off x="7547847" y="5179869"/>
                <a:ext cx="117587" cy="121182"/>
              </a:xfrm>
              <a:prstGeom prst="ellipse">
                <a:avLst/>
              </a:prstGeom>
              <a:solidFill>
                <a:srgbClr val="4472C4">
                  <a:lumMod val="75000"/>
                </a:srgbClr>
              </a:solidFill>
              <a:ln w="19050">
                <a:solidFill>
                  <a:srgbClr val="4472C4">
                    <a:lumMod val="75000"/>
                  </a:srgbClr>
                </a:solidFill>
                <a:round/>
                <a:headEnd/>
                <a:tailEnd/>
              </a:ln>
            </p:spPr>
            <p:txBody>
              <a:bodyPr wrap="none" lIns="0" tIns="0" rIns="0" bIns="0" anchor="ctr"/>
              <a:lstStyle/>
              <a:p>
                <a:pPr defTabSz="1219170">
                  <a:defRPr/>
                </a:pPr>
                <a:endParaRPr lang="en-US" sz="1351" kern="0" dirty="0">
                  <a:solidFill>
                    <a:srgbClr val="000000"/>
                  </a:solidFill>
                </a:endParaRPr>
              </a:p>
            </p:txBody>
          </p:sp>
          <p:sp>
            <p:nvSpPr>
              <p:cNvPr id="87" name="Freihandform 185">
                <a:extLst>
                  <a:ext uri="{FF2B5EF4-FFF2-40B4-BE49-F238E27FC236}">
                    <a16:creationId xmlns:a16="http://schemas.microsoft.com/office/drawing/2014/main" id="{645E1D3E-1619-46DC-8D8D-466C318A4D34}"/>
                  </a:ext>
                </a:extLst>
              </p:cNvPr>
              <p:cNvSpPr/>
              <p:nvPr/>
            </p:nvSpPr>
            <p:spPr>
              <a:xfrm rot="3024539">
                <a:off x="7575416" y="5402010"/>
                <a:ext cx="387601" cy="70039"/>
              </a:xfrm>
              <a:custGeom>
                <a:avLst/>
                <a:gdLst>
                  <a:gd name="connsiteX0" fmla="*/ 0 w 216040"/>
                  <a:gd name="connsiteY0" fmla="*/ 40217 h 70563"/>
                  <a:gd name="connsiteX1" fmla="*/ 45218 w 216040"/>
                  <a:gd name="connsiteY1" fmla="*/ 24 h 70563"/>
                  <a:gd name="connsiteX2" fmla="*/ 85411 w 216040"/>
                  <a:gd name="connsiteY2" fmla="*/ 45241 h 70563"/>
                  <a:gd name="connsiteX3" fmla="*/ 135653 w 216040"/>
                  <a:gd name="connsiteY3" fmla="*/ 15096 h 70563"/>
                  <a:gd name="connsiteX4" fmla="*/ 190919 w 216040"/>
                  <a:gd name="connsiteY4" fmla="*/ 70362 h 70563"/>
                  <a:gd name="connsiteX5" fmla="*/ 216040 w 216040"/>
                  <a:gd name="connsiteY5" fmla="*/ 30169 h 7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40" h="70563">
                    <a:moveTo>
                      <a:pt x="0" y="40217"/>
                    </a:moveTo>
                    <a:cubicBezTo>
                      <a:pt x="15491" y="19702"/>
                      <a:pt x="30983" y="-813"/>
                      <a:pt x="45218" y="24"/>
                    </a:cubicBezTo>
                    <a:cubicBezTo>
                      <a:pt x="59453" y="861"/>
                      <a:pt x="70339" y="42729"/>
                      <a:pt x="85411" y="45241"/>
                    </a:cubicBezTo>
                    <a:cubicBezTo>
                      <a:pt x="100484" y="47753"/>
                      <a:pt x="118068" y="10909"/>
                      <a:pt x="135653" y="15096"/>
                    </a:cubicBezTo>
                    <a:cubicBezTo>
                      <a:pt x="153238" y="19283"/>
                      <a:pt x="177521" y="67850"/>
                      <a:pt x="190919" y="70362"/>
                    </a:cubicBezTo>
                    <a:cubicBezTo>
                      <a:pt x="204317" y="72874"/>
                      <a:pt x="210178" y="51521"/>
                      <a:pt x="216040" y="30169"/>
                    </a:cubicBezTo>
                  </a:path>
                </a:pathLst>
              </a:custGeom>
              <a:noFill/>
              <a:ln w="28575" cap="flat" cmpd="sng" algn="ctr">
                <a:solidFill>
                  <a:srgbClr val="4472C4">
                    <a:lumMod val="75000"/>
                  </a:srgbClr>
                </a:solidFill>
                <a:prstDash val="solid"/>
                <a:miter lim="800000"/>
              </a:ln>
              <a:effectLst/>
            </p:spPr>
            <p:txBody>
              <a:bodyPr rtlCol="0" anchor="ctr"/>
              <a:lstStyle/>
              <a:p>
                <a:pPr algn="ctr" defTabSz="1219170">
                  <a:defRPr/>
                </a:pPr>
                <a:endParaRPr lang="en-US" sz="2400" kern="0" dirty="0">
                  <a:solidFill>
                    <a:srgbClr val="FFFFFF"/>
                  </a:solidFill>
                  <a:latin typeface="Arial" panose="020F0502020204030204"/>
                  <a:cs typeface="Arial"/>
                </a:endParaRPr>
              </a:p>
            </p:txBody>
          </p:sp>
        </p:grpSp>
        <p:grpSp>
          <p:nvGrpSpPr>
            <p:cNvPr id="88" name="Gruppieren 87">
              <a:extLst>
                <a:ext uri="{FF2B5EF4-FFF2-40B4-BE49-F238E27FC236}">
                  <a16:creationId xmlns:a16="http://schemas.microsoft.com/office/drawing/2014/main" id="{505F85DD-6393-4F7A-974B-45392DFA1699}"/>
                </a:ext>
              </a:extLst>
            </p:cNvPr>
            <p:cNvGrpSpPr/>
            <p:nvPr/>
          </p:nvGrpSpPr>
          <p:grpSpPr>
            <a:xfrm rot="9397930">
              <a:off x="4199049" y="3531299"/>
              <a:ext cx="258186" cy="449164"/>
              <a:chOff x="7546050" y="5181666"/>
              <a:chExt cx="258186" cy="449164"/>
            </a:xfrm>
          </p:grpSpPr>
          <p:sp>
            <p:nvSpPr>
              <p:cNvPr id="89" name="Oval 27">
                <a:extLst>
                  <a:ext uri="{FF2B5EF4-FFF2-40B4-BE49-F238E27FC236}">
                    <a16:creationId xmlns:a16="http://schemas.microsoft.com/office/drawing/2014/main" id="{557F3C6C-422B-4C5E-864B-73460F4FCBED}"/>
                  </a:ext>
                </a:extLst>
              </p:cNvPr>
              <p:cNvSpPr>
                <a:spLocks noChangeAspect="1" noChangeArrowheads="1"/>
              </p:cNvSpPr>
              <p:nvPr/>
            </p:nvSpPr>
            <p:spPr bwMode="auto">
              <a:xfrm rot="3024539">
                <a:off x="7547847" y="5179869"/>
                <a:ext cx="117587" cy="121182"/>
              </a:xfrm>
              <a:prstGeom prst="ellipse">
                <a:avLst/>
              </a:prstGeom>
              <a:solidFill>
                <a:srgbClr val="4472C4">
                  <a:lumMod val="75000"/>
                </a:srgbClr>
              </a:solidFill>
              <a:ln w="19050">
                <a:solidFill>
                  <a:srgbClr val="4472C4">
                    <a:lumMod val="75000"/>
                  </a:srgbClr>
                </a:solidFill>
                <a:round/>
                <a:headEnd/>
                <a:tailEnd/>
              </a:ln>
            </p:spPr>
            <p:txBody>
              <a:bodyPr wrap="none" lIns="0" tIns="0" rIns="0" bIns="0" anchor="ctr"/>
              <a:lstStyle/>
              <a:p>
                <a:pPr defTabSz="1219170">
                  <a:defRPr/>
                </a:pPr>
                <a:endParaRPr lang="en-US" sz="1351" kern="0" dirty="0">
                  <a:solidFill>
                    <a:srgbClr val="000000"/>
                  </a:solidFill>
                </a:endParaRPr>
              </a:p>
            </p:txBody>
          </p:sp>
          <p:sp>
            <p:nvSpPr>
              <p:cNvPr id="90" name="Freihandform 185">
                <a:extLst>
                  <a:ext uri="{FF2B5EF4-FFF2-40B4-BE49-F238E27FC236}">
                    <a16:creationId xmlns:a16="http://schemas.microsoft.com/office/drawing/2014/main" id="{70BEBE44-F957-4965-B064-185162B2CA52}"/>
                  </a:ext>
                </a:extLst>
              </p:cNvPr>
              <p:cNvSpPr/>
              <p:nvPr/>
            </p:nvSpPr>
            <p:spPr>
              <a:xfrm rot="3024539">
                <a:off x="7575416" y="5402010"/>
                <a:ext cx="387601" cy="70039"/>
              </a:xfrm>
              <a:custGeom>
                <a:avLst/>
                <a:gdLst>
                  <a:gd name="connsiteX0" fmla="*/ 0 w 216040"/>
                  <a:gd name="connsiteY0" fmla="*/ 40217 h 70563"/>
                  <a:gd name="connsiteX1" fmla="*/ 45218 w 216040"/>
                  <a:gd name="connsiteY1" fmla="*/ 24 h 70563"/>
                  <a:gd name="connsiteX2" fmla="*/ 85411 w 216040"/>
                  <a:gd name="connsiteY2" fmla="*/ 45241 h 70563"/>
                  <a:gd name="connsiteX3" fmla="*/ 135653 w 216040"/>
                  <a:gd name="connsiteY3" fmla="*/ 15096 h 70563"/>
                  <a:gd name="connsiteX4" fmla="*/ 190919 w 216040"/>
                  <a:gd name="connsiteY4" fmla="*/ 70362 h 70563"/>
                  <a:gd name="connsiteX5" fmla="*/ 216040 w 216040"/>
                  <a:gd name="connsiteY5" fmla="*/ 30169 h 7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40" h="70563">
                    <a:moveTo>
                      <a:pt x="0" y="40217"/>
                    </a:moveTo>
                    <a:cubicBezTo>
                      <a:pt x="15491" y="19702"/>
                      <a:pt x="30983" y="-813"/>
                      <a:pt x="45218" y="24"/>
                    </a:cubicBezTo>
                    <a:cubicBezTo>
                      <a:pt x="59453" y="861"/>
                      <a:pt x="70339" y="42729"/>
                      <a:pt x="85411" y="45241"/>
                    </a:cubicBezTo>
                    <a:cubicBezTo>
                      <a:pt x="100484" y="47753"/>
                      <a:pt x="118068" y="10909"/>
                      <a:pt x="135653" y="15096"/>
                    </a:cubicBezTo>
                    <a:cubicBezTo>
                      <a:pt x="153238" y="19283"/>
                      <a:pt x="177521" y="67850"/>
                      <a:pt x="190919" y="70362"/>
                    </a:cubicBezTo>
                    <a:cubicBezTo>
                      <a:pt x="204317" y="72874"/>
                      <a:pt x="210178" y="51521"/>
                      <a:pt x="216040" y="30169"/>
                    </a:cubicBezTo>
                  </a:path>
                </a:pathLst>
              </a:custGeom>
              <a:noFill/>
              <a:ln w="28575" cap="flat" cmpd="sng" algn="ctr">
                <a:solidFill>
                  <a:srgbClr val="4472C4">
                    <a:lumMod val="75000"/>
                  </a:srgbClr>
                </a:solidFill>
                <a:prstDash val="solid"/>
                <a:miter lim="800000"/>
              </a:ln>
              <a:effectLst/>
            </p:spPr>
            <p:txBody>
              <a:bodyPr rtlCol="0" anchor="ctr"/>
              <a:lstStyle/>
              <a:p>
                <a:pPr algn="ctr" defTabSz="1219170">
                  <a:defRPr/>
                </a:pPr>
                <a:endParaRPr lang="en-US" sz="2400" kern="0" dirty="0">
                  <a:solidFill>
                    <a:srgbClr val="FFFFFF"/>
                  </a:solidFill>
                  <a:latin typeface="Arial" panose="020F0502020204030204"/>
                  <a:cs typeface="Arial"/>
                </a:endParaRPr>
              </a:p>
            </p:txBody>
          </p:sp>
        </p:grpSp>
        <p:sp>
          <p:nvSpPr>
            <p:cNvPr id="91" name="Textfeld 90">
              <a:extLst>
                <a:ext uri="{FF2B5EF4-FFF2-40B4-BE49-F238E27FC236}">
                  <a16:creationId xmlns:a16="http://schemas.microsoft.com/office/drawing/2014/main" id="{F958AEA7-FB1F-4AB7-BA7C-6FCCD68048B5}"/>
                </a:ext>
              </a:extLst>
            </p:cNvPr>
            <p:cNvSpPr txBox="1"/>
            <p:nvPr/>
          </p:nvSpPr>
          <p:spPr>
            <a:xfrm>
              <a:off x="4587200" y="3582515"/>
              <a:ext cx="139234" cy="346858"/>
            </a:xfrm>
            <a:prstGeom prst="rect">
              <a:avLst/>
            </a:prstGeom>
            <a:noFill/>
          </p:spPr>
          <p:txBody>
            <a:bodyPr wrap="square" lIns="0" tIns="0" rIns="0" bIns="0" rtlCol="0">
              <a:spAutoFit/>
            </a:bodyPr>
            <a:lstStyle/>
            <a:p>
              <a:r>
                <a:rPr lang="en-US" dirty="0"/>
                <a:t>+</a:t>
              </a:r>
            </a:p>
          </p:txBody>
        </p:sp>
        <p:sp>
          <p:nvSpPr>
            <p:cNvPr id="92" name="Textfeld 91">
              <a:extLst>
                <a:ext uri="{FF2B5EF4-FFF2-40B4-BE49-F238E27FC236}">
                  <a16:creationId xmlns:a16="http://schemas.microsoft.com/office/drawing/2014/main" id="{D3B598DA-1A8F-4DF4-9B02-7486CC7BFCFA}"/>
                </a:ext>
              </a:extLst>
            </p:cNvPr>
            <p:cNvSpPr txBox="1"/>
            <p:nvPr/>
          </p:nvSpPr>
          <p:spPr>
            <a:xfrm>
              <a:off x="4883417" y="4074781"/>
              <a:ext cx="139234" cy="346858"/>
            </a:xfrm>
            <a:prstGeom prst="rect">
              <a:avLst/>
            </a:prstGeom>
            <a:noFill/>
          </p:spPr>
          <p:txBody>
            <a:bodyPr wrap="square" lIns="0" tIns="0" rIns="0" bIns="0" rtlCol="0">
              <a:spAutoFit/>
            </a:bodyPr>
            <a:lstStyle/>
            <a:p>
              <a:r>
                <a:rPr lang="en-US" dirty="0"/>
                <a:t>+</a:t>
              </a:r>
            </a:p>
          </p:txBody>
        </p:sp>
        <p:sp>
          <p:nvSpPr>
            <p:cNvPr id="93" name="Textfeld 92">
              <a:extLst>
                <a:ext uri="{FF2B5EF4-FFF2-40B4-BE49-F238E27FC236}">
                  <a16:creationId xmlns:a16="http://schemas.microsoft.com/office/drawing/2014/main" id="{513DCB68-940F-45F3-87D1-EA6A4E144D4E}"/>
                </a:ext>
              </a:extLst>
            </p:cNvPr>
            <p:cNvSpPr txBox="1"/>
            <p:nvPr/>
          </p:nvSpPr>
          <p:spPr>
            <a:xfrm>
              <a:off x="4342004" y="3967702"/>
              <a:ext cx="229996" cy="346858"/>
            </a:xfrm>
            <a:prstGeom prst="rect">
              <a:avLst/>
            </a:prstGeom>
            <a:noFill/>
          </p:spPr>
          <p:txBody>
            <a:bodyPr wrap="square" lIns="0" tIns="0" rIns="0" bIns="0" rtlCol="0">
              <a:spAutoFit/>
            </a:bodyPr>
            <a:lstStyle/>
            <a:p>
              <a:r>
                <a:rPr lang="en-US" dirty="0"/>
                <a:t>-</a:t>
              </a:r>
            </a:p>
          </p:txBody>
        </p:sp>
        <p:sp>
          <p:nvSpPr>
            <p:cNvPr id="94" name="Textfeld 93">
              <a:extLst>
                <a:ext uri="{FF2B5EF4-FFF2-40B4-BE49-F238E27FC236}">
                  <a16:creationId xmlns:a16="http://schemas.microsoft.com/office/drawing/2014/main" id="{9CE90A3C-5DD3-4AAD-AB78-D11A39EEC01E}"/>
                </a:ext>
              </a:extLst>
            </p:cNvPr>
            <p:cNvSpPr txBox="1"/>
            <p:nvPr/>
          </p:nvSpPr>
          <p:spPr>
            <a:xfrm>
              <a:off x="4512817" y="4227180"/>
              <a:ext cx="139234" cy="346858"/>
            </a:xfrm>
            <a:prstGeom prst="rect">
              <a:avLst/>
            </a:prstGeom>
            <a:noFill/>
          </p:spPr>
          <p:txBody>
            <a:bodyPr wrap="square" lIns="0" tIns="0" rIns="0" bIns="0" rtlCol="0">
              <a:spAutoFit/>
            </a:bodyPr>
            <a:lstStyle/>
            <a:p>
              <a:r>
                <a:rPr lang="en-US" dirty="0"/>
                <a:t>+</a:t>
              </a:r>
            </a:p>
          </p:txBody>
        </p:sp>
        <p:sp>
          <p:nvSpPr>
            <p:cNvPr id="95" name="Textfeld 94">
              <a:extLst>
                <a:ext uri="{FF2B5EF4-FFF2-40B4-BE49-F238E27FC236}">
                  <a16:creationId xmlns:a16="http://schemas.microsoft.com/office/drawing/2014/main" id="{7F2885E3-948E-4B8C-8255-3B8959F8A1E9}"/>
                </a:ext>
              </a:extLst>
            </p:cNvPr>
            <p:cNvSpPr txBox="1"/>
            <p:nvPr/>
          </p:nvSpPr>
          <p:spPr>
            <a:xfrm>
              <a:off x="4992142" y="3845349"/>
              <a:ext cx="229996" cy="346858"/>
            </a:xfrm>
            <a:prstGeom prst="rect">
              <a:avLst/>
            </a:prstGeom>
            <a:noFill/>
          </p:spPr>
          <p:txBody>
            <a:bodyPr wrap="square" lIns="0" tIns="0" rIns="0" bIns="0" rtlCol="0">
              <a:spAutoFit/>
            </a:bodyPr>
            <a:lstStyle/>
            <a:p>
              <a:r>
                <a:rPr lang="en-US" dirty="0"/>
                <a:t>-</a:t>
              </a:r>
            </a:p>
          </p:txBody>
        </p:sp>
        <p:sp>
          <p:nvSpPr>
            <p:cNvPr id="96" name="Textfeld 95">
              <a:extLst>
                <a:ext uri="{FF2B5EF4-FFF2-40B4-BE49-F238E27FC236}">
                  <a16:creationId xmlns:a16="http://schemas.microsoft.com/office/drawing/2014/main" id="{CF4C5A1D-A30C-4CA4-BE81-47670A01ADF1}"/>
                </a:ext>
              </a:extLst>
            </p:cNvPr>
            <p:cNvSpPr txBox="1"/>
            <p:nvPr/>
          </p:nvSpPr>
          <p:spPr>
            <a:xfrm>
              <a:off x="4782684" y="3558695"/>
              <a:ext cx="229996" cy="346858"/>
            </a:xfrm>
            <a:prstGeom prst="rect">
              <a:avLst/>
            </a:prstGeom>
            <a:noFill/>
          </p:spPr>
          <p:txBody>
            <a:bodyPr wrap="square" lIns="0" tIns="0" rIns="0" bIns="0" rtlCol="0">
              <a:spAutoFit/>
            </a:bodyPr>
            <a:lstStyle/>
            <a:p>
              <a:r>
                <a:rPr lang="en-US" dirty="0"/>
                <a:t>-</a:t>
              </a:r>
            </a:p>
          </p:txBody>
        </p:sp>
      </p:grpSp>
      <p:grpSp>
        <p:nvGrpSpPr>
          <p:cNvPr id="97" name="Gruppieren 96">
            <a:extLst>
              <a:ext uri="{FF2B5EF4-FFF2-40B4-BE49-F238E27FC236}">
                <a16:creationId xmlns:a16="http://schemas.microsoft.com/office/drawing/2014/main" id="{A81DC8A5-BF02-44EC-A624-86D8C02C5ED6}"/>
              </a:ext>
            </a:extLst>
          </p:cNvPr>
          <p:cNvGrpSpPr/>
          <p:nvPr/>
        </p:nvGrpSpPr>
        <p:grpSpPr>
          <a:xfrm rot="19053456">
            <a:off x="2583871" y="4277743"/>
            <a:ext cx="820003" cy="916121"/>
            <a:chOff x="4199049" y="3523765"/>
            <a:chExt cx="1047723" cy="1110328"/>
          </a:xfrm>
        </p:grpSpPr>
        <p:sp>
          <p:nvSpPr>
            <p:cNvPr id="98" name="Ellipse 97">
              <a:extLst>
                <a:ext uri="{FF2B5EF4-FFF2-40B4-BE49-F238E27FC236}">
                  <a16:creationId xmlns:a16="http://schemas.microsoft.com/office/drawing/2014/main" id="{D417206D-8B78-4A36-AD3A-5D4C54C4C765}"/>
                </a:ext>
              </a:extLst>
            </p:cNvPr>
            <p:cNvSpPr/>
            <p:nvPr/>
          </p:nvSpPr>
          <p:spPr>
            <a:xfrm>
              <a:off x="4430034" y="3794098"/>
              <a:ext cx="467535" cy="409671"/>
            </a:xfrm>
            <a:prstGeom prst="ellipse">
              <a:avLst/>
            </a:prstGeom>
            <a:solidFill>
              <a:srgbClr val="FDF0DB"/>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9" name="Gruppieren 98">
              <a:extLst>
                <a:ext uri="{FF2B5EF4-FFF2-40B4-BE49-F238E27FC236}">
                  <a16:creationId xmlns:a16="http://schemas.microsoft.com/office/drawing/2014/main" id="{4FA66777-78D0-4B66-83E5-4C0B1D98A47F}"/>
                </a:ext>
              </a:extLst>
            </p:cNvPr>
            <p:cNvGrpSpPr/>
            <p:nvPr/>
          </p:nvGrpSpPr>
          <p:grpSpPr>
            <a:xfrm rot="16818564">
              <a:off x="4893097" y="3597205"/>
              <a:ext cx="258186" cy="449164"/>
              <a:chOff x="7546050" y="5181666"/>
              <a:chExt cx="258186" cy="449164"/>
            </a:xfrm>
          </p:grpSpPr>
          <p:sp>
            <p:nvSpPr>
              <p:cNvPr id="112" name="Oval 27">
                <a:extLst>
                  <a:ext uri="{FF2B5EF4-FFF2-40B4-BE49-F238E27FC236}">
                    <a16:creationId xmlns:a16="http://schemas.microsoft.com/office/drawing/2014/main" id="{6EBBB834-A63A-414C-BD3D-90F649F5466C}"/>
                  </a:ext>
                </a:extLst>
              </p:cNvPr>
              <p:cNvSpPr>
                <a:spLocks noChangeAspect="1" noChangeArrowheads="1"/>
              </p:cNvSpPr>
              <p:nvPr/>
            </p:nvSpPr>
            <p:spPr bwMode="auto">
              <a:xfrm rot="3024539">
                <a:off x="7547847" y="5179869"/>
                <a:ext cx="117587" cy="121182"/>
              </a:xfrm>
              <a:prstGeom prst="ellipse">
                <a:avLst/>
              </a:prstGeom>
              <a:solidFill>
                <a:srgbClr val="4472C4">
                  <a:lumMod val="75000"/>
                </a:srgbClr>
              </a:solidFill>
              <a:ln w="19050">
                <a:solidFill>
                  <a:srgbClr val="4472C4">
                    <a:lumMod val="75000"/>
                  </a:srgbClr>
                </a:solidFill>
                <a:round/>
                <a:headEnd/>
                <a:tailEnd/>
              </a:ln>
            </p:spPr>
            <p:txBody>
              <a:bodyPr wrap="none" lIns="0" tIns="0" rIns="0" bIns="0" anchor="ctr"/>
              <a:lstStyle/>
              <a:p>
                <a:pPr defTabSz="1219170">
                  <a:defRPr/>
                </a:pPr>
                <a:endParaRPr lang="en-US" sz="1351" kern="0" dirty="0">
                  <a:solidFill>
                    <a:srgbClr val="000000"/>
                  </a:solidFill>
                </a:endParaRPr>
              </a:p>
            </p:txBody>
          </p:sp>
          <p:sp>
            <p:nvSpPr>
              <p:cNvPr id="113" name="Freihandform 185">
                <a:extLst>
                  <a:ext uri="{FF2B5EF4-FFF2-40B4-BE49-F238E27FC236}">
                    <a16:creationId xmlns:a16="http://schemas.microsoft.com/office/drawing/2014/main" id="{54E2B7B6-F4F0-4670-8128-EC4E1585C6A8}"/>
                  </a:ext>
                </a:extLst>
              </p:cNvPr>
              <p:cNvSpPr/>
              <p:nvPr/>
            </p:nvSpPr>
            <p:spPr>
              <a:xfrm rot="3024539">
                <a:off x="7575416" y="5402010"/>
                <a:ext cx="387601" cy="70039"/>
              </a:xfrm>
              <a:custGeom>
                <a:avLst/>
                <a:gdLst>
                  <a:gd name="connsiteX0" fmla="*/ 0 w 216040"/>
                  <a:gd name="connsiteY0" fmla="*/ 40217 h 70563"/>
                  <a:gd name="connsiteX1" fmla="*/ 45218 w 216040"/>
                  <a:gd name="connsiteY1" fmla="*/ 24 h 70563"/>
                  <a:gd name="connsiteX2" fmla="*/ 85411 w 216040"/>
                  <a:gd name="connsiteY2" fmla="*/ 45241 h 70563"/>
                  <a:gd name="connsiteX3" fmla="*/ 135653 w 216040"/>
                  <a:gd name="connsiteY3" fmla="*/ 15096 h 70563"/>
                  <a:gd name="connsiteX4" fmla="*/ 190919 w 216040"/>
                  <a:gd name="connsiteY4" fmla="*/ 70362 h 70563"/>
                  <a:gd name="connsiteX5" fmla="*/ 216040 w 216040"/>
                  <a:gd name="connsiteY5" fmla="*/ 30169 h 7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40" h="70563">
                    <a:moveTo>
                      <a:pt x="0" y="40217"/>
                    </a:moveTo>
                    <a:cubicBezTo>
                      <a:pt x="15491" y="19702"/>
                      <a:pt x="30983" y="-813"/>
                      <a:pt x="45218" y="24"/>
                    </a:cubicBezTo>
                    <a:cubicBezTo>
                      <a:pt x="59453" y="861"/>
                      <a:pt x="70339" y="42729"/>
                      <a:pt x="85411" y="45241"/>
                    </a:cubicBezTo>
                    <a:cubicBezTo>
                      <a:pt x="100484" y="47753"/>
                      <a:pt x="118068" y="10909"/>
                      <a:pt x="135653" y="15096"/>
                    </a:cubicBezTo>
                    <a:cubicBezTo>
                      <a:pt x="153238" y="19283"/>
                      <a:pt x="177521" y="67850"/>
                      <a:pt x="190919" y="70362"/>
                    </a:cubicBezTo>
                    <a:cubicBezTo>
                      <a:pt x="204317" y="72874"/>
                      <a:pt x="210178" y="51521"/>
                      <a:pt x="216040" y="30169"/>
                    </a:cubicBezTo>
                  </a:path>
                </a:pathLst>
              </a:custGeom>
              <a:noFill/>
              <a:ln w="28575" cap="flat" cmpd="sng" algn="ctr">
                <a:solidFill>
                  <a:srgbClr val="4472C4">
                    <a:lumMod val="75000"/>
                  </a:srgbClr>
                </a:solidFill>
                <a:prstDash val="solid"/>
                <a:miter lim="800000"/>
              </a:ln>
              <a:effectLst/>
            </p:spPr>
            <p:txBody>
              <a:bodyPr rtlCol="0" anchor="ctr"/>
              <a:lstStyle/>
              <a:p>
                <a:pPr algn="ctr" defTabSz="1219170">
                  <a:defRPr/>
                </a:pPr>
                <a:endParaRPr lang="en-US" sz="2400" kern="0" dirty="0">
                  <a:solidFill>
                    <a:srgbClr val="FFFFFF"/>
                  </a:solidFill>
                  <a:latin typeface="Arial" panose="020F0502020204030204"/>
                  <a:cs typeface="Arial"/>
                </a:endParaRPr>
              </a:p>
            </p:txBody>
          </p:sp>
        </p:grpSp>
        <p:grpSp>
          <p:nvGrpSpPr>
            <p:cNvPr id="100" name="Gruppieren 99">
              <a:extLst>
                <a:ext uri="{FF2B5EF4-FFF2-40B4-BE49-F238E27FC236}">
                  <a16:creationId xmlns:a16="http://schemas.microsoft.com/office/drawing/2014/main" id="{190BC5BE-5281-41D7-AA6F-7FB068DD09FB}"/>
                </a:ext>
              </a:extLst>
            </p:cNvPr>
            <p:cNvGrpSpPr/>
            <p:nvPr/>
          </p:nvGrpSpPr>
          <p:grpSpPr>
            <a:xfrm rot="1917489">
              <a:off x="4556096" y="4184929"/>
              <a:ext cx="258186" cy="449164"/>
              <a:chOff x="7546050" y="5181666"/>
              <a:chExt cx="258186" cy="449164"/>
            </a:xfrm>
          </p:grpSpPr>
          <p:sp>
            <p:nvSpPr>
              <p:cNvPr id="110" name="Oval 27">
                <a:extLst>
                  <a:ext uri="{FF2B5EF4-FFF2-40B4-BE49-F238E27FC236}">
                    <a16:creationId xmlns:a16="http://schemas.microsoft.com/office/drawing/2014/main" id="{CDEE1627-548D-4AC5-9D10-AF344D785BAC}"/>
                  </a:ext>
                </a:extLst>
              </p:cNvPr>
              <p:cNvSpPr>
                <a:spLocks noChangeAspect="1" noChangeArrowheads="1"/>
              </p:cNvSpPr>
              <p:nvPr/>
            </p:nvSpPr>
            <p:spPr bwMode="auto">
              <a:xfrm rot="3024539">
                <a:off x="7547847" y="5179869"/>
                <a:ext cx="117587" cy="121182"/>
              </a:xfrm>
              <a:prstGeom prst="ellipse">
                <a:avLst/>
              </a:prstGeom>
              <a:solidFill>
                <a:srgbClr val="4472C4">
                  <a:lumMod val="75000"/>
                </a:srgbClr>
              </a:solidFill>
              <a:ln w="19050">
                <a:solidFill>
                  <a:srgbClr val="4472C4">
                    <a:lumMod val="75000"/>
                  </a:srgbClr>
                </a:solidFill>
                <a:round/>
                <a:headEnd/>
                <a:tailEnd/>
              </a:ln>
            </p:spPr>
            <p:txBody>
              <a:bodyPr wrap="none" lIns="0" tIns="0" rIns="0" bIns="0" anchor="ctr"/>
              <a:lstStyle/>
              <a:p>
                <a:pPr defTabSz="1219170">
                  <a:defRPr/>
                </a:pPr>
                <a:endParaRPr lang="en-US" sz="1351" kern="0" dirty="0">
                  <a:solidFill>
                    <a:srgbClr val="000000"/>
                  </a:solidFill>
                </a:endParaRPr>
              </a:p>
            </p:txBody>
          </p:sp>
          <p:sp>
            <p:nvSpPr>
              <p:cNvPr id="111" name="Freihandform 185">
                <a:extLst>
                  <a:ext uri="{FF2B5EF4-FFF2-40B4-BE49-F238E27FC236}">
                    <a16:creationId xmlns:a16="http://schemas.microsoft.com/office/drawing/2014/main" id="{9A665B71-2C13-4841-8564-EFCEE611026C}"/>
                  </a:ext>
                </a:extLst>
              </p:cNvPr>
              <p:cNvSpPr/>
              <p:nvPr/>
            </p:nvSpPr>
            <p:spPr>
              <a:xfrm rot="3024539">
                <a:off x="7575416" y="5402010"/>
                <a:ext cx="387601" cy="70039"/>
              </a:xfrm>
              <a:custGeom>
                <a:avLst/>
                <a:gdLst>
                  <a:gd name="connsiteX0" fmla="*/ 0 w 216040"/>
                  <a:gd name="connsiteY0" fmla="*/ 40217 h 70563"/>
                  <a:gd name="connsiteX1" fmla="*/ 45218 w 216040"/>
                  <a:gd name="connsiteY1" fmla="*/ 24 h 70563"/>
                  <a:gd name="connsiteX2" fmla="*/ 85411 w 216040"/>
                  <a:gd name="connsiteY2" fmla="*/ 45241 h 70563"/>
                  <a:gd name="connsiteX3" fmla="*/ 135653 w 216040"/>
                  <a:gd name="connsiteY3" fmla="*/ 15096 h 70563"/>
                  <a:gd name="connsiteX4" fmla="*/ 190919 w 216040"/>
                  <a:gd name="connsiteY4" fmla="*/ 70362 h 70563"/>
                  <a:gd name="connsiteX5" fmla="*/ 216040 w 216040"/>
                  <a:gd name="connsiteY5" fmla="*/ 30169 h 7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40" h="70563">
                    <a:moveTo>
                      <a:pt x="0" y="40217"/>
                    </a:moveTo>
                    <a:cubicBezTo>
                      <a:pt x="15491" y="19702"/>
                      <a:pt x="30983" y="-813"/>
                      <a:pt x="45218" y="24"/>
                    </a:cubicBezTo>
                    <a:cubicBezTo>
                      <a:pt x="59453" y="861"/>
                      <a:pt x="70339" y="42729"/>
                      <a:pt x="85411" y="45241"/>
                    </a:cubicBezTo>
                    <a:cubicBezTo>
                      <a:pt x="100484" y="47753"/>
                      <a:pt x="118068" y="10909"/>
                      <a:pt x="135653" y="15096"/>
                    </a:cubicBezTo>
                    <a:cubicBezTo>
                      <a:pt x="153238" y="19283"/>
                      <a:pt x="177521" y="67850"/>
                      <a:pt x="190919" y="70362"/>
                    </a:cubicBezTo>
                    <a:cubicBezTo>
                      <a:pt x="204317" y="72874"/>
                      <a:pt x="210178" y="51521"/>
                      <a:pt x="216040" y="30169"/>
                    </a:cubicBezTo>
                  </a:path>
                </a:pathLst>
              </a:custGeom>
              <a:noFill/>
              <a:ln w="28575" cap="flat" cmpd="sng" algn="ctr">
                <a:solidFill>
                  <a:srgbClr val="4472C4">
                    <a:lumMod val="75000"/>
                  </a:srgbClr>
                </a:solidFill>
                <a:prstDash val="solid"/>
                <a:miter lim="800000"/>
              </a:ln>
              <a:effectLst/>
            </p:spPr>
            <p:txBody>
              <a:bodyPr rtlCol="0" anchor="ctr"/>
              <a:lstStyle/>
              <a:p>
                <a:pPr algn="ctr" defTabSz="1219170">
                  <a:defRPr/>
                </a:pPr>
                <a:endParaRPr lang="en-US" sz="2400" kern="0" dirty="0">
                  <a:solidFill>
                    <a:srgbClr val="FFFFFF"/>
                  </a:solidFill>
                  <a:latin typeface="Arial" panose="020F0502020204030204"/>
                  <a:cs typeface="Arial"/>
                </a:endParaRPr>
              </a:p>
            </p:txBody>
          </p:sp>
        </p:grpSp>
        <p:grpSp>
          <p:nvGrpSpPr>
            <p:cNvPr id="101" name="Gruppieren 100">
              <a:extLst>
                <a:ext uri="{FF2B5EF4-FFF2-40B4-BE49-F238E27FC236}">
                  <a16:creationId xmlns:a16="http://schemas.microsoft.com/office/drawing/2014/main" id="{6769416D-8CD8-4138-AAC3-6F257388DCA1}"/>
                </a:ext>
              </a:extLst>
            </p:cNvPr>
            <p:cNvGrpSpPr/>
            <p:nvPr/>
          </p:nvGrpSpPr>
          <p:grpSpPr>
            <a:xfrm rot="9397930">
              <a:off x="4199049" y="3531299"/>
              <a:ext cx="258186" cy="449164"/>
              <a:chOff x="7546050" y="5181666"/>
              <a:chExt cx="258186" cy="449164"/>
            </a:xfrm>
          </p:grpSpPr>
          <p:sp>
            <p:nvSpPr>
              <p:cNvPr id="108" name="Oval 27">
                <a:extLst>
                  <a:ext uri="{FF2B5EF4-FFF2-40B4-BE49-F238E27FC236}">
                    <a16:creationId xmlns:a16="http://schemas.microsoft.com/office/drawing/2014/main" id="{480047E5-C223-426F-89A2-B505EAC2EB8B}"/>
                  </a:ext>
                </a:extLst>
              </p:cNvPr>
              <p:cNvSpPr>
                <a:spLocks noChangeAspect="1" noChangeArrowheads="1"/>
              </p:cNvSpPr>
              <p:nvPr/>
            </p:nvSpPr>
            <p:spPr bwMode="auto">
              <a:xfrm rot="3024539">
                <a:off x="7547847" y="5179869"/>
                <a:ext cx="117587" cy="121182"/>
              </a:xfrm>
              <a:prstGeom prst="ellipse">
                <a:avLst/>
              </a:prstGeom>
              <a:solidFill>
                <a:srgbClr val="4472C4">
                  <a:lumMod val="75000"/>
                </a:srgbClr>
              </a:solidFill>
              <a:ln w="19050">
                <a:solidFill>
                  <a:srgbClr val="4472C4">
                    <a:lumMod val="75000"/>
                  </a:srgbClr>
                </a:solidFill>
                <a:round/>
                <a:headEnd/>
                <a:tailEnd/>
              </a:ln>
            </p:spPr>
            <p:txBody>
              <a:bodyPr wrap="none" lIns="0" tIns="0" rIns="0" bIns="0" anchor="ctr"/>
              <a:lstStyle/>
              <a:p>
                <a:pPr defTabSz="1219170">
                  <a:defRPr/>
                </a:pPr>
                <a:endParaRPr lang="en-US" sz="1351" kern="0" dirty="0">
                  <a:solidFill>
                    <a:srgbClr val="000000"/>
                  </a:solidFill>
                </a:endParaRPr>
              </a:p>
            </p:txBody>
          </p:sp>
          <p:sp>
            <p:nvSpPr>
              <p:cNvPr id="109" name="Freihandform 185">
                <a:extLst>
                  <a:ext uri="{FF2B5EF4-FFF2-40B4-BE49-F238E27FC236}">
                    <a16:creationId xmlns:a16="http://schemas.microsoft.com/office/drawing/2014/main" id="{C8403AB1-6D3E-4B5A-A8D3-0E5FC2E465B1}"/>
                  </a:ext>
                </a:extLst>
              </p:cNvPr>
              <p:cNvSpPr/>
              <p:nvPr/>
            </p:nvSpPr>
            <p:spPr>
              <a:xfrm rot="3024539">
                <a:off x="7575416" y="5402010"/>
                <a:ext cx="387601" cy="70039"/>
              </a:xfrm>
              <a:custGeom>
                <a:avLst/>
                <a:gdLst>
                  <a:gd name="connsiteX0" fmla="*/ 0 w 216040"/>
                  <a:gd name="connsiteY0" fmla="*/ 40217 h 70563"/>
                  <a:gd name="connsiteX1" fmla="*/ 45218 w 216040"/>
                  <a:gd name="connsiteY1" fmla="*/ 24 h 70563"/>
                  <a:gd name="connsiteX2" fmla="*/ 85411 w 216040"/>
                  <a:gd name="connsiteY2" fmla="*/ 45241 h 70563"/>
                  <a:gd name="connsiteX3" fmla="*/ 135653 w 216040"/>
                  <a:gd name="connsiteY3" fmla="*/ 15096 h 70563"/>
                  <a:gd name="connsiteX4" fmla="*/ 190919 w 216040"/>
                  <a:gd name="connsiteY4" fmla="*/ 70362 h 70563"/>
                  <a:gd name="connsiteX5" fmla="*/ 216040 w 216040"/>
                  <a:gd name="connsiteY5" fmla="*/ 30169 h 7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040" h="70563">
                    <a:moveTo>
                      <a:pt x="0" y="40217"/>
                    </a:moveTo>
                    <a:cubicBezTo>
                      <a:pt x="15491" y="19702"/>
                      <a:pt x="30983" y="-813"/>
                      <a:pt x="45218" y="24"/>
                    </a:cubicBezTo>
                    <a:cubicBezTo>
                      <a:pt x="59453" y="861"/>
                      <a:pt x="70339" y="42729"/>
                      <a:pt x="85411" y="45241"/>
                    </a:cubicBezTo>
                    <a:cubicBezTo>
                      <a:pt x="100484" y="47753"/>
                      <a:pt x="118068" y="10909"/>
                      <a:pt x="135653" y="15096"/>
                    </a:cubicBezTo>
                    <a:cubicBezTo>
                      <a:pt x="153238" y="19283"/>
                      <a:pt x="177521" y="67850"/>
                      <a:pt x="190919" y="70362"/>
                    </a:cubicBezTo>
                    <a:cubicBezTo>
                      <a:pt x="204317" y="72874"/>
                      <a:pt x="210178" y="51521"/>
                      <a:pt x="216040" y="30169"/>
                    </a:cubicBezTo>
                  </a:path>
                </a:pathLst>
              </a:custGeom>
              <a:noFill/>
              <a:ln w="28575" cap="flat" cmpd="sng" algn="ctr">
                <a:solidFill>
                  <a:srgbClr val="4472C4">
                    <a:lumMod val="75000"/>
                  </a:srgbClr>
                </a:solidFill>
                <a:prstDash val="solid"/>
                <a:miter lim="800000"/>
              </a:ln>
              <a:effectLst/>
            </p:spPr>
            <p:txBody>
              <a:bodyPr rtlCol="0" anchor="ctr"/>
              <a:lstStyle/>
              <a:p>
                <a:pPr algn="ctr" defTabSz="1219170">
                  <a:defRPr/>
                </a:pPr>
                <a:endParaRPr lang="en-US" sz="2400" kern="0" dirty="0">
                  <a:solidFill>
                    <a:srgbClr val="FFFFFF"/>
                  </a:solidFill>
                  <a:latin typeface="Arial" panose="020F0502020204030204"/>
                  <a:cs typeface="Arial"/>
                </a:endParaRPr>
              </a:p>
            </p:txBody>
          </p:sp>
        </p:grpSp>
        <p:sp>
          <p:nvSpPr>
            <p:cNvPr id="102" name="Textfeld 101">
              <a:extLst>
                <a:ext uri="{FF2B5EF4-FFF2-40B4-BE49-F238E27FC236}">
                  <a16:creationId xmlns:a16="http://schemas.microsoft.com/office/drawing/2014/main" id="{F3BFFE91-DD76-4D3B-81C9-8B7A038FC133}"/>
                </a:ext>
              </a:extLst>
            </p:cNvPr>
            <p:cNvSpPr txBox="1"/>
            <p:nvPr/>
          </p:nvSpPr>
          <p:spPr>
            <a:xfrm>
              <a:off x="4587199" y="3547586"/>
              <a:ext cx="139234" cy="346858"/>
            </a:xfrm>
            <a:prstGeom prst="rect">
              <a:avLst/>
            </a:prstGeom>
            <a:noFill/>
          </p:spPr>
          <p:txBody>
            <a:bodyPr wrap="square" lIns="0" tIns="0" rIns="0" bIns="0" rtlCol="0">
              <a:spAutoFit/>
            </a:bodyPr>
            <a:lstStyle/>
            <a:p>
              <a:r>
                <a:rPr lang="en-US" dirty="0"/>
                <a:t>+</a:t>
              </a:r>
            </a:p>
          </p:txBody>
        </p:sp>
        <p:sp>
          <p:nvSpPr>
            <p:cNvPr id="103" name="Textfeld 102">
              <a:extLst>
                <a:ext uri="{FF2B5EF4-FFF2-40B4-BE49-F238E27FC236}">
                  <a16:creationId xmlns:a16="http://schemas.microsoft.com/office/drawing/2014/main" id="{476860AA-E0D3-4E8D-A7C6-7423D1A7343D}"/>
                </a:ext>
              </a:extLst>
            </p:cNvPr>
            <p:cNvSpPr txBox="1"/>
            <p:nvPr/>
          </p:nvSpPr>
          <p:spPr>
            <a:xfrm>
              <a:off x="4883416" y="4039852"/>
              <a:ext cx="139234" cy="346858"/>
            </a:xfrm>
            <a:prstGeom prst="rect">
              <a:avLst/>
            </a:prstGeom>
            <a:noFill/>
          </p:spPr>
          <p:txBody>
            <a:bodyPr wrap="square" lIns="0" tIns="0" rIns="0" bIns="0" rtlCol="0">
              <a:spAutoFit/>
            </a:bodyPr>
            <a:lstStyle/>
            <a:p>
              <a:r>
                <a:rPr lang="en-US" dirty="0"/>
                <a:t>+</a:t>
              </a:r>
            </a:p>
          </p:txBody>
        </p:sp>
        <p:sp>
          <p:nvSpPr>
            <p:cNvPr id="104" name="Textfeld 103">
              <a:extLst>
                <a:ext uri="{FF2B5EF4-FFF2-40B4-BE49-F238E27FC236}">
                  <a16:creationId xmlns:a16="http://schemas.microsoft.com/office/drawing/2014/main" id="{8044D50B-3D3C-46CD-8140-109A4685C1CC}"/>
                </a:ext>
              </a:extLst>
            </p:cNvPr>
            <p:cNvSpPr txBox="1"/>
            <p:nvPr/>
          </p:nvSpPr>
          <p:spPr>
            <a:xfrm>
              <a:off x="4342004" y="3932773"/>
              <a:ext cx="229995" cy="346858"/>
            </a:xfrm>
            <a:prstGeom prst="rect">
              <a:avLst/>
            </a:prstGeom>
            <a:noFill/>
          </p:spPr>
          <p:txBody>
            <a:bodyPr wrap="square" lIns="0" tIns="0" rIns="0" bIns="0" rtlCol="0">
              <a:spAutoFit/>
            </a:bodyPr>
            <a:lstStyle/>
            <a:p>
              <a:r>
                <a:rPr lang="en-US" dirty="0"/>
                <a:t>-</a:t>
              </a:r>
            </a:p>
          </p:txBody>
        </p:sp>
        <p:sp>
          <p:nvSpPr>
            <p:cNvPr id="105" name="Textfeld 104">
              <a:extLst>
                <a:ext uri="{FF2B5EF4-FFF2-40B4-BE49-F238E27FC236}">
                  <a16:creationId xmlns:a16="http://schemas.microsoft.com/office/drawing/2014/main" id="{7ACA2FC7-C7DD-412F-8499-B2E97E11D5D3}"/>
                </a:ext>
              </a:extLst>
            </p:cNvPr>
            <p:cNvSpPr txBox="1"/>
            <p:nvPr/>
          </p:nvSpPr>
          <p:spPr>
            <a:xfrm>
              <a:off x="4512816" y="4192251"/>
              <a:ext cx="139234" cy="346858"/>
            </a:xfrm>
            <a:prstGeom prst="rect">
              <a:avLst/>
            </a:prstGeom>
            <a:noFill/>
          </p:spPr>
          <p:txBody>
            <a:bodyPr wrap="square" lIns="0" tIns="0" rIns="0" bIns="0" rtlCol="0">
              <a:spAutoFit/>
            </a:bodyPr>
            <a:lstStyle/>
            <a:p>
              <a:r>
                <a:rPr lang="en-US" dirty="0"/>
                <a:t>+</a:t>
              </a:r>
            </a:p>
          </p:txBody>
        </p:sp>
        <p:sp>
          <p:nvSpPr>
            <p:cNvPr id="106" name="Textfeld 105">
              <a:extLst>
                <a:ext uri="{FF2B5EF4-FFF2-40B4-BE49-F238E27FC236}">
                  <a16:creationId xmlns:a16="http://schemas.microsoft.com/office/drawing/2014/main" id="{58B6CAA4-17E2-4A63-9322-A29F101566E9}"/>
                </a:ext>
              </a:extLst>
            </p:cNvPr>
            <p:cNvSpPr txBox="1"/>
            <p:nvPr/>
          </p:nvSpPr>
          <p:spPr>
            <a:xfrm>
              <a:off x="4992142" y="3810420"/>
              <a:ext cx="229995" cy="346858"/>
            </a:xfrm>
            <a:prstGeom prst="rect">
              <a:avLst/>
            </a:prstGeom>
            <a:noFill/>
          </p:spPr>
          <p:txBody>
            <a:bodyPr wrap="square" lIns="0" tIns="0" rIns="0" bIns="0" rtlCol="0">
              <a:spAutoFit/>
            </a:bodyPr>
            <a:lstStyle/>
            <a:p>
              <a:r>
                <a:rPr lang="en-US" dirty="0"/>
                <a:t>-</a:t>
              </a:r>
            </a:p>
          </p:txBody>
        </p:sp>
        <p:sp>
          <p:nvSpPr>
            <p:cNvPr id="107" name="Textfeld 106">
              <a:extLst>
                <a:ext uri="{FF2B5EF4-FFF2-40B4-BE49-F238E27FC236}">
                  <a16:creationId xmlns:a16="http://schemas.microsoft.com/office/drawing/2014/main" id="{CAD12A1D-EF15-4726-9154-1F6CC334ED8C}"/>
                </a:ext>
              </a:extLst>
            </p:cNvPr>
            <p:cNvSpPr txBox="1"/>
            <p:nvPr/>
          </p:nvSpPr>
          <p:spPr>
            <a:xfrm>
              <a:off x="4782683" y="3523765"/>
              <a:ext cx="229995" cy="346858"/>
            </a:xfrm>
            <a:prstGeom prst="rect">
              <a:avLst/>
            </a:prstGeom>
            <a:noFill/>
          </p:spPr>
          <p:txBody>
            <a:bodyPr wrap="square" lIns="0" tIns="0" rIns="0" bIns="0" rtlCol="0">
              <a:spAutoFit/>
            </a:bodyPr>
            <a:lstStyle/>
            <a:p>
              <a:r>
                <a:rPr lang="en-US" dirty="0"/>
                <a:t>-</a:t>
              </a:r>
            </a:p>
          </p:txBody>
        </p:sp>
      </p:grpSp>
      <p:sp>
        <p:nvSpPr>
          <p:cNvPr id="5" name="Footer Placeholder 11">
            <a:extLst>
              <a:ext uri="{FF2B5EF4-FFF2-40B4-BE49-F238E27FC236}">
                <a16:creationId xmlns:a16="http://schemas.microsoft.com/office/drawing/2014/main" id="{A20CD395-FF5C-6EE8-F0C6-1086AFCE476E}"/>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pic>
        <p:nvPicPr>
          <p:cNvPr id="6" name="Picture 5" descr="BASF_Login-Logut-Anmelden-Abmelden_rd_background_round_3c.emf">
            <a:extLst>
              <a:ext uri="{FF2B5EF4-FFF2-40B4-BE49-F238E27FC236}">
                <a16:creationId xmlns:a16="http://schemas.microsoft.com/office/drawing/2014/main" id="{E4B71216-61B6-834A-7F1E-016B130386C5}"/>
              </a:ext>
            </a:extLst>
          </p:cNvPr>
          <p:cNvPicPr>
            <a:picLocks noChangeAspect="1"/>
          </p:cNvPicPr>
          <p:nvPr>
            <p:custDataLst>
              <p:tags r:id="rId2"/>
            </p:custDataLst>
          </p:nvPr>
        </p:nvPicPr>
        <p:blipFill>
          <a:blip r:embed="rId8" cstate="email">
            <a:extLst>
              <a:ext uri="{28A0092B-C50C-407E-A947-70E740481C1C}">
                <a14:useLocalDpi xmlns:a14="http://schemas.microsoft.com/office/drawing/2010/main"/>
              </a:ext>
            </a:extLst>
          </a:blip>
          <a:stretch>
            <a:fillRect/>
          </a:stretch>
        </p:blipFill>
        <p:spPr>
          <a:xfrm>
            <a:off x="5093917" y="998336"/>
            <a:ext cx="828418" cy="828418"/>
          </a:xfrm>
          <a:prstGeom prst="rect">
            <a:avLst/>
          </a:prstGeom>
        </p:spPr>
      </p:pic>
      <p:sp>
        <p:nvSpPr>
          <p:cNvPr id="10" name="Slide Number Placeholder 9">
            <a:extLst>
              <a:ext uri="{FF2B5EF4-FFF2-40B4-BE49-F238E27FC236}">
                <a16:creationId xmlns:a16="http://schemas.microsoft.com/office/drawing/2014/main" id="{A5CD988D-8CAC-39BF-7378-55B6FB5F199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82</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23590597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AB180A-5D35-C85E-6B41-20DBF15693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7" name="Object 6" hidden="1">
                        <a:extLst>
                          <a:ext uri="{FF2B5EF4-FFF2-40B4-BE49-F238E27FC236}">
                            <a16:creationId xmlns:a16="http://schemas.microsoft.com/office/drawing/2014/main" id="{FEAB180A-5D35-C85E-6B41-20DBF15693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3B57712-2228-64C9-33B0-2AE68A2A3A8C}"/>
              </a:ext>
            </a:extLst>
          </p:cNvPr>
          <p:cNvSpPr>
            <a:spLocks noGrp="1"/>
          </p:cNvSpPr>
          <p:nvPr>
            <p:ph type="title"/>
          </p:nvPr>
        </p:nvSpPr>
        <p:spPr>
          <a:xfrm>
            <a:off x="228000" y="317014"/>
            <a:ext cx="11736000" cy="853200"/>
          </a:xfrm>
        </p:spPr>
        <p:txBody>
          <a:bodyPr vert="horz"/>
          <a:lstStyle/>
          <a:p>
            <a:r>
              <a:rPr lang="en-US" sz="2800" dirty="0"/>
              <a:t>Understanding Dispersions: Stabilization</a:t>
            </a:r>
          </a:p>
        </p:txBody>
      </p:sp>
      <p:pic>
        <p:nvPicPr>
          <p:cNvPr id="5" name="Picture 4">
            <a:extLst>
              <a:ext uri="{FF2B5EF4-FFF2-40B4-BE49-F238E27FC236}">
                <a16:creationId xmlns:a16="http://schemas.microsoft.com/office/drawing/2014/main" id="{9A319C46-1007-F08F-C334-9C43BD4C4806}"/>
              </a:ext>
            </a:extLst>
          </p:cNvPr>
          <p:cNvPicPr>
            <a:picLocks noChangeAspect="1"/>
          </p:cNvPicPr>
          <p:nvPr/>
        </p:nvPicPr>
        <p:blipFill>
          <a:blip r:embed="rId6"/>
          <a:stretch>
            <a:fillRect/>
          </a:stretch>
        </p:blipFill>
        <p:spPr>
          <a:xfrm>
            <a:off x="1675961" y="1170214"/>
            <a:ext cx="4019550" cy="4267200"/>
          </a:xfrm>
          <a:prstGeom prst="rect">
            <a:avLst/>
          </a:prstGeom>
        </p:spPr>
      </p:pic>
      <p:pic>
        <p:nvPicPr>
          <p:cNvPr id="13" name="Picture 12">
            <a:extLst>
              <a:ext uri="{FF2B5EF4-FFF2-40B4-BE49-F238E27FC236}">
                <a16:creationId xmlns:a16="http://schemas.microsoft.com/office/drawing/2014/main" id="{6F85C7B7-A8F8-051D-E520-EB4F26DB2642}"/>
              </a:ext>
            </a:extLst>
          </p:cNvPr>
          <p:cNvPicPr>
            <a:picLocks noChangeAspect="1"/>
          </p:cNvPicPr>
          <p:nvPr/>
        </p:nvPicPr>
        <p:blipFill>
          <a:blip r:embed="rId7"/>
          <a:stretch>
            <a:fillRect/>
          </a:stretch>
        </p:blipFill>
        <p:spPr>
          <a:xfrm>
            <a:off x="6412608" y="1170214"/>
            <a:ext cx="4038600" cy="4305300"/>
          </a:xfrm>
          <a:prstGeom prst="rect">
            <a:avLst/>
          </a:prstGeom>
        </p:spPr>
      </p:pic>
      <p:sp>
        <p:nvSpPr>
          <p:cNvPr id="6" name="Footer Placeholder 11">
            <a:extLst>
              <a:ext uri="{FF2B5EF4-FFF2-40B4-BE49-F238E27FC236}">
                <a16:creationId xmlns:a16="http://schemas.microsoft.com/office/drawing/2014/main" id="{A41B808A-C4B5-3B12-02AB-993F04F5BAD7}"/>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8" name="Inhaltsplatzhalter 6">
            <a:extLst>
              <a:ext uri="{FF2B5EF4-FFF2-40B4-BE49-F238E27FC236}">
                <a16:creationId xmlns:a16="http://schemas.microsoft.com/office/drawing/2014/main" id="{78C4415B-28A0-15E9-01B1-BC7BDA588F24}"/>
              </a:ext>
            </a:extLst>
          </p:cNvPr>
          <p:cNvSpPr txBox="1">
            <a:spLocks/>
          </p:cNvSpPr>
          <p:nvPr/>
        </p:nvSpPr>
        <p:spPr>
          <a:xfrm>
            <a:off x="0" y="5475927"/>
            <a:ext cx="12192000" cy="423718"/>
          </a:xfrm>
          <a:prstGeom prst="rect">
            <a:avLst/>
          </a:prstGeom>
        </p:spPr>
        <p:txBody>
          <a:bodyPr/>
          <a:lstStyle>
            <a:lvl1pPr marL="342000" indent="-342000" algn="l" defTabSz="914400" rtl="0" eaLnBrk="1" latinLnBrk="0" hangingPunct="1">
              <a:lnSpc>
                <a:spcPct val="95000"/>
              </a:lnSpc>
              <a:spcBef>
                <a:spcPts val="180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1pPr>
            <a:lvl2pPr marL="622800" indent="-266400" algn="l" defTabSz="914400" rtl="0" eaLnBrk="1" latinLnBrk="0" hangingPunct="1">
              <a:lnSpc>
                <a:spcPct val="95000"/>
              </a:lnSpc>
              <a:spcBef>
                <a:spcPts val="600"/>
              </a:spcBef>
              <a:spcAft>
                <a:spcPts val="0"/>
              </a:spcAft>
              <a:buClr>
                <a:schemeClr val="accent1"/>
              </a:buClr>
              <a:buSzPct val="100000"/>
              <a:buFont typeface="Wingdings 3" panose="05040102010807070707" pitchFamily="18" charset="2"/>
              <a:buChar char=""/>
              <a:defRPr sz="2000" b="0" i="0" kern="1200" baseline="0">
                <a:solidFill>
                  <a:schemeClr val="tx1"/>
                </a:solidFill>
                <a:latin typeface="Arial" panose="020B0604020202020204" pitchFamily="34" charset="0"/>
                <a:ea typeface="+mn-ea"/>
                <a:cs typeface="+mn-cs"/>
              </a:defRPr>
            </a:lvl2pPr>
            <a:lvl3pPr marL="900000" indent="-277200" algn="l" defTabSz="9144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2000" b="0" i="0" kern="1200" baseline="0">
                <a:solidFill>
                  <a:schemeClr val="tx1"/>
                </a:solidFill>
                <a:latin typeface="Arial" panose="020B0604020202020204" pitchFamily="34" charset="0"/>
                <a:ea typeface="+mn-ea"/>
                <a:cs typeface="+mn-cs"/>
              </a:defRPr>
            </a:lvl3pPr>
            <a:lvl4pPr marL="11664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4pPr>
            <a:lvl5pPr marL="1623600" indent="-266400" algn="l" defTabSz="914400"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8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80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52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400" indent="-266400" algn="l" defTabSz="914400"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marL="0" lvl="0" indent="0" algn="ctr">
              <a:spcBef>
                <a:spcPts val="600"/>
              </a:spcBef>
              <a:buNone/>
            </a:pPr>
            <a:r>
              <a:rPr lang="en-US" sz="1800" dirty="0"/>
              <a:t>Polymer particles in a dispersion are </a:t>
            </a:r>
            <a:r>
              <a:rPr lang="en-US" sz="1800" b="1" dirty="0"/>
              <a:t>stabilized by ionic or nonionic emulsifiers </a:t>
            </a:r>
            <a:r>
              <a:rPr lang="en-US" sz="1800" dirty="0"/>
              <a:t>via </a:t>
            </a:r>
            <a:r>
              <a:rPr lang="en-US" sz="1800" b="1" dirty="0"/>
              <a:t>electrostatic</a:t>
            </a:r>
            <a:r>
              <a:rPr lang="en-US" sz="1800" dirty="0"/>
              <a:t> and/or </a:t>
            </a:r>
            <a:r>
              <a:rPr lang="en-US" sz="1800" b="1" dirty="0"/>
              <a:t>steric stabilization</a:t>
            </a:r>
            <a:r>
              <a:rPr lang="en-US" sz="1800" dirty="0"/>
              <a:t>.</a:t>
            </a:r>
          </a:p>
        </p:txBody>
      </p:sp>
      <p:sp>
        <p:nvSpPr>
          <p:cNvPr id="10" name="Slide Number Placeholder 9">
            <a:extLst>
              <a:ext uri="{FF2B5EF4-FFF2-40B4-BE49-F238E27FC236}">
                <a16:creationId xmlns:a16="http://schemas.microsoft.com/office/drawing/2014/main" id="{6C46FC2B-710A-A9D4-B921-708571C5AF2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83</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06999521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a:extLst>
              <a:ext uri="{FF2B5EF4-FFF2-40B4-BE49-F238E27FC236}">
                <a16:creationId xmlns:a16="http://schemas.microsoft.com/office/drawing/2014/main" id="{7EC02336-AC6B-46E4-8AEE-A8F97305C7A2}"/>
              </a:ext>
            </a:extLst>
          </p:cNvPr>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12" imgW="553" imgH="553" progId="TCLayout.ActiveDocument.1">
                  <p:embed/>
                </p:oleObj>
              </mc:Choice>
              <mc:Fallback>
                <p:oleObj name="think-cell Slide" r:id="rId12" imgW="553" imgH="553" progId="TCLayout.ActiveDocument.1">
                  <p:embed/>
                  <p:pic>
                    <p:nvPicPr>
                      <p:cNvPr id="58" name="Objekt 57" hidden="1">
                        <a:extLst>
                          <a:ext uri="{FF2B5EF4-FFF2-40B4-BE49-F238E27FC236}">
                            <a16:creationId xmlns:a16="http://schemas.microsoft.com/office/drawing/2014/main" id="{7EC02336-AC6B-46E4-8AEE-A8F97305C7A2}"/>
                          </a:ext>
                        </a:extLst>
                      </p:cNvPr>
                      <p:cNvPicPr/>
                      <p:nvPr/>
                    </p:nvPicPr>
                    <p:blipFill>
                      <a:blip r:embed="rId13"/>
                      <a:stretch>
                        <a:fillRect/>
                      </a:stretch>
                    </p:blipFill>
                    <p:spPr>
                      <a:xfrm>
                        <a:off x="1525589" y="1589"/>
                        <a:ext cx="1587" cy="1587"/>
                      </a:xfrm>
                      <a:prstGeom prst="rect">
                        <a:avLst/>
                      </a:prstGeom>
                    </p:spPr>
                  </p:pic>
                </p:oleObj>
              </mc:Fallback>
            </mc:AlternateContent>
          </a:graphicData>
        </a:graphic>
      </p:graphicFrame>
      <p:pic>
        <p:nvPicPr>
          <p:cNvPr id="29" name="Picture 6">
            <a:extLst>
              <a:ext uri="{FF2B5EF4-FFF2-40B4-BE49-F238E27FC236}">
                <a16:creationId xmlns:a16="http://schemas.microsoft.com/office/drawing/2014/main" id="{3204C342-CA19-B784-AE71-F5ED64B92225}"/>
              </a:ext>
            </a:extLst>
          </p:cNvPr>
          <p:cNvPicPr>
            <a:picLocks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8956001" y="2547462"/>
            <a:ext cx="3136546" cy="1891953"/>
          </a:xfrm>
          <a:prstGeom prst="rect">
            <a:avLst/>
          </a:prstGeom>
          <a:noFill/>
          <a:ln w="9525">
            <a:noFill/>
            <a:miter lim="800000"/>
            <a:headEnd/>
            <a:tailEnd/>
          </a:ln>
          <a:effectLst/>
        </p:spPr>
      </p:pic>
      <p:sp>
        <p:nvSpPr>
          <p:cNvPr id="3" name="Titel 2">
            <a:extLst>
              <a:ext uri="{FF2B5EF4-FFF2-40B4-BE49-F238E27FC236}">
                <a16:creationId xmlns:a16="http://schemas.microsoft.com/office/drawing/2014/main" id="{EE9C8251-16B4-466D-8EE5-9F9E6F14E3FD}"/>
              </a:ext>
            </a:extLst>
          </p:cNvPr>
          <p:cNvSpPr>
            <a:spLocks noGrp="1"/>
          </p:cNvSpPr>
          <p:nvPr>
            <p:ph type="title"/>
          </p:nvPr>
        </p:nvSpPr>
        <p:spPr>
          <a:xfrm>
            <a:off x="300225" y="287264"/>
            <a:ext cx="8702933" cy="853200"/>
          </a:xfrm>
        </p:spPr>
        <p:txBody>
          <a:bodyPr vert="horz"/>
          <a:lstStyle/>
          <a:p>
            <a:r>
              <a:rPr lang="en-US" sz="2800" dirty="0"/>
              <a:t>Film formation from dispersion polymer particles</a:t>
            </a:r>
            <a:br>
              <a:rPr lang="en-US" sz="2800" dirty="0"/>
            </a:br>
            <a:br>
              <a:rPr lang="en-US" sz="2800" dirty="0"/>
            </a:br>
            <a:br>
              <a:rPr lang="en-US" sz="2800" dirty="0"/>
            </a:br>
            <a:endParaRPr lang="en-US" sz="2800" dirty="0"/>
          </a:p>
        </p:txBody>
      </p:sp>
      <p:sp>
        <p:nvSpPr>
          <p:cNvPr id="7" name="Inhaltsplatzhalter 6">
            <a:extLst>
              <a:ext uri="{FF2B5EF4-FFF2-40B4-BE49-F238E27FC236}">
                <a16:creationId xmlns:a16="http://schemas.microsoft.com/office/drawing/2014/main" id="{0F8C0466-327A-49DB-9157-25B8CE7E7CEC}"/>
              </a:ext>
            </a:extLst>
          </p:cNvPr>
          <p:cNvSpPr>
            <a:spLocks noGrp="1"/>
          </p:cNvSpPr>
          <p:nvPr>
            <p:ph idx="1"/>
          </p:nvPr>
        </p:nvSpPr>
        <p:spPr>
          <a:xfrm>
            <a:off x="6010310" y="5137572"/>
            <a:ext cx="3495770" cy="766019"/>
          </a:xfrm>
        </p:spPr>
        <p:txBody>
          <a:bodyPr/>
          <a:lstStyle/>
          <a:p>
            <a:pPr marL="0" indent="0">
              <a:buNone/>
            </a:pPr>
            <a:r>
              <a:rPr lang="en-US" sz="1600" dirty="0"/>
              <a:t>A curing step might be required for dispersions to eliminate the excess of water and form a total coalescent film.</a:t>
            </a:r>
          </a:p>
          <a:p>
            <a:endParaRPr lang="en-US" sz="1600" dirty="0"/>
          </a:p>
          <a:p>
            <a:endParaRPr lang="en-US" sz="1600" dirty="0"/>
          </a:p>
        </p:txBody>
      </p:sp>
      <p:pic>
        <p:nvPicPr>
          <p:cNvPr id="12" name="Picture 2">
            <a:extLst>
              <a:ext uri="{FF2B5EF4-FFF2-40B4-BE49-F238E27FC236}">
                <a16:creationId xmlns:a16="http://schemas.microsoft.com/office/drawing/2014/main" id="{38E33726-DDC8-C3C4-B1CF-9E6C2D61FB48}"/>
              </a:ext>
            </a:extLst>
          </p:cNvPr>
          <p:cNvPicPr>
            <a:picLocks noChangeAspect="1" noChangeArrowheads="1"/>
          </p:cNvPicPr>
          <p:nvPr>
            <p:custDataLst>
              <p:tags r:id="rId2"/>
            </p:custDataLst>
          </p:nvPr>
        </p:nvPicPr>
        <p:blipFill>
          <a:blip r:embed="rId15" cstate="email">
            <a:lum contrast="30000"/>
            <a:extLst>
              <a:ext uri="{28A0092B-C50C-407E-A947-70E740481C1C}">
                <a14:useLocalDpi xmlns:a14="http://schemas.microsoft.com/office/drawing/2010/main"/>
              </a:ext>
            </a:extLst>
          </a:blip>
          <a:srcRect l="6373" t="3946" r="14878" b="9730"/>
          <a:stretch>
            <a:fillRect/>
          </a:stretch>
        </p:blipFill>
        <p:spPr bwMode="auto">
          <a:xfrm>
            <a:off x="5552227" y="2411685"/>
            <a:ext cx="3953853" cy="2007341"/>
          </a:xfrm>
          <a:prstGeom prst="rect">
            <a:avLst/>
          </a:prstGeom>
          <a:noFill/>
        </p:spPr>
      </p:pic>
      <p:sp>
        <p:nvSpPr>
          <p:cNvPr id="13" name="Rectangle 3_">
            <a:extLst>
              <a:ext uri="{FF2B5EF4-FFF2-40B4-BE49-F238E27FC236}">
                <a16:creationId xmlns:a16="http://schemas.microsoft.com/office/drawing/2014/main" id="{E6A5B64A-65BA-7631-181C-D6B6C7A968C4}"/>
              </a:ext>
            </a:extLst>
          </p:cNvPr>
          <p:cNvSpPr>
            <a:spLocks noChangeArrowheads="1"/>
          </p:cNvSpPr>
          <p:nvPr>
            <p:custDataLst>
              <p:tags r:id="rId3"/>
            </p:custDataLst>
          </p:nvPr>
        </p:nvSpPr>
        <p:spPr bwMode="auto">
          <a:xfrm>
            <a:off x="6235085" y="4421564"/>
            <a:ext cx="2715487" cy="348813"/>
          </a:xfrm>
          <a:prstGeom prst="rect">
            <a:avLst/>
          </a:prstGeom>
          <a:noFill/>
          <a:ln w="9525">
            <a:noFill/>
            <a:miter lim="800000"/>
            <a:headEnd/>
            <a:tailEnd/>
          </a:ln>
          <a:effectLst/>
        </p:spPr>
        <p:txBody>
          <a:bodyPr vert="horz" wrap="none" lIns="101600" tIns="50800" rIns="101600" bIns="50800" numCol="1" anchor="ctr" anchorCtr="0" compatLnSpc="1">
            <a:prstTxWarp prst="textNoShape">
              <a:avLst/>
            </a:prstTxWarp>
            <a:spAutoFit/>
          </a:bodyPr>
          <a:lstStyle/>
          <a:p>
            <a:pPr algn="ctr" defTabSz="1015990" fontAlgn="base">
              <a:spcBef>
                <a:spcPct val="0"/>
              </a:spcBef>
              <a:spcAft>
                <a:spcPct val="0"/>
              </a:spcAft>
            </a:pPr>
            <a:r>
              <a:rPr lang="en-US" sz="800" dirty="0">
                <a:latin typeface="Arial    "/>
                <a:ea typeface="Calibri" pitchFamily="34" charset="0"/>
                <a:cs typeface="Times New Roman" pitchFamily="18" charset="0"/>
              </a:rPr>
              <a:t>Schematic presentation of the film forming mechanism </a:t>
            </a:r>
          </a:p>
          <a:p>
            <a:pPr algn="ctr" defTabSz="1015990" fontAlgn="base">
              <a:spcBef>
                <a:spcPct val="0"/>
              </a:spcBef>
              <a:spcAft>
                <a:spcPct val="0"/>
              </a:spcAft>
            </a:pPr>
            <a:r>
              <a:rPr lang="en-US" sz="800" dirty="0">
                <a:latin typeface="Arial    "/>
                <a:ea typeface="Calibri" pitchFamily="34" charset="0"/>
                <a:cs typeface="Times New Roman" pitchFamily="18" charset="0"/>
              </a:rPr>
              <a:t>from aqueous polymer dispersions (Muschert, 2008).</a:t>
            </a:r>
            <a:endParaRPr lang="en-US" sz="1200" dirty="0">
              <a:latin typeface="Arial    "/>
              <a:cs typeface="Arial" pitchFamily="34" charset="0"/>
            </a:endParaRPr>
          </a:p>
        </p:txBody>
      </p:sp>
      <p:grpSp>
        <p:nvGrpSpPr>
          <p:cNvPr id="14" name="Group 29">
            <a:extLst>
              <a:ext uri="{FF2B5EF4-FFF2-40B4-BE49-F238E27FC236}">
                <a16:creationId xmlns:a16="http://schemas.microsoft.com/office/drawing/2014/main" id="{FAF46531-DD82-5D77-1679-CD7D71B176AA}"/>
              </a:ext>
            </a:extLst>
          </p:cNvPr>
          <p:cNvGrpSpPr/>
          <p:nvPr/>
        </p:nvGrpSpPr>
        <p:grpSpPr>
          <a:xfrm>
            <a:off x="6837231" y="956478"/>
            <a:ext cx="5192565" cy="2064090"/>
            <a:chOff x="2731245" y="708039"/>
            <a:chExt cx="5155397" cy="2165572"/>
          </a:xfrm>
        </p:grpSpPr>
        <p:grpSp>
          <p:nvGrpSpPr>
            <p:cNvPr id="15" name="Group 23">
              <a:extLst>
                <a:ext uri="{FF2B5EF4-FFF2-40B4-BE49-F238E27FC236}">
                  <a16:creationId xmlns:a16="http://schemas.microsoft.com/office/drawing/2014/main" id="{039FCEB7-923B-7B59-A0E0-B0AAF4201B31}"/>
                </a:ext>
              </a:extLst>
            </p:cNvPr>
            <p:cNvGrpSpPr/>
            <p:nvPr/>
          </p:nvGrpSpPr>
          <p:grpSpPr>
            <a:xfrm>
              <a:off x="4951738" y="708039"/>
              <a:ext cx="2934904" cy="1506657"/>
              <a:chOff x="5239770" y="1500127"/>
              <a:chExt cx="2934904" cy="1506657"/>
            </a:xfrm>
          </p:grpSpPr>
          <p:pic>
            <p:nvPicPr>
              <p:cNvPr id="19" name="Picture 1">
                <a:extLst>
                  <a:ext uri="{FF2B5EF4-FFF2-40B4-BE49-F238E27FC236}">
                    <a16:creationId xmlns:a16="http://schemas.microsoft.com/office/drawing/2014/main" id="{2BCF4E1E-F249-8BDC-1CF8-8103656AD28A}"/>
                  </a:ext>
                </a:extLst>
              </p:cNvPr>
              <p:cNvPicPr>
                <a:picLocks noChangeAspect="1" noChangeArrowheads="1"/>
              </p:cNvPicPr>
              <p:nvPr>
                <p:custDataLst>
                  <p:tags r:id="rId8"/>
                </p:custDataLst>
              </p:nvPr>
            </p:nvPicPr>
            <p:blipFill>
              <a:blip r:embed="rId16" cstate="email">
                <a:extLst>
                  <a:ext uri="{28A0092B-C50C-407E-A947-70E740481C1C}">
                    <a14:useLocalDpi xmlns:a14="http://schemas.microsoft.com/office/drawing/2010/main"/>
                  </a:ext>
                </a:extLst>
              </a:blip>
              <a:srcRect/>
              <a:stretch>
                <a:fillRect/>
              </a:stretch>
            </p:blipFill>
            <p:spPr bwMode="auto">
              <a:xfrm>
                <a:off x="5294354" y="1603968"/>
                <a:ext cx="2880320" cy="1402816"/>
              </a:xfrm>
              <a:prstGeom prst="rect">
                <a:avLst/>
              </a:prstGeom>
              <a:noFill/>
              <a:ln w="9525">
                <a:noFill/>
                <a:miter lim="800000"/>
                <a:headEnd/>
                <a:tailEnd/>
              </a:ln>
            </p:spPr>
          </p:pic>
          <p:sp>
            <p:nvSpPr>
              <p:cNvPr id="20" name="Rectangle 20">
                <a:extLst>
                  <a:ext uri="{FF2B5EF4-FFF2-40B4-BE49-F238E27FC236}">
                    <a16:creationId xmlns:a16="http://schemas.microsoft.com/office/drawing/2014/main" id="{9ADBAEAF-0526-CA96-807D-D77546C91B50}"/>
                  </a:ext>
                </a:extLst>
              </p:cNvPr>
              <p:cNvSpPr/>
              <p:nvPr>
                <p:custDataLst>
                  <p:tags r:id="rId9"/>
                </p:custDataLst>
              </p:nvPr>
            </p:nvSpPr>
            <p:spPr>
              <a:xfrm>
                <a:off x="5239770" y="1500127"/>
                <a:ext cx="2880320" cy="144016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grpSp>
        <p:cxnSp>
          <p:nvCxnSpPr>
            <p:cNvPr id="17" name="Straight Connector 22">
              <a:extLst>
                <a:ext uri="{FF2B5EF4-FFF2-40B4-BE49-F238E27FC236}">
                  <a16:creationId xmlns:a16="http://schemas.microsoft.com/office/drawing/2014/main" id="{5F310070-D1FD-0721-DED7-B85F97591AE2}"/>
                </a:ext>
              </a:extLst>
            </p:cNvPr>
            <p:cNvCxnSpPr>
              <a:cxnSpLocks/>
              <a:stCxn id="20" idx="1"/>
            </p:cNvCxnSpPr>
            <p:nvPr>
              <p:custDataLst>
                <p:tags r:id="rId6"/>
              </p:custDataLst>
            </p:nvPr>
          </p:nvCxnSpPr>
          <p:spPr>
            <a:xfrm flipH="1">
              <a:off x="2731245" y="1428119"/>
              <a:ext cx="2220493" cy="1445492"/>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 name="Straight Connector 26">
              <a:extLst>
                <a:ext uri="{FF2B5EF4-FFF2-40B4-BE49-F238E27FC236}">
                  <a16:creationId xmlns:a16="http://schemas.microsoft.com/office/drawing/2014/main" id="{AE8F4F73-DB7A-1B62-697B-29F256317EA3}"/>
                </a:ext>
              </a:extLst>
            </p:cNvPr>
            <p:cNvCxnSpPr>
              <a:cxnSpLocks/>
              <a:stCxn id="27" idx="2"/>
            </p:cNvCxnSpPr>
            <p:nvPr>
              <p:custDataLst>
                <p:tags r:id="rId7"/>
              </p:custDataLst>
            </p:nvPr>
          </p:nvCxnSpPr>
          <p:spPr>
            <a:xfrm flipH="1" flipV="1">
              <a:off x="6658192" y="2148199"/>
              <a:ext cx="27856" cy="603265"/>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pic>
        <p:nvPicPr>
          <p:cNvPr id="27" name="Picture 7">
            <a:extLst>
              <a:ext uri="{FF2B5EF4-FFF2-40B4-BE49-F238E27FC236}">
                <a16:creationId xmlns:a16="http://schemas.microsoft.com/office/drawing/2014/main" id="{5B15B210-4AE9-A35E-A1A0-1D132061CF0D}"/>
              </a:ext>
            </a:extLst>
          </p:cNvPr>
          <p:cNvPicPr>
            <a:picLocks noChangeArrowheads="1"/>
          </p:cNvPicPr>
          <p:nvPr/>
        </p:nvPicPr>
        <p:blipFill>
          <a:blip r:embed="rId14" cstate="email">
            <a:extLst>
              <a:ext uri="{28A0092B-C50C-407E-A947-70E740481C1C}">
                <a14:useLocalDpi xmlns:a14="http://schemas.microsoft.com/office/drawing/2010/main"/>
              </a:ext>
            </a:extLst>
          </a:blip>
          <a:srcRect t="36124" r="75230" b="38417"/>
          <a:stretch>
            <a:fillRect/>
          </a:stretch>
        </p:blipFill>
        <p:spPr bwMode="auto">
          <a:xfrm rot="10800000">
            <a:off x="10129763" y="2904145"/>
            <a:ext cx="1381567" cy="816775"/>
          </a:xfrm>
          <a:prstGeom prst="rect">
            <a:avLst/>
          </a:prstGeom>
          <a:noFill/>
          <a:ln w="38100" cap="flat">
            <a:solidFill>
              <a:schemeClr val="accent1"/>
            </a:solidFill>
            <a:prstDash val="sysDot"/>
            <a:miter lim="800000"/>
            <a:headEnd/>
            <a:tailEnd/>
          </a:ln>
          <a:effectLst/>
        </p:spPr>
      </p:pic>
      <p:pic>
        <p:nvPicPr>
          <p:cNvPr id="30" name="Picture 8">
            <a:extLst>
              <a:ext uri="{FF2B5EF4-FFF2-40B4-BE49-F238E27FC236}">
                <a16:creationId xmlns:a16="http://schemas.microsoft.com/office/drawing/2014/main" id="{84448D56-C8C1-6051-DE77-8EA090C34165}"/>
              </a:ext>
            </a:extLst>
          </p:cNvPr>
          <p:cNvPicPr>
            <a:picLocks noChangeArrowheads="1"/>
          </p:cNvPicPr>
          <p:nvPr>
            <p:custDataLst>
              <p:tags r:id="rId4"/>
            </p:custDataLst>
          </p:nvPr>
        </p:nvPicPr>
        <p:blipFill>
          <a:blip r:embed="rId17" cstate="email">
            <a:extLst>
              <a:ext uri="{28A0092B-C50C-407E-A947-70E740481C1C}">
                <a14:useLocalDpi xmlns:a14="http://schemas.microsoft.com/office/drawing/2010/main"/>
              </a:ext>
            </a:extLst>
          </a:blip>
          <a:srcRect/>
          <a:stretch>
            <a:fillRect/>
          </a:stretch>
        </p:blipFill>
        <p:spPr bwMode="auto">
          <a:xfrm>
            <a:off x="9506080" y="4357505"/>
            <a:ext cx="2572819" cy="1567672"/>
          </a:xfrm>
          <a:prstGeom prst="rect">
            <a:avLst/>
          </a:prstGeom>
          <a:noFill/>
          <a:ln w="9525">
            <a:noFill/>
            <a:miter lim="800000"/>
            <a:headEnd/>
            <a:tailEnd/>
          </a:ln>
          <a:effectLst/>
        </p:spPr>
      </p:pic>
      <p:sp>
        <p:nvSpPr>
          <p:cNvPr id="4" name="Footer Placeholder 11">
            <a:extLst>
              <a:ext uri="{FF2B5EF4-FFF2-40B4-BE49-F238E27FC236}">
                <a16:creationId xmlns:a16="http://schemas.microsoft.com/office/drawing/2014/main" id="{861BB057-0117-B53D-FF10-8AC2B3700A62}"/>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8" name="TextBox 7">
            <a:extLst>
              <a:ext uri="{FF2B5EF4-FFF2-40B4-BE49-F238E27FC236}">
                <a16:creationId xmlns:a16="http://schemas.microsoft.com/office/drawing/2014/main" id="{3801409B-3CC9-C23C-2B61-9E068288FD21}"/>
              </a:ext>
            </a:extLst>
          </p:cNvPr>
          <p:cNvSpPr txBox="1"/>
          <p:nvPr/>
        </p:nvSpPr>
        <p:spPr>
          <a:xfrm>
            <a:off x="10070937" y="4077602"/>
            <a:ext cx="2047164" cy="215444"/>
          </a:xfrm>
          <a:prstGeom prst="rect">
            <a:avLst/>
          </a:prstGeom>
          <a:noFill/>
        </p:spPr>
        <p:txBody>
          <a:bodyPr wrap="square" lIns="0" tIns="0" rIns="0" bIns="0" rtlCol="0">
            <a:spAutoFit/>
          </a:bodyPr>
          <a:lstStyle/>
          <a:p>
            <a:r>
              <a:rPr lang="en-US" sz="1400" b="1" dirty="0">
                <a:solidFill>
                  <a:schemeClr val="bg1"/>
                </a:solidFill>
                <a:highlight>
                  <a:srgbClr val="C0C0C0"/>
                </a:highlight>
              </a:rPr>
              <a:t>Polymer droplets</a:t>
            </a:r>
          </a:p>
        </p:txBody>
      </p:sp>
      <p:sp>
        <p:nvSpPr>
          <p:cNvPr id="9" name="TextBox 8">
            <a:extLst>
              <a:ext uri="{FF2B5EF4-FFF2-40B4-BE49-F238E27FC236}">
                <a16:creationId xmlns:a16="http://schemas.microsoft.com/office/drawing/2014/main" id="{4D884EAB-DFBC-258C-A210-0B5AA604C1A2}"/>
              </a:ext>
            </a:extLst>
          </p:cNvPr>
          <p:cNvSpPr txBox="1"/>
          <p:nvPr/>
        </p:nvSpPr>
        <p:spPr>
          <a:xfrm>
            <a:off x="10291576" y="5587103"/>
            <a:ext cx="1341399" cy="215444"/>
          </a:xfrm>
          <a:prstGeom prst="rect">
            <a:avLst/>
          </a:prstGeom>
          <a:noFill/>
        </p:spPr>
        <p:txBody>
          <a:bodyPr wrap="square" lIns="0" tIns="0" rIns="0" bIns="0" rtlCol="0">
            <a:spAutoFit/>
          </a:bodyPr>
          <a:lstStyle/>
          <a:p>
            <a:r>
              <a:rPr lang="en-US" sz="1400" b="1" dirty="0">
                <a:solidFill>
                  <a:schemeClr val="bg1"/>
                </a:solidFill>
                <a:highlight>
                  <a:srgbClr val="C0C0C0"/>
                </a:highlight>
              </a:rPr>
              <a:t>Smooth film </a:t>
            </a:r>
          </a:p>
        </p:txBody>
      </p:sp>
      <p:cxnSp>
        <p:nvCxnSpPr>
          <p:cNvPr id="11" name="Straight Arrow Connector 10">
            <a:extLst>
              <a:ext uri="{FF2B5EF4-FFF2-40B4-BE49-F238E27FC236}">
                <a16:creationId xmlns:a16="http://schemas.microsoft.com/office/drawing/2014/main" id="{BAA641B8-9353-B336-200F-3C35A4D442BF}"/>
              </a:ext>
            </a:extLst>
          </p:cNvPr>
          <p:cNvCxnSpPr/>
          <p:nvPr/>
        </p:nvCxnSpPr>
        <p:spPr>
          <a:xfrm>
            <a:off x="9528297" y="3888641"/>
            <a:ext cx="0" cy="1124382"/>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390D27B-A98E-9EC2-5275-3BD30F244B4F}"/>
              </a:ext>
            </a:extLst>
          </p:cNvPr>
          <p:cNvSpPr txBox="1"/>
          <p:nvPr/>
        </p:nvSpPr>
        <p:spPr>
          <a:xfrm rot="5400000">
            <a:off x="8827266" y="4337848"/>
            <a:ext cx="1770686" cy="215444"/>
          </a:xfrm>
          <a:prstGeom prst="rect">
            <a:avLst/>
          </a:prstGeom>
          <a:noFill/>
        </p:spPr>
        <p:txBody>
          <a:bodyPr wrap="square" lIns="0" tIns="0" rIns="0" bIns="0" rtlCol="0">
            <a:spAutoFit/>
          </a:bodyPr>
          <a:lstStyle/>
          <a:p>
            <a:pPr algn="ctr"/>
            <a:r>
              <a:rPr lang="en-US" sz="1400" b="1" dirty="0">
                <a:solidFill>
                  <a:schemeClr val="bg1"/>
                </a:solidFill>
                <a:highlight>
                  <a:srgbClr val="C0C0C0"/>
                </a:highlight>
              </a:rPr>
              <a:t>Cure </a:t>
            </a:r>
            <a:r>
              <a:rPr lang="en-US" sz="1400" b="1" dirty="0">
                <a:solidFill>
                  <a:schemeClr val="bg1"/>
                </a:solidFill>
                <a:highlight>
                  <a:srgbClr val="C0C0C0"/>
                </a:highlight>
                <a:latin typeface="Arial" panose="020B0604020202020204" pitchFamily="34" charset="0"/>
                <a:cs typeface="Arial" panose="020B0604020202020204" pitchFamily="34" charset="0"/>
              </a:rPr>
              <a:t>→ </a:t>
            </a:r>
            <a:r>
              <a:rPr lang="en-US" sz="1400" b="1" dirty="0">
                <a:solidFill>
                  <a:schemeClr val="bg1"/>
                </a:solidFill>
                <a:highlight>
                  <a:srgbClr val="C0C0C0"/>
                </a:highlight>
              </a:rPr>
              <a:t>Above MFT</a:t>
            </a:r>
          </a:p>
        </p:txBody>
      </p:sp>
      <p:sp>
        <p:nvSpPr>
          <p:cNvPr id="5" name="Text Box 2">
            <a:extLst>
              <a:ext uri="{FF2B5EF4-FFF2-40B4-BE49-F238E27FC236}">
                <a16:creationId xmlns:a16="http://schemas.microsoft.com/office/drawing/2014/main" id="{926584B2-B8EC-CC1F-E7D3-2CF6580591FF}"/>
              </a:ext>
            </a:extLst>
          </p:cNvPr>
          <p:cNvSpPr txBox="1">
            <a:spLocks noChangeArrowheads="1"/>
          </p:cNvSpPr>
          <p:nvPr/>
        </p:nvSpPr>
        <p:spPr bwMode="auto">
          <a:xfrm>
            <a:off x="3415003" y="3503746"/>
            <a:ext cx="13593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lnSpc>
                <a:spcPct val="110000"/>
              </a:lnSpc>
              <a:spcAft>
                <a:spcPct val="50000"/>
              </a:spcAft>
              <a:buClr>
                <a:schemeClr val="accent1"/>
              </a:buClr>
              <a:buFont typeface="Wingdings" panose="05000000000000000000" pitchFamily="2" charset="2"/>
              <a:buChar char="n"/>
              <a:defRPr sz="2000">
                <a:solidFill>
                  <a:schemeClr val="tx1"/>
                </a:solidFill>
                <a:latin typeface="Arial" panose="020B0604020202020204" pitchFamily="34" charset="0"/>
                <a:cs typeface="Arial" panose="020B0604020202020204" pitchFamily="34" charset="0"/>
              </a:defRPr>
            </a:lvl1pPr>
            <a:lvl2pPr marL="742950" indent="-285750" eaLnBrk="0" hangingPunct="0">
              <a:lnSpc>
                <a:spcPct val="110000"/>
              </a:lnSpc>
              <a:spcAft>
                <a:spcPct val="50000"/>
              </a:spcAft>
              <a:buClr>
                <a:schemeClr val="accent1"/>
              </a:buClr>
              <a:buFont typeface="Wingdings" panose="05000000000000000000" pitchFamily="2" charset="2"/>
              <a:buChar char="n"/>
              <a:defRPr sz="2000">
                <a:solidFill>
                  <a:schemeClr val="tx1"/>
                </a:solidFill>
                <a:latin typeface="Arial" panose="020B0604020202020204" pitchFamily="34" charset="0"/>
                <a:cs typeface="Arial" panose="020B0604020202020204"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9pPr>
          </a:lstStyle>
          <a:p>
            <a:pPr>
              <a:lnSpc>
                <a:spcPct val="100000"/>
              </a:lnSpc>
              <a:spcAft>
                <a:spcPct val="0"/>
              </a:spcAft>
              <a:buClrTx/>
              <a:buFontTx/>
              <a:buNone/>
            </a:pPr>
            <a:r>
              <a:rPr lang="en-US" altLang="de-DE" sz="1800" b="1" dirty="0">
                <a:cs typeface="Times New Roman" panose="02020603050405020304" pitchFamily="18" charset="0"/>
              </a:rPr>
              <a:t>Deformation</a:t>
            </a:r>
          </a:p>
        </p:txBody>
      </p:sp>
      <p:sp>
        <p:nvSpPr>
          <p:cNvPr id="6" name="Text Box 3">
            <a:extLst>
              <a:ext uri="{FF2B5EF4-FFF2-40B4-BE49-F238E27FC236}">
                <a16:creationId xmlns:a16="http://schemas.microsoft.com/office/drawing/2014/main" id="{5E70E817-8388-2C06-8039-ED93DB907DB1}"/>
              </a:ext>
            </a:extLst>
          </p:cNvPr>
          <p:cNvSpPr txBox="1">
            <a:spLocks noChangeArrowheads="1"/>
          </p:cNvSpPr>
          <p:nvPr/>
        </p:nvSpPr>
        <p:spPr bwMode="auto">
          <a:xfrm>
            <a:off x="3414123" y="4490473"/>
            <a:ext cx="1885131"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lnSpc>
                <a:spcPct val="110000"/>
              </a:lnSpc>
              <a:spcAft>
                <a:spcPct val="50000"/>
              </a:spcAft>
              <a:buClr>
                <a:schemeClr val="accent1"/>
              </a:buClr>
              <a:buFont typeface="Wingdings" panose="05000000000000000000" pitchFamily="2" charset="2"/>
              <a:buChar char="n"/>
              <a:defRPr sz="2000">
                <a:solidFill>
                  <a:schemeClr val="tx1"/>
                </a:solidFill>
                <a:latin typeface="Arial" panose="020B0604020202020204" pitchFamily="34" charset="0"/>
                <a:cs typeface="Arial" panose="020B0604020202020204" pitchFamily="34" charset="0"/>
              </a:defRPr>
            </a:lvl1pPr>
            <a:lvl2pPr marL="742950" indent="-285750" eaLnBrk="0" hangingPunct="0">
              <a:lnSpc>
                <a:spcPct val="110000"/>
              </a:lnSpc>
              <a:spcAft>
                <a:spcPct val="50000"/>
              </a:spcAft>
              <a:buClr>
                <a:schemeClr val="accent1"/>
              </a:buClr>
              <a:buFont typeface="Wingdings" panose="05000000000000000000" pitchFamily="2" charset="2"/>
              <a:buChar char="n"/>
              <a:defRPr sz="2000">
                <a:solidFill>
                  <a:schemeClr val="tx1"/>
                </a:solidFill>
                <a:latin typeface="Arial" panose="020B0604020202020204" pitchFamily="34" charset="0"/>
                <a:cs typeface="Arial" panose="020B0604020202020204"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9pPr>
          </a:lstStyle>
          <a:p>
            <a:pPr>
              <a:lnSpc>
                <a:spcPct val="100000"/>
              </a:lnSpc>
              <a:spcAft>
                <a:spcPct val="0"/>
              </a:spcAft>
              <a:buClrTx/>
              <a:buFontTx/>
              <a:buNone/>
            </a:pPr>
            <a:r>
              <a:rPr lang="en-US" altLang="de-DE" sz="1800" b="1" dirty="0">
                <a:cs typeface="Times New Roman" panose="02020603050405020304" pitchFamily="18" charset="0"/>
              </a:rPr>
              <a:t>Coalescence and</a:t>
            </a:r>
          </a:p>
          <a:p>
            <a:pPr>
              <a:lnSpc>
                <a:spcPct val="100000"/>
              </a:lnSpc>
              <a:spcAft>
                <a:spcPct val="0"/>
              </a:spcAft>
              <a:buClrTx/>
              <a:buFontTx/>
              <a:buNone/>
            </a:pPr>
            <a:r>
              <a:rPr lang="en-US" altLang="de-DE" sz="1800" b="1" dirty="0">
                <a:cs typeface="Times New Roman" panose="02020603050405020304" pitchFamily="18" charset="0"/>
              </a:rPr>
              <a:t>interdiffusion</a:t>
            </a:r>
          </a:p>
        </p:txBody>
      </p:sp>
      <p:sp>
        <p:nvSpPr>
          <p:cNvPr id="197" name="Text Box 176">
            <a:extLst>
              <a:ext uri="{FF2B5EF4-FFF2-40B4-BE49-F238E27FC236}">
                <a16:creationId xmlns:a16="http://schemas.microsoft.com/office/drawing/2014/main" id="{84A57B0B-5BA6-3087-2FEB-A95871C83726}"/>
              </a:ext>
            </a:extLst>
          </p:cNvPr>
          <p:cNvSpPr txBox="1">
            <a:spLocks noChangeArrowheads="1"/>
          </p:cNvSpPr>
          <p:nvPr/>
        </p:nvSpPr>
        <p:spPr bwMode="auto">
          <a:xfrm>
            <a:off x="3418030" y="2197954"/>
            <a:ext cx="234422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lnSpc>
                <a:spcPct val="110000"/>
              </a:lnSpc>
              <a:spcAft>
                <a:spcPct val="50000"/>
              </a:spcAft>
              <a:buClr>
                <a:schemeClr val="accent1"/>
              </a:buClr>
              <a:buFont typeface="Wingdings" panose="05000000000000000000" pitchFamily="2" charset="2"/>
              <a:buChar char="n"/>
              <a:defRPr sz="2000">
                <a:solidFill>
                  <a:schemeClr val="tx1"/>
                </a:solidFill>
                <a:latin typeface="Arial" panose="020B0604020202020204" pitchFamily="34" charset="0"/>
                <a:cs typeface="Arial" panose="020B0604020202020204" pitchFamily="34" charset="0"/>
              </a:defRPr>
            </a:lvl1pPr>
            <a:lvl2pPr marL="742950" indent="-285750" eaLnBrk="0" hangingPunct="0">
              <a:lnSpc>
                <a:spcPct val="110000"/>
              </a:lnSpc>
              <a:spcAft>
                <a:spcPct val="50000"/>
              </a:spcAft>
              <a:buClr>
                <a:schemeClr val="accent1"/>
              </a:buClr>
              <a:buFont typeface="Wingdings" panose="05000000000000000000" pitchFamily="2" charset="2"/>
              <a:buChar char="n"/>
              <a:defRPr sz="2000">
                <a:solidFill>
                  <a:schemeClr val="tx1"/>
                </a:solidFill>
                <a:latin typeface="Arial" panose="020B0604020202020204" pitchFamily="34" charset="0"/>
                <a:cs typeface="Arial" panose="020B0604020202020204"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9pPr>
          </a:lstStyle>
          <a:p>
            <a:pPr>
              <a:lnSpc>
                <a:spcPct val="100000"/>
              </a:lnSpc>
              <a:spcAft>
                <a:spcPct val="0"/>
              </a:spcAft>
              <a:buClrTx/>
              <a:buFontTx/>
              <a:buNone/>
            </a:pPr>
            <a:r>
              <a:rPr lang="en-US" altLang="de-DE" sz="1800" b="1" dirty="0">
                <a:cs typeface="Times New Roman" panose="02020603050405020304" pitchFamily="18" charset="0"/>
              </a:rPr>
              <a:t>Water evaporation and concentration</a:t>
            </a:r>
          </a:p>
        </p:txBody>
      </p:sp>
      <p:sp>
        <p:nvSpPr>
          <p:cNvPr id="199" name="Text Box 179">
            <a:extLst>
              <a:ext uri="{FF2B5EF4-FFF2-40B4-BE49-F238E27FC236}">
                <a16:creationId xmlns:a16="http://schemas.microsoft.com/office/drawing/2014/main" id="{768641F5-7C24-3B2F-0763-2352E90776EA}"/>
              </a:ext>
            </a:extLst>
          </p:cNvPr>
          <p:cNvSpPr txBox="1">
            <a:spLocks noChangeArrowheads="1"/>
          </p:cNvSpPr>
          <p:nvPr/>
        </p:nvSpPr>
        <p:spPr bwMode="auto">
          <a:xfrm>
            <a:off x="3414123" y="5546913"/>
            <a:ext cx="207749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lnSpc>
                <a:spcPct val="110000"/>
              </a:lnSpc>
              <a:spcAft>
                <a:spcPct val="50000"/>
              </a:spcAft>
              <a:buClr>
                <a:schemeClr val="accent1"/>
              </a:buClr>
              <a:buFont typeface="Wingdings" panose="05000000000000000000" pitchFamily="2" charset="2"/>
              <a:buChar char="n"/>
              <a:defRPr sz="2000">
                <a:solidFill>
                  <a:schemeClr val="tx1"/>
                </a:solidFill>
                <a:latin typeface="Arial" panose="020B0604020202020204" pitchFamily="34" charset="0"/>
                <a:cs typeface="Arial" panose="020B0604020202020204" pitchFamily="34" charset="0"/>
              </a:defRPr>
            </a:lvl1pPr>
            <a:lvl2pPr marL="742950" indent="-285750" eaLnBrk="0" hangingPunct="0">
              <a:lnSpc>
                <a:spcPct val="110000"/>
              </a:lnSpc>
              <a:spcAft>
                <a:spcPct val="50000"/>
              </a:spcAft>
              <a:buClr>
                <a:schemeClr val="accent1"/>
              </a:buClr>
              <a:buFont typeface="Wingdings" panose="05000000000000000000" pitchFamily="2" charset="2"/>
              <a:buChar char="n"/>
              <a:defRPr sz="2000">
                <a:solidFill>
                  <a:schemeClr val="tx1"/>
                </a:solidFill>
                <a:latin typeface="Arial" panose="020B0604020202020204" pitchFamily="34" charset="0"/>
                <a:cs typeface="Arial" panose="020B0604020202020204"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9pPr>
          </a:lstStyle>
          <a:p>
            <a:pPr>
              <a:lnSpc>
                <a:spcPct val="100000"/>
              </a:lnSpc>
              <a:spcAft>
                <a:spcPct val="0"/>
              </a:spcAft>
              <a:buClrTx/>
              <a:buFontTx/>
              <a:buNone/>
            </a:pPr>
            <a:r>
              <a:rPr lang="en-US" altLang="de-DE" sz="1800" b="1" dirty="0">
                <a:cs typeface="Times New Roman" panose="02020603050405020304" pitchFamily="18" charset="0"/>
              </a:rPr>
              <a:t>Homogeneous film</a:t>
            </a:r>
          </a:p>
        </p:txBody>
      </p:sp>
      <p:sp>
        <p:nvSpPr>
          <p:cNvPr id="201" name="AutoShape 184">
            <a:extLst>
              <a:ext uri="{FF2B5EF4-FFF2-40B4-BE49-F238E27FC236}">
                <a16:creationId xmlns:a16="http://schemas.microsoft.com/office/drawing/2014/main" id="{B35C9264-EE92-3EE0-8DE6-3A48FA50CD55}"/>
              </a:ext>
            </a:extLst>
          </p:cNvPr>
          <p:cNvSpPr>
            <a:spLocks noChangeArrowheads="1"/>
          </p:cNvSpPr>
          <p:nvPr/>
        </p:nvSpPr>
        <p:spPr bwMode="auto">
          <a:xfrm rot="10800000">
            <a:off x="3326921" y="3912388"/>
            <a:ext cx="1552084" cy="488189"/>
          </a:xfrm>
          <a:prstGeom prst="rightArrow">
            <a:avLst>
              <a:gd name="adj1" fmla="val 50000"/>
              <a:gd name="adj2" fmla="val 108456"/>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lnSpc>
                <a:spcPct val="110000"/>
              </a:lnSpc>
              <a:spcAft>
                <a:spcPct val="50000"/>
              </a:spcAft>
              <a:buClr>
                <a:schemeClr val="accent1"/>
              </a:buClr>
              <a:buFont typeface="Wingdings" panose="05000000000000000000" pitchFamily="2" charset="2"/>
              <a:buChar char="n"/>
              <a:defRPr sz="2000">
                <a:solidFill>
                  <a:schemeClr val="tx1"/>
                </a:solidFill>
                <a:latin typeface="Arial" panose="020B0604020202020204" pitchFamily="34" charset="0"/>
                <a:cs typeface="Arial" panose="020B0604020202020204" pitchFamily="34" charset="0"/>
              </a:defRPr>
            </a:lvl1pPr>
            <a:lvl2pPr marL="742950" indent="-285750" eaLnBrk="0" hangingPunct="0">
              <a:lnSpc>
                <a:spcPct val="110000"/>
              </a:lnSpc>
              <a:spcAft>
                <a:spcPct val="50000"/>
              </a:spcAft>
              <a:buClr>
                <a:schemeClr val="accent1"/>
              </a:buClr>
              <a:buFont typeface="Wingdings" panose="05000000000000000000" pitchFamily="2" charset="2"/>
              <a:buChar char="n"/>
              <a:defRPr sz="2000">
                <a:solidFill>
                  <a:schemeClr val="tx1"/>
                </a:solidFill>
                <a:latin typeface="Arial" panose="020B0604020202020204" pitchFamily="34" charset="0"/>
                <a:cs typeface="Arial" panose="020B0604020202020204"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9pPr>
          </a:lstStyle>
          <a:p>
            <a:pPr eaLnBrk="1" hangingPunct="1">
              <a:lnSpc>
                <a:spcPct val="100000"/>
              </a:lnSpc>
              <a:spcAft>
                <a:spcPct val="0"/>
              </a:spcAft>
              <a:buClrTx/>
              <a:buFontTx/>
              <a:buNone/>
            </a:pPr>
            <a:endParaRPr lang="en-US" altLang="de-DE" dirty="0"/>
          </a:p>
        </p:txBody>
      </p:sp>
      <p:sp>
        <p:nvSpPr>
          <p:cNvPr id="202" name="Text Box 185">
            <a:extLst>
              <a:ext uri="{FF2B5EF4-FFF2-40B4-BE49-F238E27FC236}">
                <a16:creationId xmlns:a16="http://schemas.microsoft.com/office/drawing/2014/main" id="{7F106869-1CF9-4972-4210-53A4BCDCFCD5}"/>
              </a:ext>
            </a:extLst>
          </p:cNvPr>
          <p:cNvSpPr txBox="1">
            <a:spLocks noChangeArrowheads="1"/>
          </p:cNvSpPr>
          <p:nvPr/>
        </p:nvSpPr>
        <p:spPr bwMode="auto">
          <a:xfrm>
            <a:off x="4076249" y="4012931"/>
            <a:ext cx="473304"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lnSpc>
                <a:spcPct val="110000"/>
              </a:lnSpc>
              <a:spcAft>
                <a:spcPct val="50000"/>
              </a:spcAft>
              <a:buClr>
                <a:schemeClr val="accent1"/>
              </a:buClr>
              <a:buFont typeface="Wingdings" panose="05000000000000000000" pitchFamily="2" charset="2"/>
              <a:buChar char="n"/>
              <a:defRPr sz="2000">
                <a:solidFill>
                  <a:schemeClr val="tx1"/>
                </a:solidFill>
                <a:latin typeface="Arial" panose="020B0604020202020204" pitchFamily="34" charset="0"/>
                <a:cs typeface="Arial" panose="020B0604020202020204" pitchFamily="34" charset="0"/>
              </a:defRPr>
            </a:lvl1pPr>
            <a:lvl2pPr marL="742950" indent="-285750" eaLnBrk="0" hangingPunct="0">
              <a:lnSpc>
                <a:spcPct val="110000"/>
              </a:lnSpc>
              <a:spcAft>
                <a:spcPct val="50000"/>
              </a:spcAft>
              <a:buClr>
                <a:schemeClr val="accent1"/>
              </a:buClr>
              <a:buFont typeface="Wingdings" panose="05000000000000000000" pitchFamily="2" charset="2"/>
              <a:buChar char="n"/>
              <a:defRPr sz="2000">
                <a:solidFill>
                  <a:schemeClr val="tx1"/>
                </a:solidFill>
                <a:latin typeface="Arial" panose="020B0604020202020204" pitchFamily="34" charset="0"/>
                <a:cs typeface="Arial" panose="020B0604020202020204"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9pPr>
          </a:lstStyle>
          <a:p>
            <a:pPr>
              <a:lnSpc>
                <a:spcPct val="100000"/>
              </a:lnSpc>
              <a:spcAft>
                <a:spcPct val="0"/>
              </a:spcAft>
              <a:buClrTx/>
              <a:buFontTx/>
              <a:buNone/>
            </a:pPr>
            <a:r>
              <a:rPr lang="en-US" altLang="de-DE" sz="1800" b="1" dirty="0">
                <a:solidFill>
                  <a:schemeClr val="bg1"/>
                </a:solidFill>
                <a:cs typeface="Times New Roman" panose="02020603050405020304" pitchFamily="18" charset="0"/>
              </a:rPr>
              <a:t>MFT</a:t>
            </a:r>
          </a:p>
        </p:txBody>
      </p:sp>
      <p:sp>
        <p:nvSpPr>
          <p:cNvPr id="217" name="Text Box 2">
            <a:extLst>
              <a:ext uri="{FF2B5EF4-FFF2-40B4-BE49-F238E27FC236}">
                <a16:creationId xmlns:a16="http://schemas.microsoft.com/office/drawing/2014/main" id="{48A4949C-E9D6-BAB4-A1F5-CB4A88E444B1}"/>
              </a:ext>
            </a:extLst>
          </p:cNvPr>
          <p:cNvSpPr txBox="1">
            <a:spLocks noChangeArrowheads="1"/>
          </p:cNvSpPr>
          <p:nvPr/>
        </p:nvSpPr>
        <p:spPr bwMode="auto">
          <a:xfrm>
            <a:off x="3414405" y="1212644"/>
            <a:ext cx="188513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lnSpc>
                <a:spcPct val="110000"/>
              </a:lnSpc>
              <a:spcAft>
                <a:spcPct val="50000"/>
              </a:spcAft>
              <a:buClr>
                <a:schemeClr val="accent1"/>
              </a:buClr>
              <a:buFont typeface="Wingdings" panose="05000000000000000000" pitchFamily="2" charset="2"/>
              <a:buChar char="n"/>
              <a:defRPr sz="2000">
                <a:solidFill>
                  <a:schemeClr val="tx1"/>
                </a:solidFill>
                <a:latin typeface="Arial" panose="020B0604020202020204" pitchFamily="34" charset="0"/>
                <a:cs typeface="Arial" panose="020B0604020202020204" pitchFamily="34" charset="0"/>
              </a:defRPr>
            </a:lvl1pPr>
            <a:lvl2pPr marL="742950" indent="-285750" eaLnBrk="0" hangingPunct="0">
              <a:lnSpc>
                <a:spcPct val="110000"/>
              </a:lnSpc>
              <a:spcAft>
                <a:spcPct val="50000"/>
              </a:spcAft>
              <a:buClr>
                <a:schemeClr val="accent1"/>
              </a:buClr>
              <a:buFont typeface="Wingdings" panose="05000000000000000000" pitchFamily="2" charset="2"/>
              <a:buChar char="n"/>
              <a:defRPr sz="2000">
                <a:solidFill>
                  <a:schemeClr val="tx1"/>
                </a:solidFill>
                <a:latin typeface="Arial" panose="020B0604020202020204" pitchFamily="34" charset="0"/>
                <a:cs typeface="Arial" panose="020B0604020202020204"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anose="020B0604020202020204" pitchFamily="34" charset="0"/>
                <a:cs typeface="Arial" panose="020B0604020202020204" pitchFamily="34" charset="0"/>
              </a:defRPr>
            </a:lvl9pPr>
          </a:lstStyle>
          <a:p>
            <a:pPr>
              <a:lnSpc>
                <a:spcPct val="100000"/>
              </a:lnSpc>
              <a:spcAft>
                <a:spcPct val="0"/>
              </a:spcAft>
              <a:buClrTx/>
              <a:buFontTx/>
              <a:buNone/>
            </a:pPr>
            <a:r>
              <a:rPr lang="en-US" altLang="de-DE" sz="1800" b="1" dirty="0">
                <a:cs typeface="Times New Roman" panose="02020603050405020304" pitchFamily="18" charset="0"/>
              </a:rPr>
              <a:t>Polymer droplets</a:t>
            </a:r>
          </a:p>
        </p:txBody>
      </p:sp>
      <p:cxnSp>
        <p:nvCxnSpPr>
          <p:cNvPr id="229" name="Straight Connector 22">
            <a:extLst>
              <a:ext uri="{FF2B5EF4-FFF2-40B4-BE49-F238E27FC236}">
                <a16:creationId xmlns:a16="http://schemas.microsoft.com/office/drawing/2014/main" id="{B98FF55E-81BB-D8E5-2142-84CB856F1708}"/>
              </a:ext>
            </a:extLst>
          </p:cNvPr>
          <p:cNvCxnSpPr>
            <a:cxnSpLocks/>
          </p:cNvCxnSpPr>
          <p:nvPr>
            <p:custDataLst>
              <p:tags r:id="rId5"/>
            </p:custDataLst>
          </p:nvPr>
        </p:nvCxnSpPr>
        <p:spPr>
          <a:xfrm flipH="1">
            <a:off x="3262595" y="1171533"/>
            <a:ext cx="5811138" cy="2926"/>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25" name="Slide Number Placeholder 224">
            <a:extLst>
              <a:ext uri="{FF2B5EF4-FFF2-40B4-BE49-F238E27FC236}">
                <a16:creationId xmlns:a16="http://schemas.microsoft.com/office/drawing/2014/main" id="{72706BB2-1A3F-348D-23D2-F306C29634C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84</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pic>
        <p:nvPicPr>
          <p:cNvPr id="227" name="Picture 226">
            <a:extLst>
              <a:ext uri="{FF2B5EF4-FFF2-40B4-BE49-F238E27FC236}">
                <a16:creationId xmlns:a16="http://schemas.microsoft.com/office/drawing/2014/main" id="{EA2AE382-2F86-749C-7497-B0D488704B00}"/>
              </a:ext>
            </a:extLst>
          </p:cNvPr>
          <p:cNvPicPr>
            <a:picLocks noChangeAspect="1"/>
          </p:cNvPicPr>
          <p:nvPr/>
        </p:nvPicPr>
        <p:blipFill>
          <a:blip r:embed="rId18"/>
          <a:stretch>
            <a:fillRect/>
          </a:stretch>
        </p:blipFill>
        <p:spPr>
          <a:xfrm>
            <a:off x="280654" y="978799"/>
            <a:ext cx="3018777" cy="5162855"/>
          </a:xfrm>
          <a:prstGeom prst="rect">
            <a:avLst/>
          </a:prstGeom>
        </p:spPr>
      </p:pic>
    </p:spTree>
    <p:extLst>
      <p:ext uri="{BB962C8B-B14F-4D97-AF65-F5344CB8AC3E}">
        <p14:creationId xmlns:p14="http://schemas.microsoft.com/office/powerpoint/2010/main" val="292641076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4509A0C-EC17-BA35-D758-6A0C988024DB}"/>
              </a:ext>
            </a:extLst>
          </p:cNvPr>
          <p:cNvGraphicFramePr>
            <a:graphicFrameLocks noChangeAspect="1"/>
          </p:cNvGraphicFramePr>
          <p:nvPr>
            <p:custDataLst>
              <p:tags r:id="rId1"/>
            </p:custDataLst>
            <p:extLst>
              <p:ext uri="{D42A27DB-BD31-4B8C-83A1-F6EECF244321}">
                <p14:modId xmlns:p14="http://schemas.microsoft.com/office/powerpoint/2010/main" val="511827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1" progId="TCLayout.ActiveDocument.1">
                  <p:embed/>
                </p:oleObj>
              </mc:Choice>
              <mc:Fallback>
                <p:oleObj name="think-cell Slide" r:id="rId4" imgW="231" imgH="231" progId="TCLayout.ActiveDocument.1">
                  <p:embed/>
                  <p:pic>
                    <p:nvPicPr>
                      <p:cNvPr id="7" name="think-cell data - do not delete" hidden="1">
                        <a:extLst>
                          <a:ext uri="{FF2B5EF4-FFF2-40B4-BE49-F238E27FC236}">
                            <a16:creationId xmlns:a16="http://schemas.microsoft.com/office/drawing/2014/main" id="{C4509A0C-EC17-BA35-D758-6A0C988024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881883-E1F1-1CE5-415E-296A5B142BFA}"/>
              </a:ext>
            </a:extLst>
          </p:cNvPr>
          <p:cNvSpPr>
            <a:spLocks noGrp="1"/>
          </p:cNvSpPr>
          <p:nvPr>
            <p:ph type="title"/>
          </p:nvPr>
        </p:nvSpPr>
        <p:spPr>
          <a:xfrm>
            <a:off x="2534175" y="3002400"/>
            <a:ext cx="6009750" cy="853200"/>
          </a:xfrm>
        </p:spPr>
        <p:txBody>
          <a:bodyPr vert="horz"/>
          <a:lstStyle/>
          <a:p>
            <a:r>
              <a:rPr lang="en-US" dirty="0"/>
              <a:t>TEC as plasticizer – Hydrolysis </a:t>
            </a:r>
          </a:p>
        </p:txBody>
      </p:sp>
      <p:sp>
        <p:nvSpPr>
          <p:cNvPr id="5" name="Slide Number Placeholder 4">
            <a:extLst>
              <a:ext uri="{FF2B5EF4-FFF2-40B4-BE49-F238E27FC236}">
                <a16:creationId xmlns:a16="http://schemas.microsoft.com/office/drawing/2014/main" id="{7A5A116D-3F5C-5028-2A7C-E8EE5F86898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85</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17069701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1968072C-F6D3-9591-563C-A3F718191A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8" name="think-cell data - do not delete" hidden="1">
                        <a:extLst>
                          <a:ext uri="{FF2B5EF4-FFF2-40B4-BE49-F238E27FC236}">
                            <a16:creationId xmlns:a16="http://schemas.microsoft.com/office/drawing/2014/main" id="{1968072C-F6D3-9591-563C-A3F718191A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6F6674-C8B3-C0EA-BCCB-D21D37393FC7}"/>
              </a:ext>
            </a:extLst>
          </p:cNvPr>
          <p:cNvSpPr>
            <a:spLocks noGrp="1"/>
          </p:cNvSpPr>
          <p:nvPr>
            <p:ph type="title"/>
          </p:nvPr>
        </p:nvSpPr>
        <p:spPr/>
        <p:txBody>
          <a:bodyPr vert="horz"/>
          <a:lstStyle/>
          <a:p>
            <a:r>
              <a:rPr lang="en-US" dirty="0"/>
              <a:t>Kollicoat</a:t>
            </a:r>
            <a:r>
              <a:rPr lang="en-US" baseline="30000" dirty="0"/>
              <a:t>®</a:t>
            </a:r>
            <a:r>
              <a:rPr lang="en-US" dirty="0"/>
              <a:t> Smartseal </a:t>
            </a:r>
            <a:r>
              <a:rPr lang="en-US" sz="2800" dirty="0"/>
              <a:t>Formulation: Plasticizer</a:t>
            </a:r>
            <a:endParaRPr lang="en-US" dirty="0"/>
          </a:p>
        </p:txBody>
      </p:sp>
      <p:sp>
        <p:nvSpPr>
          <p:cNvPr id="3" name="Text Placeholder 2">
            <a:extLst>
              <a:ext uri="{FF2B5EF4-FFF2-40B4-BE49-F238E27FC236}">
                <a16:creationId xmlns:a16="http://schemas.microsoft.com/office/drawing/2014/main" id="{BF13C6F7-0099-9FD6-016B-83EE34298A64}"/>
              </a:ext>
            </a:extLst>
          </p:cNvPr>
          <p:cNvSpPr>
            <a:spLocks noGrp="1"/>
          </p:cNvSpPr>
          <p:nvPr>
            <p:ph type="body" idx="1"/>
          </p:nvPr>
        </p:nvSpPr>
        <p:spPr>
          <a:xfrm>
            <a:off x="306525" y="3785467"/>
            <a:ext cx="11811000" cy="2384708"/>
          </a:xfrm>
        </p:spPr>
        <p:txBody>
          <a:bodyPr/>
          <a:lstStyle/>
          <a:p>
            <a:r>
              <a:rPr lang="en-US" sz="1800" dirty="0">
                <a:latin typeface="Arial" pitchFamily="34" charset="0"/>
                <a:cs typeface="Arial" pitchFamily="34" charset="0"/>
              </a:rPr>
              <a:t>Research shows that some plasticizers (e.g., citric acid esters) are prone to hydrolysis in aqueous environment. </a:t>
            </a:r>
          </a:p>
          <a:p>
            <a:r>
              <a:rPr lang="en-US" sz="1800" dirty="0">
                <a:latin typeface="Arial" pitchFamily="34" charset="0"/>
                <a:cs typeface="Arial" pitchFamily="34" charset="0"/>
              </a:rPr>
              <a:t>Ester molecules like triethyl citrate (TEC) obey an equilibrium reaction between acid and ester state in aqueous media. </a:t>
            </a:r>
          </a:p>
          <a:p>
            <a:r>
              <a:rPr lang="en-US" sz="1800" dirty="0">
                <a:latin typeface="Arial" pitchFamily="34" charset="0"/>
                <a:cs typeface="Arial" pitchFamily="34" charset="0"/>
              </a:rPr>
              <a:t>As a result of that, some amounts of citric acid and free ethanol (EtOH) may develop as soon as the TEC is introduced into aqueous polymer dispersions. </a:t>
            </a:r>
          </a:p>
          <a:p>
            <a:r>
              <a:rPr lang="en-US" sz="1800" dirty="0">
                <a:latin typeface="Arial" pitchFamily="34" charset="0"/>
                <a:cs typeface="Arial" pitchFamily="34" charset="0"/>
              </a:rPr>
              <a:t>The degree of free acid and alcohol production is thereby also influenced by the pH-value of the system. </a:t>
            </a:r>
            <a:endParaRPr lang="en-US" sz="1800" dirty="0"/>
          </a:p>
        </p:txBody>
      </p:sp>
      <p:sp>
        <p:nvSpPr>
          <p:cNvPr id="5" name="Slide Number Placeholder 4">
            <a:extLst>
              <a:ext uri="{FF2B5EF4-FFF2-40B4-BE49-F238E27FC236}">
                <a16:creationId xmlns:a16="http://schemas.microsoft.com/office/drawing/2014/main" id="{A231A2CC-9067-9E62-CD94-845300464BC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86</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9" name="Textfeld 11">
            <a:extLst>
              <a:ext uri="{FF2B5EF4-FFF2-40B4-BE49-F238E27FC236}">
                <a16:creationId xmlns:a16="http://schemas.microsoft.com/office/drawing/2014/main" id="{C8F911D2-313A-C134-3261-48886A7BFF15}"/>
              </a:ext>
            </a:extLst>
          </p:cNvPr>
          <p:cNvSpPr txBox="1"/>
          <p:nvPr/>
        </p:nvSpPr>
        <p:spPr>
          <a:xfrm>
            <a:off x="2081225" y="1119522"/>
            <a:ext cx="8703152" cy="2562711"/>
          </a:xfrm>
          <a:prstGeom prst="rect">
            <a:avLst/>
          </a:prstGeom>
          <a:noFill/>
          <a:ln w="25400">
            <a:solidFill>
              <a:schemeClr val="accent1"/>
            </a:solidFill>
          </a:ln>
        </p:spPr>
        <p:txBody>
          <a:bodyPr wrap="square" rtlCol="0">
            <a:noAutofit/>
          </a:bodyPr>
          <a:lstStyle>
            <a:defPPr lvl="0">
              <a:defRPr lang="de-DE"/>
            </a:defPPr>
            <a:lvl1pPr marL="108000">
              <a:defRPr sz="1600">
                <a:latin typeface="Arial" pitchFamily="34" charset="0"/>
                <a:cs typeface="Arial" pitchFamily="34" charset="0"/>
              </a:defRPr>
            </a:lvl1pPr>
          </a:lstStyle>
          <a:p>
            <a:pPr algn="ctr"/>
            <a:r>
              <a:rPr lang="en-US" sz="1800" dirty="0"/>
              <a:t>Hydrolysis of triethyl citrate (TEC) in aqueous environment, steady-state at a pH-value of about 4.3</a:t>
            </a:r>
          </a:p>
        </p:txBody>
      </p:sp>
      <p:sp>
        <p:nvSpPr>
          <p:cNvPr id="10" name="Ellipse 9">
            <a:extLst>
              <a:ext uri="{FF2B5EF4-FFF2-40B4-BE49-F238E27FC236}">
                <a16:creationId xmlns:a16="http://schemas.microsoft.com/office/drawing/2014/main" id="{EDF778C0-B6C7-D278-8DF0-B9EC7519A635}"/>
              </a:ext>
            </a:extLst>
          </p:cNvPr>
          <p:cNvSpPr/>
          <p:nvPr/>
        </p:nvSpPr>
        <p:spPr>
          <a:xfrm>
            <a:off x="4002437" y="2162578"/>
            <a:ext cx="648072" cy="84531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Ellipse 10">
            <a:extLst>
              <a:ext uri="{FF2B5EF4-FFF2-40B4-BE49-F238E27FC236}">
                <a16:creationId xmlns:a16="http://schemas.microsoft.com/office/drawing/2014/main" id="{5EC699D9-2D74-89E4-C3C9-43E2B4D0B8FE}"/>
              </a:ext>
            </a:extLst>
          </p:cNvPr>
          <p:cNvSpPr/>
          <p:nvPr/>
        </p:nvSpPr>
        <p:spPr>
          <a:xfrm>
            <a:off x="3439764" y="1761185"/>
            <a:ext cx="648072" cy="63135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Ellipse 11">
            <a:extLst>
              <a:ext uri="{FF2B5EF4-FFF2-40B4-BE49-F238E27FC236}">
                <a16:creationId xmlns:a16="http://schemas.microsoft.com/office/drawing/2014/main" id="{11FBFF16-3B79-E2A6-70DA-B9203223CC44}"/>
              </a:ext>
            </a:extLst>
          </p:cNvPr>
          <p:cNvSpPr/>
          <p:nvPr/>
        </p:nvSpPr>
        <p:spPr>
          <a:xfrm>
            <a:off x="2849711" y="2143736"/>
            <a:ext cx="648072" cy="84531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3" name="Objekt 16">
            <a:extLst>
              <a:ext uri="{FF2B5EF4-FFF2-40B4-BE49-F238E27FC236}">
                <a16:creationId xmlns:a16="http://schemas.microsoft.com/office/drawing/2014/main" id="{2B580FAE-4FAA-4495-4722-3A114CB90C3C}"/>
              </a:ext>
            </a:extLst>
          </p:cNvPr>
          <p:cNvGraphicFramePr>
            <a:graphicFrameLocks noChangeAspect="1"/>
          </p:cNvGraphicFramePr>
          <p:nvPr/>
        </p:nvGraphicFramePr>
        <p:xfrm>
          <a:off x="2351338" y="1567336"/>
          <a:ext cx="8162925" cy="1463675"/>
        </p:xfrm>
        <a:graphic>
          <a:graphicData uri="http://schemas.openxmlformats.org/presentationml/2006/ole">
            <mc:AlternateContent xmlns:mc="http://schemas.openxmlformats.org/markup-compatibility/2006">
              <mc:Choice xmlns:v="urn:schemas-microsoft-com:vml" Requires="v">
                <p:oleObj name="MDLDrawObject Class" r:id="rId6" imgW="9934679" imgH="1781190" progId="MDLDrawOLE.MDLDrawObject.1">
                  <p:embed/>
                </p:oleObj>
              </mc:Choice>
              <mc:Fallback>
                <p:oleObj name="MDLDrawObject Class" r:id="rId6" imgW="9934679" imgH="1781190" progId="MDLDrawOLE.MDLDrawObject.1">
                  <p:embed/>
                  <p:pic>
                    <p:nvPicPr>
                      <p:cNvPr id="13" name="Objekt 16">
                        <a:extLst>
                          <a:ext uri="{FF2B5EF4-FFF2-40B4-BE49-F238E27FC236}">
                            <a16:creationId xmlns:a16="http://schemas.microsoft.com/office/drawing/2014/main" id="{2B580FAE-4FAA-4495-4722-3A114CB90C3C}"/>
                          </a:ext>
                        </a:extLst>
                      </p:cNvPr>
                      <p:cNvPicPr/>
                      <p:nvPr/>
                    </p:nvPicPr>
                    <p:blipFill>
                      <a:blip r:embed="rId7"/>
                      <a:stretch>
                        <a:fillRect/>
                      </a:stretch>
                    </p:blipFill>
                    <p:spPr>
                      <a:xfrm>
                        <a:off x="2351338" y="1567336"/>
                        <a:ext cx="8162925" cy="1463675"/>
                      </a:xfrm>
                      <a:prstGeom prst="rect">
                        <a:avLst/>
                      </a:prstGeom>
                    </p:spPr>
                  </p:pic>
                </p:oleObj>
              </mc:Fallback>
            </mc:AlternateContent>
          </a:graphicData>
        </a:graphic>
      </p:graphicFrame>
      <p:sp>
        <p:nvSpPr>
          <p:cNvPr id="14" name="Textfeld 17">
            <a:extLst>
              <a:ext uri="{FF2B5EF4-FFF2-40B4-BE49-F238E27FC236}">
                <a16:creationId xmlns:a16="http://schemas.microsoft.com/office/drawing/2014/main" id="{A6B8D92B-8845-E725-C3BD-D1E2337BB4AA}"/>
              </a:ext>
            </a:extLst>
          </p:cNvPr>
          <p:cNvSpPr txBox="1"/>
          <p:nvPr/>
        </p:nvSpPr>
        <p:spPr>
          <a:xfrm>
            <a:off x="3476077" y="3079901"/>
            <a:ext cx="641522" cy="338554"/>
          </a:xfrm>
          <a:prstGeom prst="rect">
            <a:avLst/>
          </a:prstGeom>
          <a:noFill/>
        </p:spPr>
        <p:txBody>
          <a:bodyPr wrap="none" rtlCol="0">
            <a:spAutoFit/>
          </a:bodyPr>
          <a:lstStyle/>
          <a:p>
            <a:r>
              <a:rPr lang="en-US" sz="1600" dirty="0">
                <a:latin typeface="Arial" panose="020B0604020202020204" pitchFamily="34" charset="0"/>
                <a:cs typeface="Arial" panose="020B0604020202020204" pitchFamily="34" charset="0"/>
              </a:rPr>
              <a:t>ester</a:t>
            </a:r>
          </a:p>
        </p:txBody>
      </p:sp>
      <p:sp>
        <p:nvSpPr>
          <p:cNvPr id="15" name="Textfeld 18">
            <a:extLst>
              <a:ext uri="{FF2B5EF4-FFF2-40B4-BE49-F238E27FC236}">
                <a16:creationId xmlns:a16="http://schemas.microsoft.com/office/drawing/2014/main" id="{97967EDD-FFB8-EE68-E284-E7DF957C0E18}"/>
              </a:ext>
            </a:extLst>
          </p:cNvPr>
          <p:cNvSpPr txBox="1"/>
          <p:nvPr/>
        </p:nvSpPr>
        <p:spPr>
          <a:xfrm>
            <a:off x="7742504" y="2960259"/>
            <a:ext cx="1176925" cy="584775"/>
          </a:xfrm>
          <a:prstGeom prst="rect">
            <a:avLst/>
          </a:prstGeom>
          <a:noFill/>
        </p:spPr>
        <p:txBody>
          <a:bodyPr wrap="none" rtlCol="0">
            <a:spAutoFit/>
          </a:bodyPr>
          <a:lstStyle/>
          <a:p>
            <a:pPr algn="ctr"/>
            <a:r>
              <a:rPr lang="en-US" sz="1600" dirty="0">
                <a:latin typeface="Arial" panose="020B0604020202020204" pitchFamily="34" charset="0"/>
                <a:cs typeface="Arial" panose="020B0604020202020204" pitchFamily="34" charset="0"/>
              </a:rPr>
              <a:t>free acid</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citric acid)</a:t>
            </a:r>
          </a:p>
        </p:txBody>
      </p:sp>
      <p:sp>
        <p:nvSpPr>
          <p:cNvPr id="16" name="Textfeld 19">
            <a:extLst>
              <a:ext uri="{FF2B5EF4-FFF2-40B4-BE49-F238E27FC236}">
                <a16:creationId xmlns:a16="http://schemas.microsoft.com/office/drawing/2014/main" id="{57C3B7AE-59CE-4D17-08D2-B92D4076BEBF}"/>
              </a:ext>
            </a:extLst>
          </p:cNvPr>
          <p:cNvSpPr txBox="1"/>
          <p:nvPr/>
        </p:nvSpPr>
        <p:spPr>
          <a:xfrm>
            <a:off x="6315318" y="2094970"/>
            <a:ext cx="926857" cy="338554"/>
          </a:xfrm>
          <a:prstGeom prst="rect">
            <a:avLst/>
          </a:prstGeom>
          <a:noFill/>
        </p:spPr>
        <p:txBody>
          <a:bodyPr wrap="none" rtlCol="0">
            <a:spAutoFit/>
          </a:bodyPr>
          <a:lstStyle/>
          <a:p>
            <a:r>
              <a:rPr lang="en-US" sz="1600" dirty="0">
                <a:latin typeface="Arial" panose="020B0604020202020204" pitchFamily="34" charset="0"/>
                <a:cs typeface="Arial" panose="020B0604020202020204" pitchFamily="34" charset="0"/>
              </a:rPr>
              <a:t>cat. OH</a:t>
            </a:r>
            <a:r>
              <a:rPr lang="en-US" sz="1600" baseline="30000" dirty="0">
                <a:latin typeface="Arial" panose="020B0604020202020204" pitchFamily="34" charset="0"/>
                <a:cs typeface="Arial" panose="020B0604020202020204" pitchFamily="34" charset="0"/>
              </a:rPr>
              <a:t>-</a:t>
            </a:r>
          </a:p>
        </p:txBody>
      </p:sp>
      <p:sp>
        <p:nvSpPr>
          <p:cNvPr id="19" name="Footer Placeholder 11">
            <a:extLst>
              <a:ext uri="{FF2B5EF4-FFF2-40B4-BE49-F238E27FC236}">
                <a16:creationId xmlns:a16="http://schemas.microsoft.com/office/drawing/2014/main" id="{5D87A6D9-D658-8676-AFF3-E41C0CB847DC}"/>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96826906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2ECE31AC-04E7-E27B-B6E3-5AFEC61E37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2" name="think-cell data - do not delete" hidden="1">
                        <a:extLst>
                          <a:ext uri="{FF2B5EF4-FFF2-40B4-BE49-F238E27FC236}">
                            <a16:creationId xmlns:a16="http://schemas.microsoft.com/office/drawing/2014/main" id="{2ECE31AC-04E7-E27B-B6E3-5AFEC61E37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BDC415-B54B-CC1F-C4C6-BE9923744C9F}"/>
              </a:ext>
            </a:extLst>
          </p:cNvPr>
          <p:cNvSpPr>
            <a:spLocks noGrp="1"/>
          </p:cNvSpPr>
          <p:nvPr>
            <p:ph type="title"/>
          </p:nvPr>
        </p:nvSpPr>
        <p:spPr/>
        <p:txBody>
          <a:bodyPr vert="horz"/>
          <a:lstStyle/>
          <a:p>
            <a:r>
              <a:rPr lang="en-US" dirty="0"/>
              <a:t>Kollicoat</a:t>
            </a:r>
            <a:r>
              <a:rPr lang="en-US" baseline="30000" dirty="0"/>
              <a:t>®</a:t>
            </a:r>
            <a:r>
              <a:rPr lang="en-US" dirty="0"/>
              <a:t> Smartseal </a:t>
            </a:r>
            <a:r>
              <a:rPr lang="en-US" sz="2800" dirty="0"/>
              <a:t>Formulation: Plasticizer</a:t>
            </a:r>
            <a:endParaRPr lang="en-US" dirty="0"/>
          </a:p>
        </p:txBody>
      </p:sp>
      <p:sp>
        <p:nvSpPr>
          <p:cNvPr id="3" name="Text Placeholder 2">
            <a:extLst>
              <a:ext uri="{FF2B5EF4-FFF2-40B4-BE49-F238E27FC236}">
                <a16:creationId xmlns:a16="http://schemas.microsoft.com/office/drawing/2014/main" id="{F7D08D49-55B5-2DDE-DF06-CD0AB9939849}"/>
              </a:ext>
            </a:extLst>
          </p:cNvPr>
          <p:cNvSpPr>
            <a:spLocks noGrp="1"/>
          </p:cNvSpPr>
          <p:nvPr>
            <p:ph type="body" idx="1"/>
          </p:nvPr>
        </p:nvSpPr>
        <p:spPr>
          <a:xfrm>
            <a:off x="231600" y="4332771"/>
            <a:ext cx="11728800" cy="1768221"/>
          </a:xfrm>
        </p:spPr>
        <p:txBody>
          <a:bodyPr/>
          <a:lstStyle/>
          <a:p>
            <a:pPr algn="just" fontAlgn="base">
              <a:spcBef>
                <a:spcPct val="0"/>
              </a:spcBef>
              <a:spcAft>
                <a:spcPct val="0"/>
              </a:spcAft>
              <a:buClr>
                <a:schemeClr val="accent1"/>
              </a:buClr>
            </a:pPr>
            <a:r>
              <a:rPr lang="en-US" sz="2000" dirty="0">
                <a:latin typeface="Arial" pitchFamily="34" charset="0"/>
                <a:cs typeface="Arial" pitchFamily="34" charset="0"/>
              </a:rPr>
              <a:t>In the case of Kollicoat</a:t>
            </a:r>
            <a:r>
              <a:rPr lang="en-US" sz="2000" baseline="30000" dirty="0"/>
              <a:t>®</a:t>
            </a:r>
            <a:r>
              <a:rPr lang="en-US" sz="2000" dirty="0">
                <a:latin typeface="Arial" pitchFamily="34" charset="0"/>
                <a:cs typeface="Arial" pitchFamily="34" charset="0"/>
              </a:rPr>
              <a:t> Smartseal, citric acid is consumed by a neutralization reaction and thus drawn out from the equilibrium. </a:t>
            </a:r>
          </a:p>
          <a:p>
            <a:pPr marL="0" indent="0" algn="just" fontAlgn="base">
              <a:spcBef>
                <a:spcPct val="0"/>
              </a:spcBef>
              <a:spcAft>
                <a:spcPct val="0"/>
              </a:spcAft>
              <a:buClr>
                <a:schemeClr val="accent1"/>
              </a:buClr>
              <a:buNone/>
            </a:pPr>
            <a:endParaRPr lang="en-US" sz="2000" dirty="0">
              <a:latin typeface="Arial" pitchFamily="34" charset="0"/>
              <a:cs typeface="Arial" pitchFamily="34" charset="0"/>
            </a:endParaRPr>
          </a:p>
          <a:p>
            <a:pPr algn="just" fontAlgn="base">
              <a:spcBef>
                <a:spcPct val="0"/>
              </a:spcBef>
              <a:spcAft>
                <a:spcPct val="0"/>
              </a:spcAft>
              <a:buClr>
                <a:schemeClr val="accent1"/>
              </a:buClr>
            </a:pPr>
            <a:r>
              <a:rPr lang="en-US" sz="2000" dirty="0">
                <a:latin typeface="Arial" pitchFamily="34" charset="0"/>
                <a:cs typeface="Arial" pitchFamily="34" charset="0"/>
              </a:rPr>
              <a:t>The alkaline environment enhances </a:t>
            </a:r>
            <a:r>
              <a:rPr lang="en-US" dirty="0">
                <a:cs typeface="Arial" pitchFamily="34" charset="0"/>
              </a:rPr>
              <a:t>the hydrolysis reaction </a:t>
            </a:r>
            <a:r>
              <a:rPr lang="en-US" sz="2000" dirty="0">
                <a:latin typeface="Arial" pitchFamily="34" charset="0"/>
                <a:cs typeface="Arial" pitchFamily="34" charset="0"/>
              </a:rPr>
              <a:t>speed of TEC. </a:t>
            </a:r>
          </a:p>
          <a:p>
            <a:pPr marL="0" indent="0" algn="just" fontAlgn="base">
              <a:spcBef>
                <a:spcPct val="0"/>
              </a:spcBef>
              <a:spcAft>
                <a:spcPct val="0"/>
              </a:spcAft>
              <a:buClr>
                <a:schemeClr val="accent1"/>
              </a:buClr>
              <a:buNone/>
            </a:pPr>
            <a:endParaRPr lang="en-US" sz="2000" dirty="0">
              <a:latin typeface="Arial" pitchFamily="34" charset="0"/>
              <a:cs typeface="Arial" pitchFamily="34" charset="0"/>
            </a:endParaRPr>
          </a:p>
          <a:p>
            <a:pPr algn="just" fontAlgn="base">
              <a:spcBef>
                <a:spcPct val="0"/>
              </a:spcBef>
              <a:spcAft>
                <a:spcPct val="0"/>
              </a:spcAft>
              <a:buClr>
                <a:schemeClr val="accent1"/>
              </a:buClr>
            </a:pPr>
            <a:r>
              <a:rPr lang="en-US" sz="2000" dirty="0">
                <a:latin typeface="Arial" pitchFamily="34" charset="0"/>
                <a:cs typeface="Arial" pitchFamily="34" charset="0"/>
              </a:rPr>
              <a:t>As a consequence, the reaction is dislocated to produce more citric acid, declining the pH-value</a:t>
            </a:r>
          </a:p>
        </p:txBody>
      </p:sp>
      <p:sp>
        <p:nvSpPr>
          <p:cNvPr id="5" name="Slide Number Placeholder 4">
            <a:extLst>
              <a:ext uri="{FF2B5EF4-FFF2-40B4-BE49-F238E27FC236}">
                <a16:creationId xmlns:a16="http://schemas.microsoft.com/office/drawing/2014/main" id="{25912ACE-E6A8-B555-66AE-363474DD408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87</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Textfeld 11">
            <a:extLst>
              <a:ext uri="{FF2B5EF4-FFF2-40B4-BE49-F238E27FC236}">
                <a16:creationId xmlns:a16="http://schemas.microsoft.com/office/drawing/2014/main" id="{AAB56A4C-E6A8-2122-7169-D1A3A192C64F}"/>
              </a:ext>
            </a:extLst>
          </p:cNvPr>
          <p:cNvSpPr txBox="1"/>
          <p:nvPr/>
        </p:nvSpPr>
        <p:spPr>
          <a:xfrm>
            <a:off x="1155600" y="1308159"/>
            <a:ext cx="6088947" cy="2971801"/>
          </a:xfrm>
          <a:prstGeom prst="rect">
            <a:avLst/>
          </a:prstGeom>
          <a:noFill/>
          <a:ln w="25400">
            <a:solidFill>
              <a:schemeClr val="accent1"/>
            </a:solidFill>
          </a:ln>
        </p:spPr>
        <p:txBody>
          <a:bodyPr wrap="square" rtlCol="0">
            <a:noAutofit/>
          </a:bodyPr>
          <a:lstStyle>
            <a:defPPr lvl="0">
              <a:defRPr lang="de-DE"/>
            </a:defPPr>
            <a:lvl1pPr marL="108000">
              <a:defRPr sz="1600">
                <a:latin typeface="Arial" pitchFamily="34" charset="0"/>
                <a:cs typeface="Arial" pitchFamily="34" charset="0"/>
              </a:defRPr>
            </a:lvl1pPr>
          </a:lstStyle>
          <a:p>
            <a:r>
              <a:rPr lang="en-US" sz="1800" dirty="0"/>
              <a:t>pH-value of plasticized Kollicoat</a:t>
            </a:r>
            <a:r>
              <a:rPr lang="en-US" sz="1800" baseline="30000" dirty="0"/>
              <a:t>®</a:t>
            </a:r>
            <a:r>
              <a:rPr lang="en-US" sz="1800" dirty="0"/>
              <a:t> Smartseal dispersion,</a:t>
            </a:r>
          </a:p>
          <a:p>
            <a:r>
              <a:rPr lang="en-US" sz="1800" dirty="0"/>
              <a:t>as function of storage time (0 – 24 hours) with plasticizer</a:t>
            </a:r>
          </a:p>
        </p:txBody>
      </p:sp>
      <p:sp>
        <p:nvSpPr>
          <p:cNvPr id="7" name="Textfeld 14">
            <a:extLst>
              <a:ext uri="{FF2B5EF4-FFF2-40B4-BE49-F238E27FC236}">
                <a16:creationId xmlns:a16="http://schemas.microsoft.com/office/drawing/2014/main" id="{380810FD-E484-AA4C-3EC5-98F32D2D5ACF}"/>
              </a:ext>
            </a:extLst>
          </p:cNvPr>
          <p:cNvSpPr txBox="1"/>
          <p:nvPr/>
        </p:nvSpPr>
        <p:spPr>
          <a:xfrm>
            <a:off x="7696200" y="1547564"/>
            <a:ext cx="4161899" cy="2492990"/>
          </a:xfrm>
          <a:prstGeom prst="rect">
            <a:avLst/>
          </a:prstGeom>
          <a:noFill/>
        </p:spPr>
        <p:txBody>
          <a:bodyPr wrap="square" rtlCol="0">
            <a:spAutoFit/>
          </a:bodyPr>
          <a:lstStyle/>
          <a:p>
            <a:pPr>
              <a:tabLst>
                <a:tab pos="3946525" algn="r"/>
              </a:tabLst>
            </a:pPr>
            <a:r>
              <a:rPr lang="en-US" sz="1200" b="1" dirty="0">
                <a:latin typeface="+mj-lt"/>
                <a:cs typeface="Arial" pitchFamily="34" charset="0"/>
              </a:rPr>
              <a:t>Coating formulation </a:t>
            </a:r>
          </a:p>
          <a:p>
            <a:pPr marL="265113" lvl="1">
              <a:tabLst>
                <a:tab pos="3946525" algn="r"/>
              </a:tabLst>
            </a:pPr>
            <a:r>
              <a:rPr lang="en-US" sz="1200" dirty="0">
                <a:latin typeface="+mj-lt"/>
                <a:cs typeface="Arial" pitchFamily="34" charset="0"/>
              </a:rPr>
              <a:t>Kollicoat</a:t>
            </a:r>
            <a:r>
              <a:rPr lang="en-US" sz="1200" baseline="30000" dirty="0">
                <a:latin typeface="+mj-lt"/>
              </a:rPr>
              <a:t>®</a:t>
            </a:r>
            <a:r>
              <a:rPr lang="en-US" sz="1200" dirty="0">
                <a:latin typeface="+mj-lt"/>
                <a:cs typeface="Arial" pitchFamily="34" charset="0"/>
              </a:rPr>
              <a:t> Smartseal 30 D: 88.5%</a:t>
            </a:r>
          </a:p>
          <a:p>
            <a:pPr marL="265113" lvl="1">
              <a:tabLst>
                <a:tab pos="3946525" algn="r"/>
              </a:tabLst>
            </a:pPr>
            <a:r>
              <a:rPr lang="en-US" sz="1200" dirty="0">
                <a:latin typeface="+mj-lt"/>
                <a:cs typeface="Arial" pitchFamily="34" charset="0"/>
              </a:rPr>
              <a:t>Plasticizer (13% polymer base): 11.5%</a:t>
            </a:r>
          </a:p>
          <a:p>
            <a:pPr marL="265113" lvl="1">
              <a:tabLst>
                <a:tab pos="3946525" algn="r"/>
              </a:tabLst>
            </a:pPr>
            <a:r>
              <a:rPr lang="en-US" sz="1200" dirty="0">
                <a:latin typeface="+mj-lt"/>
                <a:cs typeface="Arial" pitchFamily="34" charset="0"/>
              </a:rPr>
              <a:t>Formulation: aqueous dispersion </a:t>
            </a:r>
          </a:p>
          <a:p>
            <a:pPr marL="265113" lvl="1">
              <a:tabLst>
                <a:tab pos="3946525" algn="r"/>
              </a:tabLst>
            </a:pPr>
            <a:r>
              <a:rPr lang="en-US" sz="1200" dirty="0">
                <a:latin typeface="+mj-lt"/>
                <a:cs typeface="Arial" pitchFamily="34" charset="0"/>
              </a:rPr>
              <a:t>Solid matter content: 20%</a:t>
            </a:r>
          </a:p>
          <a:p>
            <a:pPr marL="265113" lvl="1">
              <a:tabLst>
                <a:tab pos="3946525" algn="r"/>
              </a:tabLst>
            </a:pPr>
            <a:r>
              <a:rPr lang="en-US" sz="1200" dirty="0">
                <a:latin typeface="+mj-lt"/>
                <a:cs typeface="Arial" pitchFamily="34" charset="0"/>
              </a:rPr>
              <a:t>Plasticizers:	</a:t>
            </a:r>
          </a:p>
          <a:p>
            <a:pPr marL="265113" lvl="1">
              <a:tabLst>
                <a:tab pos="3946525" algn="r"/>
              </a:tabLst>
            </a:pPr>
            <a:r>
              <a:rPr lang="en-US" sz="1200" dirty="0">
                <a:latin typeface="+mj-lt"/>
                <a:cs typeface="Arial" pitchFamily="34" charset="0"/>
              </a:rPr>
              <a:t>Triacetin (TAC)</a:t>
            </a:r>
          </a:p>
          <a:p>
            <a:pPr marL="265113" lvl="1">
              <a:tabLst>
                <a:tab pos="3946525" algn="r"/>
              </a:tabLst>
            </a:pPr>
            <a:r>
              <a:rPr lang="en-US" sz="1200" dirty="0">
                <a:latin typeface="+mj-lt"/>
                <a:cs typeface="Arial" pitchFamily="34" charset="0"/>
              </a:rPr>
              <a:t>Triethyl citrate (TEC)</a:t>
            </a:r>
          </a:p>
          <a:p>
            <a:pPr>
              <a:tabLst>
                <a:tab pos="2686050" algn="r"/>
                <a:tab pos="3946525" algn="r"/>
              </a:tabLst>
            </a:pPr>
            <a:r>
              <a:rPr lang="en-US" sz="1200" b="1" dirty="0">
                <a:latin typeface="+mj-lt"/>
                <a:cs typeface="Arial" pitchFamily="34" charset="0"/>
              </a:rPr>
              <a:t>pH-value</a:t>
            </a:r>
          </a:p>
          <a:p>
            <a:pPr marL="266700" lvl="1">
              <a:tabLst>
                <a:tab pos="2686050" algn="r"/>
                <a:tab pos="3946525" algn="r"/>
              </a:tabLst>
            </a:pPr>
            <a:r>
              <a:rPr lang="en-US" sz="1200" dirty="0">
                <a:latin typeface="+mj-lt"/>
                <a:cs typeface="Arial" pitchFamily="34" charset="0"/>
              </a:rPr>
              <a:t>Equipment Titrando 836 (Metrom)</a:t>
            </a:r>
          </a:p>
          <a:p>
            <a:pPr marL="266700" lvl="1">
              <a:tabLst>
                <a:tab pos="2686050" algn="r"/>
                <a:tab pos="3946525" algn="r"/>
              </a:tabLst>
            </a:pPr>
            <a:r>
              <a:rPr lang="en-US" sz="1200" dirty="0">
                <a:latin typeface="+mj-lt"/>
                <a:cs typeface="Arial" pitchFamily="34" charset="0"/>
              </a:rPr>
              <a:t>Electrode Hamilton</a:t>
            </a:r>
          </a:p>
          <a:p>
            <a:pPr marL="266700" lvl="1">
              <a:tabLst>
                <a:tab pos="2686050" algn="r"/>
                <a:tab pos="3946525" algn="r"/>
              </a:tabLst>
            </a:pPr>
            <a:r>
              <a:rPr lang="en-US" sz="1200" dirty="0">
                <a:latin typeface="+mj-lt"/>
                <a:cs typeface="Arial" pitchFamily="34" charset="0"/>
              </a:rPr>
              <a:t>Temperature: 23°C 	(controlled conditions)</a:t>
            </a:r>
          </a:p>
          <a:p>
            <a:pPr marL="266700" lvl="1">
              <a:tabLst>
                <a:tab pos="2686050" algn="r"/>
                <a:tab pos="3946525" algn="r"/>
              </a:tabLst>
            </a:pPr>
            <a:r>
              <a:rPr lang="en-US" sz="1200" dirty="0">
                <a:latin typeface="+mj-lt"/>
                <a:cs typeface="Arial" pitchFamily="34" charset="0"/>
              </a:rPr>
              <a:t>Sample device: closed and sealed 	argon as cover gas	</a:t>
            </a:r>
          </a:p>
        </p:txBody>
      </p:sp>
      <p:graphicFrame>
        <p:nvGraphicFramePr>
          <p:cNvPr id="8" name="Diagramm 10">
            <a:extLst>
              <a:ext uri="{FF2B5EF4-FFF2-40B4-BE49-F238E27FC236}">
                <a16:creationId xmlns:a16="http://schemas.microsoft.com/office/drawing/2014/main" id="{B9D646A3-5D15-1937-7FC1-A91D832E6908}"/>
              </a:ext>
            </a:extLst>
          </p:cNvPr>
          <p:cNvGraphicFramePr>
            <a:graphicFrameLocks noGrp="1"/>
          </p:cNvGraphicFramePr>
          <p:nvPr/>
        </p:nvGraphicFramePr>
        <p:xfrm>
          <a:off x="1155599" y="1903429"/>
          <a:ext cx="6088947" cy="2376531"/>
        </p:xfrm>
        <a:graphic>
          <a:graphicData uri="http://schemas.openxmlformats.org/drawingml/2006/chart">
            <c:chart xmlns:c="http://schemas.openxmlformats.org/drawingml/2006/chart" xmlns:r="http://schemas.openxmlformats.org/officeDocument/2006/relationships" r:id="rId6"/>
          </a:graphicData>
        </a:graphic>
      </p:graphicFrame>
      <p:pic>
        <p:nvPicPr>
          <p:cNvPr id="10" name="Picture 9">
            <a:extLst>
              <a:ext uri="{FF2B5EF4-FFF2-40B4-BE49-F238E27FC236}">
                <a16:creationId xmlns:a16="http://schemas.microsoft.com/office/drawing/2014/main" id="{EDE9F823-D9C0-AC92-4862-BADAFAB6F15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670491" y="2019300"/>
            <a:ext cx="4271153" cy="982163"/>
          </a:xfrm>
          <a:prstGeom prst="rect">
            <a:avLst/>
          </a:prstGeom>
        </p:spPr>
      </p:pic>
      <p:sp>
        <p:nvSpPr>
          <p:cNvPr id="13" name="Footer Placeholder 11">
            <a:extLst>
              <a:ext uri="{FF2B5EF4-FFF2-40B4-BE49-F238E27FC236}">
                <a16:creationId xmlns:a16="http://schemas.microsoft.com/office/drawing/2014/main" id="{4E51C38D-9EC7-8FD9-6FD5-46ECB3BFCA62}"/>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265838624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0B05F25C-F664-1802-3BD2-312548B7ED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5" name="think-cell data - do not delete" hidden="1">
                        <a:extLst>
                          <a:ext uri="{FF2B5EF4-FFF2-40B4-BE49-F238E27FC236}">
                            <a16:creationId xmlns:a16="http://schemas.microsoft.com/office/drawing/2014/main" id="{0B05F25C-F664-1802-3BD2-312548B7ED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B82BCC-670C-306E-0059-2C40960DC7E5}"/>
              </a:ext>
            </a:extLst>
          </p:cNvPr>
          <p:cNvSpPr>
            <a:spLocks noGrp="1"/>
          </p:cNvSpPr>
          <p:nvPr>
            <p:ph type="title"/>
          </p:nvPr>
        </p:nvSpPr>
        <p:spPr>
          <a:xfrm>
            <a:off x="228000" y="276311"/>
            <a:ext cx="11736000" cy="853200"/>
          </a:xfrm>
        </p:spPr>
        <p:txBody>
          <a:bodyPr vert="horz"/>
          <a:lstStyle/>
          <a:p>
            <a:r>
              <a:rPr lang="en-US" dirty="0"/>
              <a:t>Kollicoat</a:t>
            </a:r>
            <a:r>
              <a:rPr lang="en-US" baseline="30000" dirty="0"/>
              <a:t>®</a:t>
            </a:r>
            <a:r>
              <a:rPr lang="en-US" dirty="0"/>
              <a:t> Smartseal </a:t>
            </a:r>
            <a:r>
              <a:rPr lang="en-US" sz="2800" dirty="0"/>
              <a:t>Formulation: Plasticizer</a:t>
            </a:r>
            <a:endParaRPr lang="en-US" dirty="0"/>
          </a:p>
        </p:txBody>
      </p:sp>
      <p:sp>
        <p:nvSpPr>
          <p:cNvPr id="3" name="Text Placeholder 2">
            <a:extLst>
              <a:ext uri="{FF2B5EF4-FFF2-40B4-BE49-F238E27FC236}">
                <a16:creationId xmlns:a16="http://schemas.microsoft.com/office/drawing/2014/main" id="{DC64EEB9-5484-1A54-D070-80232EF6824C}"/>
              </a:ext>
            </a:extLst>
          </p:cNvPr>
          <p:cNvSpPr>
            <a:spLocks noGrp="1"/>
          </p:cNvSpPr>
          <p:nvPr>
            <p:ph type="body" idx="1"/>
          </p:nvPr>
        </p:nvSpPr>
        <p:spPr>
          <a:xfrm>
            <a:off x="171114" y="4338311"/>
            <a:ext cx="11832972" cy="1099566"/>
          </a:xfrm>
        </p:spPr>
        <p:txBody>
          <a:bodyPr/>
          <a:lstStyle/>
          <a:p>
            <a:r>
              <a:rPr lang="en-US" sz="2000" dirty="0">
                <a:latin typeface="Arial" pitchFamily="34" charset="0"/>
                <a:cs typeface="Arial" pitchFamily="34" charset="0"/>
              </a:rPr>
              <a:t>Latex dispersions are sensitive systems stabilized by tailored surfactant solutions. </a:t>
            </a:r>
          </a:p>
          <a:p>
            <a:r>
              <a:rPr lang="en-US" sz="2000" dirty="0">
                <a:latin typeface="Arial" pitchFamily="34" charset="0"/>
                <a:cs typeface="Arial" pitchFamily="34" charset="0"/>
              </a:rPr>
              <a:t>They create a dedicated surface charge, separating the particles from each other, thus overcoming the risk of coagulation. </a:t>
            </a:r>
          </a:p>
          <a:p>
            <a:r>
              <a:rPr lang="en-US" sz="2000" dirty="0">
                <a:latin typeface="Arial" pitchFamily="34" charset="0"/>
                <a:cs typeface="Arial" pitchFamily="34" charset="0"/>
              </a:rPr>
              <a:t>Whether a system is thermodynamically stable can be described by zeta-potential which in turn can be determined by means of mobility measuring. </a:t>
            </a:r>
          </a:p>
          <a:p>
            <a:endParaRPr lang="en-US" dirty="0"/>
          </a:p>
        </p:txBody>
      </p:sp>
      <p:sp>
        <p:nvSpPr>
          <p:cNvPr id="5" name="Slide Number Placeholder 4">
            <a:extLst>
              <a:ext uri="{FF2B5EF4-FFF2-40B4-BE49-F238E27FC236}">
                <a16:creationId xmlns:a16="http://schemas.microsoft.com/office/drawing/2014/main" id="{F240D059-77F8-EE6B-FED3-3C1AC593131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88</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6" name="Textfeld 11">
            <a:extLst>
              <a:ext uri="{FF2B5EF4-FFF2-40B4-BE49-F238E27FC236}">
                <a16:creationId xmlns:a16="http://schemas.microsoft.com/office/drawing/2014/main" id="{325A8E0A-14D2-3F4C-079F-73FA7EAEBEE3}"/>
              </a:ext>
            </a:extLst>
          </p:cNvPr>
          <p:cNvSpPr txBox="1"/>
          <p:nvPr/>
        </p:nvSpPr>
        <p:spPr>
          <a:xfrm>
            <a:off x="227494" y="1294050"/>
            <a:ext cx="6079404" cy="2879722"/>
          </a:xfrm>
          <a:prstGeom prst="rect">
            <a:avLst/>
          </a:prstGeom>
          <a:noFill/>
          <a:ln w="25400">
            <a:solidFill>
              <a:schemeClr val="accent1"/>
            </a:solidFill>
          </a:ln>
        </p:spPr>
        <p:txBody>
          <a:bodyPr wrap="square" rtlCol="0">
            <a:noAutofit/>
          </a:bodyPr>
          <a:lstStyle>
            <a:defPPr lvl="0">
              <a:defRPr lang="de-DE"/>
            </a:defPPr>
            <a:lvl1pPr marL="108000">
              <a:defRPr sz="1600">
                <a:latin typeface="Arial" pitchFamily="34" charset="0"/>
                <a:cs typeface="Arial" pitchFamily="34" charset="0"/>
              </a:defRPr>
            </a:lvl1pPr>
          </a:lstStyle>
          <a:p>
            <a:pPr algn="ctr"/>
            <a:r>
              <a:rPr lang="en-US" sz="1800" dirty="0"/>
              <a:t>pH-value change of the plasticized dispersion (over 48 h)</a:t>
            </a:r>
          </a:p>
        </p:txBody>
      </p:sp>
      <p:graphicFrame>
        <p:nvGraphicFramePr>
          <p:cNvPr id="7" name="Diagramm 9">
            <a:extLst>
              <a:ext uri="{FF2B5EF4-FFF2-40B4-BE49-F238E27FC236}">
                <a16:creationId xmlns:a16="http://schemas.microsoft.com/office/drawing/2014/main" id="{C3D0C15A-9D68-9EEB-00AC-4D1AB36EAE80}"/>
              </a:ext>
            </a:extLst>
          </p:cNvPr>
          <p:cNvGraphicFramePr/>
          <p:nvPr/>
        </p:nvGraphicFramePr>
        <p:xfrm>
          <a:off x="226800" y="1449739"/>
          <a:ext cx="5696244" cy="2879722"/>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feld 11">
            <a:extLst>
              <a:ext uri="{FF2B5EF4-FFF2-40B4-BE49-F238E27FC236}">
                <a16:creationId xmlns:a16="http://schemas.microsoft.com/office/drawing/2014/main" id="{4D8EC735-AD68-4D5D-33DE-F17786C1ABD9}"/>
              </a:ext>
            </a:extLst>
          </p:cNvPr>
          <p:cNvSpPr txBox="1"/>
          <p:nvPr/>
        </p:nvSpPr>
        <p:spPr>
          <a:xfrm>
            <a:off x="6423275" y="1294050"/>
            <a:ext cx="2977463" cy="2878452"/>
          </a:xfrm>
          <a:prstGeom prst="rect">
            <a:avLst/>
          </a:prstGeom>
          <a:noFill/>
          <a:ln w="25400">
            <a:solidFill>
              <a:schemeClr val="accent1"/>
            </a:solidFill>
          </a:ln>
        </p:spPr>
        <p:txBody>
          <a:bodyPr wrap="square" rtlCol="0">
            <a:noAutofit/>
          </a:bodyPr>
          <a:lstStyle>
            <a:defPPr lvl="0">
              <a:defRPr lang="de-DE"/>
            </a:defPPr>
            <a:lvl1pPr marL="108000">
              <a:defRPr sz="1600">
                <a:latin typeface="Arial" pitchFamily="34" charset="0"/>
                <a:cs typeface="Arial" pitchFamily="34" charset="0"/>
              </a:defRPr>
            </a:lvl1pPr>
          </a:lstStyle>
          <a:p>
            <a:pPr algn="ctr"/>
            <a:r>
              <a:rPr lang="en-US" sz="1800" dirty="0"/>
              <a:t>Henry’s equation</a:t>
            </a:r>
          </a:p>
        </p:txBody>
      </p:sp>
      <mc:AlternateContent xmlns:mc="http://schemas.openxmlformats.org/markup-compatibility/2006" xmlns:a14="http://schemas.microsoft.com/office/drawing/2010/main">
        <mc:Choice Requires="a14">
          <p:sp>
            <p:nvSpPr>
              <p:cNvPr id="9" name="Rechteck 15">
                <a:extLst>
                  <a:ext uri="{FF2B5EF4-FFF2-40B4-BE49-F238E27FC236}">
                    <a16:creationId xmlns:a16="http://schemas.microsoft.com/office/drawing/2014/main" id="{2C88633B-F5FB-039F-D3D7-BC976170A291}"/>
                  </a:ext>
                </a:extLst>
              </p:cNvPr>
              <p:cNvSpPr/>
              <p:nvPr/>
            </p:nvSpPr>
            <p:spPr>
              <a:xfrm>
                <a:off x="6435125" y="1767492"/>
                <a:ext cx="2977463" cy="676724"/>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i="1">
                              <a:latin typeface="Cambria Math"/>
                            </a:rPr>
                            <m:t>𝜇</m:t>
                          </m:r>
                        </m:e>
                        <m:sub>
                          <m:r>
                            <a:rPr lang="en-US" i="1">
                              <a:latin typeface="Cambria Math"/>
                            </a:rPr>
                            <m:t>𝑒</m:t>
                          </m:r>
                        </m:sub>
                      </m:sSub>
                      <m:r>
                        <a:rPr lang="en-US" i="1">
                          <a:latin typeface="Cambria Math"/>
                        </a:rPr>
                        <m:t>=</m:t>
                      </m:r>
                      <m:f>
                        <m:fPr>
                          <m:ctrlPr>
                            <a:rPr lang="en-US" i="1">
                              <a:latin typeface="Cambria Math" panose="02040503050406030204" pitchFamily="18" charset="0"/>
                            </a:rPr>
                          </m:ctrlPr>
                        </m:fPr>
                        <m:num>
                          <m:r>
                            <a:rPr lang="en-US" i="1">
                              <a:latin typeface="Cambria Math"/>
                            </a:rPr>
                            <m:t>𝜀</m:t>
                          </m:r>
                          <m:r>
                            <a:rPr lang="en-US" i="1">
                              <a:latin typeface="Cambria Math"/>
                            </a:rPr>
                            <m:t>∙</m:t>
                          </m:r>
                          <m:r>
                            <a:rPr lang="en-US" i="1">
                              <a:latin typeface="Cambria Math"/>
                            </a:rPr>
                            <m:t>𝑓</m:t>
                          </m:r>
                          <m:d>
                            <m:dPr>
                              <m:ctrlPr>
                                <a:rPr lang="en-US" i="1">
                                  <a:latin typeface="Cambria Math" panose="02040503050406030204" pitchFamily="18" charset="0"/>
                                </a:rPr>
                              </m:ctrlPr>
                            </m:dPr>
                            <m:e>
                              <m:r>
                                <a:rPr lang="en-US" i="1">
                                  <a:latin typeface="Cambria Math"/>
                                </a:rPr>
                                <m:t>𝜅𝛼</m:t>
                              </m:r>
                            </m:e>
                          </m:d>
                          <m:r>
                            <a:rPr lang="en-US" i="1">
                              <a:latin typeface="Cambria Math"/>
                            </a:rPr>
                            <m:t>∙</m:t>
                          </m:r>
                          <m:r>
                            <a:rPr lang="en-US" i="1">
                              <a:latin typeface="Cambria Math"/>
                            </a:rPr>
                            <m:t>𝜁</m:t>
                          </m:r>
                        </m:num>
                        <m:den>
                          <m:r>
                            <a:rPr lang="en-US" i="1">
                              <a:latin typeface="Cambria Math"/>
                            </a:rPr>
                            <m:t>6∙</m:t>
                          </m:r>
                          <m:r>
                            <a:rPr lang="en-US" i="1">
                              <a:latin typeface="Cambria Math"/>
                            </a:rPr>
                            <m:t>𝜋</m:t>
                          </m:r>
                          <m:r>
                            <a:rPr lang="en-US" i="1">
                              <a:latin typeface="Cambria Math"/>
                            </a:rPr>
                            <m:t>∙</m:t>
                          </m:r>
                          <m:r>
                            <a:rPr lang="en-US" i="1">
                              <a:latin typeface="Cambria Math"/>
                            </a:rPr>
                            <m:t>𝜂</m:t>
                          </m:r>
                        </m:den>
                      </m:f>
                    </m:oMath>
                  </m:oMathPara>
                </a14:m>
                <a:endParaRPr lang="en-US" dirty="0"/>
              </a:p>
            </p:txBody>
          </p:sp>
        </mc:Choice>
        <mc:Fallback xmlns="">
          <p:sp>
            <p:nvSpPr>
              <p:cNvPr id="9" name="Rechteck 15">
                <a:extLst>
                  <a:ext uri="{FF2B5EF4-FFF2-40B4-BE49-F238E27FC236}">
                    <a16:creationId xmlns:a16="http://schemas.microsoft.com/office/drawing/2014/main" id="{2C88633B-F5FB-039F-D3D7-BC976170A291}"/>
                  </a:ext>
                </a:extLst>
              </p:cNvPr>
              <p:cNvSpPr>
                <a:spLocks noRot="1" noChangeAspect="1" noMove="1" noResize="1" noEditPoints="1" noAdjustHandles="1" noChangeArrowheads="1" noChangeShapeType="1" noTextEdit="1"/>
              </p:cNvSpPr>
              <p:nvPr/>
            </p:nvSpPr>
            <p:spPr>
              <a:xfrm>
                <a:off x="6435125" y="1767492"/>
                <a:ext cx="2977463" cy="676724"/>
              </a:xfrm>
              <a:prstGeom prst="rect">
                <a:avLst/>
              </a:prstGeom>
              <a:blipFill>
                <a:blip r:embed="rId7"/>
                <a:stretch>
                  <a:fillRect/>
                </a:stretch>
              </a:blipFill>
            </p:spPr>
            <p:txBody>
              <a:bodyPr/>
              <a:lstStyle/>
              <a:p>
                <a:r>
                  <a:rPr lang="en-US">
                    <a:noFill/>
                  </a:rPr>
                  <a:t> </a:t>
                </a:r>
              </a:p>
            </p:txBody>
          </p:sp>
        </mc:Fallback>
      </mc:AlternateContent>
      <p:sp>
        <p:nvSpPr>
          <p:cNvPr id="10" name="Rechteck 16">
            <a:extLst>
              <a:ext uri="{FF2B5EF4-FFF2-40B4-BE49-F238E27FC236}">
                <a16:creationId xmlns:a16="http://schemas.microsoft.com/office/drawing/2014/main" id="{BC7E7CE3-8A09-28AD-C75F-224F993EA3BA}"/>
              </a:ext>
            </a:extLst>
          </p:cNvPr>
          <p:cNvSpPr/>
          <p:nvPr/>
        </p:nvSpPr>
        <p:spPr>
          <a:xfrm>
            <a:off x="6435125" y="2419701"/>
            <a:ext cx="2897052" cy="1708160"/>
          </a:xfrm>
          <a:prstGeom prst="rect">
            <a:avLst/>
          </a:prstGeom>
        </p:spPr>
        <p:txBody>
          <a:bodyPr wrap="square">
            <a:spAutoFit/>
          </a:bodyPr>
          <a:lstStyle/>
          <a:p>
            <a:pPr>
              <a:lnSpc>
                <a:spcPct val="150000"/>
              </a:lnSpc>
              <a:tabLst>
                <a:tab pos="2690813" algn="r"/>
              </a:tabLst>
            </a:pPr>
            <a:r>
              <a:rPr lang="en-US" sz="1400" dirty="0"/>
              <a:t>electrophoretic mobility	µ</a:t>
            </a:r>
            <a:r>
              <a:rPr lang="en-US" sz="1400" baseline="-25000" dirty="0"/>
              <a:t>e</a:t>
            </a:r>
            <a:endParaRPr lang="en-US" sz="1400" dirty="0"/>
          </a:p>
          <a:p>
            <a:pPr>
              <a:lnSpc>
                <a:spcPct val="150000"/>
              </a:lnSpc>
              <a:tabLst>
                <a:tab pos="2690813" algn="r"/>
              </a:tabLst>
            </a:pPr>
            <a:r>
              <a:rPr lang="en-US" sz="1400" dirty="0"/>
              <a:t>dielectric constant	</a:t>
            </a:r>
            <a:r>
              <a:rPr lang="en-US" sz="1400" dirty="0">
                <a:latin typeface="Symbol" pitchFamily="18" charset="2"/>
              </a:rPr>
              <a:t></a:t>
            </a:r>
            <a:endParaRPr lang="en-US" sz="1400" dirty="0"/>
          </a:p>
          <a:p>
            <a:pPr>
              <a:lnSpc>
                <a:spcPct val="150000"/>
              </a:lnSpc>
              <a:tabLst>
                <a:tab pos="2690813" algn="r"/>
              </a:tabLst>
            </a:pPr>
            <a:r>
              <a:rPr lang="en-US" sz="1400" dirty="0"/>
              <a:t>Henry’s function 	f(</a:t>
            </a:r>
            <a:r>
              <a:rPr lang="en-US" sz="1400" dirty="0">
                <a:latin typeface="Symbol" pitchFamily="18" charset="2"/>
              </a:rPr>
              <a:t></a:t>
            </a:r>
            <a:r>
              <a:rPr lang="en-US" sz="1400" dirty="0"/>
              <a:t>)</a:t>
            </a:r>
          </a:p>
          <a:p>
            <a:pPr>
              <a:lnSpc>
                <a:spcPct val="150000"/>
              </a:lnSpc>
              <a:tabLst>
                <a:tab pos="2690813" algn="r"/>
              </a:tabLst>
            </a:pPr>
            <a:r>
              <a:rPr lang="en-US" sz="1400" dirty="0"/>
              <a:t>zeta-potential	</a:t>
            </a:r>
            <a:r>
              <a:rPr lang="en-US" sz="1400" dirty="0">
                <a:latin typeface="Symbol" pitchFamily="18" charset="2"/>
              </a:rPr>
              <a:t></a:t>
            </a:r>
            <a:endParaRPr lang="en-US" sz="1400" dirty="0"/>
          </a:p>
          <a:p>
            <a:pPr>
              <a:lnSpc>
                <a:spcPct val="150000"/>
              </a:lnSpc>
              <a:tabLst>
                <a:tab pos="2690813" algn="r"/>
              </a:tabLst>
            </a:pPr>
            <a:r>
              <a:rPr lang="en-US" sz="1400" dirty="0"/>
              <a:t>dynamic viscosity	</a:t>
            </a:r>
            <a:r>
              <a:rPr lang="en-US" sz="1400" dirty="0">
                <a:latin typeface="Symbol" pitchFamily="18" charset="2"/>
              </a:rPr>
              <a:t></a:t>
            </a:r>
            <a:endParaRPr lang="en-US" sz="1400" dirty="0"/>
          </a:p>
        </p:txBody>
      </p:sp>
      <p:pic>
        <p:nvPicPr>
          <p:cNvPr id="12" name="Picture 3">
            <a:extLst>
              <a:ext uri="{FF2B5EF4-FFF2-40B4-BE49-F238E27FC236}">
                <a16:creationId xmlns:a16="http://schemas.microsoft.com/office/drawing/2014/main" id="{58AF4F79-C9AD-FD4F-38E9-342432EC028C}"/>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9517115" y="1294050"/>
            <a:ext cx="2486971" cy="2487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13">
            <a:extLst>
              <a:ext uri="{FF2B5EF4-FFF2-40B4-BE49-F238E27FC236}">
                <a16:creationId xmlns:a16="http://schemas.microsoft.com/office/drawing/2014/main" id="{68C1FB1B-7BFA-0BC3-9E3B-82F752DEDFB5}"/>
              </a:ext>
            </a:extLst>
          </p:cNvPr>
          <p:cNvSpPr txBox="1"/>
          <p:nvPr/>
        </p:nvSpPr>
        <p:spPr>
          <a:xfrm>
            <a:off x="9586553" y="3793741"/>
            <a:ext cx="2377447" cy="461665"/>
          </a:xfrm>
          <a:prstGeom prst="rect">
            <a:avLst/>
          </a:prstGeom>
          <a:noFill/>
        </p:spPr>
        <p:txBody>
          <a:bodyPr wrap="square">
            <a:spAutoFit/>
          </a:bodyPr>
          <a:lstStyle/>
          <a:p>
            <a:pPr algn="ctr"/>
            <a:r>
              <a:rPr lang="en-US" sz="1200" dirty="0"/>
              <a:t>Coagulated Kollicoat</a:t>
            </a:r>
            <a:r>
              <a:rPr kumimoji="0" lang="en-US" sz="1200" b="0" i="0" u="none" strike="noStrike" kern="1200" cap="none" spc="0" normalizeH="0" baseline="30000" noProof="0" dirty="0">
                <a:ln>
                  <a:noFill/>
                </a:ln>
                <a:effectLst/>
                <a:uLnTx/>
                <a:uFillTx/>
                <a:latin typeface="Arial" panose="020B0604020202020204" pitchFamily="34" charset="0"/>
                <a:cs typeface="Arial"/>
              </a:rPr>
              <a:t>® </a:t>
            </a:r>
            <a:r>
              <a:rPr lang="en-US" sz="1200" dirty="0"/>
              <a:t>Smartseal dispersion containing TEC </a:t>
            </a:r>
          </a:p>
        </p:txBody>
      </p:sp>
      <p:sp>
        <p:nvSpPr>
          <p:cNvPr id="17" name="Footer Placeholder 11">
            <a:extLst>
              <a:ext uri="{FF2B5EF4-FFF2-40B4-BE49-F238E27FC236}">
                <a16:creationId xmlns:a16="http://schemas.microsoft.com/office/drawing/2014/main" id="{CE4BD9BE-20E6-C473-0C73-CE0BB5225F1A}"/>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385526841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8CD5BD9-258C-98FB-B3E0-7C8799148A69}"/>
              </a:ext>
            </a:extLst>
          </p:cNvPr>
          <p:cNvGraphicFramePr>
            <a:graphicFrameLocks noChangeAspect="1"/>
          </p:cNvGraphicFramePr>
          <p:nvPr>
            <p:custDataLst>
              <p:tags r:id="rId1"/>
            </p:custDataLst>
            <p:extLst>
              <p:ext uri="{D42A27DB-BD31-4B8C-83A1-F6EECF244321}">
                <p14:modId xmlns:p14="http://schemas.microsoft.com/office/powerpoint/2010/main" val="3173048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1" progId="TCLayout.ActiveDocument.1">
                  <p:embed/>
                </p:oleObj>
              </mc:Choice>
              <mc:Fallback>
                <p:oleObj name="think-cell Slide" r:id="rId4" imgW="231" imgH="231" progId="TCLayout.ActiveDocument.1">
                  <p:embed/>
                  <p:pic>
                    <p:nvPicPr>
                      <p:cNvPr id="6" name="think-cell data - do not delete" hidden="1">
                        <a:extLst>
                          <a:ext uri="{FF2B5EF4-FFF2-40B4-BE49-F238E27FC236}">
                            <a16:creationId xmlns:a16="http://schemas.microsoft.com/office/drawing/2014/main" id="{B8CD5BD9-258C-98FB-B3E0-7C8799148A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2776314-0EBD-6C38-FCC9-2AEFB18E4B0C}"/>
              </a:ext>
            </a:extLst>
          </p:cNvPr>
          <p:cNvSpPr>
            <a:spLocks noGrp="1"/>
          </p:cNvSpPr>
          <p:nvPr>
            <p:ph type="title"/>
          </p:nvPr>
        </p:nvSpPr>
        <p:spPr>
          <a:xfrm>
            <a:off x="4734450" y="2728200"/>
            <a:ext cx="2345390" cy="853200"/>
          </a:xfrm>
        </p:spPr>
        <p:txBody>
          <a:bodyPr vert="horz"/>
          <a:lstStyle/>
          <a:p>
            <a:r>
              <a:rPr lang="en-US" dirty="0"/>
              <a:t>Formulary</a:t>
            </a:r>
          </a:p>
        </p:txBody>
      </p:sp>
      <p:sp>
        <p:nvSpPr>
          <p:cNvPr id="5" name="Slide Number Placeholder 4">
            <a:extLst>
              <a:ext uri="{FF2B5EF4-FFF2-40B4-BE49-F238E27FC236}">
                <a16:creationId xmlns:a16="http://schemas.microsoft.com/office/drawing/2014/main" id="{E2CBF5CA-9FDF-6E41-0BF2-59EB9E81BFA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89</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9426013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FC3E388-BC3B-46A2-8D1B-4107F7F5C0E2}"/>
              </a:ext>
            </a:extLst>
          </p:cNvPr>
          <p:cNvGraphicFramePr>
            <a:graphicFrameLocks noChangeAspect="1"/>
          </p:cNvGraphicFramePr>
          <p:nvPr>
            <p:custDataLst>
              <p:tags r:id="rId1"/>
            </p:custDataLst>
            <p:extLst>
              <p:ext uri="{D42A27DB-BD31-4B8C-83A1-F6EECF244321}">
                <p14:modId xmlns:p14="http://schemas.microsoft.com/office/powerpoint/2010/main" val="2821674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a:extLst>
                          <a:ext uri="{FF2B5EF4-FFF2-40B4-BE49-F238E27FC236}">
                            <a16:creationId xmlns:a16="http://schemas.microsoft.com/office/drawing/2014/main" id="{CFC3E388-BC3B-46A2-8D1B-4107F7F5C0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en-US" sz="2800" dirty="0"/>
              <a:t>Kollicoat</a:t>
            </a:r>
            <a:r>
              <a:rPr lang="en-US" sz="2800" baseline="30000" dirty="0"/>
              <a:t>®</a:t>
            </a:r>
            <a:r>
              <a:rPr lang="en-US" sz="1800" dirty="0">
                <a:effectLst/>
                <a:latin typeface="Segoe UI" panose="020B0502040204020203" pitchFamily="34" charset="0"/>
              </a:rPr>
              <a:t>: </a:t>
            </a:r>
            <a:r>
              <a:rPr lang="en-US" dirty="0"/>
              <a:t>The </a:t>
            </a:r>
            <a:r>
              <a:rPr lang="en-US" sz="2800" dirty="0"/>
              <a:t>BASF Coating Polymers</a:t>
            </a:r>
            <a:endParaRPr lang="en-US" dirty="0"/>
          </a:p>
        </p:txBody>
      </p:sp>
      <p:sp>
        <p:nvSpPr>
          <p:cNvPr id="3" name="Slide Number Placeholder 2">
            <a:extLst>
              <a:ext uri="{FF2B5EF4-FFF2-40B4-BE49-F238E27FC236}">
                <a16:creationId xmlns:a16="http://schemas.microsoft.com/office/drawing/2014/main" id="{78F0DD7B-EA80-DBF9-31C3-1CFF228F1B66}"/>
              </a:ext>
            </a:extLst>
          </p:cNvPr>
          <p:cNvSpPr>
            <a:spLocks noGrp="1"/>
          </p:cNvSpPr>
          <p:nvPr>
            <p:ph type="sldNum" sz="quarter" idx="4"/>
          </p:nvPr>
        </p:nvSpPr>
        <p:spPr>
          <a:xfrm>
            <a:off x="300225" y="6604589"/>
            <a:ext cx="384267" cy="151200"/>
          </a:xfrm>
          <a:prstGeom prst="rect">
            <a:avLst/>
          </a:prstGeom>
        </p:spPr>
        <p:txBody>
          <a:bodyPr lIns="0" tIns="0" rIns="0" bIns="0"/>
          <a:lstStyle>
            <a:defPPr>
              <a:defRPr lang="de-DE"/>
            </a:defPPr>
            <a:lvl1pPr marL="0" algn="l" defTabSz="914400" rtl="0" eaLnBrk="1" latinLnBrk="0" hangingPunct="1">
              <a:defRPr sz="506"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2EA1D04-CA53-4DE3-84A8-2B63E41036C9}" type="slidenum">
              <a:rPr lang="en-US" sz="900" smtClean="0"/>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800" b="1" i="0" u="none" strike="noStrike" kern="1200" cap="none" spc="0" normalizeH="0" baseline="0" noProof="0" dirty="0">
              <a:ln>
                <a:noFill/>
              </a:ln>
              <a:solidFill>
                <a:srgbClr val="000000"/>
              </a:solidFill>
              <a:effectLst/>
              <a:uLnTx/>
              <a:uFillTx/>
              <a:latin typeface="Arial"/>
              <a:cs typeface="Arial"/>
            </a:endParaRPr>
          </a:p>
        </p:txBody>
      </p:sp>
      <p:sp>
        <p:nvSpPr>
          <p:cNvPr id="5" name="Footer Placeholder 39">
            <a:extLst>
              <a:ext uri="{FF2B5EF4-FFF2-40B4-BE49-F238E27FC236}">
                <a16:creationId xmlns:a16="http://schemas.microsoft.com/office/drawing/2014/main" id="{98E4CF62-60F4-DB8A-0168-C54639DF8A41}"/>
              </a:ext>
            </a:extLst>
          </p:cNvPr>
          <p:cNvSpPr>
            <a:spLocks noGrp="1"/>
          </p:cNvSpPr>
          <p:nvPr>
            <p:ph type="ftr" sz="quarter" idx="3"/>
          </p:nvPr>
        </p:nvSpPr>
        <p:spPr>
          <a:xfrm>
            <a:off x="1441361" y="6611983"/>
            <a:ext cx="3364707" cy="167933"/>
          </a:xfrm>
          <a:prstGeom prst="rect">
            <a:avLst/>
          </a:prstGeom>
        </p:spPr>
        <p:txBody>
          <a:bodyPr lIns="0" tIns="0" rIns="0" bIns="0"/>
          <a:lstStyle>
            <a:defPPr>
              <a:defRPr lang="de-DE"/>
            </a:defPPr>
            <a:lvl1pPr marL="0" algn="l" defTabSz="914400" rtl="0" eaLnBrk="1" latinLnBrk="0" hangingPunct="1">
              <a:defRPr sz="506" kern="120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grpSp>
        <p:nvGrpSpPr>
          <p:cNvPr id="12" name="Group 11">
            <a:extLst>
              <a:ext uri="{FF2B5EF4-FFF2-40B4-BE49-F238E27FC236}">
                <a16:creationId xmlns:a16="http://schemas.microsoft.com/office/drawing/2014/main" id="{177C1453-0A84-698F-9F4D-44D0508E4189}"/>
              </a:ext>
            </a:extLst>
          </p:cNvPr>
          <p:cNvGrpSpPr/>
          <p:nvPr/>
        </p:nvGrpSpPr>
        <p:grpSpPr>
          <a:xfrm>
            <a:off x="1955900" y="886547"/>
            <a:ext cx="8263400" cy="5075672"/>
            <a:chOff x="1965470" y="891164"/>
            <a:chExt cx="8263400" cy="5075672"/>
          </a:xfrm>
        </p:grpSpPr>
        <p:pic>
          <p:nvPicPr>
            <p:cNvPr id="9" name="Picture 5"/>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4403811" y="891164"/>
              <a:ext cx="3659430" cy="50756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7"/>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flipH="1">
              <a:off x="2029784" y="3282523"/>
              <a:ext cx="2274672" cy="268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4"/>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8162597" y="3282523"/>
              <a:ext cx="1982819" cy="268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hteck 13"/>
            <p:cNvSpPr/>
            <p:nvPr/>
          </p:nvSpPr>
          <p:spPr>
            <a:xfrm>
              <a:off x="2029784" y="3312574"/>
              <a:ext cx="1689886"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Instant Release</a:t>
              </a:r>
            </a:p>
          </p:txBody>
        </p:sp>
        <p:sp>
          <p:nvSpPr>
            <p:cNvPr id="15" name="Rechteck 14"/>
            <p:cNvSpPr/>
            <p:nvPr/>
          </p:nvSpPr>
          <p:spPr>
            <a:xfrm>
              <a:off x="2029784" y="4226520"/>
              <a:ext cx="1725152"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Gastric Release</a:t>
              </a:r>
              <a:b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n-US" sz="16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H triggered)</a:t>
              </a:r>
            </a:p>
          </p:txBody>
        </p:sp>
        <p:sp>
          <p:nvSpPr>
            <p:cNvPr id="16" name="Rechteck 15"/>
            <p:cNvSpPr/>
            <p:nvPr/>
          </p:nvSpPr>
          <p:spPr>
            <a:xfrm>
              <a:off x="2048100" y="5119371"/>
              <a:ext cx="1770036"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nteric Release </a:t>
              </a:r>
              <a:b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n-US" sz="16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H triggered)</a:t>
              </a:r>
            </a:p>
          </p:txBody>
        </p:sp>
        <p:sp>
          <p:nvSpPr>
            <p:cNvPr id="17" name="Rechteck 16"/>
            <p:cNvSpPr/>
            <p:nvPr/>
          </p:nvSpPr>
          <p:spPr>
            <a:xfrm>
              <a:off x="8162597" y="3340501"/>
              <a:ext cx="1982818"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ustained Release</a:t>
              </a:r>
            </a:p>
          </p:txBody>
        </p:sp>
        <p:sp>
          <p:nvSpPr>
            <p:cNvPr id="19" name="Rechteck 18"/>
            <p:cNvSpPr/>
            <p:nvPr/>
          </p:nvSpPr>
          <p:spPr>
            <a:xfrm>
              <a:off x="4176675" y="1277113"/>
              <a:ext cx="757124" cy="848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cs typeface="Arial"/>
              </a:endParaRPr>
            </a:p>
          </p:txBody>
        </p:sp>
        <p:sp>
          <p:nvSpPr>
            <p:cNvPr id="7" name="TextBox 6">
              <a:extLst>
                <a:ext uri="{FF2B5EF4-FFF2-40B4-BE49-F238E27FC236}">
                  <a16:creationId xmlns:a16="http://schemas.microsoft.com/office/drawing/2014/main" id="{EF9331D0-C9C3-25B5-0B68-97C8935CC187}"/>
                </a:ext>
              </a:extLst>
            </p:cNvPr>
            <p:cNvSpPr txBox="1"/>
            <p:nvPr/>
          </p:nvSpPr>
          <p:spPr>
            <a:xfrm>
              <a:off x="1965470" y="3581247"/>
              <a:ext cx="1987593" cy="369332"/>
            </a:xfrm>
            <a:prstGeom prst="rect">
              <a:avLst/>
            </a:prstGeom>
            <a:noFill/>
          </p:spPr>
          <p:txBody>
            <a:bodyPr wrap="square">
              <a:spAutoFit/>
            </a:bodyPr>
            <a:lstStyle/>
            <a:p>
              <a:r>
                <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H </a:t>
              </a:r>
              <a:r>
                <a:rPr lang="en-US" dirty="0">
                  <a:solidFill>
                    <a:srgbClr val="FFFFFF"/>
                  </a:solidFill>
                  <a:latin typeface="Arial" panose="020B0604020202020204" pitchFamily="34" charset="0"/>
                  <a:cs typeface="Arial" panose="020B0604020202020204" pitchFamily="34" charset="0"/>
                </a:rPr>
                <a:t>independent</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t>
              </a:r>
              <a:endParaRPr lang="en-US" dirty="0"/>
            </a:p>
          </p:txBody>
        </p:sp>
        <p:sp>
          <p:nvSpPr>
            <p:cNvPr id="10" name="TextBox 9">
              <a:extLst>
                <a:ext uri="{FF2B5EF4-FFF2-40B4-BE49-F238E27FC236}">
                  <a16:creationId xmlns:a16="http://schemas.microsoft.com/office/drawing/2014/main" id="{D0FF58C5-D49E-FCB9-83C5-FA0EC192E460}"/>
                </a:ext>
              </a:extLst>
            </p:cNvPr>
            <p:cNvSpPr txBox="1"/>
            <p:nvPr/>
          </p:nvSpPr>
          <p:spPr>
            <a:xfrm>
              <a:off x="8146695" y="3581247"/>
              <a:ext cx="2082175" cy="369332"/>
            </a:xfrm>
            <a:prstGeom prst="rect">
              <a:avLst/>
            </a:prstGeom>
            <a:noFill/>
          </p:spPr>
          <p:txBody>
            <a:bodyPr wrap="square">
              <a:spAutoFit/>
            </a:bodyPr>
            <a:lstStyle/>
            <a:p>
              <a:r>
                <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H </a:t>
              </a:r>
              <a:r>
                <a:rPr lang="en-US" dirty="0">
                  <a:solidFill>
                    <a:srgbClr val="FFFFFF"/>
                  </a:solidFill>
                  <a:latin typeface="Arial" panose="020B0604020202020204" pitchFamily="34" charset="0"/>
                  <a:cs typeface="Arial" panose="020B0604020202020204" pitchFamily="34" charset="0"/>
                </a:rPr>
                <a:t>independent</a:t>
              </a:r>
              <a:r>
                <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t>
              </a:r>
              <a:endParaRPr lang="en-US" dirty="0"/>
            </a:p>
          </p:txBody>
        </p:sp>
      </p:grpSp>
      <p:sp>
        <p:nvSpPr>
          <p:cNvPr id="24" name="TextBox 23">
            <a:extLst>
              <a:ext uri="{FF2B5EF4-FFF2-40B4-BE49-F238E27FC236}">
                <a16:creationId xmlns:a16="http://schemas.microsoft.com/office/drawing/2014/main" id="{161E2F72-717C-2868-D714-F225345F946F}"/>
              </a:ext>
            </a:extLst>
          </p:cNvPr>
          <p:cNvSpPr txBox="1"/>
          <p:nvPr/>
        </p:nvSpPr>
        <p:spPr>
          <a:xfrm>
            <a:off x="428898" y="1432943"/>
            <a:ext cx="5111000" cy="1195199"/>
          </a:xfrm>
          <a:prstGeom prst="rect">
            <a:avLst/>
          </a:prstGeom>
          <a:noFill/>
        </p:spPr>
        <p:txBody>
          <a:bodyPr wrap="square" lIns="0" tIns="0" rIns="0" bIns="0" rtlCol="0">
            <a:spAutoFit/>
          </a:bodyPr>
          <a:lstStyle/>
          <a:p>
            <a:pPr>
              <a:lnSpc>
                <a:spcPct val="150000"/>
              </a:lnSpc>
            </a:pPr>
            <a:r>
              <a:rPr lang="en-US" dirty="0"/>
              <a:t>Kollicoat® line is a comprehensive portfolio, including polymers for instant release, gastric release, enteric release and sustained release. </a:t>
            </a:r>
            <a:endParaRPr lang="en-US" b="1" dirty="0"/>
          </a:p>
        </p:txBody>
      </p:sp>
    </p:spTree>
    <p:extLst>
      <p:ext uri="{BB962C8B-B14F-4D97-AF65-F5344CB8AC3E}">
        <p14:creationId xmlns:p14="http://schemas.microsoft.com/office/powerpoint/2010/main" val="85734475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6836FD7-1AC3-A2A6-0543-2524CA97B9FE}"/>
              </a:ext>
            </a:extLst>
          </p:cNvPr>
          <p:cNvGraphicFramePr>
            <a:graphicFrameLocks noChangeAspect="1"/>
          </p:cNvGraphicFramePr>
          <p:nvPr>
            <p:custDataLst>
              <p:tags r:id="rId1"/>
            </p:custDataLst>
            <p:extLst>
              <p:ext uri="{D42A27DB-BD31-4B8C-83A1-F6EECF244321}">
                <p14:modId xmlns:p14="http://schemas.microsoft.com/office/powerpoint/2010/main" val="2717827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7" name="Object 6" hidden="1">
                        <a:extLst>
                          <a:ext uri="{FF2B5EF4-FFF2-40B4-BE49-F238E27FC236}">
                            <a16:creationId xmlns:a16="http://schemas.microsoft.com/office/drawing/2014/main" id="{16836FD7-1AC3-A2A6-0543-2524CA97B9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91B3A6F6-8B61-4685-BB51-40A15C7273B9}"/>
              </a:ext>
            </a:extLst>
          </p:cNvPr>
          <p:cNvSpPr>
            <a:spLocks noGrp="1"/>
          </p:cNvSpPr>
          <p:nvPr>
            <p:ph type="title"/>
          </p:nvPr>
        </p:nvSpPr>
        <p:spPr/>
        <p:txBody>
          <a:bodyPr vert="horz"/>
          <a:lstStyle/>
          <a:p>
            <a:r>
              <a:rPr lang="en-US" sz="2800" dirty="0"/>
              <a:t>Formulary: Kollicoat</a:t>
            </a:r>
            <a:r>
              <a:rPr lang="en-US" sz="2800" baseline="30000" dirty="0"/>
              <a:t>®</a:t>
            </a:r>
            <a:r>
              <a:rPr lang="en-US" sz="2800" dirty="0"/>
              <a:t> Smartseal 30 DP</a:t>
            </a:r>
          </a:p>
        </p:txBody>
      </p:sp>
      <p:graphicFrame>
        <p:nvGraphicFramePr>
          <p:cNvPr id="5" name="Tabela 4">
            <a:extLst>
              <a:ext uri="{FF2B5EF4-FFF2-40B4-BE49-F238E27FC236}">
                <a16:creationId xmlns:a16="http://schemas.microsoft.com/office/drawing/2014/main" id="{4D4CA5EE-DBD0-445D-A1CC-6CC590E1A008}"/>
              </a:ext>
            </a:extLst>
          </p:cNvPr>
          <p:cNvGraphicFramePr>
            <a:graphicFrameLocks noGrp="1"/>
          </p:cNvGraphicFramePr>
          <p:nvPr>
            <p:extLst>
              <p:ext uri="{D42A27DB-BD31-4B8C-83A1-F6EECF244321}">
                <p14:modId xmlns:p14="http://schemas.microsoft.com/office/powerpoint/2010/main" val="44039836"/>
              </p:ext>
            </p:extLst>
          </p:nvPr>
        </p:nvGraphicFramePr>
        <p:xfrm>
          <a:off x="1186543" y="1703984"/>
          <a:ext cx="10276114" cy="3264927"/>
        </p:xfrm>
        <a:graphic>
          <a:graphicData uri="http://schemas.openxmlformats.org/drawingml/2006/table">
            <a:tbl>
              <a:tblPr>
                <a:tableStyleId>{5C22544A-7EE6-4342-B048-85BDC9FD1C3A}</a:tableStyleId>
              </a:tblPr>
              <a:tblGrid>
                <a:gridCol w="4524994">
                  <a:extLst>
                    <a:ext uri="{9D8B030D-6E8A-4147-A177-3AD203B41FA5}">
                      <a16:colId xmlns:a16="http://schemas.microsoft.com/office/drawing/2014/main" val="2785147893"/>
                    </a:ext>
                  </a:extLst>
                </a:gridCol>
                <a:gridCol w="1401288">
                  <a:extLst>
                    <a:ext uri="{9D8B030D-6E8A-4147-A177-3AD203B41FA5}">
                      <a16:colId xmlns:a16="http://schemas.microsoft.com/office/drawing/2014/main" val="1918756636"/>
                    </a:ext>
                  </a:extLst>
                </a:gridCol>
                <a:gridCol w="2923804">
                  <a:extLst>
                    <a:ext uri="{9D8B030D-6E8A-4147-A177-3AD203B41FA5}">
                      <a16:colId xmlns:a16="http://schemas.microsoft.com/office/drawing/2014/main" val="1631918100"/>
                    </a:ext>
                  </a:extLst>
                </a:gridCol>
                <a:gridCol w="1426028">
                  <a:extLst>
                    <a:ext uri="{9D8B030D-6E8A-4147-A177-3AD203B41FA5}">
                      <a16:colId xmlns:a16="http://schemas.microsoft.com/office/drawing/2014/main" val="3285745497"/>
                    </a:ext>
                  </a:extLst>
                </a:gridCol>
              </a:tblGrid>
              <a:tr h="842067">
                <a:tc>
                  <a:txBody>
                    <a:bodyPr/>
                    <a:lstStyle/>
                    <a:p>
                      <a:pPr algn="ctr" fontAlgn="ctr"/>
                      <a:r>
                        <a:rPr lang="en-US" sz="1800" b="1" u="none" strike="noStrike" dirty="0">
                          <a:solidFill>
                            <a:schemeClr val="bg1"/>
                          </a:solidFill>
                          <a:effectLst/>
                        </a:rPr>
                        <a:t>Material</a:t>
                      </a:r>
                      <a:endParaRPr lang="en-US" sz="1800" b="1" i="0" u="none" strike="noStrike" dirty="0">
                        <a:solidFill>
                          <a:schemeClr val="bg1"/>
                        </a:solidFill>
                        <a:effectLst/>
                        <a:latin typeface="Arial" panose="020B0604020202020204" pitchFamily="34" charset="0"/>
                      </a:endParaRPr>
                    </a:p>
                  </a:txBody>
                  <a:tcPr marL="7620" marR="7620" marT="7620" marB="0" anchor="ctr">
                    <a:solidFill>
                      <a:schemeClr val="accent1"/>
                    </a:solidFill>
                  </a:tcPr>
                </a:tc>
                <a:tc>
                  <a:txBody>
                    <a:bodyPr/>
                    <a:lstStyle/>
                    <a:p>
                      <a:pPr algn="ctr" fontAlgn="ctr"/>
                      <a:r>
                        <a:rPr lang="en-US" sz="1800" b="1" u="none" strike="noStrike" dirty="0">
                          <a:solidFill>
                            <a:schemeClr val="bg1"/>
                          </a:solidFill>
                          <a:effectLst/>
                        </a:rPr>
                        <a:t>%</a:t>
                      </a:r>
                      <a:endParaRPr lang="en-US" sz="1800" b="1" i="0" u="none" strike="noStrike" dirty="0">
                        <a:solidFill>
                          <a:schemeClr val="bg1"/>
                        </a:solidFill>
                        <a:effectLst/>
                        <a:latin typeface="Arial" panose="020B0604020202020204" pitchFamily="34" charset="0"/>
                      </a:endParaRPr>
                    </a:p>
                  </a:txBody>
                  <a:tcPr marL="7620" marR="7620" marT="7620" marB="0" anchor="ctr">
                    <a:solidFill>
                      <a:schemeClr val="accent1"/>
                    </a:solidFill>
                  </a:tcPr>
                </a:tc>
                <a:tc>
                  <a:txBody>
                    <a:bodyPr/>
                    <a:lstStyle/>
                    <a:p>
                      <a:pPr algn="ctr" fontAlgn="ctr"/>
                      <a:r>
                        <a:rPr lang="en-US" sz="1800" b="1" u="none" strike="noStrike" dirty="0">
                          <a:solidFill>
                            <a:schemeClr val="bg1"/>
                          </a:solidFill>
                          <a:effectLst/>
                        </a:rPr>
                        <a:t>Solid content (g)</a:t>
                      </a:r>
                      <a:endParaRPr lang="en-US" sz="1800" b="1" i="0" u="none" strike="noStrike" dirty="0">
                        <a:solidFill>
                          <a:schemeClr val="bg1"/>
                        </a:solidFill>
                        <a:effectLst/>
                        <a:latin typeface="Arial" panose="020B0604020202020204" pitchFamily="34" charset="0"/>
                      </a:endParaRPr>
                    </a:p>
                  </a:txBody>
                  <a:tcPr marL="7620" marR="7620" marT="7620" marB="0" anchor="ctr">
                    <a:solidFill>
                      <a:schemeClr val="accent1"/>
                    </a:solidFill>
                  </a:tcPr>
                </a:tc>
                <a:tc>
                  <a:txBody>
                    <a:bodyPr/>
                    <a:lstStyle/>
                    <a:p>
                      <a:pPr algn="ctr" fontAlgn="ctr"/>
                      <a:r>
                        <a:rPr lang="en-US" sz="1800" b="1" u="none" strike="noStrike" dirty="0">
                          <a:solidFill>
                            <a:schemeClr val="bg1"/>
                          </a:solidFill>
                          <a:effectLst/>
                        </a:rPr>
                        <a:t>% Solids</a:t>
                      </a:r>
                      <a:endParaRPr lang="en-US" sz="1800" b="1" i="0" u="none" strike="noStrike" dirty="0">
                        <a:solidFill>
                          <a:schemeClr val="bg1"/>
                        </a:solidFill>
                        <a:effectLst/>
                        <a:latin typeface="Arial" panose="020B0604020202020204" pitchFamily="34" charset="0"/>
                      </a:endParaRPr>
                    </a:p>
                  </a:txBody>
                  <a:tcPr marL="7620" marR="7620" marT="7620" marB="0" anchor="ctr">
                    <a:solidFill>
                      <a:schemeClr val="accent1"/>
                    </a:solidFill>
                  </a:tcPr>
                </a:tc>
                <a:extLst>
                  <a:ext uri="{0D108BD9-81ED-4DB2-BD59-A6C34878D82A}">
                    <a16:rowId xmlns:a16="http://schemas.microsoft.com/office/drawing/2014/main" val="423618467"/>
                  </a:ext>
                </a:extLst>
              </a:tr>
              <a:tr h="484572">
                <a:tc>
                  <a:txBody>
                    <a:bodyPr/>
                    <a:lstStyle/>
                    <a:p>
                      <a:pPr algn="r" fontAlgn="b"/>
                      <a:r>
                        <a:rPr lang="en-US" sz="1800" u="none" strike="noStrike" dirty="0">
                          <a:effectLst/>
                        </a:rPr>
                        <a:t>Kollicoat</a:t>
                      </a:r>
                      <a:r>
                        <a:rPr lang="en-US" sz="1800" u="none" strike="noStrike" baseline="30000" dirty="0">
                          <a:effectLst/>
                          <a:latin typeface="+mn-lt"/>
                        </a:rPr>
                        <a:t>®</a:t>
                      </a:r>
                      <a:r>
                        <a:rPr lang="en-US" sz="1800" u="none" strike="noStrike" dirty="0">
                          <a:effectLst/>
                        </a:rPr>
                        <a:t> Smartseal 30 DP</a:t>
                      </a:r>
                      <a:endParaRPr lang="en-US" sz="1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en-US" sz="1800" b="0" i="0" u="none" strike="noStrike" dirty="0">
                          <a:solidFill>
                            <a:srgbClr val="000000"/>
                          </a:solidFill>
                          <a:effectLst/>
                          <a:latin typeface="Arial" panose="020B0604020202020204" pitchFamily="34" charset="0"/>
                        </a:rPr>
                        <a:t>53.33</a:t>
                      </a:r>
                    </a:p>
                  </a:txBody>
                  <a:tcPr marL="7620" marR="7620" marT="7620" marB="0" anchor="b"/>
                </a:tc>
                <a:tc>
                  <a:txBody>
                    <a:bodyPr/>
                    <a:lstStyle/>
                    <a:p>
                      <a:pPr algn="ctr" fontAlgn="b"/>
                      <a:r>
                        <a:rPr lang="en-US" sz="1800" u="none" strike="noStrike" dirty="0">
                          <a:effectLst/>
                        </a:rPr>
                        <a:t>16.0</a:t>
                      </a:r>
                      <a:endParaRPr lang="en-US" sz="1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en-US" sz="1800" u="none" strike="noStrike" dirty="0">
                          <a:effectLst/>
                        </a:rPr>
                        <a:t>80.0</a:t>
                      </a:r>
                      <a:endParaRPr lang="en-US" sz="1800" b="0" i="0" u="none" strike="noStrike" dirty="0">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2680762851"/>
                  </a:ext>
                </a:extLst>
              </a:tr>
              <a:tr h="484572">
                <a:tc>
                  <a:txBody>
                    <a:bodyPr/>
                    <a:lstStyle/>
                    <a:p>
                      <a:pPr algn="r" fontAlgn="b"/>
                      <a:r>
                        <a:rPr lang="en-US" sz="1800" u="none" strike="noStrike" dirty="0">
                          <a:effectLst/>
                        </a:rPr>
                        <a:t>DBS or ATBC</a:t>
                      </a:r>
                      <a:endParaRPr lang="en-US" sz="1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en-US" sz="1800" u="none" strike="noStrike" dirty="0">
                          <a:effectLst/>
                        </a:rPr>
                        <a:t>2.00</a:t>
                      </a:r>
                      <a:endParaRPr lang="en-US" sz="1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en-US" sz="1800" u="none" strike="noStrike" dirty="0">
                          <a:effectLst/>
                        </a:rPr>
                        <a:t>2.0</a:t>
                      </a:r>
                      <a:endParaRPr lang="en-US" sz="1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en-US" sz="1800" b="0" i="0" u="none" strike="noStrike" dirty="0">
                          <a:solidFill>
                            <a:srgbClr val="000000"/>
                          </a:solidFill>
                          <a:effectLst/>
                          <a:latin typeface="Arial" panose="020B0604020202020204" pitchFamily="34" charset="0"/>
                        </a:rPr>
                        <a:t>10.0</a:t>
                      </a:r>
                    </a:p>
                  </a:txBody>
                  <a:tcPr marL="7620" marR="7620" marT="7620" marB="0" anchor="b"/>
                </a:tc>
                <a:extLst>
                  <a:ext uri="{0D108BD9-81ED-4DB2-BD59-A6C34878D82A}">
                    <a16:rowId xmlns:a16="http://schemas.microsoft.com/office/drawing/2014/main" val="1555718592"/>
                  </a:ext>
                </a:extLst>
              </a:tr>
              <a:tr h="484572">
                <a:tc>
                  <a:txBody>
                    <a:bodyPr/>
                    <a:lstStyle/>
                    <a:p>
                      <a:pPr algn="r" fontAlgn="b"/>
                      <a:r>
                        <a:rPr lang="en-US" sz="1800" u="none" strike="noStrike" dirty="0">
                          <a:effectLst/>
                        </a:rPr>
                        <a:t>Talc </a:t>
                      </a:r>
                      <a:endParaRPr lang="en-US" sz="1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en-US" sz="1800" u="none" strike="noStrike" dirty="0">
                          <a:effectLst/>
                        </a:rPr>
                        <a:t>2.00</a:t>
                      </a:r>
                      <a:endParaRPr lang="en-US" sz="1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en-US" sz="1800" u="none" strike="noStrike" dirty="0">
                          <a:effectLst/>
                        </a:rPr>
                        <a:t>2.0</a:t>
                      </a:r>
                      <a:endParaRPr lang="en-US" sz="1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en-US" sz="1800" u="none" strike="noStrike" dirty="0">
                          <a:effectLst/>
                        </a:rPr>
                        <a:t>10.0</a:t>
                      </a:r>
                      <a:endParaRPr lang="en-US" sz="1800" b="0" i="0" u="none" strike="noStrike" dirty="0">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2856897111"/>
                  </a:ext>
                </a:extLst>
              </a:tr>
              <a:tr h="484572">
                <a:tc>
                  <a:txBody>
                    <a:bodyPr/>
                    <a:lstStyle/>
                    <a:p>
                      <a:pPr algn="r" fontAlgn="b"/>
                      <a:r>
                        <a:rPr lang="en-US" sz="1800" u="none" strike="noStrike" dirty="0">
                          <a:effectLst/>
                        </a:rPr>
                        <a:t>Water - q.s. 20% solids content</a:t>
                      </a:r>
                      <a:endParaRPr lang="en-US" sz="1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en-US" sz="1800" b="0" i="0" u="none" strike="noStrike" dirty="0">
                          <a:solidFill>
                            <a:srgbClr val="000000"/>
                          </a:solidFill>
                          <a:effectLst/>
                          <a:latin typeface="Arial" panose="020B0604020202020204" pitchFamily="34" charset="0"/>
                        </a:rPr>
                        <a:t>42.67</a:t>
                      </a:r>
                    </a:p>
                  </a:txBody>
                  <a:tcPr marL="7620" marR="7620" marT="7620" marB="0" anchor="b"/>
                </a:tc>
                <a:tc>
                  <a:txBody>
                    <a:bodyPr/>
                    <a:lstStyle/>
                    <a:p>
                      <a:pPr algn="ctr" fontAlgn="b"/>
                      <a:r>
                        <a:rPr lang="en-US" sz="1800" u="none" strike="noStrike" dirty="0">
                          <a:effectLst/>
                        </a:rPr>
                        <a:t>-</a:t>
                      </a:r>
                      <a:endParaRPr lang="en-US" sz="1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en-US" sz="1800" u="none" strike="noStrike" dirty="0">
                          <a:effectLst/>
                        </a:rPr>
                        <a:t>-</a:t>
                      </a:r>
                      <a:endParaRPr lang="en-US" sz="1800" b="0" i="0" u="none" strike="noStrike" dirty="0">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149955734"/>
                  </a:ext>
                </a:extLst>
              </a:tr>
              <a:tr h="484572">
                <a:tc>
                  <a:txBody>
                    <a:bodyPr/>
                    <a:lstStyle/>
                    <a:p>
                      <a:pPr algn="r" fontAlgn="b"/>
                      <a:r>
                        <a:rPr lang="en-US" sz="1800" u="none" strike="noStrike" dirty="0">
                          <a:effectLst/>
                        </a:rPr>
                        <a:t>Total</a:t>
                      </a:r>
                      <a:endParaRPr lang="en-US" sz="1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en-US" sz="1800" u="none" strike="noStrike" dirty="0">
                          <a:effectLst/>
                        </a:rPr>
                        <a:t>100.00</a:t>
                      </a:r>
                      <a:endParaRPr lang="en-US" sz="1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en-US" sz="1800" u="none" strike="noStrike" dirty="0">
                          <a:effectLst/>
                        </a:rPr>
                        <a:t>20.00</a:t>
                      </a:r>
                      <a:endParaRPr lang="en-US" sz="1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en-US" sz="1800" u="none" strike="noStrike" dirty="0">
                          <a:effectLst/>
                        </a:rPr>
                        <a:t>100.0</a:t>
                      </a:r>
                      <a:endParaRPr lang="en-US" sz="1800" b="0" i="0" u="none" strike="noStrike" dirty="0">
                        <a:solidFill>
                          <a:srgbClr val="000000"/>
                        </a:solidFill>
                        <a:effectLst/>
                        <a:latin typeface="Arial" panose="020B0604020202020204" pitchFamily="34" charset="0"/>
                      </a:endParaRPr>
                    </a:p>
                  </a:txBody>
                  <a:tcPr marL="7620" marR="7620" marT="7620" marB="0" anchor="b"/>
                </a:tc>
                <a:extLst>
                  <a:ext uri="{0D108BD9-81ED-4DB2-BD59-A6C34878D82A}">
                    <a16:rowId xmlns:a16="http://schemas.microsoft.com/office/drawing/2014/main" val="3867984353"/>
                  </a:ext>
                </a:extLst>
              </a:tr>
            </a:tbl>
          </a:graphicData>
        </a:graphic>
      </p:graphicFrame>
      <p:sp>
        <p:nvSpPr>
          <p:cNvPr id="20" name="TextBox 19">
            <a:extLst>
              <a:ext uri="{FF2B5EF4-FFF2-40B4-BE49-F238E27FC236}">
                <a16:creationId xmlns:a16="http://schemas.microsoft.com/office/drawing/2014/main" id="{4581D17D-4A0C-E40A-591F-DE48CCFE42FE}"/>
              </a:ext>
            </a:extLst>
          </p:cNvPr>
          <p:cNvSpPr txBox="1"/>
          <p:nvPr/>
        </p:nvSpPr>
        <p:spPr>
          <a:xfrm>
            <a:off x="1186543" y="4968911"/>
            <a:ext cx="10769057" cy="923330"/>
          </a:xfrm>
          <a:prstGeom prst="rect">
            <a:avLst/>
          </a:prstGeom>
          <a:noFill/>
        </p:spPr>
        <p:txBody>
          <a:bodyPr wrap="square" rtlCol="0">
            <a:spAutoFit/>
          </a:bodyPr>
          <a:lstStyle/>
          <a:p>
            <a:pPr marL="285750" indent="-285750">
              <a:buClr>
                <a:schemeClr val="accent1"/>
              </a:buClr>
              <a:buFont typeface="Arial" panose="020B0604020202020204" pitchFamily="34" charset="0"/>
              <a:buChar char="•"/>
            </a:pPr>
            <a:r>
              <a:rPr lang="en-US" dirty="0"/>
              <a:t>12.5% of plasticizer based on polymer weight</a:t>
            </a:r>
          </a:p>
          <a:p>
            <a:pPr marL="285750" marR="0" lvl="0" indent="-285750" algn="l" defTabSz="914400" rtl="0" eaLnBrk="1" fontAlgn="auto" latinLnBrk="0" hangingPunct="1">
              <a:lnSpc>
                <a:spcPct val="100000"/>
              </a:lnSpc>
              <a:spcBef>
                <a:spcPts val="0"/>
              </a:spcBef>
              <a:spcAft>
                <a:spcPts val="0"/>
              </a:spcAft>
              <a:buClr>
                <a:srgbClr val="C50022"/>
              </a:buClr>
              <a:buSzTx/>
              <a:buFont typeface="Arial" panose="020B0604020202020204" pitchFamily="34" charset="0"/>
              <a:buChar char="•"/>
              <a:tabLst/>
              <a:defRPr/>
            </a:pPr>
            <a:r>
              <a:rPr lang="en-US" dirty="0"/>
              <a:t>10% of talc based on the total amount of solids </a:t>
            </a:r>
            <a:r>
              <a:rPr kumimoji="0" lang="en-US" sz="1800" b="0" i="0" u="none" strike="noStrike" kern="1200" cap="none" spc="0" normalizeH="0" baseline="0" noProof="0" dirty="0">
                <a:ln>
                  <a:noFill/>
                </a:ln>
                <a:solidFill>
                  <a:srgbClr val="000000"/>
                </a:solidFill>
                <a:effectLst/>
                <a:uLnTx/>
                <a:uFillTx/>
                <a:latin typeface="Arial" panose="020B0604020202020204"/>
                <a:cs typeface="Arial"/>
              </a:rPr>
              <a:t>– </a:t>
            </a:r>
            <a:r>
              <a:rPr kumimoji="0" lang="en-US" sz="1400" b="0" i="0" u="none" strike="noStrike" kern="1200" cap="none" spc="0" normalizeH="0" baseline="0" noProof="0" dirty="0">
                <a:ln>
                  <a:noFill/>
                </a:ln>
                <a:solidFill>
                  <a:srgbClr val="000000"/>
                </a:solidFill>
                <a:effectLst/>
                <a:uLnTx/>
                <a:uFillTx/>
                <a:latin typeface="Arial" panose="020B0604020202020204"/>
                <a:cs typeface="Arial"/>
              </a:rPr>
              <a:t>more talc can be required to reduce film tackiness</a:t>
            </a:r>
            <a:endParaRPr kumimoji="0" lang="en-US" sz="1800" b="0" i="0" u="none" strike="noStrike" kern="1200" cap="none" spc="0" normalizeH="0" baseline="0" noProof="0" dirty="0">
              <a:ln>
                <a:noFill/>
              </a:ln>
              <a:solidFill>
                <a:srgbClr val="000000"/>
              </a:solidFill>
              <a:effectLst/>
              <a:uLnTx/>
              <a:uFillTx/>
              <a:latin typeface="Arial" panose="020B0604020202020204"/>
              <a:cs typeface="Arial"/>
            </a:endParaRPr>
          </a:p>
          <a:p>
            <a:pPr marL="285750" indent="-285750">
              <a:buClr>
                <a:schemeClr val="accent1"/>
              </a:buClr>
              <a:buFont typeface="Arial" panose="020B0604020202020204" pitchFamily="34" charset="0"/>
              <a:buChar char="•"/>
            </a:pPr>
            <a:endParaRPr lang="en-US" dirty="0"/>
          </a:p>
        </p:txBody>
      </p:sp>
      <p:sp>
        <p:nvSpPr>
          <p:cNvPr id="6" name="Footer Placeholder 3">
            <a:extLst>
              <a:ext uri="{FF2B5EF4-FFF2-40B4-BE49-F238E27FC236}">
                <a16:creationId xmlns:a16="http://schemas.microsoft.com/office/drawing/2014/main" id="{129208F5-1B17-FC58-CC1C-0AACB5E9D252}"/>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9" name="Slide Number Placeholder 8">
            <a:extLst>
              <a:ext uri="{FF2B5EF4-FFF2-40B4-BE49-F238E27FC236}">
                <a16:creationId xmlns:a16="http://schemas.microsoft.com/office/drawing/2014/main" id="{EC9C979B-363D-8746-EF08-8150B9AED1D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90</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45144852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6836FD7-1AC3-A2A6-0543-2524CA97B9FE}"/>
              </a:ext>
            </a:extLst>
          </p:cNvPr>
          <p:cNvGraphicFramePr>
            <a:graphicFrameLocks noChangeAspect="1"/>
          </p:cNvGraphicFramePr>
          <p:nvPr>
            <p:custDataLst>
              <p:tags r:id="rId1"/>
            </p:custDataLst>
            <p:extLst>
              <p:ext uri="{D42A27DB-BD31-4B8C-83A1-F6EECF244321}">
                <p14:modId xmlns:p14="http://schemas.microsoft.com/office/powerpoint/2010/main" val="1569257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7" name="Object 6" hidden="1">
                        <a:extLst>
                          <a:ext uri="{FF2B5EF4-FFF2-40B4-BE49-F238E27FC236}">
                            <a16:creationId xmlns:a16="http://schemas.microsoft.com/office/drawing/2014/main" id="{16836FD7-1AC3-A2A6-0543-2524CA97B9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91B3A6F6-8B61-4685-BB51-40A15C7273B9}"/>
              </a:ext>
            </a:extLst>
          </p:cNvPr>
          <p:cNvSpPr>
            <a:spLocks noGrp="1"/>
          </p:cNvSpPr>
          <p:nvPr>
            <p:ph type="title"/>
          </p:nvPr>
        </p:nvSpPr>
        <p:spPr/>
        <p:txBody>
          <a:bodyPr vert="horz"/>
          <a:lstStyle/>
          <a:p>
            <a:r>
              <a:rPr lang="en-US" sz="2800" dirty="0"/>
              <a:t>Formulary: Kollicoat</a:t>
            </a:r>
            <a:r>
              <a:rPr lang="en-US" sz="2800" baseline="30000" dirty="0"/>
              <a:t>®</a:t>
            </a:r>
            <a:r>
              <a:rPr lang="en-US" sz="2800" dirty="0"/>
              <a:t> Smartseal 30 DP (+ BHT as antioxidant)</a:t>
            </a:r>
          </a:p>
        </p:txBody>
      </p:sp>
      <p:graphicFrame>
        <p:nvGraphicFramePr>
          <p:cNvPr id="5" name="Tabela 4">
            <a:extLst>
              <a:ext uri="{FF2B5EF4-FFF2-40B4-BE49-F238E27FC236}">
                <a16:creationId xmlns:a16="http://schemas.microsoft.com/office/drawing/2014/main" id="{4D4CA5EE-DBD0-445D-A1CC-6CC590E1A008}"/>
              </a:ext>
            </a:extLst>
          </p:cNvPr>
          <p:cNvGraphicFramePr>
            <a:graphicFrameLocks noGrp="1"/>
          </p:cNvGraphicFramePr>
          <p:nvPr>
            <p:extLst>
              <p:ext uri="{D42A27DB-BD31-4B8C-83A1-F6EECF244321}">
                <p14:modId xmlns:p14="http://schemas.microsoft.com/office/powerpoint/2010/main" val="514886868"/>
              </p:ext>
            </p:extLst>
          </p:nvPr>
        </p:nvGraphicFramePr>
        <p:xfrm>
          <a:off x="1186543" y="1576150"/>
          <a:ext cx="10276114" cy="3749499"/>
        </p:xfrm>
        <a:graphic>
          <a:graphicData uri="http://schemas.openxmlformats.org/drawingml/2006/table">
            <a:tbl>
              <a:tblPr>
                <a:tableStyleId>{5C22544A-7EE6-4342-B048-85BDC9FD1C3A}</a:tableStyleId>
              </a:tblPr>
              <a:tblGrid>
                <a:gridCol w="4524994">
                  <a:extLst>
                    <a:ext uri="{9D8B030D-6E8A-4147-A177-3AD203B41FA5}">
                      <a16:colId xmlns:a16="http://schemas.microsoft.com/office/drawing/2014/main" val="2785147893"/>
                    </a:ext>
                  </a:extLst>
                </a:gridCol>
                <a:gridCol w="1401288">
                  <a:extLst>
                    <a:ext uri="{9D8B030D-6E8A-4147-A177-3AD203B41FA5}">
                      <a16:colId xmlns:a16="http://schemas.microsoft.com/office/drawing/2014/main" val="1918756636"/>
                    </a:ext>
                  </a:extLst>
                </a:gridCol>
                <a:gridCol w="2923804">
                  <a:extLst>
                    <a:ext uri="{9D8B030D-6E8A-4147-A177-3AD203B41FA5}">
                      <a16:colId xmlns:a16="http://schemas.microsoft.com/office/drawing/2014/main" val="1631918100"/>
                    </a:ext>
                  </a:extLst>
                </a:gridCol>
                <a:gridCol w="1426028">
                  <a:extLst>
                    <a:ext uri="{9D8B030D-6E8A-4147-A177-3AD203B41FA5}">
                      <a16:colId xmlns:a16="http://schemas.microsoft.com/office/drawing/2014/main" val="3285745497"/>
                    </a:ext>
                  </a:extLst>
                </a:gridCol>
              </a:tblGrid>
              <a:tr h="842067">
                <a:tc>
                  <a:txBody>
                    <a:bodyPr/>
                    <a:lstStyle/>
                    <a:p>
                      <a:pPr algn="ctr" fontAlgn="ctr"/>
                      <a:r>
                        <a:rPr lang="en-US" sz="2400" b="1" u="none" strike="noStrike" dirty="0">
                          <a:solidFill>
                            <a:schemeClr val="bg1"/>
                          </a:solidFill>
                          <a:effectLst/>
                        </a:rPr>
                        <a:t>Material</a:t>
                      </a:r>
                      <a:endParaRPr lang="en-US" sz="2400" b="1" i="0" u="none" strike="noStrike" dirty="0">
                        <a:solidFill>
                          <a:schemeClr val="bg1"/>
                        </a:solidFill>
                        <a:effectLst/>
                        <a:latin typeface="Arial" panose="020B0604020202020204" pitchFamily="34" charset="0"/>
                      </a:endParaRPr>
                    </a:p>
                  </a:txBody>
                  <a:tcPr marL="7620" marR="7620" marT="7620" marB="0" anchor="ctr">
                    <a:solidFill>
                      <a:schemeClr val="accent1"/>
                    </a:solidFill>
                  </a:tcPr>
                </a:tc>
                <a:tc>
                  <a:txBody>
                    <a:bodyPr/>
                    <a:lstStyle/>
                    <a:p>
                      <a:pPr algn="ctr" fontAlgn="ctr"/>
                      <a:r>
                        <a:rPr lang="en-US" sz="2400" b="1" u="none" strike="noStrike" dirty="0">
                          <a:solidFill>
                            <a:schemeClr val="bg1"/>
                          </a:solidFill>
                          <a:effectLst/>
                        </a:rPr>
                        <a:t>%</a:t>
                      </a:r>
                      <a:endParaRPr lang="en-US" sz="2400" b="1" i="0" u="none" strike="noStrike" dirty="0">
                        <a:solidFill>
                          <a:schemeClr val="bg1"/>
                        </a:solidFill>
                        <a:effectLst/>
                        <a:latin typeface="Arial" panose="020B0604020202020204" pitchFamily="34" charset="0"/>
                      </a:endParaRPr>
                    </a:p>
                  </a:txBody>
                  <a:tcPr marL="7620" marR="7620" marT="7620" marB="0" anchor="ctr">
                    <a:solidFill>
                      <a:schemeClr val="accent1"/>
                    </a:solidFill>
                  </a:tcPr>
                </a:tc>
                <a:tc>
                  <a:txBody>
                    <a:bodyPr/>
                    <a:lstStyle/>
                    <a:p>
                      <a:pPr algn="ctr" fontAlgn="ctr"/>
                      <a:r>
                        <a:rPr lang="en-US" sz="2400" b="1" u="none" strike="noStrike" dirty="0">
                          <a:solidFill>
                            <a:schemeClr val="bg1"/>
                          </a:solidFill>
                          <a:effectLst/>
                        </a:rPr>
                        <a:t>Solid content (g)</a:t>
                      </a:r>
                      <a:endParaRPr lang="en-US" sz="2400" b="1" i="0" u="none" strike="noStrike" dirty="0">
                        <a:solidFill>
                          <a:schemeClr val="bg1"/>
                        </a:solidFill>
                        <a:effectLst/>
                        <a:latin typeface="Arial" panose="020B0604020202020204" pitchFamily="34" charset="0"/>
                      </a:endParaRPr>
                    </a:p>
                  </a:txBody>
                  <a:tcPr marL="7620" marR="7620" marT="7620" marB="0" anchor="ctr">
                    <a:solidFill>
                      <a:schemeClr val="accent1"/>
                    </a:solidFill>
                  </a:tcPr>
                </a:tc>
                <a:tc>
                  <a:txBody>
                    <a:bodyPr/>
                    <a:lstStyle/>
                    <a:p>
                      <a:pPr algn="ctr" fontAlgn="ctr"/>
                      <a:r>
                        <a:rPr lang="en-US" sz="2400" b="1" u="none" strike="noStrike" dirty="0">
                          <a:solidFill>
                            <a:schemeClr val="bg1"/>
                          </a:solidFill>
                          <a:effectLst/>
                        </a:rPr>
                        <a:t>% Solids</a:t>
                      </a:r>
                      <a:endParaRPr lang="en-US" sz="2400" b="1" i="0" u="none" strike="noStrike" dirty="0">
                        <a:solidFill>
                          <a:schemeClr val="bg1"/>
                        </a:solidFill>
                        <a:effectLst/>
                        <a:latin typeface="Arial" panose="020B0604020202020204" pitchFamily="34" charset="0"/>
                      </a:endParaRPr>
                    </a:p>
                  </a:txBody>
                  <a:tcPr marL="7620" marR="7620" marT="7620" marB="0" anchor="ctr">
                    <a:solidFill>
                      <a:schemeClr val="accent1"/>
                    </a:solidFill>
                  </a:tcPr>
                </a:tc>
                <a:extLst>
                  <a:ext uri="{0D108BD9-81ED-4DB2-BD59-A6C34878D82A}">
                    <a16:rowId xmlns:a16="http://schemas.microsoft.com/office/drawing/2014/main" val="423618467"/>
                  </a:ext>
                </a:extLst>
              </a:tr>
              <a:tr h="484572">
                <a:tc>
                  <a:txBody>
                    <a:bodyPr/>
                    <a:lstStyle/>
                    <a:p>
                      <a:pPr algn="r" fontAlgn="b"/>
                      <a:r>
                        <a:rPr lang="en-US" sz="1800" u="none" strike="noStrike" dirty="0">
                          <a:effectLst/>
                          <a:latin typeface="+mn-lt"/>
                        </a:rPr>
                        <a:t>Kollicoat</a:t>
                      </a:r>
                      <a:r>
                        <a:rPr lang="en-US" sz="1800" u="none" strike="noStrike" baseline="30000" dirty="0">
                          <a:effectLst/>
                          <a:latin typeface="+mn-lt"/>
                        </a:rPr>
                        <a:t>®</a:t>
                      </a:r>
                      <a:r>
                        <a:rPr lang="en-US" sz="1800" u="none" strike="noStrike" dirty="0">
                          <a:effectLst/>
                          <a:latin typeface="+mn-lt"/>
                        </a:rPr>
                        <a:t> Smartseal 30 DP</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b="0" i="0" u="none" strike="noStrike" dirty="0">
                          <a:solidFill>
                            <a:srgbClr val="000000"/>
                          </a:solidFill>
                          <a:effectLst/>
                          <a:latin typeface="+mn-lt"/>
                        </a:rPr>
                        <a:t>52.17</a:t>
                      </a:r>
                    </a:p>
                  </a:txBody>
                  <a:tcPr marL="7620" marR="7620" marT="7620" marB="0" anchor="b"/>
                </a:tc>
                <a:tc>
                  <a:txBody>
                    <a:bodyPr/>
                    <a:lstStyle/>
                    <a:p>
                      <a:pPr algn="ctr" fontAlgn="b"/>
                      <a:r>
                        <a:rPr lang="en-US" sz="1800" u="none" strike="noStrike" dirty="0">
                          <a:effectLst/>
                          <a:latin typeface="+mn-lt"/>
                        </a:rPr>
                        <a:t>15.65</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u="none" strike="noStrike" dirty="0">
                          <a:effectLst/>
                          <a:latin typeface="+mn-lt"/>
                        </a:rPr>
                        <a:t>78.26</a:t>
                      </a:r>
                      <a:endParaRPr lang="en-US" sz="1800" b="0" i="0" u="none" strike="noStrike" dirty="0">
                        <a:solidFill>
                          <a:srgbClr val="000000"/>
                        </a:solidFill>
                        <a:effectLst/>
                        <a:latin typeface="+mn-lt"/>
                      </a:endParaRPr>
                    </a:p>
                  </a:txBody>
                  <a:tcPr marL="7620" marR="7620" marT="7620" marB="0" anchor="b"/>
                </a:tc>
                <a:extLst>
                  <a:ext uri="{0D108BD9-81ED-4DB2-BD59-A6C34878D82A}">
                    <a16:rowId xmlns:a16="http://schemas.microsoft.com/office/drawing/2014/main" val="2680762851"/>
                  </a:ext>
                </a:extLst>
              </a:tr>
              <a:tr h="484572">
                <a:tc>
                  <a:txBody>
                    <a:bodyPr/>
                    <a:lstStyle/>
                    <a:p>
                      <a:pPr algn="r" fontAlgn="b"/>
                      <a:r>
                        <a:rPr lang="en-US" sz="1800" u="none" strike="noStrike" dirty="0">
                          <a:effectLst/>
                        </a:rPr>
                        <a:t>DBS or ATBC</a:t>
                      </a:r>
                      <a:endParaRPr lang="en-US" sz="1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en-US" sz="1800" u="none" strike="noStrike" dirty="0">
                          <a:effectLst/>
                          <a:latin typeface="+mn-lt"/>
                        </a:rPr>
                        <a:t>1.96</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u="none" strike="noStrike" dirty="0">
                          <a:effectLst/>
                          <a:latin typeface="+mn-lt"/>
                        </a:rPr>
                        <a:t>1.96</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b="0" i="0" u="none" strike="noStrike" dirty="0">
                          <a:solidFill>
                            <a:srgbClr val="000000"/>
                          </a:solidFill>
                          <a:effectLst/>
                          <a:latin typeface="+mn-lt"/>
                        </a:rPr>
                        <a:t>9.78</a:t>
                      </a:r>
                    </a:p>
                  </a:txBody>
                  <a:tcPr marL="7620" marR="7620" marT="7620" marB="0" anchor="b"/>
                </a:tc>
                <a:extLst>
                  <a:ext uri="{0D108BD9-81ED-4DB2-BD59-A6C34878D82A}">
                    <a16:rowId xmlns:a16="http://schemas.microsoft.com/office/drawing/2014/main" val="1555718592"/>
                  </a:ext>
                </a:extLst>
              </a:tr>
              <a:tr h="484572">
                <a:tc>
                  <a:txBody>
                    <a:bodyPr/>
                    <a:lstStyle/>
                    <a:p>
                      <a:pPr algn="r" fontAlgn="b"/>
                      <a:r>
                        <a:rPr lang="en-US" sz="1800" b="0" i="0" u="none" strike="noStrike" dirty="0">
                          <a:solidFill>
                            <a:srgbClr val="000000"/>
                          </a:solidFill>
                          <a:effectLst/>
                          <a:latin typeface="+mn-lt"/>
                        </a:rPr>
                        <a:t>BHT</a:t>
                      </a:r>
                    </a:p>
                  </a:txBody>
                  <a:tcPr marL="7620" marR="7620" marT="7620" marB="0" anchor="b"/>
                </a:tc>
                <a:tc>
                  <a:txBody>
                    <a:bodyPr/>
                    <a:lstStyle/>
                    <a:p>
                      <a:pPr algn="ctr" fontAlgn="b"/>
                      <a:r>
                        <a:rPr lang="en-US" sz="1800" b="0" i="0" u="none" strike="noStrike" dirty="0">
                          <a:solidFill>
                            <a:srgbClr val="000000"/>
                          </a:solidFill>
                          <a:effectLst/>
                          <a:latin typeface="+mn-lt"/>
                        </a:rPr>
                        <a:t>0.39</a:t>
                      </a:r>
                    </a:p>
                  </a:txBody>
                  <a:tcPr marL="7620" marR="7620" marT="7620" marB="0" anchor="b"/>
                </a:tc>
                <a:tc>
                  <a:txBody>
                    <a:bodyPr/>
                    <a:lstStyle/>
                    <a:p>
                      <a:pPr algn="ctr" fontAlgn="b"/>
                      <a:r>
                        <a:rPr lang="en-US" sz="1800" b="0" i="0" u="none" strike="noStrike" dirty="0">
                          <a:solidFill>
                            <a:srgbClr val="000000"/>
                          </a:solidFill>
                          <a:effectLst/>
                          <a:latin typeface="+mn-lt"/>
                        </a:rPr>
                        <a:t>0.39</a:t>
                      </a:r>
                    </a:p>
                  </a:txBody>
                  <a:tcPr marL="7620" marR="7620" marT="7620" marB="0" anchor="b"/>
                </a:tc>
                <a:tc>
                  <a:txBody>
                    <a:bodyPr/>
                    <a:lstStyle/>
                    <a:p>
                      <a:pPr algn="ctr" fontAlgn="b"/>
                      <a:r>
                        <a:rPr lang="en-US" sz="1800" b="0" i="0" u="none" strike="noStrike" dirty="0">
                          <a:solidFill>
                            <a:srgbClr val="000000"/>
                          </a:solidFill>
                          <a:effectLst/>
                          <a:latin typeface="+mn-lt"/>
                        </a:rPr>
                        <a:t>1.96</a:t>
                      </a:r>
                    </a:p>
                  </a:txBody>
                  <a:tcPr marL="7620" marR="7620" marT="7620" marB="0" anchor="b"/>
                </a:tc>
                <a:extLst>
                  <a:ext uri="{0D108BD9-81ED-4DB2-BD59-A6C34878D82A}">
                    <a16:rowId xmlns:a16="http://schemas.microsoft.com/office/drawing/2014/main" val="1271954498"/>
                  </a:ext>
                </a:extLst>
              </a:tr>
              <a:tr h="484572">
                <a:tc>
                  <a:txBody>
                    <a:bodyPr/>
                    <a:lstStyle/>
                    <a:p>
                      <a:pPr algn="r" fontAlgn="b"/>
                      <a:r>
                        <a:rPr lang="en-US" sz="1800" u="none" strike="noStrike" dirty="0">
                          <a:effectLst/>
                          <a:latin typeface="+mn-lt"/>
                        </a:rPr>
                        <a:t>Talc </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u="none" strike="noStrike" dirty="0">
                          <a:effectLst/>
                          <a:latin typeface="+mn-lt"/>
                        </a:rPr>
                        <a:t>2.00</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u="none" strike="noStrike" dirty="0">
                          <a:effectLst/>
                          <a:latin typeface="+mn-lt"/>
                        </a:rPr>
                        <a:t>2.0</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u="none" strike="noStrike" dirty="0">
                          <a:effectLst/>
                          <a:latin typeface="+mn-lt"/>
                        </a:rPr>
                        <a:t>10.0</a:t>
                      </a:r>
                      <a:endParaRPr lang="en-US" sz="1800" b="0" i="0" u="none" strike="noStrike" dirty="0">
                        <a:solidFill>
                          <a:srgbClr val="000000"/>
                        </a:solidFill>
                        <a:effectLst/>
                        <a:latin typeface="+mn-lt"/>
                      </a:endParaRPr>
                    </a:p>
                  </a:txBody>
                  <a:tcPr marL="7620" marR="7620" marT="7620" marB="0" anchor="b"/>
                </a:tc>
                <a:extLst>
                  <a:ext uri="{0D108BD9-81ED-4DB2-BD59-A6C34878D82A}">
                    <a16:rowId xmlns:a16="http://schemas.microsoft.com/office/drawing/2014/main" val="2856897111"/>
                  </a:ext>
                </a:extLst>
              </a:tr>
              <a:tr h="484572">
                <a:tc>
                  <a:txBody>
                    <a:bodyPr/>
                    <a:lstStyle/>
                    <a:p>
                      <a:pPr algn="r" fontAlgn="b"/>
                      <a:r>
                        <a:rPr lang="en-US" sz="1800" u="none" strike="noStrike" dirty="0">
                          <a:effectLst/>
                          <a:latin typeface="+mn-lt"/>
                        </a:rPr>
                        <a:t>Water – q.s. 20% solids content</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b="0" i="0" u="none" strike="noStrike" dirty="0">
                          <a:solidFill>
                            <a:srgbClr val="000000"/>
                          </a:solidFill>
                          <a:effectLst/>
                          <a:latin typeface="+mn-lt"/>
                        </a:rPr>
                        <a:t>43.48</a:t>
                      </a:r>
                    </a:p>
                  </a:txBody>
                  <a:tcPr marL="7620" marR="7620" marT="7620" marB="0" anchor="b"/>
                </a:tc>
                <a:tc>
                  <a:txBody>
                    <a:bodyPr/>
                    <a:lstStyle/>
                    <a:p>
                      <a:pPr algn="ctr" fontAlgn="b"/>
                      <a:r>
                        <a:rPr lang="en-US" sz="1800" u="none" strike="noStrike" dirty="0">
                          <a:effectLst/>
                          <a:latin typeface="+mn-lt"/>
                        </a:rPr>
                        <a:t>-</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u="none" strike="noStrike" dirty="0">
                          <a:effectLst/>
                          <a:latin typeface="+mn-lt"/>
                        </a:rPr>
                        <a:t>-</a:t>
                      </a:r>
                      <a:endParaRPr lang="en-US" sz="1800" b="0" i="0" u="none" strike="noStrike" dirty="0">
                        <a:solidFill>
                          <a:srgbClr val="000000"/>
                        </a:solidFill>
                        <a:effectLst/>
                        <a:latin typeface="+mn-lt"/>
                      </a:endParaRPr>
                    </a:p>
                  </a:txBody>
                  <a:tcPr marL="7620" marR="7620" marT="7620" marB="0" anchor="b"/>
                </a:tc>
                <a:extLst>
                  <a:ext uri="{0D108BD9-81ED-4DB2-BD59-A6C34878D82A}">
                    <a16:rowId xmlns:a16="http://schemas.microsoft.com/office/drawing/2014/main" val="149955734"/>
                  </a:ext>
                </a:extLst>
              </a:tr>
              <a:tr h="484572">
                <a:tc>
                  <a:txBody>
                    <a:bodyPr/>
                    <a:lstStyle/>
                    <a:p>
                      <a:pPr algn="r" fontAlgn="b"/>
                      <a:r>
                        <a:rPr lang="en-US" sz="1800" u="none" strike="noStrike" dirty="0">
                          <a:effectLst/>
                          <a:latin typeface="+mn-lt"/>
                        </a:rPr>
                        <a:t>Total</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u="none" strike="noStrike" dirty="0">
                          <a:effectLst/>
                          <a:latin typeface="+mn-lt"/>
                        </a:rPr>
                        <a:t>100.00</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u="none" strike="noStrike" dirty="0">
                          <a:effectLst/>
                          <a:latin typeface="+mn-lt"/>
                        </a:rPr>
                        <a:t>20.00</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u="none" strike="noStrike" dirty="0">
                          <a:effectLst/>
                          <a:latin typeface="+mn-lt"/>
                        </a:rPr>
                        <a:t>100.0</a:t>
                      </a:r>
                      <a:endParaRPr lang="en-US" sz="1800" b="0" i="0" u="none" strike="noStrike" dirty="0">
                        <a:solidFill>
                          <a:srgbClr val="000000"/>
                        </a:solidFill>
                        <a:effectLst/>
                        <a:latin typeface="+mn-lt"/>
                      </a:endParaRPr>
                    </a:p>
                  </a:txBody>
                  <a:tcPr marL="7620" marR="7620" marT="7620" marB="0" anchor="b"/>
                </a:tc>
                <a:extLst>
                  <a:ext uri="{0D108BD9-81ED-4DB2-BD59-A6C34878D82A}">
                    <a16:rowId xmlns:a16="http://schemas.microsoft.com/office/drawing/2014/main" val="3867984353"/>
                  </a:ext>
                </a:extLst>
              </a:tr>
            </a:tbl>
          </a:graphicData>
        </a:graphic>
      </p:graphicFrame>
      <p:sp>
        <p:nvSpPr>
          <p:cNvPr id="20" name="TextBox 19">
            <a:extLst>
              <a:ext uri="{FF2B5EF4-FFF2-40B4-BE49-F238E27FC236}">
                <a16:creationId xmlns:a16="http://schemas.microsoft.com/office/drawing/2014/main" id="{4581D17D-4A0C-E40A-591F-DE48CCFE42FE}"/>
              </a:ext>
            </a:extLst>
          </p:cNvPr>
          <p:cNvSpPr txBox="1"/>
          <p:nvPr/>
        </p:nvSpPr>
        <p:spPr>
          <a:xfrm>
            <a:off x="1186543" y="5325649"/>
            <a:ext cx="10658127" cy="923330"/>
          </a:xfrm>
          <a:prstGeom prst="rect">
            <a:avLst/>
          </a:prstGeom>
          <a:noFill/>
        </p:spPr>
        <p:txBody>
          <a:bodyPr wrap="square" rtlCol="0">
            <a:spAutoFit/>
          </a:bodyPr>
          <a:lstStyle/>
          <a:p>
            <a:pPr marL="285750" indent="-285750">
              <a:buClr>
                <a:schemeClr val="accent1"/>
              </a:buClr>
              <a:buFont typeface="Arial" panose="020B0604020202020204" pitchFamily="34" charset="0"/>
              <a:buChar char="•"/>
            </a:pPr>
            <a:r>
              <a:rPr lang="en-US" dirty="0"/>
              <a:t>12.5% of plasticizer based on polymer weight</a:t>
            </a:r>
          </a:p>
          <a:p>
            <a:pPr marL="285750" indent="-285750">
              <a:buClr>
                <a:schemeClr val="accent1"/>
              </a:buClr>
              <a:buFont typeface="Arial" panose="020B0604020202020204" pitchFamily="34" charset="0"/>
              <a:buChar char="•"/>
            </a:pPr>
            <a:r>
              <a:rPr lang="en-US" dirty="0"/>
              <a:t>10% of talc based on the total amount of solids (dry film) – </a:t>
            </a:r>
            <a:r>
              <a:rPr lang="en-US" sz="1400" dirty="0"/>
              <a:t>more talc can be required to reduce film tackiness</a:t>
            </a:r>
            <a:endParaRPr lang="en-US" dirty="0"/>
          </a:p>
          <a:p>
            <a:pPr marL="285750" indent="-285750">
              <a:buClr>
                <a:schemeClr val="accent1"/>
              </a:buClr>
              <a:buFont typeface="Arial" panose="020B0604020202020204" pitchFamily="34" charset="0"/>
              <a:buChar char="•"/>
            </a:pPr>
            <a:r>
              <a:rPr lang="en-US" dirty="0"/>
              <a:t>2.5 % BHT based on polymer weight – </a:t>
            </a:r>
            <a:r>
              <a:rPr lang="en-US" sz="1400" dirty="0"/>
              <a:t>required for sugar cores</a:t>
            </a:r>
            <a:endParaRPr lang="en-US" dirty="0"/>
          </a:p>
        </p:txBody>
      </p:sp>
      <p:sp>
        <p:nvSpPr>
          <p:cNvPr id="6" name="Footer Placeholder 3">
            <a:extLst>
              <a:ext uri="{FF2B5EF4-FFF2-40B4-BE49-F238E27FC236}">
                <a16:creationId xmlns:a16="http://schemas.microsoft.com/office/drawing/2014/main" id="{09486D02-FB99-80B9-DA1C-5D0D41234EA2}"/>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9" name="Slide Number Placeholder 8">
            <a:extLst>
              <a:ext uri="{FF2B5EF4-FFF2-40B4-BE49-F238E27FC236}">
                <a16:creationId xmlns:a16="http://schemas.microsoft.com/office/drawing/2014/main" id="{D6E91097-84E6-C094-8359-DE7E2487DCD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91</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36205116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6836FD7-1AC3-A2A6-0543-2524CA97B9FE}"/>
              </a:ext>
            </a:extLst>
          </p:cNvPr>
          <p:cNvGraphicFramePr>
            <a:graphicFrameLocks noChangeAspect="1"/>
          </p:cNvGraphicFramePr>
          <p:nvPr>
            <p:custDataLst>
              <p:tags r:id="rId1"/>
            </p:custDataLst>
            <p:extLst>
              <p:ext uri="{D42A27DB-BD31-4B8C-83A1-F6EECF244321}">
                <p14:modId xmlns:p14="http://schemas.microsoft.com/office/powerpoint/2010/main" val="2946182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7" name="Object 6" hidden="1">
                        <a:extLst>
                          <a:ext uri="{FF2B5EF4-FFF2-40B4-BE49-F238E27FC236}">
                            <a16:creationId xmlns:a16="http://schemas.microsoft.com/office/drawing/2014/main" id="{16836FD7-1AC3-A2A6-0543-2524CA97B9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91B3A6F6-8B61-4685-BB51-40A15C7273B9}"/>
              </a:ext>
            </a:extLst>
          </p:cNvPr>
          <p:cNvSpPr>
            <a:spLocks noGrp="1"/>
          </p:cNvSpPr>
          <p:nvPr>
            <p:ph type="title"/>
          </p:nvPr>
        </p:nvSpPr>
        <p:spPr/>
        <p:txBody>
          <a:bodyPr vert="horz"/>
          <a:lstStyle/>
          <a:p>
            <a:r>
              <a:rPr lang="en-US" sz="2800" dirty="0"/>
              <a:t>Formulary: Kollicoat</a:t>
            </a:r>
            <a:r>
              <a:rPr lang="en-US" sz="2800" baseline="30000" dirty="0"/>
              <a:t>®</a:t>
            </a:r>
            <a:r>
              <a:rPr lang="en-US" sz="2800" dirty="0"/>
              <a:t> Smartseal </a:t>
            </a:r>
            <a:r>
              <a:rPr lang="en-US" sz="2800" dirty="0" err="1"/>
              <a:t>Smartseal</a:t>
            </a:r>
            <a:r>
              <a:rPr lang="en-US" sz="2800" dirty="0"/>
              <a:t> 100 P in water</a:t>
            </a:r>
          </a:p>
        </p:txBody>
      </p:sp>
      <p:graphicFrame>
        <p:nvGraphicFramePr>
          <p:cNvPr id="5" name="Tabela 4">
            <a:extLst>
              <a:ext uri="{FF2B5EF4-FFF2-40B4-BE49-F238E27FC236}">
                <a16:creationId xmlns:a16="http://schemas.microsoft.com/office/drawing/2014/main" id="{4D4CA5EE-DBD0-445D-A1CC-6CC590E1A008}"/>
              </a:ext>
            </a:extLst>
          </p:cNvPr>
          <p:cNvGraphicFramePr>
            <a:graphicFrameLocks noGrp="1"/>
          </p:cNvGraphicFramePr>
          <p:nvPr>
            <p:extLst>
              <p:ext uri="{D42A27DB-BD31-4B8C-83A1-F6EECF244321}">
                <p14:modId xmlns:p14="http://schemas.microsoft.com/office/powerpoint/2010/main" val="2190163067"/>
              </p:ext>
            </p:extLst>
          </p:nvPr>
        </p:nvGraphicFramePr>
        <p:xfrm>
          <a:off x="1186543" y="1197753"/>
          <a:ext cx="10276114" cy="3749499"/>
        </p:xfrm>
        <a:graphic>
          <a:graphicData uri="http://schemas.openxmlformats.org/drawingml/2006/table">
            <a:tbl>
              <a:tblPr>
                <a:tableStyleId>{5C22544A-7EE6-4342-B048-85BDC9FD1C3A}</a:tableStyleId>
              </a:tblPr>
              <a:tblGrid>
                <a:gridCol w="4524994">
                  <a:extLst>
                    <a:ext uri="{9D8B030D-6E8A-4147-A177-3AD203B41FA5}">
                      <a16:colId xmlns:a16="http://schemas.microsoft.com/office/drawing/2014/main" val="2785147893"/>
                    </a:ext>
                  </a:extLst>
                </a:gridCol>
                <a:gridCol w="1401288">
                  <a:extLst>
                    <a:ext uri="{9D8B030D-6E8A-4147-A177-3AD203B41FA5}">
                      <a16:colId xmlns:a16="http://schemas.microsoft.com/office/drawing/2014/main" val="1918756636"/>
                    </a:ext>
                  </a:extLst>
                </a:gridCol>
                <a:gridCol w="2923804">
                  <a:extLst>
                    <a:ext uri="{9D8B030D-6E8A-4147-A177-3AD203B41FA5}">
                      <a16:colId xmlns:a16="http://schemas.microsoft.com/office/drawing/2014/main" val="1631918100"/>
                    </a:ext>
                  </a:extLst>
                </a:gridCol>
                <a:gridCol w="1426028">
                  <a:extLst>
                    <a:ext uri="{9D8B030D-6E8A-4147-A177-3AD203B41FA5}">
                      <a16:colId xmlns:a16="http://schemas.microsoft.com/office/drawing/2014/main" val="3285745497"/>
                    </a:ext>
                  </a:extLst>
                </a:gridCol>
              </a:tblGrid>
              <a:tr h="842067">
                <a:tc>
                  <a:txBody>
                    <a:bodyPr/>
                    <a:lstStyle/>
                    <a:p>
                      <a:pPr algn="ctr" fontAlgn="ctr"/>
                      <a:r>
                        <a:rPr lang="en-US" sz="2400" b="1" u="none" strike="noStrike" dirty="0">
                          <a:solidFill>
                            <a:schemeClr val="bg1"/>
                          </a:solidFill>
                          <a:effectLst/>
                        </a:rPr>
                        <a:t>Material</a:t>
                      </a:r>
                      <a:endParaRPr lang="en-US" sz="2400" b="1" i="0" u="none" strike="noStrike" dirty="0">
                        <a:solidFill>
                          <a:schemeClr val="bg1"/>
                        </a:solidFill>
                        <a:effectLst/>
                        <a:latin typeface="Arial" panose="020B0604020202020204" pitchFamily="34" charset="0"/>
                      </a:endParaRPr>
                    </a:p>
                  </a:txBody>
                  <a:tcPr marL="7620" marR="7620" marT="7620" marB="0" anchor="ctr">
                    <a:solidFill>
                      <a:schemeClr val="accent1"/>
                    </a:solidFill>
                  </a:tcPr>
                </a:tc>
                <a:tc>
                  <a:txBody>
                    <a:bodyPr/>
                    <a:lstStyle/>
                    <a:p>
                      <a:pPr algn="ctr" fontAlgn="ctr"/>
                      <a:r>
                        <a:rPr lang="en-US" sz="2400" b="1" u="none" strike="noStrike" dirty="0">
                          <a:solidFill>
                            <a:schemeClr val="bg1"/>
                          </a:solidFill>
                          <a:effectLst/>
                        </a:rPr>
                        <a:t>%</a:t>
                      </a:r>
                      <a:endParaRPr lang="en-US" sz="2400" b="1" i="0" u="none" strike="noStrike" dirty="0">
                        <a:solidFill>
                          <a:schemeClr val="bg1"/>
                        </a:solidFill>
                        <a:effectLst/>
                        <a:latin typeface="Arial" panose="020B0604020202020204" pitchFamily="34" charset="0"/>
                      </a:endParaRPr>
                    </a:p>
                  </a:txBody>
                  <a:tcPr marL="7620" marR="7620" marT="7620" marB="0" anchor="ctr">
                    <a:solidFill>
                      <a:schemeClr val="accent1"/>
                    </a:solidFill>
                  </a:tcPr>
                </a:tc>
                <a:tc>
                  <a:txBody>
                    <a:bodyPr/>
                    <a:lstStyle/>
                    <a:p>
                      <a:pPr algn="ctr" fontAlgn="ctr"/>
                      <a:r>
                        <a:rPr lang="en-US" sz="2400" b="1" u="none" strike="noStrike" dirty="0">
                          <a:solidFill>
                            <a:schemeClr val="bg1"/>
                          </a:solidFill>
                          <a:effectLst/>
                        </a:rPr>
                        <a:t>Solid content (g)</a:t>
                      </a:r>
                      <a:endParaRPr lang="en-US" sz="2400" b="1" i="0" u="none" strike="noStrike" dirty="0">
                        <a:solidFill>
                          <a:schemeClr val="bg1"/>
                        </a:solidFill>
                        <a:effectLst/>
                        <a:latin typeface="Arial" panose="020B0604020202020204" pitchFamily="34" charset="0"/>
                      </a:endParaRPr>
                    </a:p>
                  </a:txBody>
                  <a:tcPr marL="7620" marR="7620" marT="7620" marB="0" anchor="ctr">
                    <a:solidFill>
                      <a:schemeClr val="accent1"/>
                    </a:solidFill>
                  </a:tcPr>
                </a:tc>
                <a:tc>
                  <a:txBody>
                    <a:bodyPr/>
                    <a:lstStyle/>
                    <a:p>
                      <a:pPr algn="ctr" fontAlgn="ctr"/>
                      <a:r>
                        <a:rPr lang="en-US" sz="2400" b="1" u="none" strike="noStrike" dirty="0">
                          <a:solidFill>
                            <a:schemeClr val="bg1"/>
                          </a:solidFill>
                          <a:effectLst/>
                        </a:rPr>
                        <a:t>% Solids</a:t>
                      </a:r>
                      <a:endParaRPr lang="en-US" sz="2400" b="1" i="0" u="none" strike="noStrike" dirty="0">
                        <a:solidFill>
                          <a:schemeClr val="bg1"/>
                        </a:solidFill>
                        <a:effectLst/>
                        <a:latin typeface="Arial" panose="020B0604020202020204" pitchFamily="34" charset="0"/>
                      </a:endParaRPr>
                    </a:p>
                  </a:txBody>
                  <a:tcPr marL="7620" marR="7620" marT="7620" marB="0" anchor="ctr">
                    <a:solidFill>
                      <a:schemeClr val="accent1"/>
                    </a:solidFill>
                  </a:tcPr>
                </a:tc>
                <a:extLst>
                  <a:ext uri="{0D108BD9-81ED-4DB2-BD59-A6C34878D82A}">
                    <a16:rowId xmlns:a16="http://schemas.microsoft.com/office/drawing/2014/main" val="423618467"/>
                  </a:ext>
                </a:extLst>
              </a:tr>
              <a:tr h="484572">
                <a:tc>
                  <a:txBody>
                    <a:bodyPr/>
                    <a:lstStyle/>
                    <a:p>
                      <a:pPr algn="r" fontAlgn="b"/>
                      <a:r>
                        <a:rPr lang="en-US" sz="1800" u="none" strike="noStrike" dirty="0">
                          <a:effectLst/>
                          <a:latin typeface="+mn-lt"/>
                        </a:rPr>
                        <a:t>Kollicoat</a:t>
                      </a:r>
                      <a:r>
                        <a:rPr lang="en-US" sz="1800" u="none" strike="noStrike" baseline="30000" dirty="0">
                          <a:effectLst/>
                          <a:latin typeface="+mn-lt"/>
                        </a:rPr>
                        <a:t>®</a:t>
                      </a:r>
                      <a:r>
                        <a:rPr lang="en-US" sz="1800" u="none" strike="noStrike" dirty="0">
                          <a:effectLst/>
                          <a:latin typeface="+mn-lt"/>
                        </a:rPr>
                        <a:t> </a:t>
                      </a:r>
                      <a:r>
                        <a:rPr lang="en-US" sz="1800" u="none" strike="noStrike" dirty="0" err="1">
                          <a:effectLst/>
                          <a:latin typeface="+mn-lt"/>
                        </a:rPr>
                        <a:t>Smartseal</a:t>
                      </a:r>
                      <a:r>
                        <a:rPr lang="en-US" sz="1800" u="none" strike="noStrike" dirty="0">
                          <a:effectLst/>
                          <a:latin typeface="+mn-lt"/>
                        </a:rPr>
                        <a:t> 100P</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b="0" i="0" u="none" strike="noStrike" dirty="0">
                          <a:solidFill>
                            <a:srgbClr val="000000"/>
                          </a:solidFill>
                          <a:effectLst/>
                          <a:latin typeface="+mn-lt"/>
                        </a:rPr>
                        <a:t>10.48</a:t>
                      </a:r>
                    </a:p>
                  </a:txBody>
                  <a:tcPr marL="7620" marR="7620" marT="7620" marB="0" anchor="b"/>
                </a:tc>
                <a:tc>
                  <a:txBody>
                    <a:bodyPr/>
                    <a:lstStyle/>
                    <a:p>
                      <a:pPr algn="ctr" fontAlgn="b"/>
                      <a:r>
                        <a:rPr lang="en-US" sz="1800" b="0" i="0" u="none" strike="noStrike" dirty="0">
                          <a:solidFill>
                            <a:srgbClr val="000000"/>
                          </a:solidFill>
                          <a:effectLst/>
                          <a:latin typeface="+mn-lt"/>
                        </a:rPr>
                        <a:t>10.48</a:t>
                      </a:r>
                    </a:p>
                  </a:txBody>
                  <a:tcPr marL="7620" marR="7620" marT="7620" marB="0" anchor="b"/>
                </a:tc>
                <a:tc>
                  <a:txBody>
                    <a:bodyPr/>
                    <a:lstStyle/>
                    <a:p>
                      <a:pPr algn="ctr" fontAlgn="b"/>
                      <a:r>
                        <a:rPr lang="en-US" sz="1800" u="none" strike="noStrike" dirty="0">
                          <a:effectLst/>
                          <a:latin typeface="+mn-lt"/>
                        </a:rPr>
                        <a:t>52.40</a:t>
                      </a:r>
                      <a:endParaRPr lang="en-US" sz="1800" b="0" i="0" u="none" strike="noStrike" dirty="0">
                        <a:solidFill>
                          <a:srgbClr val="000000"/>
                        </a:solidFill>
                        <a:effectLst/>
                        <a:latin typeface="+mn-lt"/>
                      </a:endParaRPr>
                    </a:p>
                  </a:txBody>
                  <a:tcPr marL="7620" marR="7620" marT="7620" marB="0" anchor="b"/>
                </a:tc>
                <a:extLst>
                  <a:ext uri="{0D108BD9-81ED-4DB2-BD59-A6C34878D82A}">
                    <a16:rowId xmlns:a16="http://schemas.microsoft.com/office/drawing/2014/main" val="2680762851"/>
                  </a:ext>
                </a:extLst>
              </a:tr>
              <a:tr h="484572">
                <a:tc>
                  <a:txBody>
                    <a:bodyPr/>
                    <a:lstStyle/>
                    <a:p>
                      <a:pPr algn="r" fontAlgn="b"/>
                      <a:r>
                        <a:rPr lang="en-US" sz="1800" u="none" strike="noStrike" dirty="0">
                          <a:effectLst/>
                        </a:rPr>
                        <a:t>DBS or ATBC</a:t>
                      </a:r>
                      <a:endParaRPr lang="en-US" sz="1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en-US" sz="1800" b="0" i="0" u="none" strike="noStrike" dirty="0">
                          <a:solidFill>
                            <a:srgbClr val="000000"/>
                          </a:solidFill>
                          <a:effectLst/>
                          <a:latin typeface="+mn-lt"/>
                        </a:rPr>
                        <a:t>1.31</a:t>
                      </a:r>
                    </a:p>
                  </a:txBody>
                  <a:tcPr marL="7620" marR="7620" marT="7620" marB="0" anchor="b"/>
                </a:tc>
                <a:tc>
                  <a:txBody>
                    <a:bodyPr/>
                    <a:lstStyle/>
                    <a:p>
                      <a:pPr algn="ctr" fontAlgn="b"/>
                      <a:r>
                        <a:rPr lang="en-US" sz="1800" b="0" i="0" u="none" strike="noStrike" dirty="0">
                          <a:solidFill>
                            <a:srgbClr val="000000"/>
                          </a:solidFill>
                          <a:effectLst/>
                          <a:latin typeface="+mn-lt"/>
                        </a:rPr>
                        <a:t>1.31</a:t>
                      </a:r>
                    </a:p>
                  </a:txBody>
                  <a:tcPr marL="7620" marR="7620" marT="7620" marB="0" anchor="b"/>
                </a:tc>
                <a:tc>
                  <a:txBody>
                    <a:bodyPr/>
                    <a:lstStyle/>
                    <a:p>
                      <a:pPr algn="ctr" fontAlgn="b"/>
                      <a:r>
                        <a:rPr lang="en-US" sz="1800" b="0" i="0" u="none" strike="noStrike" dirty="0">
                          <a:solidFill>
                            <a:srgbClr val="000000"/>
                          </a:solidFill>
                          <a:effectLst/>
                          <a:latin typeface="+mn-lt"/>
                        </a:rPr>
                        <a:t>6.55</a:t>
                      </a:r>
                    </a:p>
                  </a:txBody>
                  <a:tcPr marL="7620" marR="7620" marT="7620" marB="0" anchor="b"/>
                </a:tc>
                <a:extLst>
                  <a:ext uri="{0D108BD9-81ED-4DB2-BD59-A6C34878D82A}">
                    <a16:rowId xmlns:a16="http://schemas.microsoft.com/office/drawing/2014/main" val="1555718592"/>
                  </a:ext>
                </a:extLst>
              </a:tr>
              <a:tr h="484572">
                <a:tc>
                  <a:txBody>
                    <a:bodyPr/>
                    <a:lstStyle/>
                    <a:p>
                      <a:pPr algn="r" fontAlgn="b"/>
                      <a:r>
                        <a:rPr lang="en-US" sz="1800" u="none" strike="noStrike" dirty="0">
                          <a:effectLst/>
                          <a:latin typeface="+mn-lt"/>
                        </a:rPr>
                        <a:t>Talc </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b="0" i="0" u="none" strike="noStrike" dirty="0">
                          <a:solidFill>
                            <a:srgbClr val="000000"/>
                          </a:solidFill>
                          <a:effectLst/>
                          <a:latin typeface="+mn-lt"/>
                        </a:rPr>
                        <a:t>8.00</a:t>
                      </a:r>
                    </a:p>
                  </a:txBody>
                  <a:tcPr marL="7620" marR="7620" marT="7620" marB="0" anchor="b"/>
                </a:tc>
                <a:tc>
                  <a:txBody>
                    <a:bodyPr/>
                    <a:lstStyle/>
                    <a:p>
                      <a:pPr algn="ctr" fontAlgn="b"/>
                      <a:r>
                        <a:rPr lang="en-US" sz="1800" b="0" i="0" u="none" strike="noStrike" dirty="0">
                          <a:solidFill>
                            <a:srgbClr val="000000"/>
                          </a:solidFill>
                          <a:effectLst/>
                          <a:latin typeface="+mn-lt"/>
                        </a:rPr>
                        <a:t>8.00</a:t>
                      </a:r>
                    </a:p>
                  </a:txBody>
                  <a:tcPr marL="7620" marR="7620" marT="7620" marB="0" anchor="b"/>
                </a:tc>
                <a:tc>
                  <a:txBody>
                    <a:bodyPr/>
                    <a:lstStyle/>
                    <a:p>
                      <a:pPr algn="ctr" fontAlgn="b"/>
                      <a:r>
                        <a:rPr lang="en-US" sz="1800" u="none" strike="noStrike" dirty="0">
                          <a:effectLst/>
                          <a:latin typeface="+mn-lt"/>
                        </a:rPr>
                        <a:t>40.0</a:t>
                      </a:r>
                      <a:endParaRPr lang="en-US" sz="1800" b="0" i="0" u="none" strike="noStrike" dirty="0">
                        <a:solidFill>
                          <a:srgbClr val="000000"/>
                        </a:solidFill>
                        <a:effectLst/>
                        <a:latin typeface="+mn-lt"/>
                      </a:endParaRPr>
                    </a:p>
                  </a:txBody>
                  <a:tcPr marL="7620" marR="7620" marT="7620" marB="0" anchor="b"/>
                </a:tc>
                <a:extLst>
                  <a:ext uri="{0D108BD9-81ED-4DB2-BD59-A6C34878D82A}">
                    <a16:rowId xmlns:a16="http://schemas.microsoft.com/office/drawing/2014/main" val="2856897111"/>
                  </a:ext>
                </a:extLst>
              </a:tr>
              <a:tr h="484572">
                <a:tc>
                  <a:txBody>
                    <a:bodyPr/>
                    <a:lstStyle/>
                    <a:p>
                      <a:pPr algn="r" fontAlgn="b"/>
                      <a:r>
                        <a:rPr lang="en-US" sz="1800" b="0" i="0" u="none" strike="noStrike" dirty="0">
                          <a:solidFill>
                            <a:srgbClr val="000000"/>
                          </a:solidFill>
                          <a:effectLst/>
                          <a:latin typeface="+mn-lt"/>
                        </a:rPr>
                        <a:t>Succinic acid</a:t>
                      </a:r>
                    </a:p>
                  </a:txBody>
                  <a:tcPr marL="7620" marR="7620" marT="7620" marB="0" anchor="b"/>
                </a:tc>
                <a:tc>
                  <a:txBody>
                    <a:bodyPr/>
                    <a:lstStyle/>
                    <a:p>
                      <a:pPr algn="ctr" fontAlgn="b"/>
                      <a:r>
                        <a:rPr lang="en-US" sz="1800" b="0" i="0" u="none" strike="noStrike" dirty="0">
                          <a:solidFill>
                            <a:srgbClr val="000000"/>
                          </a:solidFill>
                          <a:effectLst/>
                          <a:latin typeface="+mn-lt"/>
                        </a:rPr>
                        <a:t>0.21</a:t>
                      </a:r>
                    </a:p>
                  </a:txBody>
                  <a:tcPr marL="7620" marR="7620" marT="7620" marB="0" anchor="b"/>
                </a:tc>
                <a:tc>
                  <a:txBody>
                    <a:bodyPr/>
                    <a:lstStyle/>
                    <a:p>
                      <a:pPr algn="ctr" fontAlgn="b"/>
                      <a:r>
                        <a:rPr lang="en-US" sz="1800" b="0" i="0" u="none" strike="noStrike" dirty="0">
                          <a:solidFill>
                            <a:srgbClr val="000000"/>
                          </a:solidFill>
                          <a:effectLst/>
                          <a:latin typeface="+mn-lt"/>
                        </a:rPr>
                        <a:t>0.21</a:t>
                      </a:r>
                    </a:p>
                  </a:txBody>
                  <a:tcPr marL="7620" marR="7620" marT="7620" marB="0" anchor="b"/>
                </a:tc>
                <a:tc>
                  <a:txBody>
                    <a:bodyPr/>
                    <a:lstStyle/>
                    <a:p>
                      <a:pPr algn="ctr" fontAlgn="b"/>
                      <a:r>
                        <a:rPr lang="en-US" sz="1800" b="0" i="0" u="none" strike="noStrike" dirty="0">
                          <a:solidFill>
                            <a:srgbClr val="000000"/>
                          </a:solidFill>
                          <a:effectLst/>
                          <a:latin typeface="+mn-lt"/>
                        </a:rPr>
                        <a:t>1.05</a:t>
                      </a:r>
                    </a:p>
                  </a:txBody>
                  <a:tcPr marL="7620" marR="7620" marT="7620" marB="0" anchor="b"/>
                </a:tc>
                <a:extLst>
                  <a:ext uri="{0D108BD9-81ED-4DB2-BD59-A6C34878D82A}">
                    <a16:rowId xmlns:a16="http://schemas.microsoft.com/office/drawing/2014/main" val="3321847208"/>
                  </a:ext>
                </a:extLst>
              </a:tr>
              <a:tr h="484572">
                <a:tc>
                  <a:txBody>
                    <a:bodyPr/>
                    <a:lstStyle/>
                    <a:p>
                      <a:pPr algn="r" fontAlgn="b"/>
                      <a:r>
                        <a:rPr lang="en-US" sz="1800" u="none" strike="noStrike" dirty="0">
                          <a:effectLst/>
                          <a:latin typeface="+mn-lt"/>
                        </a:rPr>
                        <a:t>Water – q.s. 20% solids content</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b="0" i="0" u="none" strike="noStrike" dirty="0">
                          <a:solidFill>
                            <a:srgbClr val="000000"/>
                          </a:solidFill>
                          <a:effectLst/>
                          <a:latin typeface="+mn-lt"/>
                        </a:rPr>
                        <a:t>80.00</a:t>
                      </a:r>
                    </a:p>
                  </a:txBody>
                  <a:tcPr marL="7620" marR="7620" marT="7620" marB="0" anchor="b"/>
                </a:tc>
                <a:tc>
                  <a:txBody>
                    <a:bodyPr/>
                    <a:lstStyle/>
                    <a:p>
                      <a:pPr algn="ctr" fontAlgn="b"/>
                      <a:r>
                        <a:rPr lang="en-US" sz="1800" u="none" strike="noStrike" dirty="0">
                          <a:effectLst/>
                          <a:latin typeface="+mn-lt"/>
                        </a:rPr>
                        <a:t>-</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u="none" strike="noStrike" dirty="0">
                          <a:effectLst/>
                          <a:latin typeface="+mn-lt"/>
                        </a:rPr>
                        <a:t>-</a:t>
                      </a:r>
                      <a:endParaRPr lang="en-US" sz="1800" b="0" i="0" u="none" strike="noStrike" dirty="0">
                        <a:solidFill>
                          <a:srgbClr val="000000"/>
                        </a:solidFill>
                        <a:effectLst/>
                        <a:latin typeface="+mn-lt"/>
                      </a:endParaRPr>
                    </a:p>
                  </a:txBody>
                  <a:tcPr marL="7620" marR="7620" marT="7620" marB="0" anchor="b"/>
                </a:tc>
                <a:extLst>
                  <a:ext uri="{0D108BD9-81ED-4DB2-BD59-A6C34878D82A}">
                    <a16:rowId xmlns:a16="http://schemas.microsoft.com/office/drawing/2014/main" val="149955734"/>
                  </a:ext>
                </a:extLst>
              </a:tr>
              <a:tr h="484572">
                <a:tc>
                  <a:txBody>
                    <a:bodyPr/>
                    <a:lstStyle/>
                    <a:p>
                      <a:pPr algn="r" fontAlgn="b"/>
                      <a:r>
                        <a:rPr lang="en-US" sz="1800" u="none" strike="noStrike" dirty="0">
                          <a:effectLst/>
                          <a:latin typeface="+mn-lt"/>
                        </a:rPr>
                        <a:t>Total</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u="none" strike="noStrike" dirty="0">
                          <a:effectLst/>
                          <a:latin typeface="+mn-lt"/>
                        </a:rPr>
                        <a:t>100.00</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u="none" strike="noStrike" dirty="0">
                          <a:effectLst/>
                          <a:latin typeface="+mn-lt"/>
                        </a:rPr>
                        <a:t>20.00</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u="none" strike="noStrike" dirty="0">
                          <a:effectLst/>
                          <a:latin typeface="+mn-lt"/>
                        </a:rPr>
                        <a:t>100.0</a:t>
                      </a:r>
                      <a:endParaRPr lang="en-US" sz="1800" b="0" i="0" u="none" strike="noStrike" dirty="0">
                        <a:solidFill>
                          <a:srgbClr val="000000"/>
                        </a:solidFill>
                        <a:effectLst/>
                        <a:latin typeface="+mn-lt"/>
                      </a:endParaRPr>
                    </a:p>
                  </a:txBody>
                  <a:tcPr marL="7620" marR="7620" marT="7620" marB="0" anchor="b"/>
                </a:tc>
                <a:extLst>
                  <a:ext uri="{0D108BD9-81ED-4DB2-BD59-A6C34878D82A}">
                    <a16:rowId xmlns:a16="http://schemas.microsoft.com/office/drawing/2014/main" val="3867984353"/>
                  </a:ext>
                </a:extLst>
              </a:tr>
            </a:tbl>
          </a:graphicData>
        </a:graphic>
      </p:graphicFrame>
      <p:sp>
        <p:nvSpPr>
          <p:cNvPr id="20" name="TextBox 19">
            <a:extLst>
              <a:ext uri="{FF2B5EF4-FFF2-40B4-BE49-F238E27FC236}">
                <a16:creationId xmlns:a16="http://schemas.microsoft.com/office/drawing/2014/main" id="{4581D17D-4A0C-E40A-591F-DE48CCFE42FE}"/>
              </a:ext>
            </a:extLst>
          </p:cNvPr>
          <p:cNvSpPr txBox="1"/>
          <p:nvPr/>
        </p:nvSpPr>
        <p:spPr>
          <a:xfrm>
            <a:off x="1095455" y="4947252"/>
            <a:ext cx="10860145" cy="1200329"/>
          </a:xfrm>
          <a:prstGeom prst="rect">
            <a:avLst/>
          </a:prstGeom>
          <a:noFill/>
        </p:spPr>
        <p:txBody>
          <a:bodyPr wrap="square" rtlCol="0">
            <a:spAutoFit/>
          </a:bodyPr>
          <a:lstStyle/>
          <a:p>
            <a:pPr marL="285750" indent="-285750">
              <a:buClr>
                <a:schemeClr val="accent1"/>
              </a:buClr>
              <a:buFont typeface="Arial" panose="020B0604020202020204" pitchFamily="34" charset="0"/>
              <a:buChar char="•"/>
            </a:pPr>
            <a:r>
              <a:rPr lang="en-US" dirty="0"/>
              <a:t>12.5% of plasticizer based on polymer weight</a:t>
            </a:r>
          </a:p>
          <a:p>
            <a:pPr marL="285750" indent="-285750">
              <a:buClr>
                <a:schemeClr val="accent1"/>
              </a:buClr>
              <a:buFont typeface="Arial" panose="020B0604020202020204" pitchFamily="34" charset="0"/>
              <a:buChar char="•"/>
            </a:pPr>
            <a:r>
              <a:rPr lang="en-US" dirty="0"/>
              <a:t>40.0% of talc based on the total amount of solids (dry film)</a:t>
            </a:r>
            <a:endParaRPr lang="en-US" sz="1400" dirty="0"/>
          </a:p>
          <a:p>
            <a:pPr marL="285750" indent="-285750">
              <a:buClr>
                <a:schemeClr val="accent1"/>
              </a:buClr>
              <a:buFont typeface="Arial" panose="020B0604020202020204" pitchFamily="34" charset="0"/>
              <a:buChar char="•"/>
            </a:pPr>
            <a:r>
              <a:rPr lang="en-US" dirty="0"/>
              <a:t>2.0% of succinic acid based on polymer weight</a:t>
            </a:r>
          </a:p>
          <a:p>
            <a:pPr marL="285750" indent="-285750">
              <a:buClr>
                <a:schemeClr val="accent1"/>
              </a:buClr>
              <a:buFont typeface="Arial" panose="020B0604020202020204" pitchFamily="34" charset="0"/>
              <a:buChar char="•"/>
            </a:pPr>
            <a:r>
              <a:rPr lang="en-US" dirty="0"/>
              <a:t>BHT is recommended – add 2.5 % of BHT based on dry polymer </a:t>
            </a:r>
          </a:p>
        </p:txBody>
      </p:sp>
      <p:sp>
        <p:nvSpPr>
          <p:cNvPr id="6" name="Footer Placeholder 3">
            <a:extLst>
              <a:ext uri="{FF2B5EF4-FFF2-40B4-BE49-F238E27FC236}">
                <a16:creationId xmlns:a16="http://schemas.microsoft.com/office/drawing/2014/main" id="{1A20DFA3-3AAB-2887-10BA-B2D6D3CC3386}"/>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9" name="Slide Number Placeholder 8">
            <a:extLst>
              <a:ext uri="{FF2B5EF4-FFF2-40B4-BE49-F238E27FC236}">
                <a16:creationId xmlns:a16="http://schemas.microsoft.com/office/drawing/2014/main" id="{B67DBAA1-14B5-CB1B-A79B-FB367107333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92</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09724307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6836FD7-1AC3-A2A6-0543-2524CA97B9FE}"/>
              </a:ext>
            </a:extLst>
          </p:cNvPr>
          <p:cNvGraphicFramePr>
            <a:graphicFrameLocks noChangeAspect="1"/>
          </p:cNvGraphicFramePr>
          <p:nvPr>
            <p:custDataLst>
              <p:tags r:id="rId1"/>
            </p:custDataLst>
            <p:extLst>
              <p:ext uri="{D42A27DB-BD31-4B8C-83A1-F6EECF244321}">
                <p14:modId xmlns:p14="http://schemas.microsoft.com/office/powerpoint/2010/main" val="5995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7" name="Object 6" hidden="1">
                        <a:extLst>
                          <a:ext uri="{FF2B5EF4-FFF2-40B4-BE49-F238E27FC236}">
                            <a16:creationId xmlns:a16="http://schemas.microsoft.com/office/drawing/2014/main" id="{16836FD7-1AC3-A2A6-0543-2524CA97B9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91B3A6F6-8B61-4685-BB51-40A15C7273B9}"/>
              </a:ext>
            </a:extLst>
          </p:cNvPr>
          <p:cNvSpPr>
            <a:spLocks noGrp="1"/>
          </p:cNvSpPr>
          <p:nvPr>
            <p:ph type="title"/>
          </p:nvPr>
        </p:nvSpPr>
        <p:spPr/>
        <p:txBody>
          <a:bodyPr vert="horz"/>
          <a:lstStyle/>
          <a:p>
            <a:r>
              <a:rPr lang="en-US" sz="2800" dirty="0"/>
              <a:t>Formulary: Kollicoat</a:t>
            </a:r>
            <a:r>
              <a:rPr lang="en-US" sz="2800" baseline="30000" dirty="0"/>
              <a:t>®</a:t>
            </a:r>
            <a:r>
              <a:rPr lang="en-US" sz="2800" dirty="0"/>
              <a:t> Smartseal 100 P in organic solvents</a:t>
            </a:r>
          </a:p>
        </p:txBody>
      </p:sp>
      <p:graphicFrame>
        <p:nvGraphicFramePr>
          <p:cNvPr id="5" name="Tabela 4">
            <a:extLst>
              <a:ext uri="{FF2B5EF4-FFF2-40B4-BE49-F238E27FC236}">
                <a16:creationId xmlns:a16="http://schemas.microsoft.com/office/drawing/2014/main" id="{4D4CA5EE-DBD0-445D-A1CC-6CC590E1A008}"/>
              </a:ext>
            </a:extLst>
          </p:cNvPr>
          <p:cNvGraphicFramePr>
            <a:graphicFrameLocks noGrp="1"/>
          </p:cNvGraphicFramePr>
          <p:nvPr>
            <p:extLst>
              <p:ext uri="{D42A27DB-BD31-4B8C-83A1-F6EECF244321}">
                <p14:modId xmlns:p14="http://schemas.microsoft.com/office/powerpoint/2010/main" val="1489521489"/>
              </p:ext>
            </p:extLst>
          </p:nvPr>
        </p:nvGraphicFramePr>
        <p:xfrm>
          <a:off x="665927" y="1507224"/>
          <a:ext cx="10860146" cy="3336615"/>
        </p:xfrm>
        <a:graphic>
          <a:graphicData uri="http://schemas.openxmlformats.org/drawingml/2006/table">
            <a:tbl>
              <a:tblPr>
                <a:tableStyleId>{5C22544A-7EE6-4342-B048-85BDC9FD1C3A}</a:tableStyleId>
              </a:tblPr>
              <a:tblGrid>
                <a:gridCol w="4554279">
                  <a:extLst>
                    <a:ext uri="{9D8B030D-6E8A-4147-A177-3AD203B41FA5}">
                      <a16:colId xmlns:a16="http://schemas.microsoft.com/office/drawing/2014/main" val="2785147893"/>
                    </a:ext>
                  </a:extLst>
                </a:gridCol>
                <a:gridCol w="1967023">
                  <a:extLst>
                    <a:ext uri="{9D8B030D-6E8A-4147-A177-3AD203B41FA5}">
                      <a16:colId xmlns:a16="http://schemas.microsoft.com/office/drawing/2014/main" val="1918756636"/>
                    </a:ext>
                  </a:extLst>
                </a:gridCol>
                <a:gridCol w="2831769">
                  <a:extLst>
                    <a:ext uri="{9D8B030D-6E8A-4147-A177-3AD203B41FA5}">
                      <a16:colId xmlns:a16="http://schemas.microsoft.com/office/drawing/2014/main" val="1631918100"/>
                    </a:ext>
                  </a:extLst>
                </a:gridCol>
                <a:gridCol w="1507075">
                  <a:extLst>
                    <a:ext uri="{9D8B030D-6E8A-4147-A177-3AD203B41FA5}">
                      <a16:colId xmlns:a16="http://schemas.microsoft.com/office/drawing/2014/main" val="3285745497"/>
                    </a:ext>
                  </a:extLst>
                </a:gridCol>
              </a:tblGrid>
              <a:tr h="842067">
                <a:tc>
                  <a:txBody>
                    <a:bodyPr/>
                    <a:lstStyle/>
                    <a:p>
                      <a:pPr algn="ctr" fontAlgn="ctr"/>
                      <a:r>
                        <a:rPr lang="en-US" sz="2400" b="1" u="none" strike="noStrike" dirty="0">
                          <a:solidFill>
                            <a:schemeClr val="bg1"/>
                          </a:solidFill>
                          <a:effectLst/>
                        </a:rPr>
                        <a:t>Material</a:t>
                      </a:r>
                      <a:endParaRPr lang="en-US" sz="2400" b="1" i="0" u="none" strike="noStrike" dirty="0">
                        <a:solidFill>
                          <a:schemeClr val="bg1"/>
                        </a:solidFill>
                        <a:effectLst/>
                        <a:latin typeface="Arial" panose="020B0604020202020204" pitchFamily="34" charset="0"/>
                      </a:endParaRPr>
                    </a:p>
                  </a:txBody>
                  <a:tcPr marL="7620" marR="7620" marT="7620" marB="0" anchor="ctr">
                    <a:solidFill>
                      <a:schemeClr val="accent1"/>
                    </a:solidFill>
                  </a:tcPr>
                </a:tc>
                <a:tc>
                  <a:txBody>
                    <a:bodyPr/>
                    <a:lstStyle/>
                    <a:p>
                      <a:pPr algn="ctr" fontAlgn="ctr"/>
                      <a:r>
                        <a:rPr lang="en-US" sz="2400" b="1" u="none" strike="noStrike" dirty="0">
                          <a:solidFill>
                            <a:schemeClr val="bg1"/>
                          </a:solidFill>
                          <a:effectLst/>
                        </a:rPr>
                        <a:t>%</a:t>
                      </a:r>
                      <a:endParaRPr lang="en-US" sz="2400" b="1" i="0" u="none" strike="noStrike" dirty="0">
                        <a:solidFill>
                          <a:schemeClr val="bg1"/>
                        </a:solidFill>
                        <a:effectLst/>
                        <a:latin typeface="Arial" panose="020B0604020202020204" pitchFamily="34" charset="0"/>
                      </a:endParaRPr>
                    </a:p>
                  </a:txBody>
                  <a:tcPr marL="7620" marR="7620" marT="7620" marB="0" anchor="ctr">
                    <a:solidFill>
                      <a:schemeClr val="accent1"/>
                    </a:solidFill>
                  </a:tcPr>
                </a:tc>
                <a:tc>
                  <a:txBody>
                    <a:bodyPr/>
                    <a:lstStyle/>
                    <a:p>
                      <a:pPr algn="ctr" fontAlgn="ctr"/>
                      <a:r>
                        <a:rPr lang="en-US" sz="2400" b="1" u="none" strike="noStrike" dirty="0">
                          <a:solidFill>
                            <a:schemeClr val="bg1"/>
                          </a:solidFill>
                          <a:effectLst/>
                        </a:rPr>
                        <a:t>Solid content (g)</a:t>
                      </a:r>
                      <a:endParaRPr lang="en-US" sz="2400" b="1" i="0" u="none" strike="noStrike" dirty="0">
                        <a:solidFill>
                          <a:schemeClr val="bg1"/>
                        </a:solidFill>
                        <a:effectLst/>
                        <a:latin typeface="Arial" panose="020B0604020202020204" pitchFamily="34" charset="0"/>
                      </a:endParaRPr>
                    </a:p>
                  </a:txBody>
                  <a:tcPr marL="7620" marR="7620" marT="7620" marB="0" anchor="ctr">
                    <a:solidFill>
                      <a:schemeClr val="accent1"/>
                    </a:solidFill>
                  </a:tcPr>
                </a:tc>
                <a:tc>
                  <a:txBody>
                    <a:bodyPr/>
                    <a:lstStyle/>
                    <a:p>
                      <a:pPr algn="ctr" fontAlgn="ctr"/>
                      <a:r>
                        <a:rPr lang="en-US" sz="2400" b="1" u="none" strike="noStrike" dirty="0">
                          <a:solidFill>
                            <a:schemeClr val="bg1"/>
                          </a:solidFill>
                          <a:effectLst/>
                        </a:rPr>
                        <a:t>% Solids</a:t>
                      </a:r>
                      <a:endParaRPr lang="en-US" sz="2400" b="1" i="0" u="none" strike="noStrike" dirty="0">
                        <a:solidFill>
                          <a:schemeClr val="bg1"/>
                        </a:solidFill>
                        <a:effectLst/>
                        <a:latin typeface="Arial" panose="020B0604020202020204" pitchFamily="34" charset="0"/>
                      </a:endParaRPr>
                    </a:p>
                  </a:txBody>
                  <a:tcPr marL="7620" marR="7620" marT="7620" marB="0" anchor="ctr">
                    <a:solidFill>
                      <a:schemeClr val="accent1"/>
                    </a:solidFill>
                  </a:tcPr>
                </a:tc>
                <a:extLst>
                  <a:ext uri="{0D108BD9-81ED-4DB2-BD59-A6C34878D82A}">
                    <a16:rowId xmlns:a16="http://schemas.microsoft.com/office/drawing/2014/main" val="423618467"/>
                  </a:ext>
                </a:extLst>
              </a:tr>
              <a:tr h="484572">
                <a:tc>
                  <a:txBody>
                    <a:bodyPr/>
                    <a:lstStyle/>
                    <a:p>
                      <a:pPr algn="r" fontAlgn="b"/>
                      <a:r>
                        <a:rPr lang="en-US" sz="1800" u="none" strike="noStrike" dirty="0">
                          <a:effectLst/>
                          <a:latin typeface="+mn-lt"/>
                        </a:rPr>
                        <a:t>Kollicoat</a:t>
                      </a:r>
                      <a:r>
                        <a:rPr lang="en-US" sz="1800" u="none" strike="noStrike" baseline="30000" dirty="0">
                          <a:effectLst/>
                          <a:latin typeface="+mn-lt"/>
                        </a:rPr>
                        <a:t>®</a:t>
                      </a:r>
                      <a:r>
                        <a:rPr lang="en-US" sz="1800" u="none" strike="noStrike" dirty="0">
                          <a:effectLst/>
                          <a:latin typeface="+mn-lt"/>
                        </a:rPr>
                        <a:t> Smartseal 100P</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b="0" i="0" u="none" strike="noStrike" dirty="0">
                          <a:solidFill>
                            <a:srgbClr val="000000"/>
                          </a:solidFill>
                          <a:effectLst/>
                          <a:latin typeface="+mn-lt"/>
                        </a:rPr>
                        <a:t>10.67</a:t>
                      </a:r>
                    </a:p>
                  </a:txBody>
                  <a:tcPr marL="7620" marR="7620" marT="7620" marB="0" anchor="b"/>
                </a:tc>
                <a:tc>
                  <a:txBody>
                    <a:bodyPr/>
                    <a:lstStyle/>
                    <a:p>
                      <a:pPr algn="ctr" fontAlgn="b"/>
                      <a:r>
                        <a:rPr lang="en-US" sz="1800" b="0" i="0" u="none" strike="noStrike" dirty="0">
                          <a:solidFill>
                            <a:srgbClr val="000000"/>
                          </a:solidFill>
                          <a:effectLst/>
                          <a:latin typeface="+mn-lt"/>
                        </a:rPr>
                        <a:t>10.67</a:t>
                      </a:r>
                    </a:p>
                  </a:txBody>
                  <a:tcPr marL="7620" marR="7620" marT="7620" marB="0" anchor="b"/>
                </a:tc>
                <a:tc>
                  <a:txBody>
                    <a:bodyPr/>
                    <a:lstStyle/>
                    <a:p>
                      <a:pPr algn="ctr" fontAlgn="b"/>
                      <a:r>
                        <a:rPr lang="en-US" sz="1800" u="none" strike="noStrike" dirty="0">
                          <a:effectLst/>
                          <a:latin typeface="+mn-lt"/>
                        </a:rPr>
                        <a:t>53.35</a:t>
                      </a:r>
                      <a:endParaRPr lang="en-US" sz="1800" b="0" i="0" u="none" strike="noStrike" dirty="0">
                        <a:solidFill>
                          <a:srgbClr val="000000"/>
                        </a:solidFill>
                        <a:effectLst/>
                        <a:latin typeface="+mn-lt"/>
                      </a:endParaRPr>
                    </a:p>
                  </a:txBody>
                  <a:tcPr marL="7620" marR="7620" marT="7620" marB="0" anchor="b"/>
                </a:tc>
                <a:extLst>
                  <a:ext uri="{0D108BD9-81ED-4DB2-BD59-A6C34878D82A}">
                    <a16:rowId xmlns:a16="http://schemas.microsoft.com/office/drawing/2014/main" val="2680762851"/>
                  </a:ext>
                </a:extLst>
              </a:tr>
              <a:tr h="484572">
                <a:tc>
                  <a:txBody>
                    <a:bodyPr/>
                    <a:lstStyle/>
                    <a:p>
                      <a:pPr algn="r" fontAlgn="b"/>
                      <a:r>
                        <a:rPr lang="en-US" sz="1800" u="none" strike="noStrike" dirty="0">
                          <a:effectLst/>
                        </a:rPr>
                        <a:t>DBS or ATBC</a:t>
                      </a:r>
                      <a:endParaRPr lang="en-US" sz="1800" b="0" i="0" u="none" strike="noStrike" dirty="0">
                        <a:solidFill>
                          <a:srgbClr val="000000"/>
                        </a:solidFill>
                        <a:effectLst/>
                        <a:latin typeface="Arial" panose="020B0604020202020204" pitchFamily="34" charset="0"/>
                      </a:endParaRPr>
                    </a:p>
                  </a:txBody>
                  <a:tcPr marL="7620" marR="7620" marT="7620" marB="0" anchor="b"/>
                </a:tc>
                <a:tc>
                  <a:txBody>
                    <a:bodyPr/>
                    <a:lstStyle/>
                    <a:p>
                      <a:pPr algn="ctr" fontAlgn="b"/>
                      <a:r>
                        <a:rPr lang="en-US" sz="1800" b="0" i="0" u="none" strike="noStrike" dirty="0">
                          <a:solidFill>
                            <a:srgbClr val="000000"/>
                          </a:solidFill>
                          <a:effectLst/>
                          <a:latin typeface="+mn-lt"/>
                        </a:rPr>
                        <a:t>1.33</a:t>
                      </a:r>
                    </a:p>
                  </a:txBody>
                  <a:tcPr marL="7620" marR="7620" marT="7620" marB="0" anchor="b"/>
                </a:tc>
                <a:tc>
                  <a:txBody>
                    <a:bodyPr/>
                    <a:lstStyle/>
                    <a:p>
                      <a:pPr algn="ctr" fontAlgn="b"/>
                      <a:r>
                        <a:rPr lang="en-US" sz="1800" b="0" i="0" u="none" strike="noStrike" dirty="0">
                          <a:solidFill>
                            <a:srgbClr val="000000"/>
                          </a:solidFill>
                          <a:effectLst/>
                          <a:latin typeface="+mn-lt"/>
                        </a:rPr>
                        <a:t>1.33</a:t>
                      </a:r>
                    </a:p>
                  </a:txBody>
                  <a:tcPr marL="7620" marR="7620" marT="7620" marB="0" anchor="b"/>
                </a:tc>
                <a:tc>
                  <a:txBody>
                    <a:bodyPr/>
                    <a:lstStyle/>
                    <a:p>
                      <a:pPr algn="ctr" fontAlgn="b"/>
                      <a:r>
                        <a:rPr lang="en-US" sz="1800" b="0" i="0" u="none" strike="noStrike" dirty="0">
                          <a:solidFill>
                            <a:srgbClr val="000000"/>
                          </a:solidFill>
                          <a:effectLst/>
                          <a:latin typeface="+mn-lt"/>
                        </a:rPr>
                        <a:t>6.65</a:t>
                      </a:r>
                    </a:p>
                  </a:txBody>
                  <a:tcPr marL="7620" marR="7620" marT="7620" marB="0" anchor="b"/>
                </a:tc>
                <a:extLst>
                  <a:ext uri="{0D108BD9-81ED-4DB2-BD59-A6C34878D82A}">
                    <a16:rowId xmlns:a16="http://schemas.microsoft.com/office/drawing/2014/main" val="1555718592"/>
                  </a:ext>
                </a:extLst>
              </a:tr>
              <a:tr h="484572">
                <a:tc>
                  <a:txBody>
                    <a:bodyPr/>
                    <a:lstStyle/>
                    <a:p>
                      <a:pPr algn="r" fontAlgn="b"/>
                      <a:r>
                        <a:rPr lang="en-US" sz="1800" u="none" strike="noStrike" dirty="0">
                          <a:effectLst/>
                          <a:latin typeface="+mn-lt"/>
                        </a:rPr>
                        <a:t>Talc </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b="0" i="0" u="none" strike="noStrike" dirty="0">
                          <a:solidFill>
                            <a:srgbClr val="000000"/>
                          </a:solidFill>
                          <a:effectLst/>
                          <a:latin typeface="+mn-lt"/>
                        </a:rPr>
                        <a:t>8.00</a:t>
                      </a:r>
                    </a:p>
                  </a:txBody>
                  <a:tcPr marL="7620" marR="7620" marT="7620" marB="0" anchor="b"/>
                </a:tc>
                <a:tc>
                  <a:txBody>
                    <a:bodyPr/>
                    <a:lstStyle/>
                    <a:p>
                      <a:pPr algn="ctr" fontAlgn="b"/>
                      <a:r>
                        <a:rPr lang="en-US" sz="1800" b="0" i="0" u="none" strike="noStrike" dirty="0">
                          <a:solidFill>
                            <a:srgbClr val="000000"/>
                          </a:solidFill>
                          <a:effectLst/>
                          <a:latin typeface="+mn-lt"/>
                        </a:rPr>
                        <a:t>8.00</a:t>
                      </a:r>
                    </a:p>
                  </a:txBody>
                  <a:tcPr marL="7620" marR="7620" marT="7620" marB="0" anchor="b"/>
                </a:tc>
                <a:tc>
                  <a:txBody>
                    <a:bodyPr/>
                    <a:lstStyle/>
                    <a:p>
                      <a:pPr algn="ctr" fontAlgn="b"/>
                      <a:r>
                        <a:rPr lang="en-US" sz="1800" u="none" strike="noStrike" dirty="0">
                          <a:effectLst/>
                          <a:latin typeface="+mn-lt"/>
                        </a:rPr>
                        <a:t>40.0</a:t>
                      </a:r>
                      <a:endParaRPr lang="en-US" sz="1800" b="0" i="0" u="none" strike="noStrike" dirty="0">
                        <a:solidFill>
                          <a:srgbClr val="000000"/>
                        </a:solidFill>
                        <a:effectLst/>
                        <a:latin typeface="+mn-lt"/>
                      </a:endParaRPr>
                    </a:p>
                  </a:txBody>
                  <a:tcPr marL="7620" marR="7620" marT="7620" marB="0" anchor="b"/>
                </a:tc>
                <a:extLst>
                  <a:ext uri="{0D108BD9-81ED-4DB2-BD59-A6C34878D82A}">
                    <a16:rowId xmlns:a16="http://schemas.microsoft.com/office/drawing/2014/main" val="2856897111"/>
                  </a:ext>
                </a:extLst>
              </a:tr>
              <a:tr h="484572">
                <a:tc>
                  <a:txBody>
                    <a:bodyPr/>
                    <a:lstStyle/>
                    <a:p>
                      <a:pPr algn="r" fontAlgn="b"/>
                      <a:r>
                        <a:rPr lang="en-US" sz="1800" b="0" i="0" u="none" strike="noStrike" dirty="0">
                          <a:solidFill>
                            <a:srgbClr val="000000"/>
                          </a:solidFill>
                          <a:effectLst/>
                          <a:latin typeface="+mn-lt"/>
                        </a:rPr>
                        <a:t>Acetone : Isopropanol (1:1)</a:t>
                      </a:r>
                      <a:r>
                        <a:rPr lang="en-US" sz="1800" u="none" strike="noStrike" dirty="0">
                          <a:effectLst/>
                          <a:latin typeface="+mn-lt"/>
                        </a:rPr>
                        <a:t> q.s. 20% solids content</a:t>
                      </a:r>
                      <a:r>
                        <a:rPr lang="en-US" sz="1800" b="0" i="0" u="none" strike="noStrike" dirty="0">
                          <a:solidFill>
                            <a:srgbClr val="000000"/>
                          </a:solidFill>
                          <a:effectLst/>
                          <a:latin typeface="+mn-lt"/>
                        </a:rPr>
                        <a:t> </a:t>
                      </a:r>
                    </a:p>
                  </a:txBody>
                  <a:tcPr marL="7620" marR="7620" marT="762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dirty="0">
                          <a:solidFill>
                            <a:srgbClr val="000000"/>
                          </a:solidFill>
                          <a:effectLst/>
                          <a:latin typeface="+mn-lt"/>
                        </a:rPr>
                        <a:t>40.00 Isopropanol</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800" b="0" i="0" u="none" strike="noStrike" dirty="0">
                          <a:solidFill>
                            <a:srgbClr val="000000"/>
                          </a:solidFill>
                          <a:effectLst/>
                          <a:latin typeface="+mn-lt"/>
                        </a:rPr>
                        <a:t>40.00 Acetone</a:t>
                      </a:r>
                    </a:p>
                  </a:txBody>
                  <a:tcPr marL="7620" marR="7620" marT="7620" marB="0" anchor="ctr"/>
                </a:tc>
                <a:tc>
                  <a:txBody>
                    <a:bodyPr/>
                    <a:lstStyle/>
                    <a:p>
                      <a:pPr algn="ctr" fontAlgn="b"/>
                      <a:endParaRPr lang="en-US" sz="1800" b="0" i="0" u="none" strike="noStrike" dirty="0">
                        <a:solidFill>
                          <a:srgbClr val="000000"/>
                        </a:solidFill>
                        <a:effectLst/>
                        <a:latin typeface="+mn-lt"/>
                      </a:endParaRPr>
                    </a:p>
                  </a:txBody>
                  <a:tcPr marL="7620" marR="7620" marT="7620" marB="0" anchor="b"/>
                </a:tc>
                <a:tc>
                  <a:txBody>
                    <a:bodyPr/>
                    <a:lstStyle/>
                    <a:p>
                      <a:pPr algn="ctr" fontAlgn="b"/>
                      <a:endParaRPr lang="en-US" sz="1800" b="0" i="0" u="none" strike="noStrike" dirty="0">
                        <a:solidFill>
                          <a:srgbClr val="000000"/>
                        </a:solidFill>
                        <a:effectLst/>
                        <a:latin typeface="+mn-lt"/>
                      </a:endParaRPr>
                    </a:p>
                  </a:txBody>
                  <a:tcPr marL="7620" marR="7620" marT="7620" marB="0" anchor="b"/>
                </a:tc>
                <a:extLst>
                  <a:ext uri="{0D108BD9-81ED-4DB2-BD59-A6C34878D82A}">
                    <a16:rowId xmlns:a16="http://schemas.microsoft.com/office/drawing/2014/main" val="3321847208"/>
                  </a:ext>
                </a:extLst>
              </a:tr>
              <a:tr h="484572">
                <a:tc>
                  <a:txBody>
                    <a:bodyPr/>
                    <a:lstStyle/>
                    <a:p>
                      <a:pPr algn="r" fontAlgn="b"/>
                      <a:r>
                        <a:rPr lang="en-US" sz="1800" u="none" strike="noStrike" dirty="0">
                          <a:effectLst/>
                          <a:latin typeface="+mn-lt"/>
                        </a:rPr>
                        <a:t>Total</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u="none" strike="noStrike" dirty="0">
                          <a:effectLst/>
                          <a:latin typeface="+mn-lt"/>
                        </a:rPr>
                        <a:t>100.00</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u="none" strike="noStrike" dirty="0">
                          <a:effectLst/>
                          <a:latin typeface="+mn-lt"/>
                        </a:rPr>
                        <a:t>20.00</a:t>
                      </a:r>
                      <a:endParaRPr lang="en-US" sz="1800" b="0" i="0" u="none" strike="noStrike" dirty="0">
                        <a:solidFill>
                          <a:srgbClr val="000000"/>
                        </a:solidFill>
                        <a:effectLst/>
                        <a:latin typeface="+mn-lt"/>
                      </a:endParaRPr>
                    </a:p>
                  </a:txBody>
                  <a:tcPr marL="7620" marR="7620" marT="7620" marB="0" anchor="b"/>
                </a:tc>
                <a:tc>
                  <a:txBody>
                    <a:bodyPr/>
                    <a:lstStyle/>
                    <a:p>
                      <a:pPr algn="ctr" fontAlgn="b"/>
                      <a:r>
                        <a:rPr lang="en-US" sz="1800" u="none" strike="noStrike" dirty="0">
                          <a:effectLst/>
                          <a:latin typeface="+mn-lt"/>
                        </a:rPr>
                        <a:t>100.0</a:t>
                      </a:r>
                      <a:endParaRPr lang="en-US" sz="1800" b="0" i="0" u="none" strike="noStrike" dirty="0">
                        <a:solidFill>
                          <a:srgbClr val="000000"/>
                        </a:solidFill>
                        <a:effectLst/>
                        <a:latin typeface="+mn-lt"/>
                      </a:endParaRPr>
                    </a:p>
                  </a:txBody>
                  <a:tcPr marL="7620" marR="7620" marT="7620" marB="0" anchor="b"/>
                </a:tc>
                <a:extLst>
                  <a:ext uri="{0D108BD9-81ED-4DB2-BD59-A6C34878D82A}">
                    <a16:rowId xmlns:a16="http://schemas.microsoft.com/office/drawing/2014/main" val="3867984353"/>
                  </a:ext>
                </a:extLst>
              </a:tr>
            </a:tbl>
          </a:graphicData>
        </a:graphic>
      </p:graphicFrame>
      <p:sp>
        <p:nvSpPr>
          <p:cNvPr id="20" name="TextBox 19">
            <a:extLst>
              <a:ext uri="{FF2B5EF4-FFF2-40B4-BE49-F238E27FC236}">
                <a16:creationId xmlns:a16="http://schemas.microsoft.com/office/drawing/2014/main" id="{4581D17D-4A0C-E40A-591F-DE48CCFE42FE}"/>
              </a:ext>
            </a:extLst>
          </p:cNvPr>
          <p:cNvSpPr txBox="1"/>
          <p:nvPr/>
        </p:nvSpPr>
        <p:spPr>
          <a:xfrm>
            <a:off x="665927" y="4843839"/>
            <a:ext cx="10860145" cy="1200329"/>
          </a:xfrm>
          <a:prstGeom prst="rect">
            <a:avLst/>
          </a:prstGeom>
          <a:noFill/>
        </p:spPr>
        <p:txBody>
          <a:bodyPr wrap="square" rtlCol="0">
            <a:spAutoFit/>
          </a:bodyPr>
          <a:lstStyle/>
          <a:p>
            <a:pPr marL="285750" indent="-285750">
              <a:buClr>
                <a:schemeClr val="accent1"/>
              </a:buClr>
              <a:buFont typeface="Arial" panose="020B0604020202020204" pitchFamily="34" charset="0"/>
              <a:buChar char="•"/>
            </a:pPr>
            <a:r>
              <a:rPr lang="en-US" dirty="0"/>
              <a:t>12.5% of plasticizer based on polymer weight</a:t>
            </a:r>
          </a:p>
          <a:p>
            <a:pPr marL="285750" indent="-285750">
              <a:buClr>
                <a:schemeClr val="accent1"/>
              </a:buClr>
              <a:buFont typeface="Arial" panose="020B0604020202020204" pitchFamily="34" charset="0"/>
              <a:buChar char="•"/>
            </a:pPr>
            <a:r>
              <a:rPr lang="en-US" dirty="0"/>
              <a:t>40.0% of talc based on the total amount of solids (dry film)</a:t>
            </a:r>
            <a:endParaRPr lang="en-US" sz="1400" dirty="0"/>
          </a:p>
          <a:p>
            <a:pPr marL="285750" indent="-285750">
              <a:buClr>
                <a:schemeClr val="accent1"/>
              </a:buClr>
              <a:buFont typeface="Arial" panose="020B0604020202020204" pitchFamily="34" charset="0"/>
              <a:buChar char="•"/>
            </a:pPr>
            <a:r>
              <a:rPr lang="en-US" dirty="0"/>
              <a:t>BHT might be required </a:t>
            </a:r>
          </a:p>
          <a:p>
            <a:pPr marL="285750" indent="-285750">
              <a:buClr>
                <a:schemeClr val="accent1"/>
              </a:buClr>
              <a:buFont typeface="Arial" panose="020B0604020202020204" pitchFamily="34" charset="0"/>
              <a:buChar char="•"/>
            </a:pPr>
            <a:r>
              <a:rPr lang="en-US" dirty="0"/>
              <a:t>It’s preferable to use only acetone as solvent</a:t>
            </a:r>
          </a:p>
        </p:txBody>
      </p:sp>
      <p:sp>
        <p:nvSpPr>
          <p:cNvPr id="6" name="Footer Placeholder 3">
            <a:extLst>
              <a:ext uri="{FF2B5EF4-FFF2-40B4-BE49-F238E27FC236}">
                <a16:creationId xmlns:a16="http://schemas.microsoft.com/office/drawing/2014/main" id="{690E6119-9D43-AF89-9489-311AD2B668A2}"/>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
        <p:nvSpPr>
          <p:cNvPr id="9" name="Slide Number Placeholder 8">
            <a:extLst>
              <a:ext uri="{FF2B5EF4-FFF2-40B4-BE49-F238E27FC236}">
                <a16:creationId xmlns:a16="http://schemas.microsoft.com/office/drawing/2014/main" id="{146905E6-AF6E-2668-0419-119381A6CAD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93</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138289579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C7B0CE8-F486-C499-ACA3-CD2534C8084F}"/>
              </a:ext>
            </a:extLst>
          </p:cNvPr>
          <p:cNvGraphicFramePr>
            <a:graphicFrameLocks noChangeAspect="1"/>
          </p:cNvGraphicFramePr>
          <p:nvPr>
            <p:custDataLst>
              <p:tags r:id="rId1"/>
            </p:custDataLst>
            <p:extLst>
              <p:ext uri="{D42A27DB-BD31-4B8C-83A1-F6EECF244321}">
                <p14:modId xmlns:p14="http://schemas.microsoft.com/office/powerpoint/2010/main" val="1161707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1" progId="TCLayout.ActiveDocument.1">
                  <p:embed/>
                </p:oleObj>
              </mc:Choice>
              <mc:Fallback>
                <p:oleObj name="think-cell Slide" r:id="rId4" imgW="231" imgH="231" progId="TCLayout.ActiveDocument.1">
                  <p:embed/>
                  <p:pic>
                    <p:nvPicPr>
                      <p:cNvPr id="6" name="think-cell data - do not delete" hidden="1">
                        <a:extLst>
                          <a:ext uri="{FF2B5EF4-FFF2-40B4-BE49-F238E27FC236}">
                            <a16:creationId xmlns:a16="http://schemas.microsoft.com/office/drawing/2014/main" id="{5C7B0CE8-F486-C499-ACA3-CD2534C808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E1ACA5-910F-BBBE-63B7-7E78C1DC9770}"/>
              </a:ext>
            </a:extLst>
          </p:cNvPr>
          <p:cNvSpPr>
            <a:spLocks noGrp="1"/>
          </p:cNvSpPr>
          <p:nvPr>
            <p:ph type="title"/>
          </p:nvPr>
        </p:nvSpPr>
        <p:spPr>
          <a:xfrm>
            <a:off x="4486800" y="2575800"/>
            <a:ext cx="4361925" cy="853200"/>
          </a:xfrm>
        </p:spPr>
        <p:txBody>
          <a:bodyPr vert="horz"/>
          <a:lstStyle/>
          <a:p>
            <a:r>
              <a:rPr lang="en-US" dirty="0"/>
              <a:t>Competitor analysis</a:t>
            </a:r>
          </a:p>
        </p:txBody>
      </p:sp>
      <p:sp>
        <p:nvSpPr>
          <p:cNvPr id="4" name="Slide Number Placeholder 3">
            <a:extLst>
              <a:ext uri="{FF2B5EF4-FFF2-40B4-BE49-F238E27FC236}">
                <a16:creationId xmlns:a16="http://schemas.microsoft.com/office/drawing/2014/main" id="{5FE4A6E6-ABC4-DD2F-5A69-C889FEF9E41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94</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29367334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292756A-FB10-CB0E-DE8D-1C0506EEED3F}"/>
              </a:ext>
            </a:extLst>
          </p:cNvPr>
          <p:cNvGraphicFramePr>
            <a:graphicFrameLocks noChangeAspect="1"/>
          </p:cNvGraphicFramePr>
          <p:nvPr>
            <p:custDataLst>
              <p:tags r:id="rId1"/>
            </p:custDataLst>
            <p:extLst>
              <p:ext uri="{D42A27DB-BD31-4B8C-83A1-F6EECF244321}">
                <p14:modId xmlns:p14="http://schemas.microsoft.com/office/powerpoint/2010/main" val="787775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think-cell data - do not delete" hidden="1">
                        <a:extLst>
                          <a:ext uri="{FF2B5EF4-FFF2-40B4-BE49-F238E27FC236}">
                            <a16:creationId xmlns:a16="http://schemas.microsoft.com/office/drawing/2014/main" id="{D292756A-FB10-CB0E-DE8D-1C0506EEED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933369D1-873D-4EA1-9FF6-8B03586965D5}"/>
              </a:ext>
            </a:extLst>
          </p:cNvPr>
          <p:cNvSpPr>
            <a:spLocks noGrp="1"/>
          </p:cNvSpPr>
          <p:nvPr>
            <p:ph type="title"/>
          </p:nvPr>
        </p:nvSpPr>
        <p:spPr>
          <a:xfrm>
            <a:off x="369267" y="172944"/>
            <a:ext cx="11429817" cy="853186"/>
          </a:xfrm>
        </p:spPr>
        <p:txBody>
          <a:bodyPr vert="horz"/>
          <a:lstStyle/>
          <a:p>
            <a:r>
              <a:rPr lang="en-US" dirty="0"/>
              <a:t>Kollicoat</a:t>
            </a:r>
            <a:r>
              <a:rPr lang="en-US" baseline="30000" dirty="0"/>
              <a:t>®</a:t>
            </a:r>
            <a:r>
              <a:rPr lang="en-US" dirty="0"/>
              <a:t> Smartseal – EPO Competitor: </a:t>
            </a:r>
            <a:br>
              <a:rPr lang="en-US" dirty="0"/>
            </a:br>
            <a:r>
              <a:rPr lang="en-US" sz="2000" dirty="0"/>
              <a:t>Comparison of important properties </a:t>
            </a:r>
            <a:endParaRPr lang="en-US" dirty="0"/>
          </a:p>
        </p:txBody>
      </p:sp>
      <p:graphicFrame>
        <p:nvGraphicFramePr>
          <p:cNvPr id="7" name="Tabelle 6">
            <a:extLst>
              <a:ext uri="{FF2B5EF4-FFF2-40B4-BE49-F238E27FC236}">
                <a16:creationId xmlns:a16="http://schemas.microsoft.com/office/drawing/2014/main" id="{21A4DBF7-0A88-4708-87CA-A898CACB1A48}"/>
              </a:ext>
            </a:extLst>
          </p:cNvPr>
          <p:cNvGraphicFramePr>
            <a:graphicFrameLocks noGrp="1"/>
          </p:cNvGraphicFramePr>
          <p:nvPr>
            <p:extLst>
              <p:ext uri="{D42A27DB-BD31-4B8C-83A1-F6EECF244321}">
                <p14:modId xmlns:p14="http://schemas.microsoft.com/office/powerpoint/2010/main" val="820954332"/>
              </p:ext>
            </p:extLst>
          </p:nvPr>
        </p:nvGraphicFramePr>
        <p:xfrm>
          <a:off x="513367" y="1165851"/>
          <a:ext cx="11187221" cy="4858317"/>
        </p:xfrm>
        <a:graphic>
          <a:graphicData uri="http://schemas.openxmlformats.org/drawingml/2006/table">
            <a:tbl>
              <a:tblPr firstRow="1" bandRow="1">
                <a:tableStyleId>{5C22544A-7EE6-4342-B048-85BDC9FD1C3A}</a:tableStyleId>
              </a:tblPr>
              <a:tblGrid>
                <a:gridCol w="1620043">
                  <a:extLst>
                    <a:ext uri="{9D8B030D-6E8A-4147-A177-3AD203B41FA5}">
                      <a16:colId xmlns:a16="http://schemas.microsoft.com/office/drawing/2014/main" val="3602707544"/>
                    </a:ext>
                  </a:extLst>
                </a:gridCol>
                <a:gridCol w="2957046">
                  <a:extLst>
                    <a:ext uri="{9D8B030D-6E8A-4147-A177-3AD203B41FA5}">
                      <a16:colId xmlns:a16="http://schemas.microsoft.com/office/drawing/2014/main" val="4208642671"/>
                    </a:ext>
                  </a:extLst>
                </a:gridCol>
                <a:gridCol w="3138074">
                  <a:extLst>
                    <a:ext uri="{9D8B030D-6E8A-4147-A177-3AD203B41FA5}">
                      <a16:colId xmlns:a16="http://schemas.microsoft.com/office/drawing/2014/main" val="852274693"/>
                    </a:ext>
                  </a:extLst>
                </a:gridCol>
                <a:gridCol w="3472058">
                  <a:extLst>
                    <a:ext uri="{9D8B030D-6E8A-4147-A177-3AD203B41FA5}">
                      <a16:colId xmlns:a16="http://schemas.microsoft.com/office/drawing/2014/main" val="434781024"/>
                    </a:ext>
                  </a:extLst>
                </a:gridCol>
              </a:tblGrid>
              <a:tr h="448344">
                <a:tc>
                  <a:txBody>
                    <a:bodyPr/>
                    <a:lstStyle/>
                    <a:p>
                      <a:endParaRPr lang="en-US" sz="1200" dirty="0"/>
                    </a:p>
                  </a:txBody>
                  <a:tcPr/>
                </a:tc>
                <a:tc>
                  <a:txBody>
                    <a:bodyPr/>
                    <a:lstStyle/>
                    <a:p>
                      <a:pPr algn="ctr"/>
                      <a:r>
                        <a:rPr lang="en-US" sz="1200" dirty="0"/>
                        <a:t>Kollicoat</a:t>
                      </a:r>
                      <a:r>
                        <a:rPr lang="en-US" sz="1200" baseline="30000" dirty="0"/>
                        <a:t>®</a:t>
                      </a:r>
                      <a:r>
                        <a:rPr lang="en-US" sz="1200" dirty="0"/>
                        <a:t> Smartseal 30 D</a:t>
                      </a:r>
                    </a:p>
                  </a:txBody>
                  <a:tcPr anchor="ctr"/>
                </a:tc>
                <a:tc>
                  <a:txBody>
                    <a:bodyPr/>
                    <a:lstStyle/>
                    <a:p>
                      <a:pPr algn="ctr"/>
                      <a:r>
                        <a:rPr lang="en-US" sz="1200" dirty="0"/>
                        <a:t>Kollicoat</a:t>
                      </a:r>
                      <a:r>
                        <a:rPr lang="en-US" sz="1200" baseline="30000" dirty="0"/>
                        <a:t>®</a:t>
                      </a:r>
                      <a:r>
                        <a:rPr lang="en-US" sz="1200" dirty="0"/>
                        <a:t> Smartseal 100 P</a:t>
                      </a:r>
                    </a:p>
                  </a:txBody>
                  <a:tcPr anchor="ctr"/>
                </a:tc>
                <a:tc>
                  <a:txBody>
                    <a:bodyPr/>
                    <a:lstStyle/>
                    <a:p>
                      <a:pPr algn="ctr"/>
                      <a:r>
                        <a:rPr lang="en-US" sz="1200" dirty="0"/>
                        <a:t>E PO Competitor</a:t>
                      </a:r>
                    </a:p>
                  </a:txBody>
                  <a:tcPr anchor="ctr"/>
                </a:tc>
                <a:extLst>
                  <a:ext uri="{0D108BD9-81ED-4DB2-BD59-A6C34878D82A}">
                    <a16:rowId xmlns:a16="http://schemas.microsoft.com/office/drawing/2014/main" val="1023128562"/>
                  </a:ext>
                </a:extLst>
              </a:tr>
              <a:tr h="582667">
                <a:tc>
                  <a:txBody>
                    <a:bodyPr/>
                    <a:lstStyle/>
                    <a:p>
                      <a:r>
                        <a:rPr lang="en-US" sz="1200" b="1" dirty="0"/>
                        <a:t>Aqueous coating</a:t>
                      </a:r>
                    </a:p>
                  </a:txBody>
                  <a:tcPr/>
                </a:tc>
                <a:tc>
                  <a:txBody>
                    <a:bodyPr/>
                    <a:lstStyle/>
                    <a:p>
                      <a:r>
                        <a:rPr lang="en-US" sz="1200" dirty="0"/>
                        <a:t>First aqueous dispersion (latex) of a basic functional polymer. </a:t>
                      </a:r>
                    </a:p>
                    <a:p>
                      <a:r>
                        <a:rPr lang="en-US" sz="1200" dirty="0"/>
                        <a:t>Easy and economic process</a:t>
                      </a:r>
                    </a:p>
                  </a:txBody>
                  <a:tcPr/>
                </a:tc>
                <a:tc>
                  <a:txBody>
                    <a:bodyPr/>
                    <a:lstStyle/>
                    <a:p>
                      <a:r>
                        <a:rPr lang="en-US" sz="1200" dirty="0"/>
                        <a:t>Easily re-dispersible in water (partial neutralization with 8 mol%  succinic acid)</a:t>
                      </a:r>
                    </a:p>
                  </a:txBody>
                  <a:tcPr/>
                </a:tc>
                <a:tc>
                  <a:txBody>
                    <a:bodyPr/>
                    <a:lstStyle/>
                    <a:p>
                      <a:r>
                        <a:rPr lang="en-US" sz="1200" dirty="0"/>
                        <a:t>Tedious preparation of a colloidal dispersion with SLS 10% and stearic acid 15%</a:t>
                      </a:r>
                    </a:p>
                  </a:txBody>
                  <a:tcPr/>
                </a:tc>
                <a:extLst>
                  <a:ext uri="{0D108BD9-81ED-4DB2-BD59-A6C34878D82A}">
                    <a16:rowId xmlns:a16="http://schemas.microsoft.com/office/drawing/2014/main" val="2776999495"/>
                  </a:ext>
                </a:extLst>
              </a:tr>
              <a:tr h="458580">
                <a:tc>
                  <a:txBody>
                    <a:bodyPr/>
                    <a:lstStyle/>
                    <a:p>
                      <a:r>
                        <a:rPr lang="en-US" sz="1200" b="1" dirty="0"/>
                        <a:t>Organic coating</a:t>
                      </a:r>
                    </a:p>
                  </a:txBody>
                  <a:tcPr/>
                </a:tc>
                <a:tc>
                  <a:txBody>
                    <a:bodyPr/>
                    <a:lstStyle/>
                    <a:p>
                      <a:r>
                        <a:rPr lang="en-US" sz="1200" dirty="0"/>
                        <a:t>No.</a:t>
                      </a:r>
                    </a:p>
                  </a:txBody>
                  <a:tcPr/>
                </a:tc>
                <a:tc>
                  <a:txBody>
                    <a:bodyPr/>
                    <a:lstStyle/>
                    <a:p>
                      <a:r>
                        <a:rPr lang="en-US" sz="1200" dirty="0"/>
                        <a:t>Yes. Acetone recommended.</a:t>
                      </a:r>
                    </a:p>
                  </a:txBody>
                  <a:tcPr/>
                </a:tc>
                <a:tc>
                  <a:txBody>
                    <a:bodyPr/>
                    <a:lstStyle/>
                    <a:p>
                      <a:r>
                        <a:rPr lang="en-US" sz="1200" dirty="0"/>
                        <a:t>Yes, with acetone, isopropyl alcohol and ethanol, plus 2-3% water </a:t>
                      </a:r>
                    </a:p>
                  </a:txBody>
                  <a:tcPr/>
                </a:tc>
                <a:extLst>
                  <a:ext uri="{0D108BD9-81ED-4DB2-BD59-A6C34878D82A}">
                    <a16:rowId xmlns:a16="http://schemas.microsoft.com/office/drawing/2014/main" val="3061956742"/>
                  </a:ext>
                </a:extLst>
              </a:tr>
              <a:tr h="274378">
                <a:tc>
                  <a:txBody>
                    <a:bodyPr/>
                    <a:lstStyle/>
                    <a:p>
                      <a:r>
                        <a:rPr lang="en-US" sz="1200" b="1" dirty="0"/>
                        <a:t>Stability</a:t>
                      </a:r>
                    </a:p>
                  </a:txBody>
                  <a:tcPr/>
                </a:tc>
                <a:tc>
                  <a:txBody>
                    <a:bodyPr/>
                    <a:lstStyle/>
                    <a:p>
                      <a:r>
                        <a:rPr lang="en-US" sz="1200" dirty="0"/>
                        <a:t>30 months (30°C/ 75% RH)</a:t>
                      </a:r>
                    </a:p>
                  </a:txBody>
                  <a:tcPr/>
                </a:tc>
                <a:tc>
                  <a:txBody>
                    <a:bodyPr/>
                    <a:lstStyle/>
                    <a:p>
                      <a:r>
                        <a:rPr lang="en-US" sz="1200" dirty="0"/>
                        <a:t>18 months (30°C/ 75% RH)</a:t>
                      </a:r>
                    </a:p>
                  </a:txBody>
                  <a:tcPr/>
                </a:tc>
                <a:tc>
                  <a:txBody>
                    <a:bodyPr/>
                    <a:lstStyle/>
                    <a:p>
                      <a:r>
                        <a:rPr lang="en-US" sz="1200" dirty="0"/>
                        <a:t>36 months (</a:t>
                      </a:r>
                      <a:r>
                        <a:rPr lang="en-US" sz="1200" b="1" dirty="0"/>
                        <a:t>&lt; 25°C</a:t>
                      </a:r>
                      <a:r>
                        <a:rPr lang="en-US" sz="1200" dirty="0"/>
                        <a:t>)</a:t>
                      </a:r>
                    </a:p>
                  </a:txBody>
                  <a:tcPr/>
                </a:tc>
                <a:extLst>
                  <a:ext uri="{0D108BD9-81ED-4DB2-BD59-A6C34878D82A}">
                    <a16:rowId xmlns:a16="http://schemas.microsoft.com/office/drawing/2014/main" val="3438519675"/>
                  </a:ext>
                </a:extLst>
              </a:tr>
              <a:tr h="582667">
                <a:tc>
                  <a:txBody>
                    <a:bodyPr/>
                    <a:lstStyle/>
                    <a:p>
                      <a:r>
                        <a:rPr lang="en-US" sz="1200" b="1" dirty="0"/>
                        <a:t>HME</a:t>
                      </a:r>
                    </a:p>
                  </a:txBody>
                  <a:tcPr/>
                </a:tc>
                <a:tc>
                  <a:txBody>
                    <a:bodyPr/>
                    <a:lstStyle/>
                    <a:p>
                      <a:r>
                        <a:rPr lang="en-US" sz="1200" dirty="0"/>
                        <a:t>n/a</a:t>
                      </a:r>
                    </a:p>
                  </a:txBody>
                  <a:tcPr/>
                </a:tc>
                <a:tc>
                  <a:txBody>
                    <a:bodyPr/>
                    <a:lstStyle/>
                    <a:p>
                      <a:r>
                        <a:rPr lang="en-US" sz="1200" dirty="0"/>
                        <a:t>Low odor, better extrudate appearance and high solubilization capacity.</a:t>
                      </a:r>
                    </a:p>
                  </a:txBody>
                  <a:tcPr/>
                </a:tc>
                <a:tc>
                  <a:txBody>
                    <a:bodyPr/>
                    <a:lstStyle/>
                    <a:p>
                      <a:r>
                        <a:rPr lang="en-US" sz="1200" dirty="0"/>
                        <a:t>Poor feeding. </a:t>
                      </a:r>
                    </a:p>
                    <a:p>
                      <a:r>
                        <a:rPr lang="en-US" sz="1200" dirty="0"/>
                        <a:t>High odor, poor extrudate appearance and low solubilization capacity. </a:t>
                      </a:r>
                    </a:p>
                  </a:txBody>
                  <a:tcPr/>
                </a:tc>
                <a:extLst>
                  <a:ext uri="{0D108BD9-81ED-4DB2-BD59-A6C34878D82A}">
                    <a16:rowId xmlns:a16="http://schemas.microsoft.com/office/drawing/2014/main" val="3065920080"/>
                  </a:ext>
                </a:extLst>
              </a:tr>
              <a:tr h="582667">
                <a:tc>
                  <a:txBody>
                    <a:bodyPr/>
                    <a:lstStyle/>
                    <a:p>
                      <a:r>
                        <a:rPr lang="en-US" sz="1200" b="1" dirty="0"/>
                        <a:t>Synthesis</a:t>
                      </a:r>
                    </a:p>
                  </a:txBody>
                  <a:tcPr/>
                </a:tc>
                <a:tc>
                  <a:txBody>
                    <a:bodyPr/>
                    <a:lstStyle/>
                    <a:p>
                      <a:r>
                        <a:rPr lang="en-US" sz="1200" dirty="0"/>
                        <a:t>Emulsion polymerization</a:t>
                      </a:r>
                    </a:p>
                  </a:txBody>
                  <a:tcPr/>
                </a:tc>
                <a:tc>
                  <a:txBody>
                    <a:bodyPr/>
                    <a:lstStyle/>
                    <a:p>
                      <a:r>
                        <a:rPr lang="en-US" sz="1200" dirty="0"/>
                        <a:t>Spray drying</a:t>
                      </a:r>
                    </a:p>
                  </a:txBody>
                  <a:tcPr/>
                </a:tc>
                <a:tc>
                  <a:txBody>
                    <a:bodyPr/>
                    <a:lstStyle/>
                    <a:p>
                      <a:r>
                        <a:rPr lang="en-US" sz="1200" dirty="0"/>
                        <a:t>Solution polymerization (IPA) (changed from bulk polymerization)</a:t>
                      </a:r>
                      <a:br>
                        <a:rPr lang="en-US" sz="1200" dirty="0"/>
                      </a:br>
                      <a:r>
                        <a:rPr lang="en-US" sz="1200" dirty="0"/>
                        <a:t>extrusion, milling (at ACU pharma)</a:t>
                      </a:r>
                    </a:p>
                  </a:txBody>
                  <a:tcPr/>
                </a:tc>
                <a:extLst>
                  <a:ext uri="{0D108BD9-81ED-4DB2-BD59-A6C34878D82A}">
                    <a16:rowId xmlns:a16="http://schemas.microsoft.com/office/drawing/2014/main" val="539489805"/>
                  </a:ext>
                </a:extLst>
              </a:tr>
              <a:tr h="749143">
                <a:tc>
                  <a:txBody>
                    <a:bodyPr/>
                    <a:lstStyle/>
                    <a:p>
                      <a:r>
                        <a:rPr lang="en-US" sz="1200" b="1" dirty="0"/>
                        <a:t>Residual monomers</a:t>
                      </a:r>
                    </a:p>
                  </a:txBody>
                  <a:tcPr/>
                </a:tc>
                <a:tc>
                  <a:txBody>
                    <a:bodyPr/>
                    <a:lstStyle/>
                    <a:p>
                      <a:r>
                        <a:rPr lang="en-US" sz="1200" b="0" dirty="0"/>
                        <a:t>Limit: Each max. 100 ppm</a:t>
                      </a:r>
                    </a:p>
                    <a:p>
                      <a:r>
                        <a:rPr lang="en-US" sz="1200" b="0" dirty="0"/>
                        <a:t>Typical results,</a:t>
                      </a:r>
                      <a:br>
                        <a:rPr lang="en-US" sz="1200" b="0" dirty="0"/>
                      </a:br>
                      <a:r>
                        <a:rPr lang="en-US" sz="1200" b="0" dirty="0"/>
                        <a:t>MAS &lt; 50; MMA: &lt; 20; DEAEMA &lt; 100 ppm</a:t>
                      </a:r>
                    </a:p>
                  </a:txBody>
                  <a:tcPr/>
                </a:tc>
                <a:tc>
                  <a:txBody>
                    <a:bodyPr/>
                    <a:lstStyle/>
                    <a:p>
                      <a:r>
                        <a:rPr lang="en-US" sz="1200" b="0" dirty="0"/>
                        <a:t>Limit: Each max. 100 ppm</a:t>
                      </a:r>
                    </a:p>
                    <a:p>
                      <a:r>
                        <a:rPr lang="en-US" sz="1200" b="0" dirty="0"/>
                        <a:t>Typical results, &lt; 100</a:t>
                      </a:r>
                    </a:p>
                  </a:txBody>
                  <a:tcPr/>
                </a:tc>
                <a:tc>
                  <a:txBody>
                    <a:bodyPr/>
                    <a:lstStyle/>
                    <a:p>
                      <a:r>
                        <a:rPr lang="en-US" sz="1200" b="0" dirty="0"/>
                        <a:t>Limit: </a:t>
                      </a:r>
                      <a:r>
                        <a:rPr lang="en-US" sz="1200" b="1" dirty="0"/>
                        <a:t>Each max. 1000 ppm</a:t>
                      </a:r>
                    </a:p>
                    <a:p>
                      <a:r>
                        <a:rPr lang="en-US" sz="1200" b="0" dirty="0"/>
                        <a:t>Typical results: MMA &lt;15 ppm; BA ~100 ppm; DMAEMA: &lt;300 ppm</a:t>
                      </a:r>
                    </a:p>
                  </a:txBody>
                  <a:tcPr/>
                </a:tc>
                <a:extLst>
                  <a:ext uri="{0D108BD9-81ED-4DB2-BD59-A6C34878D82A}">
                    <a16:rowId xmlns:a16="http://schemas.microsoft.com/office/drawing/2014/main" val="199938648"/>
                  </a:ext>
                </a:extLst>
              </a:tr>
              <a:tr h="345283">
                <a:tc>
                  <a:txBody>
                    <a:bodyPr/>
                    <a:lstStyle/>
                    <a:p>
                      <a:r>
                        <a:rPr lang="en-US" sz="1200" b="1" dirty="0"/>
                        <a:t>Tg</a:t>
                      </a:r>
                    </a:p>
                  </a:txBody>
                  <a:tcPr/>
                </a:tc>
                <a:tc>
                  <a:txBody>
                    <a:bodyPr/>
                    <a:lstStyle/>
                    <a:p>
                      <a:r>
                        <a:rPr lang="en-US" sz="1200" dirty="0"/>
                        <a:t>57-63°C</a:t>
                      </a:r>
                    </a:p>
                  </a:txBody>
                  <a:tcPr/>
                </a:tc>
                <a:tc>
                  <a:txBody>
                    <a:bodyPr/>
                    <a:lstStyle/>
                    <a:p>
                      <a:r>
                        <a:rPr lang="en-US" sz="1200" dirty="0"/>
                        <a:t>57-63°C</a:t>
                      </a:r>
                    </a:p>
                  </a:txBody>
                  <a:tcPr/>
                </a:tc>
                <a:tc>
                  <a:txBody>
                    <a:bodyPr/>
                    <a:lstStyle/>
                    <a:p>
                      <a:r>
                        <a:rPr lang="en-US" sz="1200" dirty="0"/>
                        <a:t>40-43°C</a:t>
                      </a:r>
                    </a:p>
                  </a:txBody>
                  <a:tcPr/>
                </a:tc>
                <a:extLst>
                  <a:ext uri="{0D108BD9-81ED-4DB2-BD59-A6C34878D82A}">
                    <a16:rowId xmlns:a16="http://schemas.microsoft.com/office/drawing/2014/main" val="794053650"/>
                  </a:ext>
                </a:extLst>
              </a:tr>
              <a:tr h="258963">
                <a:tc>
                  <a:txBody>
                    <a:bodyPr/>
                    <a:lstStyle/>
                    <a:p>
                      <a:r>
                        <a:rPr lang="en-US" sz="1200" b="1" dirty="0"/>
                        <a:t>MFT</a:t>
                      </a:r>
                    </a:p>
                  </a:txBody>
                  <a:tcPr/>
                </a:tc>
                <a:tc>
                  <a:txBody>
                    <a:bodyPr/>
                    <a:lstStyle/>
                    <a:p>
                      <a:r>
                        <a:rPr lang="en-US" sz="1200" dirty="0"/>
                        <a:t>57°C</a:t>
                      </a:r>
                    </a:p>
                  </a:txBody>
                  <a:tcPr/>
                </a:tc>
                <a:tc>
                  <a:txBody>
                    <a:bodyPr/>
                    <a:lstStyle/>
                    <a:p>
                      <a:r>
                        <a:rPr lang="en-US" sz="1200" dirty="0"/>
                        <a:t>57°C</a:t>
                      </a:r>
                    </a:p>
                  </a:txBody>
                  <a:tcPr/>
                </a:tc>
                <a:tc>
                  <a:txBody>
                    <a:bodyPr/>
                    <a:lstStyle/>
                    <a:p>
                      <a:r>
                        <a:rPr lang="en-US" sz="1200" dirty="0"/>
                        <a:t>n/a</a:t>
                      </a:r>
                    </a:p>
                  </a:txBody>
                  <a:tcPr/>
                </a:tc>
                <a:extLst>
                  <a:ext uri="{0D108BD9-81ED-4DB2-BD59-A6C34878D82A}">
                    <a16:rowId xmlns:a16="http://schemas.microsoft.com/office/drawing/2014/main" val="4051398773"/>
                  </a:ext>
                </a:extLst>
              </a:tr>
              <a:tr h="314212">
                <a:tc>
                  <a:txBody>
                    <a:bodyPr/>
                    <a:lstStyle/>
                    <a:p>
                      <a:r>
                        <a:rPr lang="en-US" sz="1200" b="1" dirty="0"/>
                        <a:t>Molecular weight</a:t>
                      </a:r>
                    </a:p>
                  </a:txBody>
                  <a:tcPr/>
                </a:tc>
                <a:tc>
                  <a:txBody>
                    <a:bodyPr/>
                    <a:lstStyle/>
                    <a:p>
                      <a:r>
                        <a:rPr lang="en-US" sz="1200" dirty="0"/>
                        <a:t>40 000 – 60 000</a:t>
                      </a:r>
                    </a:p>
                  </a:txBody>
                  <a:tcPr/>
                </a:tc>
                <a:tc>
                  <a:txBody>
                    <a:bodyPr/>
                    <a:lstStyle/>
                    <a:p>
                      <a:r>
                        <a:rPr lang="en-US" sz="1200" dirty="0"/>
                        <a:t>40 000 – 60 000</a:t>
                      </a:r>
                    </a:p>
                  </a:txBody>
                  <a:tcPr/>
                </a:tc>
                <a:tc>
                  <a:txBody>
                    <a:bodyPr/>
                    <a:lstStyle/>
                    <a:p>
                      <a:r>
                        <a:rPr lang="en-US" sz="1200" dirty="0"/>
                        <a:t>~50 000</a:t>
                      </a:r>
                    </a:p>
                  </a:txBody>
                  <a:tcPr/>
                </a:tc>
                <a:extLst>
                  <a:ext uri="{0D108BD9-81ED-4DB2-BD59-A6C34878D82A}">
                    <a16:rowId xmlns:a16="http://schemas.microsoft.com/office/drawing/2014/main" val="2680015005"/>
                  </a:ext>
                </a:extLst>
              </a:tr>
            </a:tbl>
          </a:graphicData>
        </a:graphic>
      </p:graphicFrame>
      <p:sp>
        <p:nvSpPr>
          <p:cNvPr id="12" name="Foliennummernplatzhalter 4">
            <a:extLst>
              <a:ext uri="{FF2B5EF4-FFF2-40B4-BE49-F238E27FC236}">
                <a16:creationId xmlns:a16="http://schemas.microsoft.com/office/drawing/2014/main" id="{5D12586D-8FC1-468A-A262-CAA8B8086CF3}"/>
              </a:ext>
            </a:extLst>
          </p:cNvPr>
          <p:cNvSpPr>
            <a:spLocks noGrp="1"/>
          </p:cNvSpPr>
          <p:nvPr>
            <p:ph type="sldNum" sz="quarter" idx="4"/>
          </p:nvPr>
        </p:nvSpPr>
        <p:spPr>
          <a:xfrm>
            <a:off x="225167" y="6555283"/>
            <a:ext cx="288200" cy="151200"/>
          </a:xfrm>
          <a:prstGeom prst="rect">
            <a:avLst/>
          </a:prstGeom>
        </p:spPr>
        <p:txBody>
          <a:bodyPr lIns="0" tIns="0" rIns="0" bIns="0"/>
          <a:lstStyle>
            <a:defPPr>
              <a:defRPr lang="de-DE"/>
            </a:defPPr>
            <a:lvl1pPr marL="0" algn="l" defTabSz="914400" rtl="0" eaLnBrk="1" latinLnBrk="0" hangingPunct="1">
              <a:defRPr sz="675"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2EA1D04-CA53-4DE3-84A8-2B63E41036C9}" type="slidenum">
              <a:rPr lang="en-US" smtClean="0"/>
              <a:pPr>
                <a:defRPr/>
              </a:pPr>
              <a:t>95</a:t>
            </a:fld>
            <a:endParaRPr lang="en-US" sz="675" b="1" dirty="0">
              <a:solidFill>
                <a:srgbClr val="000000"/>
              </a:solidFill>
              <a:latin typeface="Arial" panose="020B0604020202020204"/>
              <a:cs typeface="Arial"/>
            </a:endParaRPr>
          </a:p>
        </p:txBody>
      </p:sp>
      <p:sp>
        <p:nvSpPr>
          <p:cNvPr id="2" name="Footer Placeholder 11">
            <a:extLst>
              <a:ext uri="{FF2B5EF4-FFF2-40B4-BE49-F238E27FC236}">
                <a16:creationId xmlns:a16="http://schemas.microsoft.com/office/drawing/2014/main" id="{4FF8518A-9C44-14B4-79F2-75C3CDA3D992}"/>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32816842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9AEFAFD-C705-8DA3-C7DB-444DFC101DF5}"/>
              </a:ext>
            </a:extLst>
          </p:cNvPr>
          <p:cNvGraphicFramePr>
            <a:graphicFrameLocks noChangeAspect="1"/>
          </p:cNvGraphicFramePr>
          <p:nvPr>
            <p:custDataLst>
              <p:tags r:id="rId1"/>
            </p:custDataLst>
            <p:extLst>
              <p:ext uri="{D42A27DB-BD31-4B8C-83A1-F6EECF244321}">
                <p14:modId xmlns:p14="http://schemas.microsoft.com/office/powerpoint/2010/main" val="1898645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1" progId="TCLayout.ActiveDocument.1">
                  <p:embed/>
                </p:oleObj>
              </mc:Choice>
              <mc:Fallback>
                <p:oleObj name="think-cell Slide" r:id="rId4" imgW="231" imgH="231" progId="TCLayout.ActiveDocument.1">
                  <p:embed/>
                  <p:pic>
                    <p:nvPicPr>
                      <p:cNvPr id="8" name="think-cell data - do not delete" hidden="1">
                        <a:extLst>
                          <a:ext uri="{FF2B5EF4-FFF2-40B4-BE49-F238E27FC236}">
                            <a16:creationId xmlns:a16="http://schemas.microsoft.com/office/drawing/2014/main" id="{E9AEFAFD-C705-8DA3-C7DB-444DFC101D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E37F53-5A0F-3B8E-E5E4-3162A789D51D}"/>
              </a:ext>
            </a:extLst>
          </p:cNvPr>
          <p:cNvSpPr>
            <a:spLocks noGrp="1"/>
          </p:cNvSpPr>
          <p:nvPr>
            <p:ph type="title"/>
          </p:nvPr>
        </p:nvSpPr>
        <p:spPr>
          <a:xfrm>
            <a:off x="3448575" y="2898975"/>
            <a:ext cx="6096000" cy="853200"/>
          </a:xfrm>
        </p:spPr>
        <p:txBody>
          <a:bodyPr vert="horz"/>
          <a:lstStyle/>
          <a:p>
            <a:r>
              <a:rPr lang="en-US" dirty="0"/>
              <a:t>Partial Neutralization Calculation</a:t>
            </a:r>
          </a:p>
        </p:txBody>
      </p:sp>
      <p:sp>
        <p:nvSpPr>
          <p:cNvPr id="4" name="Slide Number Placeholder 3">
            <a:extLst>
              <a:ext uri="{FF2B5EF4-FFF2-40B4-BE49-F238E27FC236}">
                <a16:creationId xmlns:a16="http://schemas.microsoft.com/office/drawing/2014/main" id="{02B9F1C7-FAF4-4D15-D74D-DE63FB1C6E5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110"/>
              </a:spcBef>
              <a:spcAft>
                <a:spcPts val="110"/>
              </a:spcAft>
              <a:buClrTx/>
              <a:buSzTx/>
              <a:buFontTx/>
              <a:buNone/>
              <a:tabLst/>
              <a:defRPr/>
            </a:pPr>
            <a:fld id="{D7C0CCF7-DF53-4ADB-AAD8-9742C01AD446}" type="slidenum">
              <a:rPr kumimoji="0" lang="en-US" sz="900" b="1" i="0" u="none" strike="noStrike" kern="1200" cap="none" spc="0" normalizeH="0" baseline="0" noProof="0" smtClean="0">
                <a:ln>
                  <a:noFill/>
                </a:ln>
                <a:solidFill>
                  <a:srgbClr val="000000"/>
                </a:solidFill>
                <a:effectLst/>
                <a:uLnTx/>
                <a:uFillTx/>
                <a:latin typeface="Arial" panose="020B0604020202020204"/>
                <a:cs typeface="Arial"/>
              </a:rPr>
              <a:pPr marL="0" marR="0" lvl="0" indent="0" algn="l" defTabSz="914400" rtl="0" eaLnBrk="1" fontAlgn="auto" latinLnBrk="0" hangingPunct="1">
                <a:lnSpc>
                  <a:spcPct val="100000"/>
                </a:lnSpc>
                <a:spcBef>
                  <a:spcPts val="110"/>
                </a:spcBef>
                <a:spcAft>
                  <a:spcPts val="110"/>
                </a:spcAft>
                <a:buClrTx/>
                <a:buSzTx/>
                <a:buFontTx/>
                <a:buNone/>
                <a:tabLst/>
                <a:defRPr/>
              </a:pPr>
              <a:t>96</a:t>
            </a:fld>
            <a:endParaRPr kumimoji="0" lang="en-US" sz="900" b="1" i="0" u="none" strike="noStrike" kern="1200" cap="none" spc="0" normalizeH="0" baseline="0" noProof="0" dirty="0">
              <a:ln>
                <a:noFill/>
              </a:ln>
              <a:solidFill>
                <a:srgbClr val="000000"/>
              </a:solidFill>
              <a:effectLst/>
              <a:uLnTx/>
              <a:uFillTx/>
              <a:latin typeface="Arial" panose="020B0604020202020204"/>
              <a:cs typeface="Arial"/>
            </a:endParaRPr>
          </a:p>
        </p:txBody>
      </p:sp>
    </p:spTree>
    <p:extLst>
      <p:ext uri="{BB962C8B-B14F-4D97-AF65-F5344CB8AC3E}">
        <p14:creationId xmlns:p14="http://schemas.microsoft.com/office/powerpoint/2010/main" val="33193086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BA3C23E-8828-41BC-88BC-997FA59AA7A1}"/>
              </a:ext>
            </a:extLst>
          </p:cNvPr>
          <p:cNvSpPr>
            <a:spLocks noGrp="1"/>
          </p:cNvSpPr>
          <p:nvPr>
            <p:ph type="title"/>
          </p:nvPr>
        </p:nvSpPr>
        <p:spPr/>
        <p:txBody>
          <a:bodyPr/>
          <a:lstStyle/>
          <a:p>
            <a:r>
              <a:rPr lang="en-US" dirty="0"/>
              <a:t>Partial Neutralization Calculations</a:t>
            </a:r>
          </a:p>
        </p:txBody>
      </p:sp>
      <p:sp>
        <p:nvSpPr>
          <p:cNvPr id="5" name="Foliennummernplatzhalter 4">
            <a:extLst>
              <a:ext uri="{FF2B5EF4-FFF2-40B4-BE49-F238E27FC236}">
                <a16:creationId xmlns:a16="http://schemas.microsoft.com/office/drawing/2014/main" id="{57F29F57-E890-4669-96F2-D0C3118D3A07}"/>
              </a:ext>
            </a:extLst>
          </p:cNvPr>
          <p:cNvSpPr>
            <a:spLocks noGrp="1"/>
          </p:cNvSpPr>
          <p:nvPr>
            <p:ph type="sldNum" sz="quarter" idx="4"/>
          </p:nvPr>
        </p:nvSpPr>
        <p:spPr>
          <a:xfrm>
            <a:off x="225167" y="6555283"/>
            <a:ext cx="288200" cy="151200"/>
          </a:xfrm>
          <a:prstGeom prst="rect">
            <a:avLst/>
          </a:prstGeom>
        </p:spPr>
        <p:txBody>
          <a:bodyPr lIns="0" tIns="0" rIns="0" bIns="0"/>
          <a:lstStyle>
            <a:defPPr>
              <a:defRPr lang="de-DE"/>
            </a:defPPr>
            <a:lvl1pPr marL="0" algn="l" defTabSz="914400" rtl="0" eaLnBrk="1" latinLnBrk="0" hangingPunct="1">
              <a:defRPr sz="675"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2EA1D04-CA53-4DE3-84A8-2B63E41036C9}" type="slidenum">
              <a:rPr lang="en-US" smtClean="0"/>
              <a:pPr>
                <a:defRPr/>
              </a:pPr>
              <a:t>97</a:t>
            </a:fld>
            <a:endParaRPr lang="en-US" sz="675" b="1" dirty="0">
              <a:solidFill>
                <a:srgbClr val="000000"/>
              </a:solidFill>
              <a:latin typeface="Arial" panose="020B0604020202020204"/>
              <a:cs typeface="Arial"/>
            </a:endParaRPr>
          </a:p>
        </p:txBody>
      </p:sp>
      <p:sp>
        <p:nvSpPr>
          <p:cNvPr id="2" name="Inhaltsplatzhalter 1">
            <a:extLst>
              <a:ext uri="{FF2B5EF4-FFF2-40B4-BE49-F238E27FC236}">
                <a16:creationId xmlns:a16="http://schemas.microsoft.com/office/drawing/2014/main" id="{1FC79E6B-1BEB-4408-BA93-ACB31F7DA5E5}"/>
              </a:ext>
            </a:extLst>
          </p:cNvPr>
          <p:cNvSpPr>
            <a:spLocks noGrp="1"/>
          </p:cNvSpPr>
          <p:nvPr>
            <p:ph idx="4294967295"/>
          </p:nvPr>
        </p:nvSpPr>
        <p:spPr>
          <a:xfrm>
            <a:off x="1730834" y="1425550"/>
            <a:ext cx="8919033" cy="3905250"/>
          </a:xfrm>
        </p:spPr>
        <p:txBody>
          <a:bodyPr/>
          <a:lstStyle/>
          <a:p>
            <a:r>
              <a:rPr lang="en-US" sz="1600" dirty="0"/>
              <a:t>An acid content of 8 mol% relative to the amount of amino-functional groups is recommended.</a:t>
            </a:r>
          </a:p>
          <a:p>
            <a:pPr lvl="1">
              <a:spcBef>
                <a:spcPts val="0"/>
              </a:spcBef>
            </a:pPr>
            <a:r>
              <a:rPr lang="en-US" sz="1200" dirty="0"/>
              <a:t>Succinic acid (Mw = 118.09 g/mol)      </a:t>
            </a:r>
            <a:r>
              <a:rPr lang="en-US" sz="1200" dirty="0">
                <a:sym typeface="Wingdings" panose="05000000000000000000" pitchFamily="2" charset="2"/>
              </a:rPr>
              <a:t> 2.0% w/w rel. to polymer</a:t>
            </a:r>
            <a:endParaRPr lang="en-US" sz="1200" dirty="0"/>
          </a:p>
          <a:p>
            <a:pPr lvl="1">
              <a:spcBef>
                <a:spcPts val="0"/>
              </a:spcBef>
            </a:pPr>
            <a:r>
              <a:rPr lang="en-US" sz="1200" dirty="0"/>
              <a:t>Adipic acid (Mw = 146.14 g/mol)       </a:t>
            </a:r>
            <a:r>
              <a:rPr lang="en-US" sz="1200" dirty="0">
                <a:sym typeface="Wingdings" panose="05000000000000000000" pitchFamily="2" charset="2"/>
              </a:rPr>
              <a:t>  2.5% w/w rel. to polymer</a:t>
            </a:r>
            <a:endParaRPr lang="en-US" sz="1200" dirty="0"/>
          </a:p>
          <a:p>
            <a:pPr lvl="1">
              <a:spcBef>
                <a:spcPts val="0"/>
              </a:spcBef>
            </a:pPr>
            <a:r>
              <a:rPr lang="en-US" sz="1200" dirty="0"/>
              <a:t>Malonic acid (Mw = 104.66 g/mol)  </a:t>
            </a:r>
            <a:r>
              <a:rPr lang="en-US" sz="1200" dirty="0">
                <a:sym typeface="Wingdings" panose="05000000000000000000" pitchFamily="2" charset="2"/>
              </a:rPr>
              <a:t> 1.8% w/w rel. to polymer</a:t>
            </a:r>
            <a:endParaRPr lang="en-US" sz="1200" dirty="0"/>
          </a:p>
          <a:p>
            <a:pPr lvl="1">
              <a:spcBef>
                <a:spcPts val="0"/>
              </a:spcBef>
            </a:pPr>
            <a:endParaRPr lang="en-US" sz="1200" dirty="0"/>
          </a:p>
        </p:txBody>
      </p:sp>
      <p:graphicFrame>
        <p:nvGraphicFramePr>
          <p:cNvPr id="8" name="Tabelle 7">
            <a:extLst>
              <a:ext uri="{FF2B5EF4-FFF2-40B4-BE49-F238E27FC236}">
                <a16:creationId xmlns:a16="http://schemas.microsoft.com/office/drawing/2014/main" id="{7813E6B7-22B3-48A0-8C06-05234D29E99B}"/>
              </a:ext>
            </a:extLst>
          </p:cNvPr>
          <p:cNvGraphicFramePr>
            <a:graphicFrameLocks noGrp="1"/>
          </p:cNvGraphicFramePr>
          <p:nvPr>
            <p:extLst>
              <p:ext uri="{D42A27DB-BD31-4B8C-83A1-F6EECF244321}">
                <p14:modId xmlns:p14="http://schemas.microsoft.com/office/powerpoint/2010/main" val="3445795248"/>
              </p:ext>
            </p:extLst>
          </p:nvPr>
        </p:nvGraphicFramePr>
        <p:xfrm>
          <a:off x="1749167" y="2607024"/>
          <a:ext cx="8712000" cy="2876967"/>
        </p:xfrm>
        <a:graphic>
          <a:graphicData uri="http://schemas.openxmlformats.org/drawingml/2006/table">
            <a:tbl>
              <a:tblPr firstRow="1" bandRow="1">
                <a:tableStyleId>{5C22544A-7EE6-4342-B048-85BDC9FD1C3A}</a:tableStyleId>
              </a:tblPr>
              <a:tblGrid>
                <a:gridCol w="8712000">
                  <a:extLst>
                    <a:ext uri="{9D8B030D-6E8A-4147-A177-3AD203B41FA5}">
                      <a16:colId xmlns:a16="http://schemas.microsoft.com/office/drawing/2014/main" val="2283342736"/>
                    </a:ext>
                  </a:extLst>
                </a:gridCol>
              </a:tblGrid>
              <a:tr h="446668">
                <a:tc>
                  <a:txBody>
                    <a:bodyPr/>
                    <a:lstStyle/>
                    <a:p>
                      <a:r>
                        <a:rPr lang="en-US" sz="1300" dirty="0"/>
                        <a:t>Calculation example for succinic acid (based on 6:4 mass ratio)</a:t>
                      </a:r>
                    </a:p>
                  </a:txBody>
                  <a:tcPr anchor="ctr"/>
                </a:tc>
                <a:extLst>
                  <a:ext uri="{0D108BD9-81ED-4DB2-BD59-A6C34878D82A}">
                    <a16:rowId xmlns:a16="http://schemas.microsoft.com/office/drawing/2014/main" val="2724263837"/>
                  </a:ext>
                </a:extLst>
              </a:tr>
              <a:tr h="911362">
                <a:tc>
                  <a:txBody>
                    <a:bodyPr/>
                    <a:lstStyle/>
                    <a:p>
                      <a:pPr marL="0" marR="0" lvl="0" indent="0" algn="l" defTabSz="914400" rtl="0" eaLnBrk="1" fontAlgn="auto" latinLnBrk="0" hangingPunct="1">
                        <a:lnSpc>
                          <a:spcPct val="100000"/>
                        </a:lnSpc>
                        <a:spcBef>
                          <a:spcPts val="0"/>
                        </a:spcBef>
                        <a:spcAft>
                          <a:spcPct val="50000"/>
                        </a:spcAft>
                        <a:buClr>
                          <a:srgbClr val="F39500"/>
                        </a:buClr>
                        <a:buSzTx/>
                        <a:buFont typeface="Wingdings" panose="05000000000000000000" pitchFamily="2" charset="2"/>
                        <a:buNone/>
                        <a:tabLst/>
                        <a:defRPr/>
                      </a:pPr>
                      <a:r>
                        <a:rPr kumimoji="0" lang="en-US" sz="1300" b="0" i="0" u="none" strike="noStrike" kern="1200" cap="none" spc="0" normalizeH="0" baseline="0" noProof="0" dirty="0">
                          <a:ln>
                            <a:noFill/>
                          </a:ln>
                          <a:solidFill>
                            <a:srgbClr val="000000"/>
                          </a:solidFill>
                          <a:effectLst/>
                          <a:uLnTx/>
                          <a:uFillTx/>
                          <a:latin typeface="Arial" panose="020B0604020202020204" pitchFamily="34" charset="0"/>
                          <a:cs typeface="+mn-cs"/>
                        </a:rPr>
                        <a:t>100 g of Kollicoat</a:t>
                      </a:r>
                      <a:r>
                        <a:rPr kumimoji="0" lang="en-US" sz="1400" b="0" i="0" u="none" strike="noStrike" kern="1200" cap="none" spc="0" normalizeH="0" baseline="30000" noProof="0" dirty="0">
                          <a:ln>
                            <a:noFill/>
                          </a:ln>
                          <a:effectLst/>
                          <a:uLnTx/>
                          <a:uFillTx/>
                          <a:latin typeface="Arial" panose="020B0604020202020204" pitchFamily="34" charset="0"/>
                          <a:cs typeface="+mn-cs"/>
                        </a:rPr>
                        <a:t>®</a:t>
                      </a:r>
                      <a:r>
                        <a:rPr kumimoji="0" lang="en-US" sz="1300" b="0" i="0" u="none" strike="noStrike" kern="1200" cap="none" spc="0" normalizeH="0" baseline="0" noProof="0" dirty="0">
                          <a:ln>
                            <a:noFill/>
                          </a:ln>
                          <a:solidFill>
                            <a:srgbClr val="000000"/>
                          </a:solidFill>
                          <a:effectLst/>
                          <a:uLnTx/>
                          <a:uFillTx/>
                          <a:latin typeface="Arial" panose="020B0604020202020204" pitchFamily="34" charset="0"/>
                          <a:cs typeface="+mn-cs"/>
                        </a:rPr>
                        <a:t> Smartseal 100 P contain about 40 g of the amino-functional monomer DEAEMA </a:t>
                      </a:r>
                    </a:p>
                    <a:p>
                      <a:pPr marL="0" marR="0" lvl="0" indent="0" algn="l" defTabSz="914400" rtl="0" eaLnBrk="1" fontAlgn="auto" latinLnBrk="0" hangingPunct="1">
                        <a:lnSpc>
                          <a:spcPct val="100000"/>
                        </a:lnSpc>
                        <a:spcBef>
                          <a:spcPts val="0"/>
                        </a:spcBef>
                        <a:spcAft>
                          <a:spcPct val="50000"/>
                        </a:spcAft>
                        <a:buClr>
                          <a:srgbClr val="F39500"/>
                        </a:buClr>
                        <a:buSzTx/>
                        <a:buFont typeface="Wingdings" panose="05000000000000000000" pitchFamily="2" charset="2"/>
                        <a:buNone/>
                        <a:tabLst/>
                        <a:defRPr/>
                      </a:pPr>
                      <a:r>
                        <a:rPr kumimoji="0" lang="en-US" sz="1300" b="0" i="0" u="none" strike="noStrike" kern="1200" cap="none" spc="0" normalizeH="0" baseline="0" noProof="0" dirty="0">
                          <a:ln>
                            <a:noFill/>
                          </a:ln>
                          <a:solidFill>
                            <a:srgbClr val="000000"/>
                          </a:solidFill>
                          <a:effectLst/>
                          <a:uLnTx/>
                          <a:uFillTx/>
                          <a:latin typeface="Arial" panose="020B0604020202020204" pitchFamily="34" charset="0"/>
                          <a:cs typeface="+mn-cs"/>
                        </a:rPr>
                        <a:t>Molecular weight (Mw) of DEAEMA = 185.27 g/mol </a:t>
                      </a:r>
                    </a:p>
                    <a:p>
                      <a:pPr marL="342900" marR="0" lvl="0" indent="-342900" algn="l" defTabSz="360363" rtl="0" eaLnBrk="1" fontAlgn="auto" latinLnBrk="0" hangingPunct="1">
                        <a:lnSpc>
                          <a:spcPct val="100000"/>
                        </a:lnSpc>
                        <a:spcBef>
                          <a:spcPts val="0"/>
                        </a:spcBef>
                        <a:spcAft>
                          <a:spcPct val="50000"/>
                        </a:spcAft>
                        <a:buClr>
                          <a:srgbClr val="F39500"/>
                        </a:buClr>
                        <a:buSzTx/>
                        <a:buFont typeface="Wingdings 3" panose="05040102010807070707" pitchFamily="18" charset="2"/>
                        <a:buChar char="9"/>
                        <a:tabLst/>
                        <a:defRPr/>
                      </a:pPr>
                      <a:r>
                        <a:rPr kumimoji="0" lang="en-US" sz="1300" b="0" i="0" u="none" strike="noStrike" kern="1200" cap="none" spc="0" normalizeH="0" baseline="0" noProof="0" dirty="0">
                          <a:ln>
                            <a:noFill/>
                          </a:ln>
                          <a:solidFill>
                            <a:srgbClr val="000000"/>
                          </a:solidFill>
                          <a:effectLst/>
                          <a:uLnTx/>
                          <a:uFillTx/>
                          <a:latin typeface="Arial" panose="020B0604020202020204" pitchFamily="34" charset="0"/>
                          <a:cs typeface="+mn-cs"/>
                          <a:sym typeface="Wingdings 3" panose="05040102010807070707" pitchFamily="18" charset="2"/>
                        </a:rPr>
                        <a:t>40g / </a:t>
                      </a:r>
                      <a:r>
                        <a:rPr kumimoji="0" lang="en-US" sz="1300" b="0" i="0" u="none" strike="noStrike" kern="1200" cap="none" spc="0" normalizeH="0" baseline="0" noProof="0" dirty="0">
                          <a:ln>
                            <a:noFill/>
                          </a:ln>
                          <a:solidFill>
                            <a:srgbClr val="000000"/>
                          </a:solidFill>
                          <a:effectLst/>
                          <a:uLnTx/>
                          <a:uFillTx/>
                          <a:latin typeface="Arial" panose="020B0604020202020204" pitchFamily="34" charset="0"/>
                          <a:cs typeface="+mn-cs"/>
                        </a:rPr>
                        <a:t>185.27 </a:t>
                      </a:r>
                      <a:r>
                        <a:rPr kumimoji="0" lang="en-US" sz="1300" b="0" i="0" u="none" strike="noStrike" kern="1200" cap="none" spc="0" normalizeH="0" baseline="0" noProof="0" dirty="0">
                          <a:ln>
                            <a:noFill/>
                          </a:ln>
                          <a:solidFill>
                            <a:srgbClr val="000000"/>
                          </a:solidFill>
                          <a:effectLst/>
                          <a:uLnTx/>
                          <a:uFillTx/>
                          <a:latin typeface="Arial" panose="020B0604020202020204" pitchFamily="34" charset="0"/>
                          <a:cs typeface="+mn-cs"/>
                          <a:sym typeface="Wingdings 3" panose="05040102010807070707" pitchFamily="18" charset="2"/>
                        </a:rPr>
                        <a:t>g/mol = 0.22 mol</a:t>
                      </a:r>
                      <a:endParaRPr lang="en-US" sz="1300" dirty="0"/>
                    </a:p>
                  </a:txBody>
                  <a:tcPr/>
                </a:tc>
                <a:extLst>
                  <a:ext uri="{0D108BD9-81ED-4DB2-BD59-A6C34878D82A}">
                    <a16:rowId xmlns:a16="http://schemas.microsoft.com/office/drawing/2014/main" val="132271789"/>
                  </a:ext>
                </a:extLst>
              </a:tr>
              <a:tr h="607575">
                <a:tc>
                  <a:txBody>
                    <a:bodyPr/>
                    <a:lstStyle/>
                    <a:p>
                      <a:pPr marL="0" marR="0" lvl="0" indent="0" algn="l" defTabSz="360363" rtl="0" eaLnBrk="1" fontAlgn="auto" latinLnBrk="0" hangingPunct="1">
                        <a:lnSpc>
                          <a:spcPct val="100000"/>
                        </a:lnSpc>
                        <a:spcBef>
                          <a:spcPts val="0"/>
                        </a:spcBef>
                        <a:spcAft>
                          <a:spcPct val="50000"/>
                        </a:spcAft>
                        <a:buClr>
                          <a:srgbClr val="F39500"/>
                        </a:buClr>
                        <a:buSzTx/>
                        <a:buFont typeface="Wingdings" panose="05000000000000000000" pitchFamily="2" charset="2"/>
                        <a:buNone/>
                        <a:tabLst/>
                        <a:defRPr/>
                      </a:pPr>
                      <a:r>
                        <a:rPr kumimoji="0" lang="en-US" sz="1300" b="0" i="0" u="none" strike="noStrike" kern="1200" cap="none" spc="0" normalizeH="0" baseline="0" noProof="0" dirty="0">
                          <a:ln>
                            <a:noFill/>
                          </a:ln>
                          <a:solidFill>
                            <a:srgbClr val="000000"/>
                          </a:solidFill>
                          <a:effectLst/>
                          <a:uLnTx/>
                          <a:uFillTx/>
                          <a:latin typeface="Arial" panose="020B0604020202020204" pitchFamily="34" charset="0"/>
                          <a:cs typeface="+mn-cs"/>
                          <a:sym typeface="Wingdings 3" panose="05040102010807070707" pitchFamily="18" charset="2"/>
                        </a:rPr>
                        <a:t>Degree of neutralization: 8 mol%</a:t>
                      </a:r>
                    </a:p>
                    <a:p>
                      <a:pPr marL="342900" marR="0" lvl="0" indent="-342900" algn="l" defTabSz="360363" rtl="0" eaLnBrk="1" fontAlgn="auto" latinLnBrk="0" hangingPunct="1">
                        <a:lnSpc>
                          <a:spcPct val="100000"/>
                        </a:lnSpc>
                        <a:spcBef>
                          <a:spcPts val="0"/>
                        </a:spcBef>
                        <a:spcAft>
                          <a:spcPct val="50000"/>
                        </a:spcAft>
                        <a:buClr>
                          <a:srgbClr val="F39500"/>
                        </a:buClr>
                        <a:buSzTx/>
                        <a:buFont typeface="Wingdings 3" panose="05040102010807070707" pitchFamily="18" charset="2"/>
                        <a:buChar char="9"/>
                        <a:tabLst/>
                        <a:defRPr/>
                      </a:pPr>
                      <a:r>
                        <a:rPr kumimoji="0" lang="en-US" sz="1300" b="0" i="0" u="none" strike="noStrike" kern="1200" cap="none" spc="0" normalizeH="0" baseline="0" noProof="0" dirty="0">
                          <a:ln>
                            <a:noFill/>
                          </a:ln>
                          <a:solidFill>
                            <a:srgbClr val="000000"/>
                          </a:solidFill>
                          <a:effectLst/>
                          <a:uLnTx/>
                          <a:uFillTx/>
                          <a:latin typeface="Arial" panose="020B0604020202020204" pitchFamily="34" charset="0"/>
                          <a:cs typeface="+mn-cs"/>
                          <a:sym typeface="Wingdings 3" panose="05040102010807070707" pitchFamily="18" charset="2"/>
                        </a:rPr>
                        <a:t>0. 22 mol x 8 / 100 = 0.0173 mol</a:t>
                      </a:r>
                      <a:endParaRPr lang="en-US" sz="1300" dirty="0"/>
                    </a:p>
                  </a:txBody>
                  <a:tcPr/>
                </a:tc>
                <a:extLst>
                  <a:ext uri="{0D108BD9-81ED-4DB2-BD59-A6C34878D82A}">
                    <a16:rowId xmlns:a16="http://schemas.microsoft.com/office/drawing/2014/main" val="3082117201"/>
                  </a:ext>
                </a:extLst>
              </a:tr>
              <a:tr h="911362">
                <a:tc>
                  <a:txBody>
                    <a:bodyPr/>
                    <a:lstStyle/>
                    <a:p>
                      <a:pPr marL="0" marR="0" lvl="0" indent="0" algn="l" defTabSz="360363" rtl="0" eaLnBrk="1" fontAlgn="auto" latinLnBrk="0" hangingPunct="1">
                        <a:lnSpc>
                          <a:spcPct val="100000"/>
                        </a:lnSpc>
                        <a:spcBef>
                          <a:spcPts val="0"/>
                        </a:spcBef>
                        <a:spcAft>
                          <a:spcPct val="50000"/>
                        </a:spcAft>
                        <a:buClr>
                          <a:srgbClr val="F39500"/>
                        </a:buClr>
                        <a:buSzTx/>
                        <a:buFont typeface="Wingdings" panose="05000000000000000000" pitchFamily="2" charset="2"/>
                        <a:buNone/>
                        <a:tabLst/>
                        <a:defRPr/>
                      </a:pPr>
                      <a:r>
                        <a:rPr kumimoji="0" lang="en-US" sz="1300" b="0" i="0" u="none" strike="noStrike" kern="1200" cap="none" spc="0" normalizeH="0" baseline="0" noProof="0" dirty="0">
                          <a:ln>
                            <a:noFill/>
                          </a:ln>
                          <a:solidFill>
                            <a:srgbClr val="000000"/>
                          </a:solidFill>
                          <a:effectLst/>
                          <a:uLnTx/>
                          <a:uFillTx/>
                          <a:latin typeface="Arial" panose="020B0604020202020204" pitchFamily="34" charset="0"/>
                          <a:cs typeface="+mn-cs"/>
                        </a:rPr>
                        <a:t>Molecular weight succinic acid: </a:t>
                      </a:r>
                      <a:r>
                        <a:rPr kumimoji="0" lang="en-US" sz="1300" b="0" i="0" u="none" strike="noStrike" kern="1200" cap="none" spc="0" normalizeH="0" baseline="0" dirty="0">
                          <a:ln>
                            <a:noFill/>
                          </a:ln>
                          <a:solidFill>
                            <a:srgbClr val="000000"/>
                          </a:solidFill>
                          <a:effectLst/>
                          <a:uLnTx/>
                          <a:uFillTx/>
                          <a:latin typeface="Arial" panose="020B0604020202020204" pitchFamily="34" charset="0"/>
                          <a:ea typeface="+mn-ea"/>
                          <a:cs typeface="+mn-cs"/>
                        </a:rPr>
                        <a:t>Mw = 118.09 g/mol</a:t>
                      </a:r>
                      <a:endParaRPr kumimoji="0" lang="en-US" sz="13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Wingdings 3" panose="05040102010807070707" pitchFamily="18" charset="2"/>
                      </a:endParaRPr>
                    </a:p>
                    <a:p>
                      <a:pPr marL="342900" marR="0" lvl="0" indent="-342900" algn="l" defTabSz="360363" rtl="0" eaLnBrk="1" fontAlgn="auto" latinLnBrk="0" hangingPunct="1">
                        <a:lnSpc>
                          <a:spcPct val="100000"/>
                        </a:lnSpc>
                        <a:spcBef>
                          <a:spcPts val="0"/>
                        </a:spcBef>
                        <a:spcAft>
                          <a:spcPct val="50000"/>
                        </a:spcAft>
                        <a:buClr>
                          <a:srgbClr val="F39500"/>
                        </a:buClr>
                        <a:buSzTx/>
                        <a:buFont typeface="Wingdings 3" panose="05040102010807070707" pitchFamily="18" charset="2"/>
                        <a:buChar char="9"/>
                        <a:tabLst/>
                        <a:defRPr/>
                      </a:pPr>
                      <a:r>
                        <a:rPr kumimoji="0" lang="en-US" sz="1300" b="0" i="0" u="none" strike="noStrike" kern="1200" cap="none" spc="0" normalizeH="0" baseline="0" noProof="0" dirty="0">
                          <a:ln>
                            <a:noFill/>
                          </a:ln>
                          <a:solidFill>
                            <a:srgbClr val="000000"/>
                          </a:solidFill>
                          <a:effectLst/>
                          <a:uLnTx/>
                          <a:uFillTx/>
                          <a:latin typeface="Arial" panose="020B0604020202020204" pitchFamily="34" charset="0"/>
                          <a:cs typeface="+mn-cs"/>
                        </a:rPr>
                        <a:t>	0.0</a:t>
                      </a:r>
                      <a:r>
                        <a:rPr kumimoji="0" lang="en-US" sz="1300" b="0" i="0" u="none" strike="noStrike" kern="1200" cap="none" spc="0" normalizeH="0" baseline="0" noProof="0" dirty="0">
                          <a:ln>
                            <a:noFill/>
                          </a:ln>
                          <a:solidFill>
                            <a:srgbClr val="000000"/>
                          </a:solidFill>
                          <a:effectLst/>
                          <a:uLnTx/>
                          <a:uFillTx/>
                          <a:latin typeface="Arial" panose="020B0604020202020204" pitchFamily="34" charset="0"/>
                          <a:cs typeface="+mn-cs"/>
                          <a:sym typeface="Wingdings 3" panose="05040102010807070707" pitchFamily="18" charset="2"/>
                        </a:rPr>
                        <a:t>173</a:t>
                      </a:r>
                      <a:r>
                        <a:rPr kumimoji="0" lang="en-US" sz="1300" b="0" i="0" u="none" strike="noStrike" kern="1200" cap="none" spc="0" normalizeH="0" baseline="0" noProof="0" dirty="0">
                          <a:ln>
                            <a:noFill/>
                          </a:ln>
                          <a:solidFill>
                            <a:srgbClr val="000000"/>
                          </a:solidFill>
                          <a:effectLst/>
                          <a:uLnTx/>
                          <a:uFillTx/>
                          <a:latin typeface="Arial" panose="020B0604020202020204" pitchFamily="34" charset="0"/>
                          <a:cs typeface="+mn-cs"/>
                        </a:rPr>
                        <a:t> mol x 118.09 g/mol = </a:t>
                      </a:r>
                      <a:r>
                        <a:rPr kumimoji="0" lang="en-US" sz="1300" b="1" i="0" u="none" strike="noStrike" kern="1200" cap="none" spc="0" normalizeH="0" baseline="0" noProof="0" dirty="0">
                          <a:ln>
                            <a:noFill/>
                          </a:ln>
                          <a:solidFill>
                            <a:srgbClr val="000000"/>
                          </a:solidFill>
                          <a:effectLst/>
                          <a:uLnTx/>
                          <a:uFillTx/>
                          <a:latin typeface="Arial" panose="020B0604020202020204" pitchFamily="34" charset="0"/>
                          <a:cs typeface="+mn-cs"/>
                        </a:rPr>
                        <a:t>2.04 g succinic acid need to be added per 100 g of Smartseal 100 P</a:t>
                      </a:r>
                    </a:p>
                    <a:p>
                      <a:pPr marL="342900" marR="0" lvl="0" indent="-342900" algn="l" defTabSz="360363" rtl="0" eaLnBrk="1" fontAlgn="auto" latinLnBrk="0" hangingPunct="1">
                        <a:lnSpc>
                          <a:spcPct val="100000"/>
                        </a:lnSpc>
                        <a:spcBef>
                          <a:spcPts val="0"/>
                        </a:spcBef>
                        <a:spcAft>
                          <a:spcPct val="50000"/>
                        </a:spcAft>
                        <a:buClr>
                          <a:srgbClr val="F39500"/>
                        </a:buClr>
                        <a:buSzTx/>
                        <a:buFont typeface="Wingdings 3" panose="05040102010807070707" pitchFamily="18" charset="2"/>
                        <a:buChar char="9"/>
                        <a:tabLst/>
                        <a:defRPr/>
                      </a:pPr>
                      <a:r>
                        <a:rPr kumimoji="0" lang="en-US" sz="1300" b="0" i="0" u="none" strike="noStrike" kern="1200" cap="none" spc="0" normalizeH="0" baseline="0" noProof="0" dirty="0">
                          <a:ln>
                            <a:noFill/>
                          </a:ln>
                          <a:solidFill>
                            <a:srgbClr val="000000"/>
                          </a:solidFill>
                          <a:effectLst/>
                          <a:uLnTx/>
                          <a:uFillTx/>
                          <a:latin typeface="Arial" panose="020B0604020202020204" pitchFamily="34" charset="0"/>
                          <a:cs typeface="+mn-cs"/>
                        </a:rPr>
                        <a:t>This equates to preparing a 2.0% w/w rel. to polymer solution of succinic acid</a:t>
                      </a:r>
                      <a:endParaRPr lang="en-US" sz="1300" dirty="0"/>
                    </a:p>
                  </a:txBody>
                  <a:tcPr/>
                </a:tc>
                <a:extLst>
                  <a:ext uri="{0D108BD9-81ED-4DB2-BD59-A6C34878D82A}">
                    <a16:rowId xmlns:a16="http://schemas.microsoft.com/office/drawing/2014/main" val="3242335366"/>
                  </a:ext>
                </a:extLst>
              </a:tr>
            </a:tbl>
          </a:graphicData>
        </a:graphic>
      </p:graphicFrame>
      <p:sp>
        <p:nvSpPr>
          <p:cNvPr id="6" name="TextBox 5">
            <a:extLst>
              <a:ext uri="{FF2B5EF4-FFF2-40B4-BE49-F238E27FC236}">
                <a16:creationId xmlns:a16="http://schemas.microsoft.com/office/drawing/2014/main" id="{E104B3E0-8C88-4BBE-A010-762BC3D73AEC}"/>
              </a:ext>
            </a:extLst>
          </p:cNvPr>
          <p:cNvSpPr txBox="1"/>
          <p:nvPr/>
        </p:nvSpPr>
        <p:spPr>
          <a:xfrm>
            <a:off x="5809434" y="4045506"/>
            <a:ext cx="4307840" cy="738664"/>
          </a:xfrm>
          <a:prstGeom prst="rect">
            <a:avLst/>
          </a:prstGeom>
          <a:noFill/>
        </p:spPr>
        <p:txBody>
          <a:bodyPr wrap="square" lIns="0" tIns="0" rIns="0" bIns="0" rtlCol="0" anchor="ctr">
            <a:spAutoFit/>
          </a:bodyPr>
          <a:lstStyle/>
          <a:p>
            <a:pPr algn="ctr">
              <a:defRPr/>
            </a:pPr>
            <a:r>
              <a:rPr lang="en-US" sz="1600" dirty="0">
                <a:solidFill>
                  <a:srgbClr val="860000"/>
                </a:solidFill>
                <a:latin typeface="Arial" panose="020B0604020202020204"/>
                <a:cs typeface="Arial"/>
              </a:rPr>
              <a:t>This means that 0.0176 moles of acid need to be added per 100 g of Smartseal 100 P</a:t>
            </a:r>
          </a:p>
          <a:p>
            <a:pPr algn="ctr">
              <a:defRPr/>
            </a:pPr>
            <a:endParaRPr lang="en-US" sz="1600" dirty="0">
              <a:solidFill>
                <a:srgbClr val="860000"/>
              </a:solidFill>
              <a:latin typeface="Arial" panose="020B0604020202020204"/>
              <a:cs typeface="Arial"/>
            </a:endParaRPr>
          </a:p>
        </p:txBody>
      </p:sp>
      <p:sp>
        <p:nvSpPr>
          <p:cNvPr id="7" name="Arrow: Right 6">
            <a:extLst>
              <a:ext uri="{FF2B5EF4-FFF2-40B4-BE49-F238E27FC236}">
                <a16:creationId xmlns:a16="http://schemas.microsoft.com/office/drawing/2014/main" id="{2D391880-9343-4ACD-A4BB-F4F3624AC5D5}"/>
              </a:ext>
            </a:extLst>
          </p:cNvPr>
          <p:cNvSpPr/>
          <p:nvPr/>
        </p:nvSpPr>
        <p:spPr>
          <a:xfrm rot="10800000">
            <a:off x="5219890" y="4095294"/>
            <a:ext cx="571211" cy="25400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Arial" panose="020B0604020202020204"/>
              <a:cs typeface="Arial"/>
            </a:endParaRPr>
          </a:p>
        </p:txBody>
      </p:sp>
      <p:sp>
        <p:nvSpPr>
          <p:cNvPr id="4" name="Footer Placeholder 11">
            <a:extLst>
              <a:ext uri="{FF2B5EF4-FFF2-40B4-BE49-F238E27FC236}">
                <a16:creationId xmlns:a16="http://schemas.microsoft.com/office/drawing/2014/main" id="{5FBF603B-8CB4-8605-AD9A-5AC619FA9A15}"/>
              </a:ext>
            </a:extLst>
          </p:cNvPr>
          <p:cNvSpPr txBox="1">
            <a:spLocks/>
          </p:cNvSpPr>
          <p:nvPr/>
        </p:nvSpPr>
        <p:spPr>
          <a:xfrm>
            <a:off x="1441361" y="6603021"/>
            <a:ext cx="3364707" cy="167933"/>
          </a:xfrm>
          <a:prstGeom prst="rect">
            <a:avLst/>
          </a:prstGeom>
        </p:spPr>
        <p:txBody>
          <a:bodyPr lIns="0" tIns="0" rIns="0" bIns="0"/>
          <a:lstStyle>
            <a:defPPr lvl="0">
              <a:defRPr lang="de-DE"/>
            </a:defPPr>
            <a:lvl1pPr marL="0" lvl="1" algn="l" defTabSz="914400" rtl="0" eaLnBrk="1" latinLnBrk="0" hangingPunct="1">
              <a:defRPr sz="506" kern="1200">
                <a:solidFill>
                  <a:srgbClr val="000000"/>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t>BASF Pharma Solutions - Orals Platform</a:t>
            </a:r>
          </a:p>
        </p:txBody>
      </p:sp>
    </p:spTree>
    <p:extLst>
      <p:ext uri="{BB962C8B-B14F-4D97-AF65-F5344CB8AC3E}">
        <p14:creationId xmlns:p14="http://schemas.microsoft.com/office/powerpoint/2010/main" val="30654827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_BASF_WIZARD_LOGO2015" val="1"/>
  <p:tag name="_BASF_WIZARD_VERSION" val="10.1.2"/>
  <p:tag name="_BASF_CONVERTED_TO_TAGS" val="1"/>
  <p:tag name="_TP_TITELFOLIE_VISIBLE" val="0"/>
  <p:tag name="_TP_TITELFOLIE_WIDTH" val="460"/>
  <p:tag name="_TP_ICONS_VISIBLE" val="0"/>
  <p:tag name="_TP_ICONS_WIDTH" val="275"/>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_WIZ_TB_TYPE" val="TB"/>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nSCqXitxSwaj0gs1ibwxJ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FIID" val="501"/>
  <p:tag name="SHID" val="120"/>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FIID" val="134"/>
  <p:tag name="SHID" val="366"/>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09.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11.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12.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13.xml><?xml version="1.0" encoding="utf-8"?>
<p:tagLst xmlns:a="http://schemas.openxmlformats.org/drawingml/2006/main" xmlns:r="http://schemas.openxmlformats.org/officeDocument/2006/relationships" xmlns:p="http://schemas.openxmlformats.org/presentationml/2006/main">
  <p:tag name="COLORSETCLASSNAME" val="ColorSet1"/>
  <p:tag name="COLORS" val="-2;-2;-1;White;-1;-2"/>
</p:tagLst>
</file>

<file path=ppt/tags/tag114.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15.xml><?xml version="1.0" encoding="utf-8"?>
<p:tagLst xmlns:a="http://schemas.openxmlformats.org/drawingml/2006/main" xmlns:r="http://schemas.openxmlformats.org/officeDocument/2006/relationships" xmlns:p="http://schemas.openxmlformats.org/presentationml/2006/main">
  <p:tag name="COLORSETCLASSNAME" val="ColorSet1"/>
  <p:tag name="COLORS" val="-2;-2;BoschRed;White;-1;-2"/>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SooQsiKNHFxVgZ2hFD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3dAh.bovmiJJ.vdVQTlE9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3dAh.bovmiJJ.vdVQTlE9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NDING" val=":"/>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28.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JI3ISboYPk68MMiQR25Q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I3ISboYPk68MMiQR25Q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95ANwBHTPKRk.ZNcyvt2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95ANwBHTPKRk.ZNcyvt2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95ANwBHTPKRk.ZNcyvt2Q"/>
</p:tagLst>
</file>

<file path=ppt/tags/tag51.xml><?xml version="1.0" encoding="utf-8"?>
<p:tagLst xmlns:a="http://schemas.openxmlformats.org/drawingml/2006/main" xmlns:r="http://schemas.openxmlformats.org/officeDocument/2006/relationships" xmlns:p="http://schemas.openxmlformats.org/presentationml/2006/main">
  <p:tag name="_WIZ_TB_TYPE" val="LSB"/>
</p:tagLst>
</file>

<file path=ppt/tags/tag52.xml><?xml version="1.0" encoding="utf-8"?>
<p:tagLst xmlns:a="http://schemas.openxmlformats.org/drawingml/2006/main" xmlns:r="http://schemas.openxmlformats.org/officeDocument/2006/relationships" xmlns:p="http://schemas.openxmlformats.org/presentationml/2006/main">
  <p:tag name="_WIZ_TB_TYPE" val="TB"/>
</p:tagLst>
</file>

<file path=ppt/tags/tag53.xml><?xml version="1.0" encoding="utf-8"?>
<p:tagLst xmlns:a="http://schemas.openxmlformats.org/drawingml/2006/main" xmlns:r="http://schemas.openxmlformats.org/officeDocument/2006/relationships" xmlns:p="http://schemas.openxmlformats.org/presentationml/2006/main">
  <p:tag name="_WIZ_TB_TYPE" val="LB"/>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_WIZ_TB_TYPE" val="LSB"/>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_WIZ_TB_TYPE" val="TB"/>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BEzOQwMTeGvrAgDvcfev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SqZQmZbQ9S08WMKiTatj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BEzOQwMTeGvrAgDvcfev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wx6WFkLWThe1VyiYrETnb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ruBkKpPCSmeAuq_Udxx4g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SF_TitelDesign_V10">
  <a:themeElements>
    <a:clrScheme name="06 BASF orange_colorsheme">
      <a:dk1>
        <a:srgbClr val="000000"/>
      </a:dk1>
      <a:lt1>
        <a:srgbClr val="FFFFFF"/>
      </a:lt1>
      <a:dk2>
        <a:srgbClr val="860000"/>
      </a:dk2>
      <a:lt2>
        <a:srgbClr val="FFFFFF"/>
      </a:lt2>
      <a:accent1>
        <a:srgbClr val="C50022"/>
      </a:accent1>
      <a:accent2>
        <a:srgbClr val="CE485C"/>
      </a:accent2>
      <a:accent3>
        <a:srgbClr val="E07789"/>
      </a:accent3>
      <a:accent4>
        <a:srgbClr val="EBA6B2"/>
      </a:accent4>
      <a:accent5>
        <a:srgbClr val="F8E0E4"/>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esentation2" id="{AEAA401F-B809-4F34-ABC8-49A5494FD42C}" vid="{5DABEE4D-E0FA-44BD-A6BB-E44A97E1607F}"/>
    </a:ext>
  </a:extLst>
</a:theme>
</file>

<file path=ppt/theme/theme2.xml><?xml version="1.0" encoding="utf-8"?>
<a:theme xmlns:a="http://schemas.openxmlformats.org/drawingml/2006/main" name="BASF_FolienDesign_V10">
  <a:themeElements>
    <a:clrScheme name="Benutzerdefiniert 5">
      <a:dk1>
        <a:srgbClr val="000000"/>
      </a:dk1>
      <a:lt1>
        <a:srgbClr val="FFFFFF"/>
      </a:lt1>
      <a:dk2>
        <a:srgbClr val="860000"/>
      </a:dk2>
      <a:lt2>
        <a:srgbClr val="FFFFFF"/>
      </a:lt2>
      <a:accent1>
        <a:srgbClr val="C50022"/>
      </a:accent1>
      <a:accent2>
        <a:srgbClr val="CE485C"/>
      </a:accent2>
      <a:accent3>
        <a:srgbClr val="E07789"/>
      </a:accent3>
      <a:accent4>
        <a:srgbClr val="EBA6B2"/>
      </a:accent4>
      <a:accent5>
        <a:srgbClr val="F8E0E4"/>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esentation2" id="{AEAA401F-B809-4F34-ABC8-49A5494FD42C}" vid="{276D0024-E209-40EE-B37C-ED1C9C39B6A1}"/>
    </a:ext>
  </a:extLst>
</a:theme>
</file>

<file path=ppt/theme/theme3.xml><?xml version="1.0" encoding="utf-8"?>
<a:theme xmlns:a="http://schemas.openxmlformats.org/drawingml/2006/main" name="BASF_Finale_V10">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AS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AEAA401F-B809-4F34-ABC8-49A5494FD42C}" vid="{1BF87513-2A7F-447E-ACFA-BC62DCBFD29E}"/>
    </a:ext>
  </a:extLst>
</a:theme>
</file>

<file path=ppt/theme/theme4.xml><?xml version="1.0" encoding="utf-8"?>
<a:theme xmlns:a="http://schemas.openxmlformats.org/drawingml/2006/main" name="1_BASF_FolienDesign_V10">
  <a:themeElements>
    <a:clrScheme name="Benutzerdefiniert 5">
      <a:dk1>
        <a:srgbClr val="000000"/>
      </a:dk1>
      <a:lt1>
        <a:srgbClr val="FFFFFF"/>
      </a:lt1>
      <a:dk2>
        <a:srgbClr val="860000"/>
      </a:dk2>
      <a:lt2>
        <a:srgbClr val="FFFFFF"/>
      </a:lt2>
      <a:accent1>
        <a:srgbClr val="C50022"/>
      </a:accent1>
      <a:accent2>
        <a:srgbClr val="CE485C"/>
      </a:accent2>
      <a:accent3>
        <a:srgbClr val="E07789"/>
      </a:accent3>
      <a:accent4>
        <a:srgbClr val="EBA6B2"/>
      </a:accent4>
      <a:accent5>
        <a:srgbClr val="F8E0E4"/>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esentation2" id="{AEAA401F-B809-4F34-ABC8-49A5494FD42C}" vid="{276D0024-E209-40EE-B37C-ED1C9C39B6A1}"/>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ocument_x0020_Date xmlns="519f8a16-3279-48c5-8fe1-0f0731f4c2a1">2023-06-21T15:56:05Z</Document_x0020_Date>
    <Platform xmlns="519f8a16-3279-48c5-8fe1-0f0731f4c2a1">
      <Value>Orals</Value>
    </Platform>
    <Tag xmlns="519f8a16-3279-48c5-8fe1-0f0731f4c2a1">
      <Value>Taste Masking</Value>
      <Value>Orals</Value>
      <Value>Kollicoat</Value>
      <Value>Coating</Value>
      <Value>Kollicoat Smartseal</Value>
    </Tag>
    <CanBePersonalizedInShowpad xmlns="519f8a16-3279-48c5-8fe1-0f0731f4c2a1">true</CanBePersonalizedInShowpad>
    <Product_x0020_Group xmlns="519f8a16-3279-48c5-8fe1-0f0731f4c2a1">Kollicoat</Product_x0020_Group>
    <Sub_x002d_Platform xmlns="519f8a16-3279-48c5-8fe1-0f0731f4c2a1">Coating</Sub_x002d_Platform>
    <Product_x0020_Name0 xmlns="519f8a16-3279-48c5-8fe1-0f0731f4c2a1">Smartseal</Product_x0020_Name0>
    <Regulatory xmlns="519f8a16-3279-48c5-8fe1-0f0731f4c2a1">#</Regulatory>
    <Communication_x0020_Material xmlns="519f8a16-3279-48c5-8fe1-0f0731f4c2a1">0 General</Communication_x0020_Material>
    <Division xmlns="519f8a16-3279-48c5-8fe1-0f0731f4c2a1">ENP Global</Division>
    <Document_x0020_Status xmlns="519f8a16-3279-48c5-8fe1-0f0731f4c2a1">Released</Document_x0020_Status>
    <Sub_x002d_Sub_x0020_Platform xmlns="519f8a16-3279-48c5-8fe1-0f0731f4c2a1">Taste masking</Sub_x002d_Sub_x0020_Platform>
    <Market_x0020_Information xmlns="519f8a16-3279-48c5-8fe1-0f0731f4c2a1">#</Market_x0020_Information>
    <Publish xmlns="519f8a16-3279-48c5-8fe1-0f0731f4c2a1">true</Publish>
    <Product_x0020_type xmlns="519f8a16-3279-48c5-8fe1-0f0731f4c2a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380D5B194A5974C878981B1F00D34C4" ma:contentTypeVersion="35" ma:contentTypeDescription="Create a new document." ma:contentTypeScope="" ma:versionID="7388afad458107fd08b92d18b6f66f8b">
  <xsd:schema xmlns:xsd="http://www.w3.org/2001/XMLSchema" xmlns:xs="http://www.w3.org/2001/XMLSchema" xmlns:p="http://schemas.microsoft.com/office/2006/metadata/properties" xmlns:ns2="519f8a16-3279-48c5-8fe1-0f0731f4c2a1" xmlns:ns3="c823d4ca-47d9-45c8-9c05-973d011c3e28" targetNamespace="http://schemas.microsoft.com/office/2006/metadata/properties" ma:root="true" ma:fieldsID="27e5933a74f2ef2092ac55f8a8089d2a" ns2:_="" ns3:_="">
    <xsd:import namespace="519f8a16-3279-48c5-8fe1-0f0731f4c2a1"/>
    <xsd:import namespace="c823d4ca-47d9-45c8-9c05-973d011c3e28"/>
    <xsd:element name="properties">
      <xsd:complexType>
        <xsd:sequence>
          <xsd:element name="documentManagement">
            <xsd:complexType>
              <xsd:all>
                <xsd:element ref="ns2:Product_x0020_Group" minOccurs="0"/>
                <xsd:element ref="ns2:Product_x0020_Name0" minOccurs="0"/>
                <xsd:element ref="ns2:Product_x0020_type" minOccurs="0"/>
                <xsd:element ref="ns2:Platform" minOccurs="0"/>
                <xsd:element ref="ns2:Sub_x002d_Platform" minOccurs="0"/>
                <xsd:element ref="ns2:Sub_x002d_Sub_x0020_Platform" minOccurs="0"/>
                <xsd:element ref="ns2:Document_x0020_Status" minOccurs="0"/>
                <xsd:element ref="ns2:Document_x0020_Date" minOccurs="0"/>
                <xsd:element ref="ns2:MediaServiceMetadata" minOccurs="0"/>
                <xsd:element ref="ns2:MediaServiceFastMetadata" minOccurs="0"/>
                <xsd:element ref="ns2:Market_x0020_Information" minOccurs="0"/>
                <xsd:element ref="ns2:MediaServiceDateTaken" minOccurs="0"/>
                <xsd:element ref="ns2:Regulatory" minOccurs="0"/>
                <xsd:element ref="ns3:SharedWithUsers" minOccurs="0"/>
                <xsd:element ref="ns3:SharedWithDetails" minOccurs="0"/>
                <xsd:element ref="ns2:MediaServiceAutoTags" minOccurs="0"/>
                <xsd:element ref="ns2:MediaServiceGenerationTime" minOccurs="0"/>
                <xsd:element ref="ns2:MediaServiceEventHashCode" minOccurs="0"/>
                <xsd:element ref="ns2:Communication_x0020_Material" minOccurs="0"/>
                <xsd:element ref="ns2:MediaServiceOCR" minOccurs="0"/>
                <xsd:element ref="ns2:Division" minOccurs="0"/>
                <xsd:element ref="ns2:Publish" minOccurs="0"/>
                <xsd:element ref="ns2:MediaLengthInSeconds" minOccurs="0"/>
                <xsd:element ref="ns2:Tag" minOccurs="0"/>
                <xsd:element ref="ns2:CanBePersonalizedInShowpad"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19f8a16-3279-48c5-8fe1-0f0731f4c2a1" elementFormDefault="qualified">
    <xsd:import namespace="http://schemas.microsoft.com/office/2006/documentManagement/types"/>
    <xsd:import namespace="http://schemas.microsoft.com/office/infopath/2007/PartnerControls"/>
    <xsd:element name="Product_x0020_Group" ma:index="1" nillable="true" ma:displayName="Product Group" ma:default="#" ma:format="Dropdown" ma:internalName="Product_x0020_Group">
      <xsd:simpleType>
        <xsd:restriction base="dms:Choice">
          <xsd:enumeration value="#"/>
          <xsd:enumeration value="0 General"/>
          <xsd:enumeration value="2HAP &amp; 4HAP"/>
          <xsd:enumeration value="COVID-19"/>
          <xsd:enumeration value="Kollicream"/>
          <xsd:enumeration value="Kollidon"/>
          <xsd:enumeration value="Kolliphor"/>
          <xsd:enumeration value="Kollicoat"/>
          <xsd:enumeration value="Kollisolv"/>
          <xsd:enumeration value="Kollitab"/>
          <xsd:enumeration value="Kolliwax"/>
          <xsd:enumeration value="Soluplus"/>
          <xsd:enumeration value="Lipid-Based Excipients"/>
          <xsd:enumeration value="Omega 3"/>
          <xsd:enumeration value="Ludipress"/>
          <xsd:enumeration value="Ludiflash"/>
          <xsd:enumeration value="Powerpoint Templates"/>
          <xsd:enumeration value="Pictures &amp; Icons"/>
          <xsd:enumeration value="PVP-Iodine"/>
          <xsd:enumeration value="L- Menthol"/>
          <xsd:enumeration value="Ibuprofen"/>
          <xsd:enumeration value="Novata"/>
          <xsd:enumeration value="Access to Affordable Medicine"/>
        </xsd:restriction>
      </xsd:simpleType>
    </xsd:element>
    <xsd:element name="Product_x0020_Name0" ma:index="2" nillable="true" ma:displayName="Product Name" ma:default="#" ma:format="Dropdown" ma:internalName="Product_x0020_Name0">
      <xsd:simpleType>
        <xsd:restriction base="dms:Choice">
          <xsd:enumeration value="#"/>
          <xsd:enumeration value="0 General"/>
          <xsd:enumeration value="2HAP"/>
          <xsd:enumeration value="4HAP"/>
          <xsd:enumeration value="COVID-19"/>
          <xsd:enumeration value="Kollidon 25"/>
          <xsd:enumeration value="Kollidon VA64"/>
          <xsd:enumeration value="Kollidon 12 &amp; 17"/>
          <xsd:enumeration value="Kollidon 90F"/>
          <xsd:enumeration value="Kollicream 3C"/>
          <xsd:enumeration value="Kolliphor ELP"/>
          <xsd:enumeration value="Kolliphor HS15"/>
          <xsd:enumeration value="Kolliphor P407"/>
          <xsd:enumeration value="Kolliphor RH40"/>
          <xsd:enumeration value="Kollicoat MAE 100-55"/>
          <xsd:enumeration value="Kollitab DC 87 L"/>
          <xsd:enumeration value="Kolliwax GMS II"/>
          <xsd:enumeration value="Kolliwax CSA 70"/>
          <xsd:enumeration value="Kolliwax CSA 50"/>
          <xsd:enumeration value="Kolliwax CA"/>
          <xsd:enumeration value="Kolliwax HCO"/>
          <xsd:enumeration value="Kolliwax MA"/>
          <xsd:enumeration value="Kolliwax S"/>
          <xsd:enumeration value="Kolliwax SA"/>
          <xsd:enumeration value="Omega 3 K85 EE"/>
          <xsd:enumeration value="Omega 3 EPA 97 EE"/>
          <xsd:enumeration value="Omega 3 Generic Lovaza/Omacor"/>
          <xsd:enumeration value="Kollidon SR"/>
          <xsd:enumeration value="Kollicoat SR 30D"/>
          <xsd:enumeration value="Smartseal"/>
          <xsd:enumeration value="Kollidon 30"/>
          <xsd:enumeration value="Kollidon 30 S"/>
          <xsd:enumeration value="Soluplus"/>
          <xsd:enumeration value="Kollidon CL-SF"/>
          <xsd:enumeration value="Ludipress LC"/>
          <xsd:enumeration value="Ludipress LCE"/>
          <xsd:enumeration value="Ludiflash"/>
          <xsd:enumeration value="Kollicream OD"/>
          <xsd:enumeration value="PVP-Iodine"/>
          <xsd:enumeration value="Povidone 30"/>
          <xsd:enumeration value="Ibuprofen DC 85W"/>
          <xsd:enumeration value="Kollicoat IR"/>
          <xsd:enumeration value="L-Menthol"/>
          <xsd:enumeration value="Kollicoat MAE 30 DP"/>
          <xsd:enumeration value="Kollidon CL"/>
          <xsd:enumeration value="Kollicream CP15"/>
          <xsd:enumeration value="Kollicream DO"/>
          <xsd:enumeration value="Kollicream IPM"/>
          <xsd:enumeration value="Kollicream OA"/>
          <xsd:enumeration value="Kolliphor CS20"/>
          <xsd:enumeration value="Kolliphor PS60"/>
          <xsd:enumeration value="Kolliphor PS 80"/>
          <xsd:enumeration value="Kollisolv PEG300"/>
          <xsd:enumeration value="Fast acting ibuprofen (RIBL and Na-Ibu)"/>
          <xsd:enumeration value="Ibuprofen Lysinate"/>
          <xsd:enumeration value="Ibuprofen Sodium"/>
          <xsd:enumeration value="MaxOmega"/>
          <xsd:enumeration value="CN600"/>
          <xsd:enumeration value="Kolliphor SLS"/>
          <xsd:enumeration value="Kolliphor PS20"/>
          <xsd:enumeration value="Kollidon 90 Evo"/>
          <xsd:enumeration value="Kolliphor P188 Bio"/>
          <xsd:enumeration value="Kolliphor P188 Cell Culture"/>
        </xsd:restriction>
      </xsd:simpleType>
    </xsd:element>
    <xsd:element name="Product_x0020_type" ma:index="4" nillable="true" ma:displayName="Product Type" ma:internalName="Product_x0020_type">
      <xsd:complexType>
        <xsd:complexContent>
          <xsd:extension base="dms:MultiChoice">
            <xsd:sequence>
              <xsd:element name="Value" maxOccurs="unbounded" minOccurs="0" nillable="true">
                <xsd:simpleType>
                  <xsd:restriction base="dms:Choice">
                    <xsd:enumeration value="Focus"/>
                    <xsd:enumeration value="Push"/>
                  </xsd:restriction>
                </xsd:simpleType>
              </xsd:element>
            </xsd:sequence>
          </xsd:extension>
        </xsd:complexContent>
      </xsd:complexType>
    </xsd:element>
    <xsd:element name="Platform" ma:index="5" nillable="true" ma:displayName="Platform" ma:format="Dropdown" ma:internalName="Platform">
      <xsd:complexType>
        <xsd:complexContent>
          <xsd:extension base="dms:MultiChoice">
            <xsd:sequence>
              <xsd:element name="Value" maxOccurs="unbounded" minOccurs="0" nillable="true">
                <xsd:simpleType>
                  <xsd:restriction base="dms:Choice">
                    <xsd:enumeration value="0 General"/>
                    <xsd:enumeration value="Orals"/>
                    <xsd:enumeration value="Solubilization"/>
                    <xsd:enumeration value="Skin Delivery"/>
                    <xsd:enumeration value="APIs"/>
                    <xsd:enumeration value="Biopharma Ingredients"/>
                  </xsd:restriction>
                </xsd:simpleType>
              </xsd:element>
            </xsd:sequence>
          </xsd:extension>
        </xsd:complexContent>
      </xsd:complexType>
    </xsd:element>
    <xsd:element name="Sub_x002d_Platform" ma:index="6" nillable="true" ma:displayName="Pillar" ma:format="Dropdown" ma:internalName="Sub_x002d_Platform">
      <xsd:simpleType>
        <xsd:restriction base="dms:Choice">
          <xsd:enumeration value="0 General"/>
          <xsd:enumeration value="Animal Health"/>
          <xsd:enumeration value="Parenterals"/>
          <xsd:enumeration value="Lipids"/>
          <xsd:enumeration value="Softgels"/>
          <xsd:enumeration value="Shell"/>
          <xsd:enumeration value="Fill"/>
          <xsd:enumeration value="Sensory"/>
          <xsd:enumeration value="Mildness"/>
          <xsd:enumeration value="Dermal Delivery"/>
          <xsd:enumeration value="Formulation Design"/>
          <xsd:enumeration value="Amorphous Solid Dispersions"/>
          <xsd:enumeration value="Coating"/>
          <xsd:enumeration value="Upstream Cell Culture (CC)"/>
          <xsd:enumeration value="Formulation (FFF)"/>
          <xsd:enumeration value="General for Bio"/>
          <xsd:enumeration value="Down Stream Processing (DSP)"/>
          <xsd:enumeration value="Core"/>
          <xsd:enumeration value="Special Topics"/>
          <xsd:enumeration value="Presentation Templates"/>
          <xsd:enumeration value="Covid-19"/>
          <xsd:enumeration value="Test"/>
        </xsd:restriction>
      </xsd:simpleType>
    </xsd:element>
    <xsd:element name="Sub_x002d_Sub_x0020_Platform" ma:index="7" nillable="true" ma:displayName="Technology" ma:format="Dropdown" ma:internalName="Sub_x002d_Sub_x0020_Platform">
      <xsd:simpleType>
        <xsd:restriction base="dms:Choice">
          <xsd:enumeration value="0 General"/>
          <xsd:enumeration value="Small Molecule"/>
          <xsd:enumeration value="Large Molecule"/>
          <xsd:enumeration value="Compatibility"/>
          <xsd:enumeration value="Crystallization Inhibition"/>
          <xsd:enumeration value="SEDDS"/>
          <xsd:enumeration value="Digestive Lipids"/>
          <xsd:enumeration value="Hot Melt Extrusion (HME)"/>
          <xsd:enumeration value="Spray Drying"/>
          <xsd:enumeration value="Layering"/>
          <xsd:enumeration value="Solid Lipids"/>
          <xsd:enumeration value="Instant"/>
          <xsd:enumeration value="Enteric"/>
          <xsd:enumeration value="Enteric Coating"/>
          <xsd:enumeration value="Reverse Enteric"/>
          <xsd:enumeration value="Core Sustained Release"/>
          <xsd:enumeration value="Coating Sustained Release"/>
          <xsd:enumeration value="Parenterals"/>
          <xsd:enumeration value="Wet binding"/>
          <xsd:enumeration value="Dry binding"/>
          <xsd:enumeration value="Disintegrants"/>
          <xsd:enumeration value="Direct compressible"/>
          <xsd:enumeration value="Lubricants"/>
          <xsd:enumeration value="Taste masking"/>
          <xsd:enumeration value="Orally Disintegrating Tablets (ODT)"/>
          <xsd:enumeration value="Alcohol Induced Drug Dumping (ADD)"/>
          <xsd:enumeration value="PeroXeal"/>
          <xsd:enumeration value="QbD"/>
          <xsd:enumeration value="Continuous Processing"/>
          <xsd:enumeration value="Coprocessed Excipients"/>
          <xsd:enumeration value="Customer Presentation"/>
          <xsd:enumeration value="Customer Hand-Out"/>
          <xsd:enumeration value="Product-specific Information"/>
          <xsd:enumeration value="Softgel fill"/>
          <xsd:enumeration value="Primary Sales Tools"/>
          <xsd:enumeration value="Secondary Sales Tools"/>
          <xsd:enumeration value="Pediatrics"/>
          <xsd:enumeration value="Film Coating"/>
          <xsd:enumeration value="Customer Video"/>
          <xsd:enumeration value="Stem Cell Culture - Soluplus"/>
          <xsd:enumeration value="Shear Protection - CHO"/>
          <xsd:enumeration value="Shear Protection - HEK"/>
          <xsd:enumeration value="Shear Protection - Other"/>
          <xsd:enumeration value="Formulation (FFF)"/>
          <xsd:enumeration value="General for Bio"/>
        </xsd:restriction>
      </xsd:simpleType>
    </xsd:element>
    <xsd:element name="Document_x0020_Status" ma:index="8" nillable="true" ma:displayName="Document Status" ma:default="Released" ma:format="Dropdown" ma:internalName="Document_x0020_Status">
      <xsd:simpleType>
        <xsd:restriction base="dms:Choice">
          <xsd:enumeration value="Draft"/>
          <xsd:enumeration value="Released"/>
        </xsd:restriction>
      </xsd:simpleType>
    </xsd:element>
    <xsd:element name="Document_x0020_Date" ma:index="9" nillable="true" ma:displayName="Document Date" ma:default="[today]" ma:format="DateOnly" ma:internalName="Document_x0020_Date">
      <xsd:simpleType>
        <xsd:restriction base="dms:DateTime"/>
      </xsd:simple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arket_x0020_Information" ma:index="18" nillable="true" ma:displayName="Market Information" ma:default="#" ma:format="Dropdown" ma:internalName="Market_x0020_Information">
      <xsd:simpleType>
        <xsd:restriction base="dms:Choice">
          <xsd:enumeration value="#"/>
          <xsd:enumeration value="ENP General Presentation"/>
          <xsd:enumeration value="Commercial Products with BASF Excipients"/>
          <xsd:enumeration value="General Market Trends"/>
          <xsd:enumeration value="Communication Materials"/>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Regulatory" ma:index="20" nillable="true" ma:displayName="Regulatory" ma:default="#" ma:format="Dropdown" ma:internalName="Regulatory">
      <xsd:simpleType>
        <xsd:restriction base="dms:Choice">
          <xsd:enumeration value="#"/>
          <xsd:enumeration value="General"/>
        </xsd:restriction>
      </xsd:simpleType>
    </xsd:element>
    <xsd:element name="MediaServiceAutoTags" ma:index="23" nillable="true" ma:displayName="Tags" ma:internalName="MediaServiceAutoTags" ma:readOnly="true">
      <xsd:simpleType>
        <xsd:restriction base="dms:Text"/>
      </xsd:simpleType>
    </xsd:element>
    <xsd:element name="MediaServiceGenerationTime" ma:index="24" nillable="true" ma:displayName="MediaServiceGenerationTime" ma:hidden="true" ma:internalName="MediaServiceGenerationTime" ma:readOnly="true">
      <xsd:simpleType>
        <xsd:restriction base="dms:Text"/>
      </xsd:simpleType>
    </xsd:element>
    <xsd:element name="MediaServiceEventHashCode" ma:index="25" nillable="true" ma:displayName="MediaServiceEventHashCode" ma:hidden="true" ma:internalName="MediaServiceEventHashCode" ma:readOnly="true">
      <xsd:simpleType>
        <xsd:restriction base="dms:Text"/>
      </xsd:simpleType>
    </xsd:element>
    <xsd:element name="Communication_x0020_Material" ma:index="26" nillable="true" ma:displayName="Communication Material" ma:default="0 General" ma:format="Dropdown" ma:internalName="Communication_x0020_Material">
      <xsd:simpleType>
        <xsd:restriction base="dms:Choice">
          <xsd:enumeration value="0 General"/>
          <xsd:enumeration value="Icons"/>
          <xsd:enumeration value="Pictures"/>
          <xsd:enumeration value="Presentation Templates"/>
        </xsd:restriction>
      </xsd:simpleType>
    </xsd:element>
    <xsd:element name="MediaServiceOCR" ma:index="27" nillable="true" ma:displayName="Extracted Text" ma:internalName="MediaServiceOCR" ma:readOnly="true">
      <xsd:simpleType>
        <xsd:restriction base="dms:Note">
          <xsd:maxLength value="255"/>
        </xsd:restriction>
      </xsd:simpleType>
    </xsd:element>
    <xsd:element name="Division" ma:index="28" nillable="true" ma:displayName="Division" ma:format="Dropdown" ma:internalName="Division">
      <xsd:simpleType>
        <xsd:restriction base="dms:Choice">
          <xsd:enumeration value="ENP Global"/>
        </xsd:restriction>
      </xsd:simpleType>
    </xsd:element>
    <xsd:element name="Publish" ma:index="29" nillable="true" ma:displayName="Publish" ma:default="0" ma:format="Dropdown" ma:internalName="Publish">
      <xsd:simpleType>
        <xsd:restriction base="dms:Boolean"/>
      </xsd:simpleType>
    </xsd:element>
    <xsd:element name="MediaLengthInSeconds" ma:index="30" nillable="true" ma:displayName="MediaLengthInSeconds" ma:hidden="true" ma:internalName="MediaLengthInSeconds" ma:readOnly="true">
      <xsd:simpleType>
        <xsd:restriction base="dms:Unknown"/>
      </xsd:simpleType>
    </xsd:element>
    <xsd:element name="Tag" ma:index="31" nillable="true" ma:displayName="Tags" ma:description="Tags for Showpad" ma:format="Dropdown" ma:internalName="Tag">
      <xsd:complexType>
        <xsd:complexContent>
          <xsd:extension base="dms:MultiChoice">
            <xsd:sequence>
              <xsd:element name="Value" maxOccurs="unbounded" minOccurs="0" nillable="true">
                <xsd:simpleType>
                  <xsd:restriction base="dms:Choice">
                    <xsd:enumeration value="Article"/>
                    <xsd:enumeration value="Brochure"/>
                    <xsd:enumeration value="Case Study"/>
                    <xsd:enumeration value="e-Book"/>
                    <xsd:enumeration value="Image"/>
                    <xsd:enumeration value="Mildness Letter"/>
                    <xsd:enumeration value="One-Pager"/>
                    <xsd:enumeration value="Poster"/>
                    <xsd:enumeration value="Presentation"/>
                    <xsd:enumeration value="Technical Information"/>
                    <xsd:enumeration value="URL"/>
                    <xsd:enumeration value="White Paper"/>
                    <xsd:enumeration value="Video"/>
                    <xsd:enumeration value="Ask MIA"/>
                    <xsd:enumeration value="General"/>
                    <xsd:enumeration value="Sustained Release Coating"/>
                    <xsd:enumeration value="Pediatrics"/>
                    <xsd:enumeration value="Taste Masking"/>
                    <xsd:enumeration value="Coprocessed Excipients"/>
                    <xsd:enumeration value="Sustained Release Matrix"/>
                    <xsd:enumeration value="Direct Compression"/>
                    <xsd:enumeration value="Disintegrants"/>
                    <xsd:enumeration value="Dry Binding"/>
                    <xsd:enumeration value="Wet Binding"/>
                    <xsd:enumeration value="Hot Melt Extrusion (HME)"/>
                    <xsd:enumeration value="Spray Drying"/>
                    <xsd:enumeration value="SEDDS"/>
                    <xsd:enumeration value="Softgels"/>
                    <xsd:enumeration value="Solid Lipids"/>
                    <xsd:enumeration value="Small Molecule"/>
                    <xsd:enumeration value="Customer Handout (TOP)"/>
                    <xsd:enumeration value="Customer Presentation (TOP)"/>
                    <xsd:enumeration value="Enteric"/>
                    <xsd:enumeration value="Enteric Coating"/>
                    <xsd:enumeration value="Instant"/>
                    <xsd:enumeration value="Crystallization Inhibition"/>
                    <xsd:enumeration value="Core"/>
                    <xsd:enumeration value="Coating"/>
                    <xsd:enumeration value="Special Topics"/>
                    <xsd:enumeration value="Amorphous Solid Dispersions"/>
                    <xsd:enumeration value="Animal Health"/>
                    <xsd:enumeration value="Lipids"/>
                    <xsd:enumeration value="Parenterals"/>
                    <xsd:enumeration value="Formulations"/>
                    <xsd:enumeration value="Dermal Delivery"/>
                    <xsd:enumeration value="Formulation Design"/>
                    <xsd:enumeration value="Mildness"/>
                    <xsd:enumeration value="Sensory"/>
                    <xsd:enumeration value="Fill"/>
                    <xsd:enumeration value="Shell"/>
                    <xsd:enumeration value="2HAP &amp; 4HAP"/>
                    <xsd:enumeration value="Omega-3 Pharma"/>
                    <xsd:enumeration value="L-Menthol"/>
                    <xsd:enumeration value="PVP-Iodine"/>
                    <xsd:enumeration value="Ibuprofen"/>
                    <xsd:enumeration value="COVID-19"/>
                    <xsd:enumeration value="Kollicoat"/>
                    <xsd:enumeration value="Kollicream"/>
                    <xsd:enumeration value="Kollidon"/>
                    <xsd:enumeration value="Kolliphor"/>
                    <xsd:enumeration value="Kollisolv"/>
                    <xsd:enumeration value="Kollitab"/>
                    <xsd:enumeration value="Kolliwax"/>
                    <xsd:enumeration value="Lipid-Based Excipients"/>
                    <xsd:enumeration value="Luvitec"/>
                    <xsd:enumeration value="Ludiflash"/>
                    <xsd:enumeration value="Ludipress"/>
                    <xsd:enumeration value="Novata"/>
                    <xsd:enumeration value="Soluplus"/>
                    <xsd:enumeration value="2HAP"/>
                    <xsd:enumeration value="4HAP"/>
                    <xsd:enumeration value="Kollidon 25"/>
                    <xsd:enumeration value="Kollidon VA 64"/>
                    <xsd:enumeration value="Kollidon 12 &amp; 17"/>
                    <xsd:enumeration value="Kollidon 90 F"/>
                    <xsd:enumeration value="Kollicream 3C"/>
                    <xsd:enumeration value="Kolliphor ELP"/>
                    <xsd:enumeration value="Kolliphor HS15"/>
                    <xsd:enumeration value="Kolliphor P407"/>
                    <xsd:enumeration value="Kolliphor RH40"/>
                    <xsd:enumeration value="Kollicoat MAE 100-55"/>
                    <xsd:enumeration value="Kollitab DC 87 L"/>
                    <xsd:enumeration value="Kolliwax GMS II"/>
                    <xsd:enumeration value="Kolliwax CSA 70"/>
                    <xsd:enumeration value="Kolliwax CSA 50"/>
                    <xsd:enumeration value="Kolliwax CA"/>
                    <xsd:enumeration value="Kolliwax HCO"/>
                    <xsd:enumeration value="Kolliwax MA"/>
                    <xsd:enumeration value="Kolliwax S"/>
                    <xsd:enumeration value="Kolliwax SA"/>
                    <xsd:enumeration value="Omega-3 K85 EE"/>
                    <xsd:enumeration value="Omega-3 EPA 97 EE"/>
                    <xsd:enumeration value="Omega-3 Generic Lovaza/Omacor"/>
                    <xsd:enumeration value="Kollidon SR"/>
                    <xsd:enumeration value="Kollicoat SR 30D"/>
                    <xsd:enumeration value="Smartseal 30D"/>
                    <xsd:enumeration value="Kollidon 30"/>
                    <xsd:enumeration value="Kollidon 30 S"/>
                    <xsd:enumeration value="Smartseal 100P"/>
                    <xsd:enumeration value="Kollidon CL-SF"/>
                    <xsd:enumeration value="Ludipress LC"/>
                    <xsd:enumeration value="Ludipress LCE"/>
                    <xsd:enumeration value="Kollicream OD"/>
                    <xsd:enumeration value="Povidone 30"/>
                    <xsd:enumeration value="Ibuprofen DC 85W"/>
                    <xsd:enumeration value="Kollicoat IR"/>
                    <xsd:enumeration value="Kollicoat MAE 30 DP"/>
                    <xsd:enumeration value="Kollidon CL"/>
                    <xsd:enumeration value="Kollicream CP15"/>
                    <xsd:enumeration value="Kollicream DO"/>
                    <xsd:enumeration value="Kollicream IPM"/>
                    <xsd:enumeration value="Kollicream OA"/>
                    <xsd:enumeration value="Kolliphor CS 20"/>
                    <xsd:enumeration value="Kolliphor PS 60"/>
                    <xsd:enumeration value="Kolliphor PS 80"/>
                    <xsd:enumeration value="Kollisolv PEG 300"/>
                    <xsd:enumeration value="ALL"/>
                    <xsd:enumeration value="APIs"/>
                    <xsd:enumeration value="Orals"/>
                    <xsd:enumeration value="Solubilization"/>
                    <xsd:enumeration value="Topicals"/>
                    <xsd:enumeration value="VPA"/>
                    <xsd:enumeration value="MPW"/>
                    <xsd:enumeration value="RegXcellence"/>
                    <xsd:enumeration value="ZoomLab"/>
                    <xsd:enumeration value="Formulary"/>
                    <xsd:enumeration value="Arabic"/>
                    <xsd:enumeration value="French"/>
                    <xsd:enumeration value="Italian"/>
                    <xsd:enumeration value="Japanese"/>
                    <xsd:enumeration value="Portuguese"/>
                    <xsd:enumeration value="Russian"/>
                    <xsd:enumeration value="Spanish"/>
                    <xsd:enumeration value="Turkish"/>
                    <xsd:enumeration value="Chinese"/>
                    <xsd:enumeration value="Fast Acting Ibuprofen"/>
                    <xsd:enumeration value="Sustainability"/>
                    <xsd:enumeration value="Access to Affordable Medicine"/>
                    <xsd:enumeration value="Kolliphor SLS"/>
                    <xsd:enumeration value="Kolliphor PS20"/>
                    <xsd:enumeration value="Moisture Protection"/>
                    <xsd:enumeration value="Immediate Release Coating"/>
                    <xsd:enumeration value="Continuous Manufacturing"/>
                    <xsd:enumeration value="Customer Video (TOP)"/>
                    <xsd:enumeration value="Product Spotlights"/>
                    <xsd:enumeration value="Kolliphor SML 20"/>
                    <xsd:enumeration value="Kollidon 90 Evo"/>
                    <xsd:enumeration value="Down Stream Processing (DSP)"/>
                    <xsd:enumeration value="Formulation (FFF)"/>
                    <xsd:enumeration value="Biopharma Ingredients"/>
                    <xsd:enumeration value="Kolliphor P188 Bio"/>
                    <xsd:enumeration value="Kolliphor P188 Cell Culture"/>
                    <xsd:enumeration value="Stem Cell Culture - Soluplus"/>
                    <xsd:enumeration value="Shear Protection - CHO"/>
                    <xsd:enumeration value="Shear Protection - HEK"/>
                    <xsd:enumeration value="Upstream Cell Culture (CC)"/>
                    <xsd:enumeration value="General for Bio"/>
                    <xsd:enumeration value="Shear Protection - Other"/>
                    <xsd:enumeration value="Lubricant"/>
                    <xsd:enumeration value="Kollicoat MAE 100 55 Fine"/>
                    <xsd:enumeration value="Kollicoat MAE 100P"/>
                    <xsd:enumeration value="Kolliwax SSF"/>
                    <xsd:enumeration value="Plasticizer"/>
                    <xsd:enumeration value="Orally disintegrating tablet"/>
                    <xsd:enumeration value="Kollicoat Protect"/>
                    <xsd:enumeration value="Kollicoat MAE"/>
                    <xsd:enumeration value="Kollicoat Smartseal"/>
                    <xsd:enumeration value="Povidone 30"/>
                    <xsd:enumeration value="Kollidon VA 64 Fine"/>
                  </xsd:restriction>
                </xsd:simpleType>
              </xsd:element>
            </xsd:sequence>
          </xsd:extension>
        </xsd:complexContent>
      </xsd:complexType>
    </xsd:element>
    <xsd:element name="CanBePersonalizedInShowpad" ma:index="32" nillable="true" ma:displayName="Can Be Personalized In Showpad" ma:default="1" ma:format="Dropdown" ma:internalName="CanBePersonalizedInShowpad">
      <xsd:simpleType>
        <xsd:restriction base="dms:Boolean"/>
      </xsd:simpleType>
    </xsd:element>
    <xsd:element name="MediaServiceObjectDetectorVersions" ma:index="33" nillable="true" ma:displayName="MediaServiceObjectDetectorVersions" ma:hidden="true" ma:indexed="true" ma:internalName="MediaServiceObjectDetectorVersions" ma:readOnly="true">
      <xsd:simpleType>
        <xsd:restriction base="dms:Text"/>
      </xsd:simpleType>
    </xsd:element>
    <xsd:element name="MediaServiceSearchProperties" ma:index="3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823d4ca-47d9-45c8-9c05-973d011c3e28"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4"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DA2795-BDC9-420A-94E6-DFB176149B1D}">
  <ds:schemaRefs>
    <ds:schemaRef ds:uri="c823d4ca-47d9-45c8-9c05-973d011c3e28"/>
    <ds:schemaRef ds:uri="519f8a16-3279-48c5-8fe1-0f0731f4c2a1"/>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D9AB86B1-001E-44E4-9E51-A20B5D62AFDA}"/>
</file>

<file path=customXml/itemProps3.xml><?xml version="1.0" encoding="utf-8"?>
<ds:datastoreItem xmlns:ds="http://schemas.openxmlformats.org/officeDocument/2006/customXml" ds:itemID="{DEA97CB4-7E72-4B3D-AF18-F24D16B362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mp1FD8</Template>
  <TotalTime>0</TotalTime>
  <Words>11347</Words>
  <Application>Microsoft Office PowerPoint</Application>
  <PresentationFormat>Widescreen</PresentationFormat>
  <Paragraphs>1883</Paragraphs>
  <Slides>97</Slides>
  <Notes>97</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4</vt:i4>
      </vt:variant>
      <vt:variant>
        <vt:lpstr>Slide Titles</vt:lpstr>
      </vt:variant>
      <vt:variant>
        <vt:i4>97</vt:i4>
      </vt:variant>
    </vt:vector>
  </HeadingPairs>
  <TitlesOfParts>
    <vt:vector size="116" baseType="lpstr">
      <vt:lpstr>72</vt:lpstr>
      <vt:lpstr>Arial</vt:lpstr>
      <vt:lpstr>Arial   </vt:lpstr>
      <vt:lpstr>Arial    </vt:lpstr>
      <vt:lpstr>Calibri</vt:lpstr>
      <vt:lpstr>Cambria Math</vt:lpstr>
      <vt:lpstr>product_sansregular</vt:lpstr>
      <vt:lpstr>Segoe UI</vt:lpstr>
      <vt:lpstr>Symbol</vt:lpstr>
      <vt:lpstr>Wingdings</vt:lpstr>
      <vt:lpstr>Wingdings 3</vt:lpstr>
      <vt:lpstr>BASF_TitelDesign_V10</vt:lpstr>
      <vt:lpstr>BASF_FolienDesign_V10</vt:lpstr>
      <vt:lpstr>BASF_Finale_V10</vt:lpstr>
      <vt:lpstr>1_BASF_FolienDesign_V10</vt:lpstr>
      <vt:lpstr>think-cell Slide</vt:lpstr>
      <vt:lpstr>ClipArt</vt:lpstr>
      <vt:lpstr>MDLDrawObject Class</vt:lpstr>
      <vt:lpstr>Worksheet</vt:lpstr>
      <vt:lpstr>PowerPoint Presentation</vt:lpstr>
      <vt:lpstr>PowerPoint Presentation</vt:lpstr>
      <vt:lpstr>Agenda</vt:lpstr>
      <vt:lpstr>Introduction to Taste-masking</vt:lpstr>
      <vt:lpstr>Most Common (Intra)Oral Dosage Forms that might require a taste-masking approach</vt:lpstr>
      <vt:lpstr>Introduction to taste-masking</vt:lpstr>
      <vt:lpstr>Taste-masking approaches</vt:lpstr>
      <vt:lpstr>Introduction to Taste-Masking Film-Coating</vt:lpstr>
      <vt:lpstr>Kollicoat®: The BASF Coating Polymers</vt:lpstr>
      <vt:lpstr>Kollicoat® Smartseal: Your first option for Taste-Masking Film-Coating</vt:lpstr>
      <vt:lpstr>Kollicoat® Smartseal</vt:lpstr>
      <vt:lpstr>Kollicoat Smartseal® film coating formulation &amp; application guide</vt:lpstr>
      <vt:lpstr>Kollicoat® Smartseal Formulation: Antioxidant Incorporation </vt:lpstr>
      <vt:lpstr>Kollicoat® Smartseal Formulation: Plasticizer</vt:lpstr>
      <vt:lpstr>Kollicoat® Smartseal Formulation: Plasticizer</vt:lpstr>
      <vt:lpstr>Kollicoat® Smartseal Formulation: Plasticizer + BHT</vt:lpstr>
      <vt:lpstr>PowerPoint Presentation</vt:lpstr>
      <vt:lpstr>Kollicoat® Smartseal Formulation: Plasticizer</vt:lpstr>
      <vt:lpstr>Kollicoat® Smartseal Formulation: Plasticizer </vt:lpstr>
      <vt:lpstr>Kollicoat® Smartseal Formulation: Plasticizer</vt:lpstr>
      <vt:lpstr>Kollicoat® Smartseal Formulation: Anti-tacking</vt:lpstr>
      <vt:lpstr>Kollicoat® Smartseal Formulation: Anti-tacking agent </vt:lpstr>
      <vt:lpstr>Kollicoat® Smartseal Formulation: Anti-tacking agent </vt:lpstr>
      <vt:lpstr>Kollicoat® Smartseal Formulation: Anti-tacking agent </vt:lpstr>
      <vt:lpstr>Kollicoat® Smartseal Formulation: Anti-tacking agent summary</vt:lpstr>
      <vt:lpstr>Kollicoat® Smartseal: Evaluation of curing effects </vt:lpstr>
      <vt:lpstr>Caffeine granules 15% weight gain   Kollicoat Smartseal 30 D aqueous: No curing step and Curing  Kollicoat Smartseal 100 P organic: No curing step and Curing </vt:lpstr>
      <vt:lpstr>Decision tree for formulation development</vt:lpstr>
      <vt:lpstr>Summary of Kollicoat® Smartseal Formulations: </vt:lpstr>
      <vt:lpstr>Application guide Kollicoat® Smartseal 30 P: Preparation of the aqueous coating dispersion  </vt:lpstr>
      <vt:lpstr>Application guide Kollicoat® Smartseal 100 P: Preparation of the aqueous coating suspension </vt:lpstr>
      <vt:lpstr>Application guide Kollicoat® Smartseal 100 P: Preparation of the organic coating solution  </vt:lpstr>
      <vt:lpstr>PowerPoint Presentation</vt:lpstr>
      <vt:lpstr>Main objective </vt:lpstr>
      <vt:lpstr>Vardenafil drug layering with Kollicoat® IR</vt:lpstr>
      <vt:lpstr>Kollicoat® Smartseal 30 D coating on vardenafil pellets</vt:lpstr>
      <vt:lpstr>Comparative dissolution of vardenafil pellets coated with Kollicoat® Smartseal 30 D (uncured): 25% w/g Vs 30% w/g</vt:lpstr>
      <vt:lpstr>Comparative dissolution of vardenafil pellets coated with Kollicoat® Smartseal 30 D (30% w/g): uncured Vs cured</vt:lpstr>
      <vt:lpstr>SEM Pictures of Vardenafil pellets coated with Kollicoat® Smartseal</vt:lpstr>
      <vt:lpstr>Particle size distribution (PSD) of vardenafil coated pellets</vt:lpstr>
      <vt:lpstr>Vardenafil MUPS 10mg - Ludiflash®</vt:lpstr>
      <vt:lpstr>Comparative Dissolution: Vardenafil pellets vs Vardenafil MUPS</vt:lpstr>
      <vt:lpstr>SEM of tablet cross section showing the pellets surface </vt:lpstr>
      <vt:lpstr>Dissolution observation: uncured pellets and cured pellets coated with Kollicoat® Smartseal 30 D</vt:lpstr>
      <vt:lpstr>Dissolution of vardenafil pellets coated with Kollicoat®  Smartseal in pH 6.8 buffer: basket Vs paddle</vt:lpstr>
      <vt:lpstr>Effect of curing step on vardenafil pellets coated with Kollicoat® Smartseal 30 D at 30% weight gain (w/g) </vt:lpstr>
      <vt:lpstr>Kollicoat® Smartseal 30 D coating on vardenafil pellets –  scaled-up lab batch</vt:lpstr>
      <vt:lpstr>Comparative dissolution of vardenafil Kollicoat® Smartseal 30 D coated pellets- 25%w/g Vs 30%w/g – scaled-up lab batch</vt:lpstr>
      <vt:lpstr>Dissolution observation of vardenafil pellets coated with Kollicoat® Smartseal 30 D in basket apparatus</vt:lpstr>
      <vt:lpstr>Impact of BHT on Kollicoat® Smartseal 30 D film-coating</vt:lpstr>
      <vt:lpstr>Comparative Dissolution: vardenafil pellets coated with 30% w/g Kollicoat® Smartseal 30 D + BHT: uncured Vs cured</vt:lpstr>
      <vt:lpstr>Effect of curing time on vardenafil pellets coated with Kollicoat® Smartseal 30 D + BHT</vt:lpstr>
      <vt:lpstr>Comparative dissolution of vardenafil pellets coated with Kollicoat® Smartseal 30 D (with BHT &amp; without BHT)</vt:lpstr>
      <vt:lpstr>Stressed condition test (50°C and 90% RH)</vt:lpstr>
      <vt:lpstr>MUPS of vardenafil 10 mg- Formulation – for stressed condition study: </vt:lpstr>
      <vt:lpstr>MUPS of vardenafil 10 mg- Tableting</vt:lpstr>
      <vt:lpstr>Stressed condition study (50°C and 90% RH): MUPS with Ludiflash®</vt:lpstr>
      <vt:lpstr>Stressed condition study: pellets coated with Kollicoat® Smartseal 30 D with BHT and vardenafil MUPS - 0.1 N HCl</vt:lpstr>
      <vt:lpstr>Stressed condition study: pellets coated with Kollicoat® Smartseal 30 D with BHT and vardenafil MUPS-Phosphate Buffer pH 6.8 </vt:lpstr>
      <vt:lpstr>Super-accelerated stability study: Pellets coated with Kollicoat® Smartseal 30 D without BHT and vardenafil MUPS - 0.1 N HCl</vt:lpstr>
      <vt:lpstr>Stressed condition study: pellets coated with Kollicoat® Smartseal 30 D without BHT and vardenafil MUPS-Phosphate Buffer pH 6.8 </vt:lpstr>
      <vt:lpstr>Comparison of the drug release of pellets coated with &amp; without BHT at the stressed condition study Vs initial </vt:lpstr>
      <vt:lpstr>Comparison of the drug release of Ludiflash® MUPS with pellets coated with &amp; without BHT at room temperature Vs initial </vt:lpstr>
      <vt:lpstr>Conclusion</vt:lpstr>
      <vt:lpstr>Kollicoat® Smartseal : Summary</vt:lpstr>
      <vt:lpstr>PowerPoint Presentation</vt:lpstr>
      <vt:lpstr>Regulatory and Safety </vt:lpstr>
      <vt:lpstr>Product details</vt:lpstr>
      <vt:lpstr>Regulatory information: Kollicoat® Smartseal 30 D and 100 P</vt:lpstr>
      <vt:lpstr>Safety Summary – available on RegXcellence®</vt:lpstr>
      <vt:lpstr>PowerPoint Presentation</vt:lpstr>
      <vt:lpstr>Taste-masking  Film-formers: evaluation of different products on the market </vt:lpstr>
      <vt:lpstr>Kollicoat® Smartseal for taste-masking film coating</vt:lpstr>
      <vt:lpstr>Competitive analysis: effective taste-masking for quinine HCl</vt:lpstr>
      <vt:lpstr>Chemical structures </vt:lpstr>
      <vt:lpstr>Dissolution Analysis - Performance at pH 6.8 (coating level 3 mg/cm2)</vt:lpstr>
      <vt:lpstr>Comparison with competitor products: Superior taste-masking performance</vt:lpstr>
      <vt:lpstr>Smell analysis: Pure polymer and coated caffeine granules</vt:lpstr>
      <vt:lpstr>PowerPoint Presentation</vt:lpstr>
      <vt:lpstr>PowerPoint Presentation</vt:lpstr>
      <vt:lpstr>PowerPoint Presentation</vt:lpstr>
      <vt:lpstr>Functional Polymers: Understanding Dispersions </vt:lpstr>
      <vt:lpstr>Understanding Dispersions: Stabilization</vt:lpstr>
      <vt:lpstr>Film formation from dispersion polymer particles   </vt:lpstr>
      <vt:lpstr>TEC as plasticizer – Hydrolysis </vt:lpstr>
      <vt:lpstr>Kollicoat® Smartseal Formulation: Plasticizer</vt:lpstr>
      <vt:lpstr>Kollicoat® Smartseal Formulation: Plasticizer</vt:lpstr>
      <vt:lpstr>Kollicoat® Smartseal Formulation: Plasticizer</vt:lpstr>
      <vt:lpstr>Formulary</vt:lpstr>
      <vt:lpstr>Formulary: Kollicoat® Smartseal 30 DP</vt:lpstr>
      <vt:lpstr>Formulary: Kollicoat® Smartseal 30 DP (+ BHT as antioxidant)</vt:lpstr>
      <vt:lpstr>Formulary: Kollicoat® Smartseal Smartseal 100 P in water</vt:lpstr>
      <vt:lpstr>Formulary: Kollicoat® Smartseal 100 P in organic solvents</vt:lpstr>
      <vt:lpstr>Competitor analysis</vt:lpstr>
      <vt:lpstr>Kollicoat® Smartseal – EPO Competitor:  Comparison of important properties </vt:lpstr>
      <vt:lpstr>Partial Neutralization Calculation</vt:lpstr>
      <vt:lpstr>Partial Neutralization Calcul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borah.oliveri@basf.com</dc:creator>
  <cp:lastModifiedBy>joaos.assis@basf.com</cp:lastModifiedBy>
  <cp:revision>35</cp:revision>
  <cp:lastPrinted>2023-02-14T15:12:43Z</cp:lastPrinted>
  <dcterms:created xsi:type="dcterms:W3CDTF">2023-02-06T17:42:21Z</dcterms:created>
  <dcterms:modified xsi:type="dcterms:W3CDTF">2023-08-02T18:36: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BASF_Wizard_PP">
    <vt:bool>true</vt:bool>
  </property>
  <property fmtid="{D5CDD505-2E9C-101B-9397-08002B2CF9AE}" pid="3" name="_BASF_Wizard_Version">
    <vt:lpwstr>10.1.2</vt:lpwstr>
  </property>
  <property fmtid="{D5CDD505-2E9C-101B-9397-08002B2CF9AE}" pid="4" name="Classification_to_AIP">
    <vt:i4>0</vt:i4>
  </property>
  <property fmtid="{D5CDD505-2E9C-101B-9397-08002B2CF9AE}" pid="5" name="_BASF_Wizard_Logo2015">
    <vt:lpwstr>1</vt:lpwstr>
  </property>
  <property fmtid="{D5CDD505-2E9C-101B-9397-08002B2CF9AE}" pid="6" name="MSIP_Label_fd8f657c-1b5d-4225-9de5-62d9d25afec8_Enabled">
    <vt:lpwstr>true</vt:lpwstr>
  </property>
  <property fmtid="{D5CDD505-2E9C-101B-9397-08002B2CF9AE}" pid="7" name="MSIP_Label_fd8f657c-1b5d-4225-9de5-62d9d25afec8_SetDate">
    <vt:lpwstr>2023-02-07T16:46:06Z</vt:lpwstr>
  </property>
  <property fmtid="{D5CDD505-2E9C-101B-9397-08002B2CF9AE}" pid="8" name="MSIP_Label_fd8f657c-1b5d-4225-9de5-62d9d25afec8_Method">
    <vt:lpwstr>Privileged</vt:lpwstr>
  </property>
  <property fmtid="{D5CDD505-2E9C-101B-9397-08002B2CF9AE}" pid="9" name="MSIP_Label_fd8f657c-1b5d-4225-9de5-62d9d25afec8_Name">
    <vt:lpwstr>fd8f657c-1b5d-4225-9de5-62d9d25afec8</vt:lpwstr>
  </property>
  <property fmtid="{D5CDD505-2E9C-101B-9397-08002B2CF9AE}" pid="10" name="MSIP_Label_fd8f657c-1b5d-4225-9de5-62d9d25afec8_SiteId">
    <vt:lpwstr>ecaa386b-c8df-4ce0-ad01-740cbdb5ba55</vt:lpwstr>
  </property>
  <property fmtid="{D5CDD505-2E9C-101B-9397-08002B2CF9AE}" pid="11" name="MSIP_Label_fd8f657c-1b5d-4225-9de5-62d9d25afec8_ActionId">
    <vt:lpwstr>6df73d10-1a6b-4dfe-90fd-7cbd23d9695c</vt:lpwstr>
  </property>
  <property fmtid="{D5CDD505-2E9C-101B-9397-08002B2CF9AE}" pid="12" name="MSIP_Label_fd8f657c-1b5d-4225-9de5-62d9d25afec8_ContentBits">
    <vt:lpwstr>0</vt:lpwstr>
  </property>
  <property fmtid="{D5CDD505-2E9C-101B-9397-08002B2CF9AE}" pid="13" name="ContentTypeId">
    <vt:lpwstr>0x010100B380D5B194A5974C878981B1F00D34C4</vt:lpwstr>
  </property>
</Properties>
</file>